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0.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822" r:id="rId4"/>
    <p:sldMasterId id="2147483892" r:id="rId5"/>
    <p:sldMasterId id="2147483989" r:id="rId6"/>
    <p:sldMasterId id="2147484014" r:id="rId7"/>
  </p:sldMasterIdLst>
  <p:notesMasterIdLst>
    <p:notesMasterId r:id="rId14"/>
  </p:notesMasterIdLst>
  <p:handoutMasterIdLst>
    <p:handoutMasterId r:id="rId15"/>
  </p:handoutMasterIdLst>
  <p:sldIdLst>
    <p:sldId id="325" r:id="rId8"/>
    <p:sldId id="320" r:id="rId9"/>
    <p:sldId id="321" r:id="rId10"/>
    <p:sldId id="2147482195" r:id="rId11"/>
    <p:sldId id="2147482196" r:id="rId12"/>
    <p:sldId id="319" r:id="rId13"/>
  </p:sldIdLst>
  <p:sldSz cx="12198350" cy="6858000"/>
  <p:notesSz cx="6950075" cy="9236075"/>
  <p:embeddedFontLst>
    <p:embeddedFont>
      <p:font typeface="EYInterstate" panose="02000503020000020004" pitchFamily="2" charset="0"/>
      <p:regular r:id="rId16"/>
      <p:bold r:id="rId17"/>
      <p:italic r:id="rId18"/>
      <p:boldItalic r:id="rId19"/>
    </p:embeddedFont>
    <p:embeddedFont>
      <p:font typeface="EYInterstate Light" panose="02000506000000020004" pitchFamily="2" charset="0"/>
      <p:regular r:id="rId20"/>
      <p:bold r:id="rId21"/>
      <p:italic r:id="rId22"/>
      <p:boldItalic r:id="rId23"/>
    </p:embeddedFont>
    <p:embeddedFont>
      <p:font typeface="Georgia" panose="02040502050405020303" pitchFamily="18" charset="0"/>
      <p:regular r:id="rId24"/>
      <p:bold r:id="rId25"/>
      <p:italic r:id="rId26"/>
      <p:boldItalic r:id="rId27"/>
    </p:embeddedFont>
    <p:embeddedFont>
      <p:font typeface="Wingdings 3" panose="05040102010807070707" pitchFamily="18" charset="2"/>
      <p:regular r:id="rId2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918CEF9-3FA7-5C66-EC2F-212C812B123A}" name="Bhavya Agarwal" initials="BA" userId="S::Bhavya.Agarwal@gds.ey.com::7ee9b721-de13-4aec-8858-8fd25287c14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8CE5"/>
    <a:srgbClr val="FF8D86"/>
    <a:srgbClr val="FFC000"/>
    <a:srgbClr val="FFA766"/>
    <a:srgbClr val="FFB3AF"/>
    <a:srgbClr val="DFEDEA"/>
    <a:srgbClr val="616161"/>
    <a:srgbClr val="FFFFFF"/>
    <a:srgbClr val="199089"/>
    <a:srgbClr val="DFDF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99EDDD-4CAB-42E1-BFBF-F8A193047E31}" v="17327" dt="2024-11-19T22:13:23.847"/>
    <p1510:client id="{D911C7EC-19E1-481E-AD72-0A573ED5342D}" v="12" dt="2024-11-19T08:16:38.178"/>
    <p1510:client id="{E4EFE40A-7633-40F3-A120-AF577E8EF4E2}" v="13135" dt="2024-11-19T21:39:48.4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6" autoAdjust="0"/>
    <p:restoredTop sz="95013" autoAdjust="0"/>
  </p:normalViewPr>
  <p:slideViewPr>
    <p:cSldViewPr snapToGrid="0" snapToObjects="1" showGuides="1">
      <p:cViewPr varScale="1">
        <p:scale>
          <a:sx n="83" d="100"/>
          <a:sy n="83" d="100"/>
        </p:scale>
        <p:origin x="403" y="62"/>
      </p:cViewPr>
      <p:guideLst/>
    </p:cSldViewPr>
  </p:slideViewPr>
  <p:outlineViewPr>
    <p:cViewPr>
      <p:scale>
        <a:sx n="33" d="100"/>
        <a:sy n="33" d="100"/>
      </p:scale>
      <p:origin x="0" y="-7090"/>
    </p:cViewPr>
  </p:outlineViewPr>
  <p:notesTextViewPr>
    <p:cViewPr>
      <p:scale>
        <a:sx n="50" d="100"/>
        <a:sy n="50" d="100"/>
      </p:scale>
      <p:origin x="0" y="0"/>
    </p:cViewPr>
  </p:notesTextViewPr>
  <p:sorterViewPr>
    <p:cViewPr>
      <p:scale>
        <a:sx n="130" d="100"/>
        <a:sy n="130" d="100"/>
      </p:scale>
      <p:origin x="0" y="0"/>
    </p:cViewPr>
  </p:sorterViewPr>
  <p:notesViewPr>
    <p:cSldViewPr snapToGrid="0" snapToObjects="1" showGuides="1">
      <p:cViewPr varScale="1">
        <p:scale>
          <a:sx n="80" d="100"/>
          <a:sy n="80" d="100"/>
        </p:scale>
        <p:origin x="-2004" y="-96"/>
      </p:cViewPr>
      <p:guideLst>
        <p:guide orient="horz" pos="2909"/>
        <p:guide pos="218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customXml" Target="../customXml/item3.xml"/><Relationship Id="rId21" Type="http://schemas.openxmlformats.org/officeDocument/2006/relationships/font" Target="fonts/font6.fntdata"/><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font" Target="fonts/font13.fntdata"/><Relationship Id="rId10" Type="http://schemas.openxmlformats.org/officeDocument/2006/relationships/slide" Target="slides/slide3.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people.ey.com/personal/david_mamrilla_cz_ey_com/Documents/Desktop/J&#225;dro%20prezentace/data.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people.ey.com/personal/david_mamrilla_cz_ey_com/Documents/Desktop/J&#225;dro%20prezentace/data.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people.ey.com/personal/david_mamrilla_cz_ey_com/Documents/Desktop/J&#225;dro%20prezentace/data.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81814098004716"/>
          <c:y val="0.20323379884058185"/>
          <c:w val="0.75091081664961967"/>
          <c:h val="0.66359559318170958"/>
        </c:manualLayout>
      </c:layout>
      <c:barChart>
        <c:barDir val="col"/>
        <c:grouping val="clustered"/>
        <c:varyColors val="0"/>
        <c:ser>
          <c:idx val="0"/>
          <c:order val="0"/>
          <c:tx>
            <c:strRef>
              <c:f>Sheet1!$B$1</c:f>
              <c:strCache>
                <c:ptCount val="1"/>
                <c:pt idx="0">
                  <c:v>Column2</c:v>
                </c:pt>
              </c:strCache>
            </c:strRef>
          </c:tx>
          <c:spPr>
            <a:solidFill>
              <a:schemeClr val="accent1"/>
            </a:solidFill>
            <a:ln>
              <a:noFill/>
            </a:ln>
            <a:effectLst/>
          </c:spPr>
          <c:invertIfNegative val="0"/>
          <c:cat>
            <c:numRef>
              <c:f>Sheet1!$A$2:$A$4</c:f>
              <c:numCache>
                <c:formatCode>General</c:formatCode>
                <c:ptCount val="3"/>
                <c:pt idx="0">
                  <c:v>2050</c:v>
                </c:pt>
                <c:pt idx="2">
                  <c:v>2019</c:v>
                </c:pt>
              </c:numCache>
            </c:numRef>
          </c:cat>
          <c:val>
            <c:numRef>
              <c:f>Sheet1!$B$2:$B$4</c:f>
              <c:numCache>
                <c:formatCode>General</c:formatCode>
                <c:ptCount val="3"/>
                <c:pt idx="0">
                  <c:v>0</c:v>
                </c:pt>
                <c:pt idx="1">
                  <c:v>0</c:v>
                </c:pt>
              </c:numCache>
            </c:numRef>
          </c:val>
          <c:extLst>
            <c:ext xmlns:c16="http://schemas.microsoft.com/office/drawing/2014/chart" uri="{C3380CC4-5D6E-409C-BE32-E72D297353CC}">
              <c16:uniqueId val="{00000000-57DB-4DEC-8F5F-EFADBEF6560A}"/>
            </c:ext>
          </c:extLst>
        </c:ser>
        <c:ser>
          <c:idx val="1"/>
          <c:order val="1"/>
          <c:tx>
            <c:strRef>
              <c:f>Sheet1!$C$1</c:f>
              <c:strCache>
                <c:ptCount val="1"/>
                <c:pt idx="0">
                  <c:v>CO2</c:v>
                </c:pt>
              </c:strCache>
            </c:strRef>
          </c:tx>
          <c:spPr>
            <a:solidFill>
              <a:schemeClr val="accent3"/>
            </a:solidFill>
            <a:ln>
              <a:noFill/>
            </a:ln>
            <a:effectLst/>
          </c:spPr>
          <c:invertIfNegative val="0"/>
          <c:cat>
            <c:numRef>
              <c:f>Sheet1!$A$2:$A$4</c:f>
              <c:numCache>
                <c:formatCode>General</c:formatCode>
                <c:ptCount val="3"/>
                <c:pt idx="0">
                  <c:v>2050</c:v>
                </c:pt>
                <c:pt idx="2">
                  <c:v>2019</c:v>
                </c:pt>
              </c:numCache>
            </c:numRef>
          </c:cat>
          <c:val>
            <c:numRef>
              <c:f>Sheet1!$C$2:$C$4</c:f>
              <c:numCache>
                <c:formatCode>General</c:formatCode>
                <c:ptCount val="3"/>
                <c:pt idx="0">
                  <c:v>4</c:v>
                </c:pt>
                <c:pt idx="1">
                  <c:v>13</c:v>
                </c:pt>
                <c:pt idx="2">
                  <c:v>43</c:v>
                </c:pt>
              </c:numCache>
            </c:numRef>
          </c:val>
          <c:extLst>
            <c:ext xmlns:c16="http://schemas.microsoft.com/office/drawing/2014/chart" uri="{C3380CC4-5D6E-409C-BE32-E72D297353CC}">
              <c16:uniqueId val="{00000001-57DB-4DEC-8F5F-EFADBEF6560A}"/>
            </c:ext>
          </c:extLst>
        </c:ser>
        <c:ser>
          <c:idx val="2"/>
          <c:order val="2"/>
          <c:tx>
            <c:strRef>
              <c:f>Sheet1!$D$1</c:f>
              <c:strCache>
                <c:ptCount val="1"/>
                <c:pt idx="0">
                  <c:v>Všechny skleníkové plyny</c:v>
                </c:pt>
              </c:strCache>
            </c:strRef>
          </c:tx>
          <c:spPr>
            <a:solidFill>
              <a:schemeClr val="accent2"/>
            </a:solidFill>
            <a:ln>
              <a:noFill/>
            </a:ln>
            <a:effectLst/>
          </c:spPr>
          <c:invertIfNegative val="0"/>
          <c:cat>
            <c:numRef>
              <c:f>Sheet1!$A$2:$A$4</c:f>
              <c:numCache>
                <c:formatCode>General</c:formatCode>
                <c:ptCount val="3"/>
                <c:pt idx="0">
                  <c:v>2050</c:v>
                </c:pt>
                <c:pt idx="2">
                  <c:v>2019</c:v>
                </c:pt>
              </c:numCache>
            </c:numRef>
          </c:cat>
          <c:val>
            <c:numRef>
              <c:f>Sheet1!$D$2:$D$4</c:f>
              <c:numCache>
                <c:formatCode>General</c:formatCode>
                <c:ptCount val="3"/>
                <c:pt idx="0">
                  <c:v>8</c:v>
                </c:pt>
                <c:pt idx="1">
                  <c:v>20</c:v>
                </c:pt>
                <c:pt idx="2">
                  <c:v>58</c:v>
                </c:pt>
              </c:numCache>
            </c:numRef>
          </c:val>
          <c:extLst>
            <c:ext xmlns:c16="http://schemas.microsoft.com/office/drawing/2014/chart" uri="{C3380CC4-5D6E-409C-BE32-E72D297353CC}">
              <c16:uniqueId val="{00000003-57DB-4DEC-8F5F-EFADBEF6560A}"/>
            </c:ext>
          </c:extLst>
        </c:ser>
        <c:dLbls>
          <c:showLegendKey val="0"/>
          <c:showVal val="0"/>
          <c:showCatName val="0"/>
          <c:showSerName val="0"/>
          <c:showPercent val="0"/>
          <c:showBubbleSize val="0"/>
        </c:dLbls>
        <c:gapWidth val="0"/>
        <c:overlap val="-29"/>
        <c:axId val="1355951855"/>
        <c:axId val="1355948015"/>
      </c:barChart>
      <c:catAx>
        <c:axId val="1355951855"/>
        <c:scaling>
          <c:orientation val="maxMin"/>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cs-CZ"/>
          </a:p>
        </c:txPr>
        <c:crossAx val="1355948015"/>
        <c:crosses val="autoZero"/>
        <c:auto val="1"/>
        <c:lblAlgn val="ctr"/>
        <c:lblOffset val="100"/>
        <c:noMultiLvlLbl val="0"/>
      </c:catAx>
      <c:valAx>
        <c:axId val="1355948015"/>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2"/>
                </a:solidFill>
                <a:latin typeface="+mn-lt"/>
                <a:ea typeface="+mn-ea"/>
                <a:cs typeface="+mn-cs"/>
              </a:defRPr>
            </a:pPr>
            <a:endParaRPr lang="cs-CZ"/>
          </a:p>
        </c:txPr>
        <c:crossAx val="1355951855"/>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89500565521927"/>
          <c:y val="9.7745791489091807E-2"/>
          <c:w val="0.82882056978236285"/>
          <c:h val="0.75000753794184027"/>
        </c:manualLayout>
      </c:layout>
      <c:areaChart>
        <c:grouping val="stacked"/>
        <c:varyColors val="0"/>
        <c:ser>
          <c:idx val="2"/>
          <c:order val="2"/>
          <c:tx>
            <c:strRef>
              <c:f>Sheet1!$E$3</c:f>
              <c:strCache>
                <c:ptCount val="1"/>
                <c:pt idx="0">
                  <c:v>MIN</c:v>
                </c:pt>
              </c:strCache>
            </c:strRef>
          </c:tx>
          <c:spPr>
            <a:noFill/>
            <a:ln>
              <a:noFill/>
            </a:ln>
            <a:effectLst/>
          </c:spPr>
          <c:cat>
            <c:numRef>
              <c:f>Sheet1!$B$4:$B$7</c:f>
              <c:numCache>
                <c:formatCode>General</c:formatCode>
                <c:ptCount val="4"/>
                <c:pt idx="0">
                  <c:v>2023</c:v>
                </c:pt>
                <c:pt idx="1">
                  <c:v>2030</c:v>
                </c:pt>
                <c:pt idx="2">
                  <c:v>2040</c:v>
                </c:pt>
                <c:pt idx="3">
                  <c:v>2050</c:v>
                </c:pt>
              </c:numCache>
            </c:numRef>
          </c:cat>
          <c:val>
            <c:numRef>
              <c:f>Sheet1!$E$4:$E$7</c:f>
              <c:numCache>
                <c:formatCode>General</c:formatCode>
                <c:ptCount val="4"/>
                <c:pt idx="0">
                  <c:v>94</c:v>
                </c:pt>
                <c:pt idx="1">
                  <c:v>86</c:v>
                </c:pt>
                <c:pt idx="2">
                  <c:v>88</c:v>
                </c:pt>
                <c:pt idx="3">
                  <c:v>69</c:v>
                </c:pt>
              </c:numCache>
            </c:numRef>
          </c:val>
          <c:extLst>
            <c:ext xmlns:c16="http://schemas.microsoft.com/office/drawing/2014/chart" uri="{C3380CC4-5D6E-409C-BE32-E72D297353CC}">
              <c16:uniqueId val="{00000000-B619-4D45-AF66-ED35AEBA121D}"/>
            </c:ext>
          </c:extLst>
        </c:ser>
        <c:ser>
          <c:idx val="3"/>
          <c:order val="3"/>
          <c:tx>
            <c:strRef>
              <c:f>Sheet1!$F$3</c:f>
              <c:strCache>
                <c:ptCount val="1"/>
                <c:pt idx="0">
                  <c:v>MAX</c:v>
                </c:pt>
              </c:strCache>
            </c:strRef>
          </c:tx>
          <c:spPr>
            <a:solidFill>
              <a:schemeClr val="accent3">
                <a:lumMod val="20000"/>
                <a:lumOff val="80000"/>
                <a:alpha val="38000"/>
              </a:schemeClr>
            </a:solidFill>
            <a:ln>
              <a:noFill/>
            </a:ln>
            <a:effectLst/>
          </c:spPr>
          <c:cat>
            <c:numRef>
              <c:f>Sheet1!$B$4:$B$7</c:f>
              <c:numCache>
                <c:formatCode>General</c:formatCode>
                <c:ptCount val="4"/>
                <c:pt idx="0">
                  <c:v>2023</c:v>
                </c:pt>
                <c:pt idx="1">
                  <c:v>2030</c:v>
                </c:pt>
                <c:pt idx="2">
                  <c:v>2040</c:v>
                </c:pt>
                <c:pt idx="3">
                  <c:v>2050</c:v>
                </c:pt>
              </c:numCache>
            </c:numRef>
          </c:cat>
          <c:val>
            <c:numRef>
              <c:f>Sheet1!$F$4:$F$7</c:f>
              <c:numCache>
                <c:formatCode>General</c:formatCode>
                <c:ptCount val="4"/>
                <c:pt idx="0">
                  <c:v>0</c:v>
                </c:pt>
                <c:pt idx="1">
                  <c:v>2</c:v>
                </c:pt>
                <c:pt idx="2">
                  <c:v>26</c:v>
                </c:pt>
                <c:pt idx="3">
                  <c:v>66</c:v>
                </c:pt>
              </c:numCache>
            </c:numRef>
          </c:val>
          <c:extLst>
            <c:ext xmlns:c16="http://schemas.microsoft.com/office/drawing/2014/chart" uri="{C3380CC4-5D6E-409C-BE32-E72D297353CC}">
              <c16:uniqueId val="{00000001-B619-4D45-AF66-ED35AEBA121D}"/>
            </c:ext>
          </c:extLst>
        </c:ser>
        <c:dLbls>
          <c:showLegendKey val="0"/>
          <c:showVal val="0"/>
          <c:showCatName val="0"/>
          <c:showSerName val="0"/>
          <c:showPercent val="0"/>
          <c:showBubbleSize val="0"/>
        </c:dLbls>
        <c:axId val="1122483583"/>
        <c:axId val="1122485503"/>
      </c:areaChart>
      <c:lineChart>
        <c:grouping val="standard"/>
        <c:varyColors val="0"/>
        <c:ser>
          <c:idx val="0"/>
          <c:order val="0"/>
          <c:tx>
            <c:strRef>
              <c:f>Sheet1!$C$3</c:f>
              <c:strCache>
                <c:ptCount val="1"/>
                <c:pt idx="0">
                  <c:v>Low</c:v>
                </c:pt>
              </c:strCache>
            </c:strRef>
          </c:tx>
          <c:spPr>
            <a:ln w="22225" cap="rnd">
              <a:solidFill>
                <a:schemeClr val="accent3"/>
              </a:solidFill>
              <a:round/>
            </a:ln>
            <a:effectLst/>
          </c:spPr>
          <c:marker>
            <c:symbol val="none"/>
          </c:marker>
          <c:cat>
            <c:numRef>
              <c:f>Sheet1!$B$4:$B$7</c:f>
              <c:numCache>
                <c:formatCode>General</c:formatCode>
                <c:ptCount val="4"/>
                <c:pt idx="0">
                  <c:v>2023</c:v>
                </c:pt>
                <c:pt idx="1">
                  <c:v>2030</c:v>
                </c:pt>
                <c:pt idx="2">
                  <c:v>2040</c:v>
                </c:pt>
                <c:pt idx="3">
                  <c:v>2050</c:v>
                </c:pt>
              </c:numCache>
            </c:numRef>
          </c:cat>
          <c:val>
            <c:numRef>
              <c:f>Sheet1!$C$4:$C$7</c:f>
              <c:numCache>
                <c:formatCode>General</c:formatCode>
                <c:ptCount val="4"/>
                <c:pt idx="0">
                  <c:v>94</c:v>
                </c:pt>
                <c:pt idx="1">
                  <c:v>86</c:v>
                </c:pt>
                <c:pt idx="2">
                  <c:v>88</c:v>
                </c:pt>
                <c:pt idx="3">
                  <c:v>69</c:v>
                </c:pt>
              </c:numCache>
            </c:numRef>
          </c:val>
          <c:smooth val="0"/>
          <c:extLst>
            <c:ext xmlns:c16="http://schemas.microsoft.com/office/drawing/2014/chart" uri="{C3380CC4-5D6E-409C-BE32-E72D297353CC}">
              <c16:uniqueId val="{00000002-B619-4D45-AF66-ED35AEBA121D}"/>
            </c:ext>
          </c:extLst>
        </c:ser>
        <c:ser>
          <c:idx val="1"/>
          <c:order val="1"/>
          <c:tx>
            <c:strRef>
              <c:f>Sheet1!$D$3</c:f>
              <c:strCache>
                <c:ptCount val="1"/>
                <c:pt idx="0">
                  <c:v>High</c:v>
                </c:pt>
              </c:strCache>
            </c:strRef>
          </c:tx>
          <c:spPr>
            <a:ln w="22225" cap="rnd">
              <a:solidFill>
                <a:schemeClr val="accent2"/>
              </a:solidFill>
              <a:round/>
            </a:ln>
            <a:effectLst/>
          </c:spPr>
          <c:marker>
            <c:symbol val="none"/>
          </c:marker>
          <c:cat>
            <c:numRef>
              <c:f>Sheet1!$B$4:$B$7</c:f>
              <c:numCache>
                <c:formatCode>General</c:formatCode>
                <c:ptCount val="4"/>
                <c:pt idx="0">
                  <c:v>2023</c:v>
                </c:pt>
                <c:pt idx="1">
                  <c:v>2030</c:v>
                </c:pt>
                <c:pt idx="2">
                  <c:v>2040</c:v>
                </c:pt>
                <c:pt idx="3">
                  <c:v>2050</c:v>
                </c:pt>
              </c:numCache>
            </c:numRef>
          </c:cat>
          <c:val>
            <c:numRef>
              <c:f>Sheet1!$D$4:$D$7</c:f>
              <c:numCache>
                <c:formatCode>General</c:formatCode>
                <c:ptCount val="4"/>
                <c:pt idx="0">
                  <c:v>94</c:v>
                </c:pt>
                <c:pt idx="1">
                  <c:v>88</c:v>
                </c:pt>
                <c:pt idx="2">
                  <c:v>114</c:v>
                </c:pt>
                <c:pt idx="3">
                  <c:v>135</c:v>
                </c:pt>
              </c:numCache>
            </c:numRef>
          </c:val>
          <c:smooth val="0"/>
          <c:extLst>
            <c:ext xmlns:c16="http://schemas.microsoft.com/office/drawing/2014/chart" uri="{C3380CC4-5D6E-409C-BE32-E72D297353CC}">
              <c16:uniqueId val="{00000003-B619-4D45-AF66-ED35AEBA121D}"/>
            </c:ext>
          </c:extLst>
        </c:ser>
        <c:dLbls>
          <c:showLegendKey val="0"/>
          <c:showVal val="0"/>
          <c:showCatName val="0"/>
          <c:showSerName val="0"/>
          <c:showPercent val="0"/>
          <c:showBubbleSize val="0"/>
        </c:dLbls>
        <c:marker val="1"/>
        <c:smooth val="0"/>
        <c:axId val="1122483583"/>
        <c:axId val="1122485503"/>
      </c:lineChart>
      <c:catAx>
        <c:axId val="1122483583"/>
        <c:scaling>
          <c:orientation val="minMax"/>
        </c:scaling>
        <c:delete val="0"/>
        <c:axPos val="b"/>
        <c:numFmt formatCode="General" sourceLinked="1"/>
        <c:majorTickMark val="none"/>
        <c:minorTickMark val="none"/>
        <c:tickLblPos val="nextTo"/>
        <c:spPr>
          <a:noFill/>
          <a:ln w="9525" cap="flat" cmpd="sng" algn="ctr">
            <a:solidFill>
              <a:schemeClr val="tx1">
                <a:lumMod val="7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cs-CZ"/>
          </a:p>
        </c:txPr>
        <c:crossAx val="1122485503"/>
        <c:crosses val="autoZero"/>
        <c:auto val="1"/>
        <c:lblAlgn val="ctr"/>
        <c:lblOffset val="100"/>
        <c:noMultiLvlLbl val="0"/>
      </c:catAx>
      <c:valAx>
        <c:axId val="1122485503"/>
        <c:scaling>
          <c:orientation val="minMax"/>
          <c:max val="140"/>
          <c:min val="60"/>
        </c:scaling>
        <c:delete val="0"/>
        <c:axPos val="l"/>
        <c:majorGridlines>
          <c:spPr>
            <a:ln w="3175" cap="flat" cmpd="sng" algn="ctr">
              <a:solidFill>
                <a:schemeClr val="tx1">
                  <a:lumMod val="75000"/>
                  <a:alpha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cs-CZ"/>
          </a:p>
        </c:txPr>
        <c:crossAx val="1122483583"/>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1" i="0" u="none" strike="noStrike" kern="1200" spc="0" baseline="0">
                <a:solidFill>
                  <a:schemeClr val="bg1"/>
                </a:solidFill>
                <a:latin typeface="+mn-lt"/>
                <a:ea typeface="+mn-ea"/>
                <a:cs typeface="+mn-cs"/>
              </a:defRPr>
            </a:pPr>
            <a:r>
              <a:rPr lang="cs-CZ" sz="900" b="1" dirty="0">
                <a:solidFill>
                  <a:schemeClr val="accent3"/>
                </a:solidFill>
              </a:rPr>
              <a:t>Podíl</a:t>
            </a:r>
            <a:r>
              <a:rPr lang="cs-CZ" sz="900" b="1" baseline="0" dirty="0">
                <a:solidFill>
                  <a:schemeClr val="accent3"/>
                </a:solidFill>
              </a:rPr>
              <a:t> zdrojů na výrobě EE ve Francii</a:t>
            </a:r>
            <a:endParaRPr lang="en-US" sz="900" b="1" dirty="0">
              <a:solidFill>
                <a:schemeClr val="accent3"/>
              </a:solidFill>
            </a:endParaRPr>
          </a:p>
        </c:rich>
      </c:tx>
      <c:layout>
        <c:manualLayout>
          <c:xMode val="edge"/>
          <c:yMode val="edge"/>
          <c:x val="0.25076928422998601"/>
          <c:y val="2.7479039960179814E-2"/>
        </c:manualLayout>
      </c:layout>
      <c:overlay val="0"/>
      <c:spPr>
        <a:noFill/>
        <a:ln>
          <a:noFill/>
        </a:ln>
        <a:effectLst/>
      </c:spPr>
      <c:txPr>
        <a:bodyPr rot="0" spcFirstLastPara="1" vertOverflow="ellipsis" vert="horz" wrap="square" anchor="ctr" anchorCtr="1"/>
        <a:lstStyle/>
        <a:p>
          <a:pPr>
            <a:defRPr sz="900" b="1" i="0" u="none" strike="noStrike" kern="1200" spc="0" baseline="0">
              <a:solidFill>
                <a:schemeClr val="bg1"/>
              </a:solidFill>
              <a:latin typeface="+mn-lt"/>
              <a:ea typeface="+mn-ea"/>
              <a:cs typeface="+mn-cs"/>
            </a:defRPr>
          </a:pPr>
          <a:endParaRPr lang="cs-CZ"/>
        </a:p>
      </c:txPr>
    </c:title>
    <c:autoTitleDeleted val="0"/>
    <c:plotArea>
      <c:layout>
        <c:manualLayout>
          <c:layoutTarget val="inner"/>
          <c:xMode val="edge"/>
          <c:yMode val="edge"/>
          <c:x val="0.16102858493123076"/>
          <c:y val="0.14032914646883954"/>
          <c:w val="0.80261788764794595"/>
          <c:h val="0.6560317472662508"/>
        </c:manualLayout>
      </c:layout>
      <c:barChart>
        <c:barDir val="col"/>
        <c:grouping val="stacked"/>
        <c:varyColors val="0"/>
        <c:ser>
          <c:idx val="0"/>
          <c:order val="0"/>
          <c:tx>
            <c:strRef>
              <c:f>[data.xlsx]List1!$D$20</c:f>
              <c:strCache>
                <c:ptCount val="1"/>
                <c:pt idx="0">
                  <c:v>Jaderné</c:v>
                </c:pt>
              </c:strCache>
            </c:strRef>
          </c:tx>
          <c:spPr>
            <a:solidFill>
              <a:schemeClr val="accent3">
                <a:lumMod val="50000"/>
              </a:schemeClr>
            </a:solidFill>
            <a:ln>
              <a:noFill/>
            </a:ln>
            <a:effectLst/>
          </c:spPr>
          <c:invertIfNegative val="0"/>
          <c:cat>
            <c:numRef>
              <c:f>[data.xlsx]List1!$E$19:$I$19</c:f>
              <c:numCache>
                <c:formatCode>General</c:formatCode>
                <c:ptCount val="5"/>
                <c:pt idx="0">
                  <c:v>2019</c:v>
                </c:pt>
                <c:pt idx="1">
                  <c:v>2020</c:v>
                </c:pt>
                <c:pt idx="2">
                  <c:v>2021</c:v>
                </c:pt>
                <c:pt idx="3">
                  <c:v>2022</c:v>
                </c:pt>
                <c:pt idx="4">
                  <c:v>2023</c:v>
                </c:pt>
              </c:numCache>
            </c:numRef>
          </c:cat>
          <c:val>
            <c:numRef>
              <c:f>[data.xlsx]List1!$E$20:$I$20</c:f>
              <c:numCache>
                <c:formatCode>General</c:formatCode>
                <c:ptCount val="5"/>
                <c:pt idx="0">
                  <c:v>379</c:v>
                </c:pt>
                <c:pt idx="1">
                  <c:v>335</c:v>
                </c:pt>
                <c:pt idx="2">
                  <c:v>360</c:v>
                </c:pt>
                <c:pt idx="3">
                  <c:v>285</c:v>
                </c:pt>
                <c:pt idx="4">
                  <c:v>319</c:v>
                </c:pt>
              </c:numCache>
            </c:numRef>
          </c:val>
          <c:extLst>
            <c:ext xmlns:c16="http://schemas.microsoft.com/office/drawing/2014/chart" uri="{C3380CC4-5D6E-409C-BE32-E72D297353CC}">
              <c16:uniqueId val="{00000000-ADD8-4036-93E9-D2BE631A96D7}"/>
            </c:ext>
          </c:extLst>
        </c:ser>
        <c:ser>
          <c:idx val="1"/>
          <c:order val="1"/>
          <c:tx>
            <c:strRef>
              <c:f>[data.xlsx]List1!$D$21</c:f>
              <c:strCache>
                <c:ptCount val="1"/>
                <c:pt idx="0">
                  <c:v>Vodní</c:v>
                </c:pt>
              </c:strCache>
            </c:strRef>
          </c:tx>
          <c:spPr>
            <a:solidFill>
              <a:schemeClr val="accent3"/>
            </a:solidFill>
            <a:ln>
              <a:noFill/>
            </a:ln>
            <a:effectLst/>
          </c:spPr>
          <c:invertIfNegative val="0"/>
          <c:cat>
            <c:numRef>
              <c:f>[data.xlsx]List1!$E$19:$I$19</c:f>
              <c:numCache>
                <c:formatCode>General</c:formatCode>
                <c:ptCount val="5"/>
                <c:pt idx="0">
                  <c:v>2019</c:v>
                </c:pt>
                <c:pt idx="1">
                  <c:v>2020</c:v>
                </c:pt>
                <c:pt idx="2">
                  <c:v>2021</c:v>
                </c:pt>
                <c:pt idx="3">
                  <c:v>2022</c:v>
                </c:pt>
                <c:pt idx="4">
                  <c:v>2023</c:v>
                </c:pt>
              </c:numCache>
            </c:numRef>
          </c:cat>
          <c:val>
            <c:numRef>
              <c:f>[data.xlsx]List1!$E$21:$I$21</c:f>
              <c:numCache>
                <c:formatCode>General</c:formatCode>
                <c:ptCount val="5"/>
                <c:pt idx="0">
                  <c:v>54</c:v>
                </c:pt>
                <c:pt idx="1">
                  <c:v>59.2</c:v>
                </c:pt>
                <c:pt idx="2">
                  <c:v>55.9</c:v>
                </c:pt>
                <c:pt idx="3">
                  <c:v>42.8</c:v>
                </c:pt>
                <c:pt idx="4">
                  <c:v>50.6</c:v>
                </c:pt>
              </c:numCache>
            </c:numRef>
          </c:val>
          <c:extLst>
            <c:ext xmlns:c16="http://schemas.microsoft.com/office/drawing/2014/chart" uri="{C3380CC4-5D6E-409C-BE32-E72D297353CC}">
              <c16:uniqueId val="{00000001-ADD8-4036-93E9-D2BE631A96D7}"/>
            </c:ext>
          </c:extLst>
        </c:ser>
        <c:ser>
          <c:idx val="2"/>
          <c:order val="2"/>
          <c:tx>
            <c:strRef>
              <c:f>[data.xlsx]List1!$D$22</c:f>
              <c:strCache>
                <c:ptCount val="1"/>
                <c:pt idx="0">
                  <c:v>Ostatní OZE</c:v>
                </c:pt>
              </c:strCache>
            </c:strRef>
          </c:tx>
          <c:spPr>
            <a:solidFill>
              <a:schemeClr val="accent1"/>
            </a:solidFill>
            <a:ln>
              <a:noFill/>
            </a:ln>
            <a:effectLst/>
          </c:spPr>
          <c:invertIfNegative val="0"/>
          <c:cat>
            <c:numRef>
              <c:f>[data.xlsx]List1!$E$19:$I$19</c:f>
              <c:numCache>
                <c:formatCode>General</c:formatCode>
                <c:ptCount val="5"/>
                <c:pt idx="0">
                  <c:v>2019</c:v>
                </c:pt>
                <c:pt idx="1">
                  <c:v>2020</c:v>
                </c:pt>
                <c:pt idx="2">
                  <c:v>2021</c:v>
                </c:pt>
                <c:pt idx="3">
                  <c:v>2022</c:v>
                </c:pt>
                <c:pt idx="4">
                  <c:v>2023</c:v>
                </c:pt>
              </c:numCache>
            </c:numRef>
          </c:cat>
          <c:val>
            <c:numRef>
              <c:f>[data.xlsx]List1!$E$22:$I$22</c:f>
              <c:numCache>
                <c:formatCode>General</c:formatCode>
                <c:ptCount val="5"/>
                <c:pt idx="0">
                  <c:v>55.56</c:v>
                </c:pt>
                <c:pt idx="1">
                  <c:v>61.88</c:v>
                </c:pt>
                <c:pt idx="2">
                  <c:v>59.65</c:v>
                </c:pt>
                <c:pt idx="3">
                  <c:v>63.87</c:v>
                </c:pt>
                <c:pt idx="4">
                  <c:v>75.5</c:v>
                </c:pt>
              </c:numCache>
            </c:numRef>
          </c:val>
          <c:extLst>
            <c:ext xmlns:c16="http://schemas.microsoft.com/office/drawing/2014/chart" uri="{C3380CC4-5D6E-409C-BE32-E72D297353CC}">
              <c16:uniqueId val="{00000002-ADD8-4036-93E9-D2BE631A96D7}"/>
            </c:ext>
          </c:extLst>
        </c:ser>
        <c:ser>
          <c:idx val="3"/>
          <c:order val="3"/>
          <c:tx>
            <c:strRef>
              <c:f>[data.xlsx]List1!$D$23</c:f>
              <c:strCache>
                <c:ptCount val="1"/>
                <c:pt idx="0">
                  <c:v>Fosilní</c:v>
                </c:pt>
              </c:strCache>
            </c:strRef>
          </c:tx>
          <c:spPr>
            <a:solidFill>
              <a:schemeClr val="tx1">
                <a:lumMod val="50000"/>
              </a:schemeClr>
            </a:solidFill>
            <a:ln>
              <a:noFill/>
            </a:ln>
            <a:effectLst/>
          </c:spPr>
          <c:invertIfNegative val="0"/>
          <c:cat>
            <c:numRef>
              <c:f>[data.xlsx]List1!$E$19:$I$19</c:f>
              <c:numCache>
                <c:formatCode>General</c:formatCode>
                <c:ptCount val="5"/>
                <c:pt idx="0">
                  <c:v>2019</c:v>
                </c:pt>
                <c:pt idx="1">
                  <c:v>2020</c:v>
                </c:pt>
                <c:pt idx="2">
                  <c:v>2021</c:v>
                </c:pt>
                <c:pt idx="3">
                  <c:v>2022</c:v>
                </c:pt>
                <c:pt idx="4">
                  <c:v>2023</c:v>
                </c:pt>
              </c:numCache>
            </c:numRef>
          </c:cat>
          <c:val>
            <c:numRef>
              <c:f>[data.xlsx]List1!$E$23:$I$23</c:f>
              <c:numCache>
                <c:formatCode>General</c:formatCode>
                <c:ptCount val="5"/>
                <c:pt idx="0">
                  <c:v>5.27</c:v>
                </c:pt>
                <c:pt idx="1">
                  <c:v>35.9</c:v>
                </c:pt>
                <c:pt idx="2">
                  <c:v>36.599999999999994</c:v>
                </c:pt>
                <c:pt idx="3">
                  <c:v>47.7</c:v>
                </c:pt>
                <c:pt idx="4">
                  <c:v>28.87</c:v>
                </c:pt>
              </c:numCache>
            </c:numRef>
          </c:val>
          <c:extLst>
            <c:ext xmlns:c16="http://schemas.microsoft.com/office/drawing/2014/chart" uri="{C3380CC4-5D6E-409C-BE32-E72D297353CC}">
              <c16:uniqueId val="{00000003-ADD8-4036-93E9-D2BE631A96D7}"/>
            </c:ext>
          </c:extLst>
        </c:ser>
        <c:dLbls>
          <c:showLegendKey val="0"/>
          <c:showVal val="0"/>
          <c:showCatName val="0"/>
          <c:showSerName val="0"/>
          <c:showPercent val="0"/>
          <c:showBubbleSize val="0"/>
        </c:dLbls>
        <c:gapWidth val="73"/>
        <c:overlap val="100"/>
        <c:axId val="1245973167"/>
        <c:axId val="984123903"/>
      </c:barChart>
      <c:catAx>
        <c:axId val="12459731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cs-CZ"/>
          </a:p>
        </c:txPr>
        <c:crossAx val="984123903"/>
        <c:crosses val="autoZero"/>
        <c:auto val="1"/>
        <c:lblAlgn val="ctr"/>
        <c:lblOffset val="100"/>
        <c:noMultiLvlLbl val="0"/>
      </c:catAx>
      <c:valAx>
        <c:axId val="984123903"/>
        <c:scaling>
          <c:orientation val="minMax"/>
        </c:scaling>
        <c:delete val="0"/>
        <c:axPos val="l"/>
        <c:majorGridlines>
          <c:spPr>
            <a:ln w="6350" cap="flat" cmpd="sng" algn="ctr">
              <a:solidFill>
                <a:schemeClr val="tx1">
                  <a:lumMod val="85000"/>
                  <a:alpha val="80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r>
                  <a:rPr lang="cs-CZ" sz="800" b="0" dirty="0" err="1"/>
                  <a:t>TWh</a:t>
                </a:r>
                <a:endParaRPr lang="en-US" sz="800" b="0" dirty="0"/>
              </a:p>
            </c:rich>
          </c:tx>
          <c:layout>
            <c:manualLayout>
              <c:xMode val="edge"/>
              <c:yMode val="edge"/>
              <c:x val="2.1683126342199086E-2"/>
              <c:y val="0.41356258457901041"/>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cs-CZ"/>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cs-CZ"/>
          </a:p>
        </c:txPr>
        <c:crossAx val="1245973167"/>
        <c:crosses val="autoZero"/>
        <c:crossBetween val="between"/>
      </c:valAx>
      <c:spPr>
        <a:noFill/>
        <a:ln>
          <a:noFill/>
        </a:ln>
        <a:effectLst/>
      </c:spPr>
    </c:plotArea>
    <c:legend>
      <c:legendPos val="b"/>
      <c:layout>
        <c:manualLayout>
          <c:xMode val="edge"/>
          <c:yMode val="edge"/>
          <c:x val="0.19525238555255164"/>
          <c:y val="0.88392259951158048"/>
          <c:w val="0.6448004336736467"/>
          <c:h val="7.656830873088708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cs-CZ"/>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20515766774234"/>
          <c:y val="7.3851885890913335E-2"/>
          <c:w val="0.79137386397369736"/>
          <c:h val="0.68629389342049907"/>
        </c:manualLayout>
      </c:layout>
      <c:barChart>
        <c:barDir val="col"/>
        <c:grouping val="clustered"/>
        <c:varyColors val="0"/>
        <c:ser>
          <c:idx val="0"/>
          <c:order val="0"/>
          <c:tx>
            <c:strRef>
              <c:f>[data.xlsx]Sheet1!$C$9</c:f>
              <c:strCache>
                <c:ptCount val="1"/>
                <c:pt idx="0">
                  <c:v>Instalovaný výkon JE</c:v>
                </c:pt>
              </c:strCache>
            </c:strRef>
          </c:tx>
          <c:spPr>
            <a:solidFill>
              <a:schemeClr val="accent5">
                <a:lumMod val="60000"/>
                <a:lumOff val="40000"/>
              </a:schemeClr>
            </a:solidFill>
            <a:ln>
              <a:noFill/>
            </a:ln>
            <a:effectLst/>
          </c:spPr>
          <c:invertIfNegative val="0"/>
          <c:cat>
            <c:numRef>
              <c:f>[data.xlsx]Sheet1!$D$8:$H$8</c:f>
              <c:numCache>
                <c:formatCode>General</c:formatCode>
                <c:ptCount val="5"/>
                <c:pt idx="0">
                  <c:v>1990</c:v>
                </c:pt>
                <c:pt idx="1">
                  <c:v>2000</c:v>
                </c:pt>
                <c:pt idx="2">
                  <c:v>2010</c:v>
                </c:pt>
                <c:pt idx="3">
                  <c:v>2020</c:v>
                </c:pt>
                <c:pt idx="4">
                  <c:v>2023</c:v>
                </c:pt>
              </c:numCache>
            </c:numRef>
          </c:cat>
          <c:val>
            <c:numRef>
              <c:f>[data.xlsx]Sheet1!$D$9:$H$9</c:f>
              <c:numCache>
                <c:formatCode>General</c:formatCode>
                <c:ptCount val="5"/>
                <c:pt idx="0">
                  <c:v>11.5</c:v>
                </c:pt>
                <c:pt idx="1">
                  <c:v>12.5</c:v>
                </c:pt>
                <c:pt idx="2">
                  <c:v>10.1</c:v>
                </c:pt>
                <c:pt idx="3">
                  <c:v>8.9</c:v>
                </c:pt>
                <c:pt idx="4">
                  <c:v>5.9</c:v>
                </c:pt>
              </c:numCache>
            </c:numRef>
          </c:val>
          <c:extLst>
            <c:ext xmlns:c16="http://schemas.microsoft.com/office/drawing/2014/chart" uri="{C3380CC4-5D6E-409C-BE32-E72D297353CC}">
              <c16:uniqueId val="{00000000-9FB4-48E3-A898-84C4A3DD20DF}"/>
            </c:ext>
          </c:extLst>
        </c:ser>
        <c:dLbls>
          <c:showLegendKey val="0"/>
          <c:showVal val="0"/>
          <c:showCatName val="0"/>
          <c:showSerName val="0"/>
          <c:showPercent val="0"/>
          <c:showBubbleSize val="0"/>
        </c:dLbls>
        <c:gapWidth val="93"/>
        <c:axId val="1625587151"/>
        <c:axId val="1625595791"/>
      </c:barChart>
      <c:lineChart>
        <c:grouping val="standard"/>
        <c:varyColors val="0"/>
        <c:ser>
          <c:idx val="1"/>
          <c:order val="1"/>
          <c:tx>
            <c:strRef>
              <c:f>[data.xlsx]Sheet1!$C$10</c:f>
              <c:strCache>
                <c:ptCount val="1"/>
                <c:pt idx="0">
                  <c:v>Podíl JE na výrobě</c:v>
                </c:pt>
              </c:strCache>
            </c:strRef>
          </c:tx>
          <c:spPr>
            <a:ln w="22225" cap="rnd">
              <a:solidFill>
                <a:schemeClr val="accent3"/>
              </a:solidFill>
              <a:round/>
            </a:ln>
            <a:effectLst/>
          </c:spPr>
          <c:marker>
            <c:symbol val="none"/>
          </c:marker>
          <c:val>
            <c:numRef>
              <c:f>[data.xlsx]Sheet1!$D$10:$H$10</c:f>
              <c:numCache>
                <c:formatCode>0.0%</c:formatCode>
                <c:ptCount val="5"/>
                <c:pt idx="0">
                  <c:v>0.19800000000000001</c:v>
                </c:pt>
                <c:pt idx="1">
                  <c:v>0.217</c:v>
                </c:pt>
                <c:pt idx="2">
                  <c:v>0.1615</c:v>
                </c:pt>
                <c:pt idx="3">
                  <c:v>0.15210000000000001</c:v>
                </c:pt>
                <c:pt idx="4">
                  <c:v>0.13020000000000001</c:v>
                </c:pt>
              </c:numCache>
            </c:numRef>
          </c:val>
          <c:smooth val="0"/>
          <c:extLst>
            <c:ext xmlns:c16="http://schemas.microsoft.com/office/drawing/2014/chart" uri="{C3380CC4-5D6E-409C-BE32-E72D297353CC}">
              <c16:uniqueId val="{00000001-9FB4-48E3-A898-84C4A3DD20DF}"/>
            </c:ext>
          </c:extLst>
        </c:ser>
        <c:dLbls>
          <c:showLegendKey val="0"/>
          <c:showVal val="0"/>
          <c:showCatName val="0"/>
          <c:showSerName val="0"/>
          <c:showPercent val="0"/>
          <c:showBubbleSize val="0"/>
        </c:dLbls>
        <c:marker val="1"/>
        <c:smooth val="0"/>
        <c:axId val="1625602511"/>
        <c:axId val="1625591951"/>
      </c:lineChart>
      <c:catAx>
        <c:axId val="16255871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lumMod val="75000"/>
                  </a:schemeClr>
                </a:solidFill>
                <a:latin typeface="+mn-lt"/>
                <a:ea typeface="+mn-ea"/>
                <a:cs typeface="+mn-cs"/>
              </a:defRPr>
            </a:pPr>
            <a:endParaRPr lang="cs-CZ"/>
          </a:p>
        </c:txPr>
        <c:crossAx val="1625595791"/>
        <c:crosses val="autoZero"/>
        <c:auto val="1"/>
        <c:lblAlgn val="ctr"/>
        <c:lblOffset val="100"/>
        <c:noMultiLvlLbl val="0"/>
      </c:catAx>
      <c:valAx>
        <c:axId val="1625595791"/>
        <c:scaling>
          <c:orientation val="minMax"/>
        </c:scaling>
        <c:delete val="0"/>
        <c:axPos val="l"/>
        <c:majorGridlines>
          <c:spPr>
            <a:ln w="6350" cap="flat" cmpd="sng" algn="ctr">
              <a:solidFill>
                <a:schemeClr val="tx1">
                  <a:lumMod val="85000"/>
                  <a:alpha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lumMod val="75000"/>
                  </a:schemeClr>
                </a:solidFill>
                <a:latin typeface="+mn-lt"/>
                <a:ea typeface="+mn-ea"/>
                <a:cs typeface="+mn-cs"/>
              </a:defRPr>
            </a:pPr>
            <a:endParaRPr lang="cs-CZ"/>
          </a:p>
        </c:txPr>
        <c:crossAx val="1625587151"/>
        <c:crosses val="autoZero"/>
        <c:crossBetween val="between"/>
      </c:valAx>
      <c:valAx>
        <c:axId val="1625591951"/>
        <c:scaling>
          <c:orientation val="minMax"/>
          <c:max val="0.25"/>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lumMod val="75000"/>
                  </a:schemeClr>
                </a:solidFill>
                <a:latin typeface="+mn-lt"/>
                <a:ea typeface="+mn-ea"/>
                <a:cs typeface="+mn-cs"/>
              </a:defRPr>
            </a:pPr>
            <a:endParaRPr lang="cs-CZ"/>
          </a:p>
        </c:txPr>
        <c:crossAx val="1625602511"/>
        <c:crosses val="max"/>
        <c:crossBetween val="between"/>
        <c:majorUnit val="5.000000000000001E-2"/>
      </c:valAx>
      <c:catAx>
        <c:axId val="1625602511"/>
        <c:scaling>
          <c:orientation val="minMax"/>
        </c:scaling>
        <c:delete val="1"/>
        <c:axPos val="b"/>
        <c:majorTickMark val="out"/>
        <c:minorTickMark val="none"/>
        <c:tickLblPos val="nextTo"/>
        <c:crossAx val="1625591951"/>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lumMod val="75000"/>
            </a:schemeClr>
          </a:solidFill>
        </a:defRPr>
      </a:pPr>
      <a:endParaRPr lang="cs-C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444096215336529E-2"/>
          <c:y val="7.4658463678113185E-2"/>
          <c:w val="0.80125830127904041"/>
          <c:h val="0.68064506782435674"/>
        </c:manualLayout>
      </c:layout>
      <c:barChart>
        <c:barDir val="col"/>
        <c:grouping val="stacked"/>
        <c:varyColors val="0"/>
        <c:ser>
          <c:idx val="0"/>
          <c:order val="0"/>
          <c:tx>
            <c:strRef>
              <c:f>[data.xlsx]Sheet2!$C$8</c:f>
              <c:strCache>
                <c:ptCount val="1"/>
                <c:pt idx="0">
                  <c:v>Vodní</c:v>
                </c:pt>
              </c:strCache>
            </c:strRef>
          </c:tx>
          <c:spPr>
            <a:solidFill>
              <a:schemeClr val="accent3"/>
            </a:solidFill>
            <a:ln>
              <a:noFill/>
            </a:ln>
            <a:effectLst/>
          </c:spPr>
          <c:invertIfNegative val="0"/>
          <c:cat>
            <c:numRef>
              <c:f>[data.xlsx]Sheet2!$D$7:$H$7</c:f>
              <c:numCache>
                <c:formatCode>General</c:formatCode>
                <c:ptCount val="5"/>
                <c:pt idx="0">
                  <c:v>1990</c:v>
                </c:pt>
                <c:pt idx="1">
                  <c:v>2000</c:v>
                </c:pt>
                <c:pt idx="2">
                  <c:v>2010</c:v>
                </c:pt>
                <c:pt idx="3">
                  <c:v>2020</c:v>
                </c:pt>
                <c:pt idx="4">
                  <c:v>2023</c:v>
                </c:pt>
              </c:numCache>
            </c:numRef>
          </c:cat>
          <c:val>
            <c:numRef>
              <c:f>[data.xlsx]Sheet2!$D$8:$H$8</c:f>
              <c:numCache>
                <c:formatCode>General</c:formatCode>
                <c:ptCount val="5"/>
                <c:pt idx="0">
                  <c:v>11.41</c:v>
                </c:pt>
                <c:pt idx="1">
                  <c:v>14.78</c:v>
                </c:pt>
                <c:pt idx="2">
                  <c:v>19.88</c:v>
                </c:pt>
                <c:pt idx="3">
                  <c:v>15.38</c:v>
                </c:pt>
                <c:pt idx="4">
                  <c:v>18.3</c:v>
                </c:pt>
              </c:numCache>
            </c:numRef>
          </c:val>
          <c:extLst>
            <c:ext xmlns:c16="http://schemas.microsoft.com/office/drawing/2014/chart" uri="{C3380CC4-5D6E-409C-BE32-E72D297353CC}">
              <c16:uniqueId val="{00000000-82E3-4EFF-B4AE-3E34328B97C2}"/>
            </c:ext>
          </c:extLst>
        </c:ser>
        <c:ser>
          <c:idx val="1"/>
          <c:order val="1"/>
          <c:tx>
            <c:strRef>
              <c:f>[data.xlsx]Sheet2!$C$9</c:f>
              <c:strCache>
                <c:ptCount val="1"/>
                <c:pt idx="0">
                  <c:v>Jaderní</c:v>
                </c:pt>
              </c:strCache>
            </c:strRef>
          </c:tx>
          <c:spPr>
            <a:solidFill>
              <a:schemeClr val="accent3">
                <a:lumMod val="50000"/>
              </a:schemeClr>
            </a:solidFill>
            <a:ln>
              <a:noFill/>
            </a:ln>
            <a:effectLst/>
          </c:spPr>
          <c:invertIfNegative val="0"/>
          <c:cat>
            <c:numRef>
              <c:f>[data.xlsx]Sheet2!$D$7:$H$7</c:f>
              <c:numCache>
                <c:formatCode>General</c:formatCode>
                <c:ptCount val="5"/>
                <c:pt idx="0">
                  <c:v>1990</c:v>
                </c:pt>
                <c:pt idx="1">
                  <c:v>2000</c:v>
                </c:pt>
                <c:pt idx="2">
                  <c:v>2010</c:v>
                </c:pt>
                <c:pt idx="3">
                  <c:v>2020</c:v>
                </c:pt>
                <c:pt idx="4">
                  <c:v>2023</c:v>
                </c:pt>
              </c:numCache>
            </c:numRef>
          </c:cat>
          <c:val>
            <c:numRef>
              <c:f>[data.xlsx]Sheet2!$D$9:$H$9</c:f>
              <c:numCache>
                <c:formatCode>General</c:formatCode>
                <c:ptCount val="5"/>
                <c:pt idx="1">
                  <c:v>5.46</c:v>
                </c:pt>
                <c:pt idx="2">
                  <c:v>11.62</c:v>
                </c:pt>
                <c:pt idx="3">
                  <c:v>11.09</c:v>
                </c:pt>
                <c:pt idx="4">
                  <c:v>11.18</c:v>
                </c:pt>
              </c:numCache>
            </c:numRef>
          </c:val>
          <c:extLst>
            <c:ext xmlns:c16="http://schemas.microsoft.com/office/drawing/2014/chart" uri="{C3380CC4-5D6E-409C-BE32-E72D297353CC}">
              <c16:uniqueId val="{00000001-82E3-4EFF-B4AE-3E34328B97C2}"/>
            </c:ext>
          </c:extLst>
        </c:ser>
        <c:ser>
          <c:idx val="2"/>
          <c:order val="2"/>
          <c:tx>
            <c:strRef>
              <c:f>[data.xlsx]Sheet2!$C$10</c:f>
              <c:strCache>
                <c:ptCount val="1"/>
                <c:pt idx="0">
                  <c:v>Fosilní </c:v>
                </c:pt>
              </c:strCache>
            </c:strRef>
          </c:tx>
          <c:spPr>
            <a:solidFill>
              <a:schemeClr val="tx1">
                <a:lumMod val="50000"/>
              </a:schemeClr>
            </a:solidFill>
            <a:ln>
              <a:noFill/>
            </a:ln>
            <a:effectLst/>
          </c:spPr>
          <c:invertIfNegative val="0"/>
          <c:cat>
            <c:numRef>
              <c:f>[data.xlsx]Sheet2!$D$7:$H$7</c:f>
              <c:numCache>
                <c:formatCode>General</c:formatCode>
                <c:ptCount val="5"/>
                <c:pt idx="0">
                  <c:v>1990</c:v>
                </c:pt>
                <c:pt idx="1">
                  <c:v>2000</c:v>
                </c:pt>
                <c:pt idx="2">
                  <c:v>2010</c:v>
                </c:pt>
                <c:pt idx="3">
                  <c:v>2020</c:v>
                </c:pt>
                <c:pt idx="4">
                  <c:v>2023</c:v>
                </c:pt>
              </c:numCache>
            </c:numRef>
          </c:cat>
          <c:val>
            <c:numRef>
              <c:f>[data.xlsx]Sheet2!$D$10:$H$10</c:f>
              <c:numCache>
                <c:formatCode>General</c:formatCode>
                <c:ptCount val="5"/>
                <c:pt idx="0">
                  <c:v>62.38</c:v>
                </c:pt>
                <c:pt idx="1">
                  <c:v>31.31</c:v>
                </c:pt>
                <c:pt idx="2">
                  <c:v>28.5</c:v>
                </c:pt>
                <c:pt idx="3">
                  <c:v>21.25</c:v>
                </c:pt>
                <c:pt idx="4">
                  <c:v>16.739999999999998</c:v>
                </c:pt>
              </c:numCache>
            </c:numRef>
          </c:val>
          <c:extLst>
            <c:ext xmlns:c16="http://schemas.microsoft.com/office/drawing/2014/chart" uri="{C3380CC4-5D6E-409C-BE32-E72D297353CC}">
              <c16:uniqueId val="{00000002-82E3-4EFF-B4AE-3E34328B97C2}"/>
            </c:ext>
          </c:extLst>
        </c:ser>
        <c:ser>
          <c:idx val="3"/>
          <c:order val="3"/>
          <c:tx>
            <c:strRef>
              <c:f>[data.xlsx]Sheet2!$C$11</c:f>
              <c:strCache>
                <c:ptCount val="1"/>
                <c:pt idx="0">
                  <c:v>Ostatní OZE</c:v>
                </c:pt>
              </c:strCache>
            </c:strRef>
          </c:tx>
          <c:spPr>
            <a:solidFill>
              <a:schemeClr val="accent1"/>
            </a:solidFill>
            <a:ln>
              <a:noFill/>
            </a:ln>
            <a:effectLst/>
          </c:spPr>
          <c:invertIfNegative val="0"/>
          <c:cat>
            <c:numRef>
              <c:f>[data.xlsx]Sheet2!$D$7:$H$7</c:f>
              <c:numCache>
                <c:formatCode>General</c:formatCode>
                <c:ptCount val="5"/>
                <c:pt idx="0">
                  <c:v>1990</c:v>
                </c:pt>
                <c:pt idx="1">
                  <c:v>2000</c:v>
                </c:pt>
                <c:pt idx="2">
                  <c:v>2010</c:v>
                </c:pt>
                <c:pt idx="3">
                  <c:v>2020</c:v>
                </c:pt>
                <c:pt idx="4">
                  <c:v>2023</c:v>
                </c:pt>
              </c:numCache>
            </c:numRef>
          </c:cat>
          <c:val>
            <c:numRef>
              <c:f>[data.xlsx]Sheet2!$D$11:$H$11</c:f>
              <c:numCache>
                <c:formatCode>General</c:formatCode>
                <c:ptCount val="5"/>
                <c:pt idx="2">
                  <c:v>0.42</c:v>
                </c:pt>
                <c:pt idx="3">
                  <c:v>9.6</c:v>
                </c:pt>
                <c:pt idx="4">
                  <c:v>10.06</c:v>
                </c:pt>
              </c:numCache>
            </c:numRef>
          </c:val>
          <c:extLst>
            <c:ext xmlns:c16="http://schemas.microsoft.com/office/drawing/2014/chart" uri="{C3380CC4-5D6E-409C-BE32-E72D297353CC}">
              <c16:uniqueId val="{00000003-82E3-4EFF-B4AE-3E34328B97C2}"/>
            </c:ext>
          </c:extLst>
        </c:ser>
        <c:dLbls>
          <c:showLegendKey val="0"/>
          <c:showVal val="0"/>
          <c:showCatName val="0"/>
          <c:showSerName val="0"/>
          <c:showPercent val="0"/>
          <c:showBubbleSize val="0"/>
        </c:dLbls>
        <c:gapWidth val="80"/>
        <c:overlap val="100"/>
        <c:axId val="1625581391"/>
        <c:axId val="1625587631"/>
      </c:barChart>
      <c:lineChart>
        <c:grouping val="standard"/>
        <c:varyColors val="0"/>
        <c:ser>
          <c:idx val="4"/>
          <c:order val="4"/>
          <c:tx>
            <c:strRef>
              <c:f>[data.xlsx]Sheet2!$C$12</c:f>
              <c:strCache>
                <c:ptCount val="1"/>
                <c:pt idx="0">
                  <c:v>podíl JE</c:v>
                </c:pt>
              </c:strCache>
            </c:strRef>
          </c:tx>
          <c:spPr>
            <a:ln w="12700" cap="rnd">
              <a:solidFill>
                <a:schemeClr val="tx2"/>
              </a:solidFill>
              <a:prstDash val="solid"/>
              <a:round/>
            </a:ln>
            <a:effectLst/>
          </c:spPr>
          <c:marker>
            <c:symbol val="circle"/>
            <c:size val="7"/>
            <c:spPr>
              <a:solidFill>
                <a:schemeClr val="tx2"/>
              </a:solidFill>
              <a:ln w="12700">
                <a:solidFill>
                  <a:schemeClr val="tx2"/>
                </a:solidFill>
                <a:prstDash val="solid"/>
              </a:ln>
              <a:effectLst/>
            </c:spPr>
          </c:marker>
          <c:val>
            <c:numRef>
              <c:f>[data.xlsx]Sheet2!$D$12:$H$12</c:f>
              <c:numCache>
                <c:formatCode>0.0%</c:formatCode>
                <c:ptCount val="5"/>
                <c:pt idx="0">
                  <c:v>0</c:v>
                </c:pt>
                <c:pt idx="1">
                  <c:v>0.10591658583899127</c:v>
                </c:pt>
                <c:pt idx="2">
                  <c:v>0.19232042370076133</c:v>
                </c:pt>
                <c:pt idx="3">
                  <c:v>0.19347522679692952</c:v>
                </c:pt>
                <c:pt idx="4">
                  <c:v>0.19864960909737028</c:v>
                </c:pt>
              </c:numCache>
            </c:numRef>
          </c:val>
          <c:smooth val="0"/>
          <c:extLst>
            <c:ext xmlns:c16="http://schemas.microsoft.com/office/drawing/2014/chart" uri="{C3380CC4-5D6E-409C-BE32-E72D297353CC}">
              <c16:uniqueId val="{00000004-82E3-4EFF-B4AE-3E34328B97C2}"/>
            </c:ext>
          </c:extLst>
        </c:ser>
        <c:dLbls>
          <c:showLegendKey val="0"/>
          <c:showVal val="0"/>
          <c:showCatName val="0"/>
          <c:showSerName val="0"/>
          <c:showPercent val="0"/>
          <c:showBubbleSize val="0"/>
        </c:dLbls>
        <c:marker val="1"/>
        <c:smooth val="0"/>
        <c:axId val="1618138943"/>
        <c:axId val="1618114463"/>
      </c:lineChart>
      <c:catAx>
        <c:axId val="16255813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cs-CZ"/>
          </a:p>
        </c:txPr>
        <c:crossAx val="1625587631"/>
        <c:crosses val="autoZero"/>
        <c:auto val="1"/>
        <c:lblAlgn val="ctr"/>
        <c:lblOffset val="100"/>
        <c:noMultiLvlLbl val="0"/>
      </c:catAx>
      <c:valAx>
        <c:axId val="1625587631"/>
        <c:scaling>
          <c:orientation val="minMax"/>
        </c:scaling>
        <c:delete val="0"/>
        <c:axPos val="l"/>
        <c:majorGridlines>
          <c:spPr>
            <a:ln w="6350" cap="flat" cmpd="sng" algn="ctr">
              <a:solidFill>
                <a:schemeClr val="tx1">
                  <a:lumMod val="85000"/>
                  <a:alpha val="80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cs-CZ"/>
                  <a:t>TWh</a:t>
                </a:r>
              </a:p>
            </c:rich>
          </c:tx>
          <c:layout>
            <c:manualLayout>
              <c:xMode val="edge"/>
              <c:yMode val="edge"/>
              <c:x val="0"/>
              <c:y val="0.32777973623592926"/>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cs-CZ"/>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cs-CZ"/>
          </a:p>
        </c:txPr>
        <c:crossAx val="1625581391"/>
        <c:crosses val="autoZero"/>
        <c:crossBetween val="between"/>
      </c:valAx>
      <c:valAx>
        <c:axId val="1618114463"/>
        <c:scaling>
          <c:orientation val="minMax"/>
          <c:max val="0.4"/>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cs-CZ"/>
          </a:p>
        </c:txPr>
        <c:crossAx val="1618138943"/>
        <c:crosses val="max"/>
        <c:crossBetween val="between"/>
        <c:majorUnit val="0.1"/>
      </c:valAx>
      <c:catAx>
        <c:axId val="1618138943"/>
        <c:scaling>
          <c:orientation val="minMax"/>
        </c:scaling>
        <c:delete val="1"/>
        <c:axPos val="b"/>
        <c:majorTickMark val="out"/>
        <c:minorTickMark val="none"/>
        <c:tickLblPos val="nextTo"/>
        <c:crossAx val="161811446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20/11/2024</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20/11/2024</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with picture">
    <p:spTree>
      <p:nvGrpSpPr>
        <p:cNvPr id="1" name=""/>
        <p:cNvGrpSpPr/>
        <p:nvPr/>
      </p:nvGrpSpPr>
      <p:grpSpPr>
        <a:xfrm>
          <a:off x="0" y="0"/>
          <a:ext cx="0" cy="0"/>
          <a:chOff x="0" y="0"/>
          <a:chExt cx="0" cy="0"/>
        </a:xfrm>
      </p:grpSpPr>
      <p:pic>
        <p:nvPicPr>
          <p:cNvPr id="6" name="Picture 4">
            <a:extLst>
              <a:ext uri="{FF2B5EF4-FFF2-40B4-BE49-F238E27FC236}">
                <a16:creationId xmlns:a16="http://schemas.microsoft.com/office/drawing/2014/main" id="{3E4F7CA3-74A6-9C93-2DEC-B00C917C6291}"/>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a:stretch/>
        </p:blipFill>
        <p:spPr bwMode="auto">
          <a:xfrm>
            <a:off x="614" y="0"/>
            <a:ext cx="12197736"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4">
            <a:extLst>
              <a:ext uri="{FF2B5EF4-FFF2-40B4-BE49-F238E27FC236}">
                <a16:creationId xmlns:a16="http://schemas.microsoft.com/office/drawing/2014/main" id="{CD9EABA5-590B-9A95-8972-39983FB19D6B}"/>
              </a:ext>
            </a:extLst>
          </p:cNvPr>
          <p:cNvGrpSpPr>
            <a:grpSpLocks noChangeAspect="1"/>
          </p:cNvGrpSpPr>
          <p:nvPr userDrawn="1"/>
        </p:nvGrpSpPr>
        <p:grpSpPr bwMode="auto">
          <a:xfrm>
            <a:off x="10364788" y="5233988"/>
            <a:ext cx="1225550" cy="1435100"/>
            <a:chOff x="6529" y="3125"/>
            <a:chExt cx="772" cy="904"/>
          </a:xfrm>
        </p:grpSpPr>
        <p:sp>
          <p:nvSpPr>
            <p:cNvPr id="4" name="Freeform 5">
              <a:extLst>
                <a:ext uri="{FF2B5EF4-FFF2-40B4-BE49-F238E27FC236}">
                  <a16:creationId xmlns:a16="http://schemas.microsoft.com/office/drawing/2014/main" id="{F3ACBE70-FDC4-BA7C-2E2A-83798960BC6E}"/>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 name="Freeform 6">
              <a:extLst>
                <a:ext uri="{FF2B5EF4-FFF2-40B4-BE49-F238E27FC236}">
                  <a16:creationId xmlns:a16="http://schemas.microsoft.com/office/drawing/2014/main" id="{26FA2D9C-83D0-6290-4A15-A6936A979FBB}"/>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
        <p:nvSpPr>
          <p:cNvPr id="16" name="Freeform 56">
            <a:extLst>
              <a:ext uri="{FF2B5EF4-FFF2-40B4-BE49-F238E27FC236}">
                <a16:creationId xmlns:a16="http://schemas.microsoft.com/office/drawing/2014/main" id="{13A7AC18-CF42-4EC5-8D40-441EAE30A06C}"/>
              </a:ext>
            </a:extLst>
          </p:cNvPr>
          <p:cNvSpPr/>
          <p:nvPr userDrawn="1"/>
        </p:nvSpPr>
        <p:spPr>
          <a:xfrm>
            <a:off x="590550" y="908050"/>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867939" y="2066609"/>
            <a:ext cx="4328932" cy="979702"/>
          </a:xfrm>
        </p:spPr>
        <p:txBody>
          <a:bodyPr/>
          <a:lstStyle>
            <a:lvl1pPr>
              <a:lnSpc>
                <a:spcPct val="100000"/>
              </a:lnSpc>
              <a:spcAft>
                <a:spcPts val="600"/>
              </a:spcAft>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867939" y="3429000"/>
            <a:ext cx="4328932" cy="775869"/>
          </a:xfrm>
        </p:spPr>
        <p:txBody>
          <a:bodyPr/>
          <a:lstStyle>
            <a:lvl1pPr marL="0" indent="0" algn="l">
              <a:spcAft>
                <a:spcPts val="1200"/>
              </a:spcAft>
              <a:buNone/>
              <a:defRPr sz="16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8" y="1137918"/>
            <a:ext cx="5387605" cy="5027931"/>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137918"/>
            <a:ext cx="5387605" cy="5027931"/>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Footer Placeholder 7"/>
          <p:cNvSpPr>
            <a:spLocks noGrp="1"/>
          </p:cNvSpPr>
          <p:nvPr>
            <p:ph type="ftr" sz="quarter" idx="10"/>
          </p:nvPr>
        </p:nvSpPr>
        <p:spPr/>
        <p:txBody>
          <a:bodyPr/>
          <a:lstStyle/>
          <a:p>
            <a:r>
              <a:rPr lang="en-US"/>
              <a:t>Presentation title</a:t>
            </a:r>
            <a:endParaRPr lang="en-US" dirty="0"/>
          </a:p>
        </p:txBody>
      </p:sp>
    </p:spTree>
    <p:extLst>
      <p:ext uri="{BB962C8B-B14F-4D97-AF65-F5344CB8AC3E}">
        <p14:creationId xmlns:p14="http://schemas.microsoft.com/office/powerpoint/2010/main" val="3391415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Footer Placeholder 7"/>
          <p:cNvSpPr>
            <a:spLocks noGrp="1"/>
          </p:cNvSpPr>
          <p:nvPr>
            <p:ph type="ftr" sz="quarter" idx="14"/>
          </p:nvPr>
        </p:nvSpPr>
        <p:spPr/>
        <p:txBody>
          <a:bodyPr/>
          <a:lstStyle/>
          <a:p>
            <a:r>
              <a:rPr lang="en-US"/>
              <a:t>Presentation title</a:t>
            </a:r>
            <a:endParaRPr lang="en-US" dirty="0"/>
          </a:p>
        </p:txBody>
      </p:sp>
    </p:spTree>
    <p:extLst>
      <p:ext uri="{BB962C8B-B14F-4D97-AF65-F5344CB8AC3E}">
        <p14:creationId xmlns:p14="http://schemas.microsoft.com/office/powerpoint/2010/main" val="25619028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Footer Placeholder 6"/>
          <p:cNvSpPr>
            <a:spLocks noGrp="1"/>
          </p:cNvSpPr>
          <p:nvPr>
            <p:ph type="ftr" sz="quarter" idx="19"/>
          </p:nvPr>
        </p:nvSpPr>
        <p:spPr/>
        <p:txBody>
          <a:bodyPr/>
          <a:lstStyle/>
          <a:p>
            <a:r>
              <a:rPr lang="en-US"/>
              <a:t>Presentation title</a:t>
            </a:r>
            <a:endParaRPr lang="en-US" dirty="0"/>
          </a:p>
        </p:txBody>
      </p:sp>
    </p:spTree>
    <p:extLst>
      <p:ext uri="{BB962C8B-B14F-4D97-AF65-F5344CB8AC3E}">
        <p14:creationId xmlns:p14="http://schemas.microsoft.com/office/powerpoint/2010/main" val="28331009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s slide - centre">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
        <p:nvSpPr>
          <p:cNvPr id="2" name="Footer Placeholder 1"/>
          <p:cNvSpPr>
            <a:spLocks noGrp="1"/>
          </p:cNvSpPr>
          <p:nvPr>
            <p:ph type="ftr" sz="quarter" idx="13"/>
          </p:nvPr>
        </p:nvSpPr>
        <p:spPr/>
        <p:txBody>
          <a:bodyPr/>
          <a:lstStyle/>
          <a:p>
            <a:r>
              <a:rPr lang="en-US"/>
              <a:t>Presentation title</a:t>
            </a:r>
            <a:endParaRPr lang="en-US" dirty="0"/>
          </a:p>
        </p:txBody>
      </p:sp>
    </p:spTree>
    <p:extLst>
      <p:ext uri="{BB962C8B-B14F-4D97-AF65-F5344CB8AC3E}">
        <p14:creationId xmlns:p14="http://schemas.microsoft.com/office/powerpoint/2010/main" val="35212200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s slide - left side">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90550" y="2529000"/>
            <a:ext cx="5292000" cy="1800000"/>
          </a:xfrm>
        </p:spPr>
        <p:txBody>
          <a:bodyPr lIns="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90550" y="4635000"/>
            <a:ext cx="5292000" cy="316838"/>
          </a:xfrm>
        </p:spPr>
        <p:txBody>
          <a:bodyPr lIns="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90550" y="4973677"/>
            <a:ext cx="5292000" cy="316838"/>
          </a:xfrm>
        </p:spPr>
        <p:txBody>
          <a:bodyPr lIns="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
        <p:nvSpPr>
          <p:cNvPr id="2" name="Footer Placeholder 1"/>
          <p:cNvSpPr>
            <a:spLocks noGrp="1"/>
          </p:cNvSpPr>
          <p:nvPr>
            <p:ph type="ftr" sz="quarter" idx="13"/>
          </p:nvPr>
        </p:nvSpPr>
        <p:spPr/>
        <p:txBody>
          <a:bodyPr/>
          <a:lstStyle/>
          <a:p>
            <a:r>
              <a:rPr lang="en-US"/>
              <a:t>Presentation title</a:t>
            </a:r>
            <a:endParaRPr lang="en-US" dirty="0"/>
          </a:p>
        </p:txBody>
      </p:sp>
    </p:spTree>
    <p:extLst>
      <p:ext uri="{BB962C8B-B14F-4D97-AF65-F5344CB8AC3E}">
        <p14:creationId xmlns:p14="http://schemas.microsoft.com/office/powerpoint/2010/main" val="23222848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6" name="Footer Placeholder 5"/>
          <p:cNvSpPr>
            <a:spLocks noGrp="1"/>
          </p:cNvSpPr>
          <p:nvPr>
            <p:ph type="ftr" sz="quarter" idx="11"/>
          </p:nvPr>
        </p:nvSpPr>
        <p:spPr/>
        <p:txBody>
          <a:bodyPr/>
          <a:lstStyle/>
          <a:p>
            <a:r>
              <a:rPr lang="en-US"/>
              <a:t>Presentation title</a:t>
            </a:r>
            <a:endParaRPr lang="en-US" dirty="0"/>
          </a:p>
        </p:txBody>
      </p:sp>
    </p:spTree>
    <p:extLst>
      <p:ext uri="{BB962C8B-B14F-4D97-AF65-F5344CB8AC3E}">
        <p14:creationId xmlns:p14="http://schemas.microsoft.com/office/powerpoint/2010/main" val="35730404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pter Slide with pictur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590550"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590550" y="3840384"/>
            <a:ext cx="4537959" cy="1055708"/>
          </a:xfrm>
        </p:spPr>
        <p:txBody>
          <a:bodyPr/>
          <a:lstStyle>
            <a:lvl1pPr marL="0" indent="0">
              <a:buNone/>
              <a:defRPr sz="1600"/>
            </a:lvl1pPr>
          </a:lstStyle>
          <a:p>
            <a:pPr lvl="0"/>
            <a:r>
              <a:rPr lang="en-IN" dirty="0"/>
              <a:t>text</a:t>
            </a:r>
          </a:p>
        </p:txBody>
      </p:sp>
      <p:sp>
        <p:nvSpPr>
          <p:cNvPr id="6" name="Footer Placeholder 5"/>
          <p:cNvSpPr>
            <a:spLocks noGrp="1"/>
          </p:cNvSpPr>
          <p:nvPr>
            <p:ph type="ftr" sz="quarter" idx="13"/>
          </p:nvPr>
        </p:nvSpPr>
        <p:spPr/>
        <p:txBody>
          <a:bodyPr/>
          <a:lstStyle/>
          <a:p>
            <a:r>
              <a:rPr lang="en-US"/>
              <a:t>Presentation title</a:t>
            </a:r>
            <a:endParaRPr lang="en-US" dirty="0"/>
          </a:p>
        </p:txBody>
      </p:sp>
    </p:spTree>
    <p:extLst>
      <p:ext uri="{BB962C8B-B14F-4D97-AF65-F5344CB8AC3E}">
        <p14:creationId xmlns:p14="http://schemas.microsoft.com/office/powerpoint/2010/main" val="15805246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 Chapter slide">
    <p:spTree>
      <p:nvGrpSpPr>
        <p:cNvPr id="1" name=""/>
        <p:cNvGrpSpPr/>
        <p:nvPr/>
      </p:nvGrpSpPr>
      <p:grpSpPr>
        <a:xfrm>
          <a:off x="0" y="0"/>
          <a:ext cx="0" cy="0"/>
          <a:chOff x="0" y="0"/>
          <a:chExt cx="0" cy="0"/>
        </a:xfrm>
      </p:grpSpPr>
      <p:sp>
        <p:nvSpPr>
          <p:cNvPr id="5" name="Freeform 6"/>
          <p:cNvSpPr>
            <a:spLocks/>
          </p:cNvSpPr>
          <p:nvPr userDrawn="1"/>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7" name="Text Placeholder 6"/>
          <p:cNvSpPr>
            <a:spLocks noGrp="1"/>
          </p:cNvSpPr>
          <p:nvPr>
            <p:ph type="body" sz="quarter" idx="13"/>
          </p:nvPr>
        </p:nvSpPr>
        <p:spPr>
          <a:xfrm>
            <a:off x="617537" y="908050"/>
            <a:ext cx="4787900" cy="1536700"/>
          </a:xfrm>
        </p:spPr>
        <p:txBody>
          <a:bodyPr/>
          <a:lstStyle>
            <a:lvl1pPr marL="0" indent="0">
              <a:buNone/>
              <a:defRPr sz="3000">
                <a:solidFill>
                  <a:schemeClr val="bg2"/>
                </a:solidFill>
              </a:defRPr>
            </a:lvl1pPr>
          </a:lstStyle>
          <a:p>
            <a:pPr lvl="0"/>
            <a:r>
              <a:rPr lang="en-US"/>
              <a:t>Click to edit Master text styles</a:t>
            </a:r>
          </a:p>
        </p:txBody>
      </p:sp>
      <p:sp>
        <p:nvSpPr>
          <p:cNvPr id="8" name="Footer Placeholder 7"/>
          <p:cNvSpPr>
            <a:spLocks noGrp="1"/>
          </p:cNvSpPr>
          <p:nvPr>
            <p:ph type="ftr" sz="quarter" idx="14"/>
          </p:nvPr>
        </p:nvSpPr>
        <p:spPr/>
        <p:txBody>
          <a:bodyPr/>
          <a:lstStyle/>
          <a:p>
            <a:r>
              <a:rPr lang="en-US"/>
              <a:t>Presentation title</a:t>
            </a:r>
            <a:endParaRPr lang="en-US" dirty="0"/>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 Chapter slide - tranparency">
    <p:spTree>
      <p:nvGrpSpPr>
        <p:cNvPr id="1" name=""/>
        <p:cNvGrpSpPr/>
        <p:nvPr/>
      </p:nvGrpSpPr>
      <p:grpSpPr>
        <a:xfrm>
          <a:off x="0" y="0"/>
          <a:ext cx="0" cy="0"/>
          <a:chOff x="0" y="0"/>
          <a:chExt cx="0" cy="0"/>
        </a:xfrm>
      </p:grpSpPr>
      <p:sp>
        <p:nvSpPr>
          <p:cNvPr id="8" name="Freeform 6"/>
          <p:cNvSpPr>
            <a:spLocks/>
          </p:cNvSpPr>
          <p:nvPr userDrawn="1"/>
        </p:nvSpPr>
        <p:spPr bwMode="gray">
          <a:xfrm>
            <a:off x="-1"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7" name="Text Placeholder 6"/>
          <p:cNvSpPr>
            <a:spLocks noGrp="1"/>
          </p:cNvSpPr>
          <p:nvPr>
            <p:ph type="body" sz="quarter" idx="13"/>
          </p:nvPr>
        </p:nvSpPr>
        <p:spPr>
          <a:xfrm>
            <a:off x="617536" y="908050"/>
            <a:ext cx="4787900" cy="1536700"/>
          </a:xfrm>
        </p:spPr>
        <p:txBody>
          <a:bodyPr/>
          <a:lstStyle>
            <a:lvl1pPr marL="0" indent="0">
              <a:buNone/>
              <a:defRPr sz="3000">
                <a:solidFill>
                  <a:schemeClr val="bg2"/>
                </a:solidFill>
              </a:defRPr>
            </a:lvl1pPr>
          </a:lstStyle>
          <a:p>
            <a:pPr lvl="0"/>
            <a:r>
              <a:rPr lang="en-US"/>
              <a:t>Click to edit Master text styles</a:t>
            </a:r>
          </a:p>
        </p:txBody>
      </p:sp>
      <p:sp>
        <p:nvSpPr>
          <p:cNvPr id="6" name="Footer Placeholder 5"/>
          <p:cNvSpPr>
            <a:spLocks noGrp="1"/>
          </p:cNvSpPr>
          <p:nvPr>
            <p:ph type="ftr" sz="quarter" idx="14"/>
          </p:nvPr>
        </p:nvSpPr>
        <p:spPr/>
        <p:txBody>
          <a:bodyPr/>
          <a:lstStyle/>
          <a:p>
            <a:r>
              <a:rPr lang="en-US"/>
              <a:t>Presentation title</a:t>
            </a:r>
            <a:endParaRPr lang="en-US" dirty="0"/>
          </a:p>
        </p:txBody>
      </p:sp>
    </p:spTree>
    <p:extLst>
      <p:ext uri="{BB962C8B-B14F-4D97-AF65-F5344CB8AC3E}">
        <p14:creationId xmlns:p14="http://schemas.microsoft.com/office/powerpoint/2010/main" val="289645800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pter slide no pictur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590549" y="2851522"/>
            <a:ext cx="5508625"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9" name="Footer Placeholder 8"/>
          <p:cNvSpPr>
            <a:spLocks noGrp="1"/>
          </p:cNvSpPr>
          <p:nvPr>
            <p:ph type="ftr" sz="quarter" idx="11"/>
          </p:nvPr>
        </p:nvSpPr>
        <p:spPr/>
        <p:txBody>
          <a:bodyPr/>
          <a:lstStyle/>
          <a:p>
            <a:r>
              <a:rPr lang="en-US"/>
              <a:t>Presentation title</a:t>
            </a:r>
            <a:endParaRPr lang="en-US" dirty="0"/>
          </a:p>
        </p:txBody>
      </p:sp>
    </p:spTree>
    <p:extLst>
      <p:ext uri="{BB962C8B-B14F-4D97-AF65-F5344CB8AC3E}">
        <p14:creationId xmlns:p14="http://schemas.microsoft.com/office/powerpoint/2010/main" val="38937044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slide with picture">
    <p:spTree>
      <p:nvGrpSpPr>
        <p:cNvPr id="1" name=""/>
        <p:cNvGrpSpPr/>
        <p:nvPr/>
      </p:nvGrpSpPr>
      <p:grpSpPr>
        <a:xfrm>
          <a:off x="0" y="0"/>
          <a:ext cx="0" cy="0"/>
          <a:chOff x="0" y="0"/>
          <a:chExt cx="0" cy="0"/>
        </a:xfrm>
      </p:grpSpPr>
      <p:pic>
        <p:nvPicPr>
          <p:cNvPr id="2" name="Picture 1" descr="A group of people sitting around a table&#10;&#10;Description automatically generated">
            <a:extLst>
              <a:ext uri="{FF2B5EF4-FFF2-40B4-BE49-F238E27FC236}">
                <a16:creationId xmlns:a16="http://schemas.microsoft.com/office/drawing/2014/main" id="{605F067E-5FD8-15E8-9CB8-58A9E02A178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1629" r="18945"/>
          <a:stretch/>
        </p:blipFill>
        <p:spPr>
          <a:xfrm>
            <a:off x="0" y="0"/>
            <a:ext cx="12198350" cy="6858000"/>
          </a:xfrm>
          <a:prstGeom prst="rect">
            <a:avLst/>
          </a:prstGeom>
        </p:spPr>
      </p:pic>
      <p:grpSp>
        <p:nvGrpSpPr>
          <p:cNvPr id="3" name="Group 4">
            <a:extLst>
              <a:ext uri="{FF2B5EF4-FFF2-40B4-BE49-F238E27FC236}">
                <a16:creationId xmlns:a16="http://schemas.microsoft.com/office/drawing/2014/main" id="{BAB60996-64F8-E11B-D4FD-A113F8DC4876}"/>
              </a:ext>
            </a:extLst>
          </p:cNvPr>
          <p:cNvGrpSpPr>
            <a:grpSpLocks noChangeAspect="1"/>
          </p:cNvGrpSpPr>
          <p:nvPr userDrawn="1"/>
        </p:nvGrpSpPr>
        <p:grpSpPr bwMode="auto">
          <a:xfrm>
            <a:off x="10364788" y="5233988"/>
            <a:ext cx="1225550" cy="1435100"/>
            <a:chOff x="6529" y="3125"/>
            <a:chExt cx="772" cy="904"/>
          </a:xfrm>
        </p:grpSpPr>
        <p:sp>
          <p:nvSpPr>
            <p:cNvPr id="4" name="Freeform 5">
              <a:extLst>
                <a:ext uri="{FF2B5EF4-FFF2-40B4-BE49-F238E27FC236}">
                  <a16:creationId xmlns:a16="http://schemas.microsoft.com/office/drawing/2014/main" id="{EFD9C4CB-191C-0AB3-3EF9-912B8FBFB0AB}"/>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 name="Freeform 6">
              <a:extLst>
                <a:ext uri="{FF2B5EF4-FFF2-40B4-BE49-F238E27FC236}">
                  <a16:creationId xmlns:a16="http://schemas.microsoft.com/office/drawing/2014/main" id="{56624363-C318-3FBF-0F2F-7FD5A0EB5CE1}"/>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
        <p:nvSpPr>
          <p:cNvPr id="18" name="Freeform 56">
            <a:extLst>
              <a:ext uri="{FF2B5EF4-FFF2-40B4-BE49-F238E27FC236}">
                <a16:creationId xmlns:a16="http://schemas.microsoft.com/office/drawing/2014/main" id="{3961D014-0200-484E-852A-9ABE2110BEEE}"/>
              </a:ext>
            </a:extLst>
          </p:cNvPr>
          <p:cNvSpPr/>
          <p:nvPr userDrawn="1"/>
        </p:nvSpPr>
        <p:spPr>
          <a:xfrm>
            <a:off x="590550" y="668641"/>
            <a:ext cx="4199969" cy="3050885"/>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11" name="Title 1"/>
          <p:cNvSpPr>
            <a:spLocks noGrp="1"/>
          </p:cNvSpPr>
          <p:nvPr>
            <p:ph type="ctrTitle"/>
          </p:nvPr>
        </p:nvSpPr>
        <p:spPr>
          <a:xfrm>
            <a:off x="837200" y="1693501"/>
            <a:ext cx="3645900" cy="979702"/>
          </a:xfrm>
        </p:spPr>
        <p:txBody>
          <a:bodyPr/>
          <a:lstStyle>
            <a:lvl1pPr>
              <a:lnSpc>
                <a:spcPct val="100000"/>
              </a:lnSpc>
              <a:spcAft>
                <a:spcPts val="600"/>
              </a:spcAft>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837200" y="2934783"/>
            <a:ext cx="3645900" cy="523162"/>
          </a:xfrm>
        </p:spPr>
        <p:txBody>
          <a:bodyPr/>
          <a:lstStyle>
            <a:lvl1pPr marL="0" indent="0" algn="l">
              <a:spcAft>
                <a:spcPts val="1200"/>
              </a:spcAft>
              <a:buNone/>
              <a:defRPr sz="16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9" name="TextBox 8"/>
          <p:cNvSpPr txBox="1"/>
          <p:nvPr userDrawn="1"/>
        </p:nvSpPr>
        <p:spPr>
          <a:xfrm>
            <a:off x="-2793856" y="0"/>
            <a:ext cx="2603356" cy="1438649"/>
          </a:xfrm>
          <a:prstGeom prst="rect">
            <a:avLst/>
          </a:prstGeom>
          <a:solidFill>
            <a:schemeClr val="tx2"/>
          </a:solidFill>
        </p:spPr>
        <p:txBody>
          <a:bodyPr wrap="square" lIns="72000" tIns="72000" rIns="72000" bIns="36000" rtlCol="0">
            <a:spAutoFit/>
          </a:bodyPr>
          <a:lstStyle/>
          <a:p>
            <a:pPr>
              <a:lnSpc>
                <a:spcPct val="85000"/>
              </a:lnSpc>
              <a:spcAft>
                <a:spcPts val="600"/>
              </a:spcAft>
              <a:buClr>
                <a:schemeClr val="accent2"/>
              </a:buClr>
              <a:buSzPct val="70000"/>
            </a:pPr>
            <a:r>
              <a:rPr lang="en-US" sz="1200" b="1" noProof="0" dirty="0">
                <a:latin typeface="EYInterstate" panose="02000503020000020004" pitchFamily="2" charset="0"/>
              </a:rPr>
              <a:t>DARK THEME X LIGHT THEME</a:t>
            </a:r>
          </a:p>
          <a:p>
            <a:pPr>
              <a:lnSpc>
                <a:spcPct val="85000"/>
              </a:lnSpc>
              <a:spcAft>
                <a:spcPts val="600"/>
              </a:spcAft>
              <a:buClr>
                <a:schemeClr val="accent2"/>
              </a:buClr>
              <a:buSzPct val="70000"/>
            </a:pPr>
            <a:r>
              <a:rPr lang="en-US" sz="1200" noProof="0" dirty="0"/>
              <a:t>With one click you can change color theme of the presentation (colors for the background, graphics, text, highlights and other elements).</a:t>
            </a:r>
          </a:p>
          <a:p>
            <a:pPr>
              <a:lnSpc>
                <a:spcPct val="85000"/>
              </a:lnSpc>
              <a:spcAft>
                <a:spcPts val="600"/>
              </a:spcAft>
              <a:buClr>
                <a:schemeClr val="accent2"/>
              </a:buClr>
              <a:buSzPct val="70000"/>
            </a:pPr>
            <a:r>
              <a:rPr lang="en-US" sz="1200" noProof="0" dirty="0"/>
              <a:t>Ribbon „EY Templates“ </a:t>
            </a:r>
            <a:r>
              <a:rPr lang="en-US" sz="1200" noProof="0" dirty="0">
                <a:sym typeface="Wingdings" panose="05000000000000000000" pitchFamily="2" charset="2"/>
              </a:rPr>
              <a:t> Themes</a:t>
            </a:r>
            <a:endParaRPr lang="en-US" sz="1200" noProof="0" dirty="0"/>
          </a:p>
          <a:p>
            <a:pPr>
              <a:lnSpc>
                <a:spcPct val="85000"/>
              </a:lnSpc>
              <a:spcAft>
                <a:spcPts val="600"/>
              </a:spcAft>
              <a:buClr>
                <a:schemeClr val="accent2"/>
              </a:buClr>
              <a:buSzPct val="70000"/>
            </a:pPr>
            <a:endParaRPr lang="en-US" sz="1200" noProof="0" dirty="0">
              <a:solidFill>
                <a:schemeClr val="bg1"/>
              </a:solidFill>
            </a:endParaRPr>
          </a:p>
        </p:txBody>
      </p:sp>
      <p:pic>
        <p:nvPicPr>
          <p:cNvPr id="10" name="Picture 9"/>
          <p:cNvPicPr>
            <a:picLocks noChangeAspect="1"/>
          </p:cNvPicPr>
          <p:nvPr userDrawn="1"/>
        </p:nvPicPr>
        <p:blipFill rotWithShape="1">
          <a:blip r:embed="rId3"/>
          <a:srcRect r="77955" b="75999"/>
          <a:stretch/>
        </p:blipFill>
        <p:spPr>
          <a:xfrm>
            <a:off x="-2725666" y="1314450"/>
            <a:ext cx="2350053" cy="1439154"/>
          </a:xfrm>
          <a:prstGeom prst="rect">
            <a:avLst/>
          </a:prstGeom>
        </p:spPr>
      </p:pic>
    </p:spTree>
    <p:extLst>
      <p:ext uri="{BB962C8B-B14F-4D97-AF65-F5344CB8AC3E}">
        <p14:creationId xmlns:p14="http://schemas.microsoft.com/office/powerpoint/2010/main" val="369927582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pter slide with number">
    <p:spTree>
      <p:nvGrpSpPr>
        <p:cNvPr id="1" name=""/>
        <p:cNvGrpSpPr/>
        <p:nvPr/>
      </p:nvGrpSpPr>
      <p:grpSpPr>
        <a:xfrm>
          <a:off x="0" y="0"/>
          <a:ext cx="0" cy="0"/>
          <a:chOff x="0" y="0"/>
          <a:chExt cx="0" cy="0"/>
        </a:xfrm>
      </p:grpSpPr>
      <p:sp>
        <p:nvSpPr>
          <p:cNvPr id="8" name="Text Placeholder 7"/>
          <p:cNvSpPr>
            <a:spLocks noGrp="1"/>
          </p:cNvSpPr>
          <p:nvPr>
            <p:ph type="body" sz="quarter" idx="16" hasCustomPrompt="1"/>
          </p:nvPr>
        </p:nvSpPr>
        <p:spPr>
          <a:xfrm>
            <a:off x="590550" y="-863760"/>
            <a:ext cx="4392000" cy="4917600"/>
          </a:xfrm>
        </p:spPr>
        <p:txBody>
          <a:bodyPr/>
          <a:lstStyle>
            <a:lvl1pPr marL="0" indent="0">
              <a:buNone/>
              <a:defRPr lang="en-US" sz="55000" b="1" kern="1200" dirty="0" smtClean="0">
                <a:solidFill>
                  <a:srgbClr val="747480">
                    <a:alpha val="50000"/>
                  </a:srgbClr>
                </a:solidFill>
                <a:latin typeface="EYInterstate Light" panose="02000506000000020004" pitchFamily="2" charset="0"/>
                <a:ea typeface="+mn-ea"/>
                <a:cs typeface="+mn-cs"/>
              </a:defRPr>
            </a:lvl1pPr>
          </a:lstStyle>
          <a:p>
            <a:pPr marL="0" marR="0" lvl="0" indent="0" algn="l" defTabSz="755512" rtl="0" eaLnBrk="1" fontAlgn="auto" latinLnBrk="0" hangingPunct="1">
              <a:lnSpc>
                <a:spcPct val="100000"/>
              </a:lnSpc>
              <a:spcBef>
                <a:spcPts val="0"/>
              </a:spcBef>
              <a:spcAft>
                <a:spcPts val="150"/>
              </a:spcAft>
              <a:buClrTx/>
              <a:buSzTx/>
              <a:buFont typeface="Arial" panose="020B0604020202020204" pitchFamily="34" charset="0"/>
              <a:buNone/>
              <a:tabLst/>
            </a:pPr>
            <a:r>
              <a:rPr lang="en-US" dirty="0"/>
              <a:t>#</a:t>
            </a:r>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590549" y="2851522"/>
            <a:ext cx="5508625"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6" name="Footer Placeholder 5"/>
          <p:cNvSpPr>
            <a:spLocks noGrp="1"/>
          </p:cNvSpPr>
          <p:nvPr>
            <p:ph type="ftr" sz="quarter" idx="17"/>
          </p:nvPr>
        </p:nvSpPr>
        <p:spPr/>
        <p:txBody>
          <a:bodyPr/>
          <a:lstStyle/>
          <a:p>
            <a:r>
              <a:rPr lang="en-US"/>
              <a:t>Presentation title</a:t>
            </a:r>
            <a:endParaRPr lang="en-US" dirty="0"/>
          </a:p>
        </p:txBody>
      </p:sp>
    </p:spTree>
    <p:extLst>
      <p:ext uri="{BB962C8B-B14F-4D97-AF65-F5344CB8AC3E}">
        <p14:creationId xmlns:p14="http://schemas.microsoft.com/office/powerpoint/2010/main" val="2716785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sclaimer CZ">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9553" y="0"/>
            <a:ext cx="12192005" cy="6858000"/>
          </a:xfrm>
          <a:prstGeom prst="rect">
            <a:avLst/>
          </a:prstGeom>
        </p:spPr>
      </p:pic>
      <p:sp>
        <p:nvSpPr>
          <p:cNvPr id="5" name="TextBox 4">
            <a:extLst>
              <a:ext uri="{FF2B5EF4-FFF2-40B4-BE49-F238E27FC236}">
                <a16:creationId xmlns:a16="http://schemas.microsoft.com/office/drawing/2014/main" id="{0E68E9BD-8FB7-4984-B079-81329579BE9A}"/>
              </a:ext>
            </a:extLst>
          </p:cNvPr>
          <p:cNvSpPr txBox="1">
            <a:spLocks/>
          </p:cNvSpPr>
          <p:nvPr userDrawn="1"/>
        </p:nvSpPr>
        <p:spPr>
          <a:xfrm>
            <a:off x="598924" y="908050"/>
            <a:ext cx="3564261" cy="3006977"/>
          </a:xfrm>
          <a:prstGeom prst="rect">
            <a:avLst/>
          </a:prstGeom>
          <a:noFill/>
        </p:spPr>
        <p:txBody>
          <a:bodyPr wrap="square" lIns="0" tIns="36576" rIns="0" bIns="0" rtlCol="0" anchor="t">
            <a:spAutoFit/>
          </a:bodyPr>
          <a:lstStyle/>
          <a:p>
            <a:pPr lvl="0">
              <a:spcAft>
                <a:spcPts val="6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rPr>
              <a:t>|  </a:t>
            </a:r>
            <a:r>
              <a:rPr lang="en-IN" sz="1200" kern="0" dirty="0">
                <a:solidFill>
                  <a:srgbClr val="FFE600"/>
                </a:solidFill>
                <a:latin typeface="EYInterstate" panose="02000503020000020004" pitchFamily="2" charset="0"/>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mj-lt"/>
              <a:cs typeface="Arial"/>
            </a:endParaRPr>
          </a:p>
          <a:p>
            <a:pPr lvl="0">
              <a:buClr>
                <a:srgbClr val="FFD200"/>
              </a:buClr>
              <a:buSzPct val="70000"/>
              <a:defRPr/>
            </a:pPr>
            <a:r>
              <a:rPr lang="cs-CZ" sz="1100" kern="0" noProof="0" dirty="0">
                <a:solidFill>
                  <a:srgbClr val="FFFFFF"/>
                </a:solidFill>
                <a:latin typeface="EYInterstate" panose="02000503020000020004" pitchFamily="2" charset="0"/>
              </a:rPr>
              <a:t>Smyslem EY je přispívat k tomu, aby svět fungoval lépe. Proto pomáháme klientům, našim zaměstnancům i širšímu společenství vytvářet dlouhodobé hodnoty </a:t>
            </a:r>
            <a:br>
              <a:rPr lang="cs-CZ" sz="1100" kern="0" noProof="0" dirty="0">
                <a:solidFill>
                  <a:srgbClr val="FFFFFF"/>
                </a:solidFill>
                <a:latin typeface="EYInterstate" panose="02000503020000020004" pitchFamily="2" charset="0"/>
              </a:rPr>
            </a:br>
            <a:r>
              <a:rPr lang="cs-CZ" sz="1100" kern="0" noProof="0" dirty="0">
                <a:solidFill>
                  <a:srgbClr val="FFFFFF"/>
                </a:solidFill>
                <a:latin typeface="EYInterstate" panose="02000503020000020004" pitchFamily="2" charset="0"/>
              </a:rPr>
              <a:t>a posilovat důvěru v kapitálové trhy. </a:t>
            </a:r>
          </a:p>
          <a:p>
            <a:pPr lvl="0">
              <a:buClr>
                <a:srgbClr val="FFD200"/>
              </a:buClr>
              <a:buSzPct val="70000"/>
              <a:defRPr/>
            </a:pPr>
            <a:endParaRPr lang="cs-CZ" sz="1100" kern="0" noProof="0" dirty="0">
              <a:solidFill>
                <a:srgbClr val="FFFFFF"/>
              </a:solidFill>
              <a:latin typeface="EYInterstate" panose="02000503020000020004" pitchFamily="2" charset="0"/>
            </a:endParaRPr>
          </a:p>
          <a:p>
            <a:pPr lvl="0">
              <a:buClr>
                <a:srgbClr val="FFD200"/>
              </a:buClr>
              <a:buSzPct val="70000"/>
              <a:defRPr/>
            </a:pPr>
            <a:r>
              <a:rPr lang="cs-CZ" sz="1100" kern="0" noProof="0" dirty="0">
                <a:solidFill>
                  <a:srgbClr val="FFFFFF"/>
                </a:solidFill>
                <a:latin typeface="EYInterstate" panose="02000503020000020004" pitchFamily="2" charset="0"/>
              </a:rPr>
              <a:t>Týmy odborníků EY, vybavené nejmodernějšími technologiemi, působí ve více než 150 zemích celého světa – provádějí audity a poskytují klientům širokou poradenskou podporu, která jim umožňuje růst, transformovat se a efektivně fungovat. </a:t>
            </a:r>
          </a:p>
          <a:p>
            <a:pPr lvl="0">
              <a:buClr>
                <a:srgbClr val="FFD200"/>
              </a:buClr>
              <a:buSzPct val="70000"/>
              <a:defRPr/>
            </a:pPr>
            <a:endParaRPr lang="cs-CZ" sz="1100" kern="0" noProof="0" dirty="0">
              <a:solidFill>
                <a:srgbClr val="FFFFFF"/>
              </a:solidFill>
              <a:latin typeface="EYInterstate" panose="02000503020000020004" pitchFamily="2" charset="0"/>
            </a:endParaRPr>
          </a:p>
          <a:p>
            <a:pPr lvl="0">
              <a:buClr>
                <a:srgbClr val="FFD200"/>
              </a:buClr>
              <a:buSzPct val="70000"/>
              <a:defRPr/>
            </a:pPr>
            <a:r>
              <a:rPr lang="cs-CZ" sz="1100" kern="0" noProof="0" dirty="0">
                <a:solidFill>
                  <a:srgbClr val="FFFFFF"/>
                </a:solidFill>
                <a:latin typeface="EYInterstate" panose="02000503020000020004" pitchFamily="2" charset="0"/>
              </a:rPr>
              <a:t>Naši auditoři, konzultanti, právní a daňoví poradci </a:t>
            </a:r>
            <a:br>
              <a:rPr lang="cs-CZ" sz="1100" kern="0" noProof="0" dirty="0">
                <a:solidFill>
                  <a:srgbClr val="FFFFFF"/>
                </a:solidFill>
                <a:latin typeface="EYInterstate" panose="02000503020000020004" pitchFamily="2" charset="0"/>
              </a:rPr>
            </a:br>
            <a:r>
              <a:rPr lang="cs-CZ" sz="1100" kern="0" noProof="0" dirty="0">
                <a:solidFill>
                  <a:srgbClr val="FFFFFF"/>
                </a:solidFill>
                <a:latin typeface="EYInterstate" panose="02000503020000020004" pitchFamily="2" charset="0"/>
              </a:rPr>
              <a:t>i odborníci na strategické a transakční poradenství </a:t>
            </a:r>
            <a:br>
              <a:rPr lang="cs-CZ" sz="1100" kern="0" noProof="0" dirty="0">
                <a:solidFill>
                  <a:srgbClr val="FFFFFF"/>
                </a:solidFill>
                <a:latin typeface="EYInterstate" panose="02000503020000020004" pitchFamily="2" charset="0"/>
              </a:rPr>
            </a:br>
            <a:r>
              <a:rPr lang="cs-CZ" sz="1100" kern="0" noProof="0" dirty="0">
                <a:solidFill>
                  <a:srgbClr val="FFFFFF"/>
                </a:solidFill>
                <a:latin typeface="EYInterstate" panose="02000503020000020004" pitchFamily="2" charset="0"/>
              </a:rPr>
              <a:t>si kladou ty správné otázky a dokážou najít ty správné odpovědi na složité problémy dnešního světa.</a:t>
            </a:r>
          </a:p>
        </p:txBody>
      </p:sp>
      <p:sp>
        <p:nvSpPr>
          <p:cNvPr id="7" name="TextBox 6">
            <a:extLst>
              <a:ext uri="{FF2B5EF4-FFF2-40B4-BE49-F238E27FC236}">
                <a16:creationId xmlns:a16="http://schemas.microsoft.com/office/drawing/2014/main" id="{A429E01A-367F-4629-AA87-D8BF73890D2E}"/>
              </a:ext>
            </a:extLst>
          </p:cNvPr>
          <p:cNvSpPr txBox="1">
            <a:spLocks/>
          </p:cNvSpPr>
          <p:nvPr userDrawn="1"/>
        </p:nvSpPr>
        <p:spPr>
          <a:xfrm>
            <a:off x="8289616" y="908050"/>
            <a:ext cx="3309810" cy="2786404"/>
          </a:xfrm>
          <a:prstGeom prst="rect">
            <a:avLst/>
          </a:prstGeom>
          <a:noFill/>
        </p:spPr>
        <p:txBody>
          <a:bodyPr wrap="square" lIns="0" tIns="36576" rIns="0" bIns="0" rtlCol="0" anchor="t">
            <a:spAutoFit/>
          </a:bodyPr>
          <a:lstStyle/>
          <a:p>
            <a:pPr lvl="0">
              <a:buClr>
                <a:srgbClr val="FFD200"/>
              </a:buClr>
              <a:buSzPct val="70000"/>
              <a:defRPr/>
            </a:pPr>
            <a:r>
              <a:rPr lang="cs-CZ" sz="800" kern="0" noProof="0" dirty="0">
                <a:solidFill>
                  <a:srgbClr val="FFFFFF"/>
                </a:solidFill>
                <a:latin typeface="+mj-lt"/>
              </a:rPr>
              <a:t>Název EY zahrnuje celosvětovou organizaci a může zahrnovat jednu </a:t>
            </a:r>
            <a:br>
              <a:rPr lang="cs-CZ" sz="800" kern="0" noProof="0" dirty="0">
                <a:solidFill>
                  <a:srgbClr val="FFFFFF"/>
                </a:solidFill>
                <a:latin typeface="+mj-lt"/>
              </a:rPr>
            </a:br>
            <a:r>
              <a:rPr lang="cs-CZ" sz="800" kern="0" noProof="0" dirty="0">
                <a:solidFill>
                  <a:srgbClr val="FFFFFF"/>
                </a:solidFill>
                <a:latin typeface="+mj-lt"/>
              </a:rPr>
              <a:t>či více členských firem Ernst &amp; </a:t>
            </a:r>
            <a:r>
              <a:rPr lang="en-US" sz="800" kern="0" noProof="0" dirty="0">
                <a:solidFill>
                  <a:srgbClr val="FFFFFF"/>
                </a:solidFill>
                <a:latin typeface="+mj-lt"/>
              </a:rPr>
              <a:t>Young Global </a:t>
            </a:r>
            <a:r>
              <a:rPr lang="cs-CZ" sz="800" kern="0" noProof="0" dirty="0">
                <a:solidFill>
                  <a:srgbClr val="FFFFFF"/>
                </a:solidFill>
                <a:latin typeface="+mj-lt"/>
              </a:rPr>
              <a:t>Limited, z nichž každá je samostatnou právnickou osobou. Ernst &amp; </a:t>
            </a:r>
            <a:r>
              <a:rPr lang="en-US" sz="800" kern="0" noProof="0" dirty="0">
                <a:solidFill>
                  <a:srgbClr val="FFFFFF"/>
                </a:solidFill>
                <a:latin typeface="+mj-lt"/>
              </a:rPr>
              <a:t>Young Global </a:t>
            </a:r>
            <a:r>
              <a:rPr lang="cs-CZ" sz="800" kern="0" noProof="0" dirty="0">
                <a:solidFill>
                  <a:srgbClr val="FFFFFF"/>
                </a:solidFill>
                <a:latin typeface="+mj-lt"/>
              </a:rPr>
              <a:t>Limited je britská společnost s ručením omezeným garancí, která neposkytuje služby klientům. Informace o tom, jak EY shromažďuje a používá osobní údaje, a o právech fyzických osob stanovených právními předpisy o ochraně osobních údajů jsou k dispozici na ey.com/</a:t>
            </a:r>
            <a:r>
              <a:rPr lang="en-US" sz="800" kern="0" noProof="0" dirty="0">
                <a:solidFill>
                  <a:srgbClr val="FFFFFF"/>
                </a:solidFill>
                <a:latin typeface="+mj-lt"/>
              </a:rPr>
              <a:t>privacy</a:t>
            </a:r>
            <a:r>
              <a:rPr lang="cs-CZ" sz="800" kern="0" noProof="0" dirty="0">
                <a:solidFill>
                  <a:srgbClr val="FFFFFF"/>
                </a:solidFill>
                <a:latin typeface="+mj-lt"/>
              </a:rPr>
              <a:t>. Členské firmy EY neposkytují právní služby v zemích, kde to zákon neumožňuje. Podrobnější informace o naší organizaci najdete na našich webových stránkách ey.com. </a:t>
            </a:r>
          </a:p>
          <a:p>
            <a:pPr lvl="0">
              <a:buClr>
                <a:srgbClr val="FFD200"/>
              </a:buClr>
              <a:buSzPct val="70000"/>
              <a:defRPr/>
            </a:pPr>
            <a:endParaRPr lang="en-IN" sz="800" kern="0" dirty="0">
              <a:solidFill>
                <a:srgbClr val="FFFFFF"/>
              </a:solidFill>
              <a:latin typeface="+mj-lt"/>
            </a:endParaRPr>
          </a:p>
          <a:p>
            <a:pPr marL="0" marR="0" lvl="0" indent="0" algn="l" defTabSz="914400" rtl="0" eaLnBrk="1" fontAlgn="base" latinLnBrk="0" hangingPunct="1">
              <a:lnSpc>
                <a:spcPct val="100000"/>
              </a:lnSpc>
              <a:spcBef>
                <a:spcPct val="0"/>
              </a:spcBef>
              <a:spcAft>
                <a:spcPts val="1013"/>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202</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4</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Ernst &amp; Young,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 </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Ernst &amp; Young Audit,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 </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a:t>
            </a:r>
            <a:b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E &amp; Y Valuations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 | EY </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Law</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advokátní kancelář, s.r.o.</a:t>
            </a:r>
            <a:b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b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Všechna práva vyhrazena. </a:t>
            </a:r>
          </a:p>
          <a:p>
            <a:pPr marL="0" marR="0" lvl="0" indent="0" algn="l" defTabSz="914400" rtl="0" eaLnBrk="1" fontAlgn="base" latinLnBrk="0" hangingPunct="1">
              <a:lnSpc>
                <a:spcPct val="100000"/>
              </a:lnSpc>
              <a:spcBef>
                <a:spcPct val="0"/>
              </a:spcBef>
              <a:spcAft>
                <a:spcPts val="1013"/>
              </a:spcAft>
              <a:buClrTx/>
              <a:buSzTx/>
              <a:buFontTx/>
              <a:buNone/>
              <a:tabLst/>
              <a:defRPr/>
            </a:pPr>
            <a:r>
              <a:rPr lang="cs-CZ" sz="800" kern="0" noProof="0" dirty="0">
                <a:solidFill>
                  <a:srgbClr val="FFFFFF"/>
                </a:solidFill>
              </a:rPr>
              <a:t>Tento materiál má pouze všeobecný informační charakter, na který není možné spoléhat se jako na poskytnutí účetního, daňového ani jiného odborného poradenství. V případě potřeby se prosím obraťte </a:t>
            </a:r>
            <a:br>
              <a:rPr lang="cs-CZ" sz="800" kern="0" noProof="0" dirty="0">
                <a:solidFill>
                  <a:srgbClr val="FFFFFF"/>
                </a:solidFill>
              </a:rPr>
            </a:br>
            <a:r>
              <a:rPr lang="cs-CZ" sz="800" kern="0" noProof="0" dirty="0">
                <a:solidFill>
                  <a:srgbClr val="FFFFFF"/>
                </a:solidFill>
              </a:rPr>
              <a:t>na svého konkrétního poradce.</a:t>
            </a:r>
          </a:p>
          <a:p>
            <a:pPr>
              <a:buClr>
                <a:srgbClr val="FFD200"/>
              </a:buClr>
              <a:buSzPct val="70000"/>
              <a:defRPr/>
            </a:pPr>
            <a:endParaRPr lang="en-IN" sz="700" kern="0" dirty="0">
              <a:solidFill>
                <a:srgbClr val="FFFFFF"/>
              </a:solidFill>
            </a:endParaRPr>
          </a:p>
          <a:p>
            <a:pPr lvl="0">
              <a:spcAft>
                <a:spcPts val="600"/>
              </a:spcAft>
              <a:buClr>
                <a:srgbClr val="FFD200"/>
              </a:buClr>
              <a:buSzPct val="70000"/>
              <a:defRPr/>
            </a:pPr>
            <a:r>
              <a:rPr lang="en-IN" sz="1100" kern="0" dirty="0">
                <a:solidFill>
                  <a:srgbClr val="FFFFFF"/>
                </a:solidFill>
                <a:latin typeface="EYInterstate" panose="02000503020000020004" pitchFamily="2" charset="0"/>
              </a:rPr>
              <a:t>ey.com</a:t>
            </a:r>
          </a:p>
        </p:txBody>
      </p:sp>
    </p:spTree>
    <p:extLst>
      <p:ext uri="{BB962C8B-B14F-4D97-AF65-F5344CB8AC3E}">
        <p14:creationId xmlns:p14="http://schemas.microsoft.com/office/powerpoint/2010/main" val="19074391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sclaimer ENG">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9553" y="0"/>
            <a:ext cx="12192005" cy="6858000"/>
          </a:xfrm>
          <a:prstGeom prst="rect">
            <a:avLst/>
          </a:prstGeom>
        </p:spPr>
      </p:pic>
      <p:sp>
        <p:nvSpPr>
          <p:cNvPr id="6" name="TextBox 5">
            <a:extLst>
              <a:ext uri="{FF2B5EF4-FFF2-40B4-BE49-F238E27FC236}">
                <a16:creationId xmlns:a16="http://schemas.microsoft.com/office/drawing/2014/main" id="{356043E5-4D4E-46F9-8502-1A2C82EA3931}"/>
              </a:ext>
            </a:extLst>
          </p:cNvPr>
          <p:cNvSpPr txBox="1">
            <a:spLocks/>
          </p:cNvSpPr>
          <p:nvPr userDrawn="1"/>
        </p:nvSpPr>
        <p:spPr>
          <a:xfrm>
            <a:off x="601940" y="908050"/>
            <a:ext cx="3205138" cy="2668423"/>
          </a:xfrm>
          <a:prstGeom prst="rect">
            <a:avLst/>
          </a:prstGeom>
          <a:noFill/>
        </p:spPr>
        <p:txBody>
          <a:bodyPr wrap="square" lIns="0" tIns="36576" rIns="0" bIns="0" rtlCol="0" anchor="t">
            <a:spAutoFit/>
          </a:bodyPr>
          <a:lstStyle/>
          <a:p>
            <a:pPr lvl="0">
              <a:spcAft>
                <a:spcPts val="6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rPr>
              <a:t>|  </a:t>
            </a:r>
            <a:r>
              <a:rPr lang="en-IN" sz="1200" kern="0" dirty="0">
                <a:solidFill>
                  <a:srgbClr val="FFE600"/>
                </a:solidFill>
                <a:latin typeface="EYInterstate" panose="02000503020000020004" pitchFamily="2" charset="0"/>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mj-lt"/>
              <a:cs typeface="Arial"/>
            </a:endParaRPr>
          </a:p>
          <a:p>
            <a:pPr lvl="0">
              <a:buClr>
                <a:srgbClr val="FFD200"/>
              </a:buClr>
              <a:buSzPct val="70000"/>
              <a:defRPr/>
            </a:pPr>
            <a:r>
              <a:rPr lang="en-IN" sz="1100" kern="0" dirty="0">
                <a:solidFill>
                  <a:srgbClr val="FFFFFF"/>
                </a:solidFill>
                <a:latin typeface="EYInterstate" panose="02000503020000020004" pitchFamily="2" charset="0"/>
              </a:rPr>
              <a:t>EY exists to build a better working world, helping to create long-term value for clients, people and society and build trust in the capital markets. </a:t>
            </a:r>
          </a:p>
          <a:p>
            <a:pPr lvl="0">
              <a:buClr>
                <a:srgbClr val="FFD200"/>
              </a:buClr>
              <a:buSzPct val="70000"/>
              <a:defRPr/>
            </a:pPr>
            <a:endParaRPr lang="en-IN" sz="1100" kern="0" dirty="0">
              <a:solidFill>
                <a:srgbClr val="FFFFFF"/>
              </a:solidFill>
              <a:latin typeface="EYInterstate" panose="02000503020000020004" pitchFamily="2" charset="0"/>
            </a:endParaRPr>
          </a:p>
          <a:p>
            <a:pPr lvl="0">
              <a:buClr>
                <a:srgbClr val="FFD200"/>
              </a:buClr>
              <a:buSzPct val="70000"/>
              <a:defRPr/>
            </a:pPr>
            <a:r>
              <a:rPr lang="en-IN" sz="1100" kern="0" dirty="0">
                <a:solidFill>
                  <a:srgbClr val="FFFFFF"/>
                </a:solidFill>
                <a:latin typeface="EYInterstate" panose="02000503020000020004" pitchFamily="2" charset="0"/>
              </a:rPr>
              <a:t>Enabled by data and technology, diverse EY teams in over 150 countries provide trust through assurance and help clients grow, transform and operate. </a:t>
            </a:r>
          </a:p>
          <a:p>
            <a:pPr lvl="0">
              <a:buClr>
                <a:srgbClr val="FFD200"/>
              </a:buClr>
              <a:buSzPct val="70000"/>
              <a:defRPr/>
            </a:pPr>
            <a:endParaRPr lang="en-IN" sz="1100" kern="0" dirty="0">
              <a:solidFill>
                <a:srgbClr val="FFFFFF"/>
              </a:solidFill>
              <a:latin typeface="EYInterstate" panose="02000503020000020004" pitchFamily="2" charset="0"/>
            </a:endParaRPr>
          </a:p>
          <a:p>
            <a:pPr lvl="0">
              <a:buClr>
                <a:srgbClr val="FFD200"/>
              </a:buClr>
              <a:buSzPct val="70000"/>
              <a:defRPr/>
            </a:pPr>
            <a:r>
              <a:rPr lang="en-IN" sz="1100" kern="0" dirty="0">
                <a:solidFill>
                  <a:srgbClr val="FFFFFF"/>
                </a:solidFill>
                <a:latin typeface="EYInterstate" panose="02000503020000020004" pitchFamily="2" charset="0"/>
              </a:rPr>
              <a:t>Working across assurance, consulting, law, strategy, tax and transactions, EY teams ask better questions to find new answers for the complex issues facing our world today.</a:t>
            </a:r>
          </a:p>
        </p:txBody>
      </p:sp>
      <p:sp>
        <p:nvSpPr>
          <p:cNvPr id="7" name="TextBox 6">
            <a:extLst>
              <a:ext uri="{FF2B5EF4-FFF2-40B4-BE49-F238E27FC236}">
                <a16:creationId xmlns:a16="http://schemas.microsoft.com/office/drawing/2014/main" id="{DDB745ED-4969-4BC5-80B2-D36AC5106122}"/>
              </a:ext>
            </a:extLst>
          </p:cNvPr>
          <p:cNvSpPr txBox="1">
            <a:spLocks/>
          </p:cNvSpPr>
          <p:nvPr userDrawn="1"/>
        </p:nvSpPr>
        <p:spPr>
          <a:xfrm>
            <a:off x="8297990" y="908050"/>
            <a:ext cx="3309810" cy="2411942"/>
          </a:xfrm>
          <a:prstGeom prst="rect">
            <a:avLst/>
          </a:prstGeom>
          <a:noFill/>
        </p:spPr>
        <p:txBody>
          <a:bodyPr wrap="square" lIns="0" tIns="36576" rIns="0" bIns="0" rtlCol="0" anchor="t">
            <a:spAutoFit/>
          </a:bodyPr>
          <a:lstStyle/>
          <a:p>
            <a:pPr lvl="0">
              <a:buClr>
                <a:srgbClr val="FFD200"/>
              </a:buClr>
              <a:buSzPct val="70000"/>
              <a:defRPr/>
            </a:pPr>
            <a:r>
              <a:rPr lang="en-IN" sz="800" kern="0" dirty="0">
                <a:solidFill>
                  <a:srgbClr val="FFFFFF"/>
                </a:solidFill>
                <a:latin typeface="+mj-lt"/>
              </a:rPr>
              <a:t>EY refers to the global organization, and may refer to one or more, </a:t>
            </a:r>
            <a:br>
              <a:rPr lang="cs-CZ" sz="800" kern="0" dirty="0">
                <a:solidFill>
                  <a:srgbClr val="FFFFFF"/>
                </a:solidFill>
                <a:latin typeface="+mj-lt"/>
              </a:rPr>
            </a:br>
            <a:r>
              <a:rPr lang="en-IN" sz="800" kern="0" dirty="0">
                <a:solidFill>
                  <a:srgbClr val="FFFFFF"/>
                </a:solidFill>
                <a:latin typeface="+mj-lt"/>
              </a:rPr>
              <a:t>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buClr>
                <a:srgbClr val="FFD200"/>
              </a:buClr>
              <a:buSzPct val="70000"/>
              <a:defRPr/>
            </a:pPr>
            <a:endParaRPr lang="en-IN" sz="800" kern="0" dirty="0">
              <a:solidFill>
                <a:srgbClr val="FFFFFF"/>
              </a:solidFill>
              <a:latin typeface="+mj-lt"/>
            </a:endParaRPr>
          </a:p>
          <a:p>
            <a:pPr marL="0" marR="0" lvl="0" indent="0" algn="l" defTabSz="914400" rtl="0" eaLnBrk="1" fontAlgn="base" latinLnBrk="0" hangingPunct="1">
              <a:lnSpc>
                <a:spcPct val="100000"/>
              </a:lnSpc>
              <a:spcBef>
                <a:spcPct val="0"/>
              </a:spcBef>
              <a:spcAft>
                <a:spcPts val="1013"/>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202</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4</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Ernst &amp; Young,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 </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Ernst &amp; Young Audit,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 </a:t>
            </a:r>
            <a:b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E &amp; Y Valuations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 | EY </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Law</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advokátní kancelář, s.r.o.</a:t>
            </a:r>
            <a:b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All Rights Reserved.</a:t>
            </a:r>
            <a:endPar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endParaRPr>
          </a:p>
          <a:p>
            <a:pPr>
              <a:buClr>
                <a:srgbClr val="FFD200"/>
              </a:buClr>
              <a:buSzPct val="70000"/>
              <a:defRPr/>
            </a:pPr>
            <a:r>
              <a:rPr lang="en-US" sz="800" kern="0" dirty="0">
                <a:solidFill>
                  <a:srgbClr val="FFFFFF"/>
                </a:solidFill>
              </a:rPr>
              <a:t>This material has been prepared for general informational purposes only and is not intended to be relied upon as accounting, tax or other professional advice. Please refer to your advisors for specific advice.</a:t>
            </a:r>
            <a:endParaRPr lang="cs-CZ" sz="800" kern="0" dirty="0">
              <a:solidFill>
                <a:srgbClr val="FFFFFF"/>
              </a:solidFill>
            </a:endParaRPr>
          </a:p>
          <a:p>
            <a:pPr>
              <a:buClr>
                <a:srgbClr val="FFD200"/>
              </a:buClr>
              <a:buSzPct val="70000"/>
              <a:defRPr/>
            </a:pPr>
            <a:endParaRPr lang="en-IN" sz="700" kern="0" dirty="0">
              <a:solidFill>
                <a:srgbClr val="FFFFFF"/>
              </a:solidFill>
            </a:endParaRPr>
          </a:p>
          <a:p>
            <a:pPr lvl="0">
              <a:spcAft>
                <a:spcPts val="600"/>
              </a:spcAft>
              <a:buClr>
                <a:srgbClr val="FFD200"/>
              </a:buClr>
              <a:buSzPct val="70000"/>
              <a:defRPr/>
            </a:pPr>
            <a:r>
              <a:rPr lang="en-IN" sz="1100" kern="0" dirty="0">
                <a:solidFill>
                  <a:srgbClr val="FFFFFF"/>
                </a:solidFill>
                <a:latin typeface="EYInterstate" panose="02000503020000020004" pitchFamily="2" charset="0"/>
              </a:rPr>
              <a:t>ey.com</a:t>
            </a:r>
          </a:p>
        </p:txBody>
      </p:sp>
    </p:spTree>
    <p:extLst>
      <p:ext uri="{BB962C8B-B14F-4D97-AF65-F5344CB8AC3E}">
        <p14:creationId xmlns:p14="http://schemas.microsoft.com/office/powerpoint/2010/main" val="12822270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r>
              <a:rPr lang="en-US"/>
              <a:t>Presentation title</a:t>
            </a:r>
            <a:endParaRPr lang="en-US" dirty="0"/>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590550" y="908050"/>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867939" y="2066609"/>
            <a:ext cx="4328932" cy="979702"/>
          </a:xfrm>
        </p:spPr>
        <p:txBody>
          <a:bodyPr/>
          <a:lstStyle>
            <a:lvl1pPr>
              <a:lnSpc>
                <a:spcPct val="100000"/>
              </a:lnSpc>
              <a:spcAft>
                <a:spcPts val="600"/>
              </a:spcAft>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67939" y="3429000"/>
            <a:ext cx="4328932" cy="775869"/>
          </a:xfrm>
        </p:spPr>
        <p:txBody>
          <a:bodyPr/>
          <a:lstStyle>
            <a:lvl1pPr marL="0" indent="0" algn="l">
              <a:spcAft>
                <a:spcPts val="1200"/>
              </a:spcAft>
              <a:buNone/>
              <a:defRPr sz="16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 name="Group 4">
            <a:extLst>
              <a:ext uri="{FF2B5EF4-FFF2-40B4-BE49-F238E27FC236}">
                <a16:creationId xmlns:a16="http://schemas.microsoft.com/office/drawing/2014/main" id="{469D6BAB-67C4-43FA-8DB1-0DB266DE68DE}"/>
              </a:ext>
            </a:extLst>
          </p:cNvPr>
          <p:cNvGrpSpPr>
            <a:grpSpLocks noChangeAspect="1"/>
          </p:cNvGrpSpPr>
          <p:nvPr userDrawn="1"/>
        </p:nvGrpSpPr>
        <p:grpSpPr bwMode="auto">
          <a:xfrm>
            <a:off x="10364788" y="5233988"/>
            <a:ext cx="1225550" cy="1435100"/>
            <a:chOff x="6529" y="3125"/>
            <a:chExt cx="772" cy="904"/>
          </a:xfrm>
        </p:grpSpPr>
        <p:sp>
          <p:nvSpPr>
            <p:cNvPr id="9" name="Freeform 5">
              <a:extLst>
                <a:ext uri="{FF2B5EF4-FFF2-40B4-BE49-F238E27FC236}">
                  <a16:creationId xmlns:a16="http://schemas.microsoft.com/office/drawing/2014/main" id="{34A9E36C-4934-403B-8C08-D755642133EB}"/>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Freeform 6">
              <a:extLst>
                <a:ext uri="{FF2B5EF4-FFF2-40B4-BE49-F238E27FC236}">
                  <a16:creationId xmlns:a16="http://schemas.microsoft.com/office/drawing/2014/main" id="{D09EFB70-AB3B-45B8-90B0-ABEA7CAFE906}"/>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slide with autho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590550" y="908050"/>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867939" y="2066609"/>
            <a:ext cx="4328932" cy="979702"/>
          </a:xfrm>
        </p:spPr>
        <p:txBody>
          <a:bodyPr/>
          <a:lstStyle>
            <a:lvl1pPr>
              <a:lnSpc>
                <a:spcPct val="100000"/>
              </a:lnSpc>
              <a:spcAft>
                <a:spcPts val="600"/>
              </a:spcAft>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67939" y="3429000"/>
            <a:ext cx="4328932" cy="775869"/>
          </a:xfrm>
        </p:spPr>
        <p:txBody>
          <a:bodyPr/>
          <a:lstStyle>
            <a:lvl1pPr marL="0" indent="0" algn="l">
              <a:spcAft>
                <a:spcPts val="1200"/>
              </a:spcAft>
              <a:buNone/>
              <a:defRPr sz="16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15" name="Group 4">
            <a:extLst>
              <a:ext uri="{FF2B5EF4-FFF2-40B4-BE49-F238E27FC236}">
                <a16:creationId xmlns:a16="http://schemas.microsoft.com/office/drawing/2014/main" id="{4E5A3DB9-1C4D-418E-896B-7110B8C039D4}"/>
              </a:ext>
            </a:extLst>
          </p:cNvPr>
          <p:cNvGrpSpPr>
            <a:grpSpLocks noChangeAspect="1"/>
          </p:cNvGrpSpPr>
          <p:nvPr userDrawn="1"/>
        </p:nvGrpSpPr>
        <p:grpSpPr bwMode="auto">
          <a:xfrm>
            <a:off x="10364788" y="4730750"/>
            <a:ext cx="1225550" cy="1435100"/>
            <a:chOff x="6529" y="3125"/>
            <a:chExt cx="772" cy="904"/>
          </a:xfrm>
        </p:grpSpPr>
        <p:sp>
          <p:nvSpPr>
            <p:cNvPr id="17" name="Freeform 5">
              <a:extLst>
                <a:ext uri="{FF2B5EF4-FFF2-40B4-BE49-F238E27FC236}">
                  <a16:creationId xmlns:a16="http://schemas.microsoft.com/office/drawing/2014/main" id="{303042F0-26BE-4EB0-B8EF-3D80A4309A5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 name="Freeform 6">
              <a:extLst>
                <a:ext uri="{FF2B5EF4-FFF2-40B4-BE49-F238E27FC236}">
                  <a16:creationId xmlns:a16="http://schemas.microsoft.com/office/drawing/2014/main" id="{6D2C5DBF-2F3D-440C-A655-B365F1185756}"/>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Cover slide with picture">
    <p:spTree>
      <p:nvGrpSpPr>
        <p:cNvPr id="1" name=""/>
        <p:cNvGrpSpPr/>
        <p:nvPr/>
      </p:nvGrpSpPr>
      <p:grpSpPr>
        <a:xfrm>
          <a:off x="0" y="0"/>
          <a:ext cx="0" cy="0"/>
          <a:chOff x="0" y="0"/>
          <a:chExt cx="0" cy="0"/>
        </a:xfrm>
      </p:grpSpPr>
      <p:pic>
        <p:nvPicPr>
          <p:cNvPr id="6" name="Picture 5" descr="A group of people sitting around a table&#10;&#10;Description automatically generated">
            <a:extLst>
              <a:ext uri="{FF2B5EF4-FFF2-40B4-BE49-F238E27FC236}">
                <a16:creationId xmlns:a16="http://schemas.microsoft.com/office/drawing/2014/main" id="{9CA0E10D-4545-0789-745F-8C060B39D13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1629" r="18945"/>
          <a:stretch/>
        </p:blipFill>
        <p:spPr>
          <a:xfrm>
            <a:off x="0" y="0"/>
            <a:ext cx="12198350" cy="6858000"/>
          </a:xfrm>
          <a:prstGeom prst="rect">
            <a:avLst/>
          </a:prstGeom>
        </p:spPr>
      </p:pic>
      <p:grpSp>
        <p:nvGrpSpPr>
          <p:cNvPr id="7" name="Group 4">
            <a:extLst>
              <a:ext uri="{FF2B5EF4-FFF2-40B4-BE49-F238E27FC236}">
                <a16:creationId xmlns:a16="http://schemas.microsoft.com/office/drawing/2014/main" id="{C61BD104-66B5-05F0-CD86-C25D7E3B9923}"/>
              </a:ext>
            </a:extLst>
          </p:cNvPr>
          <p:cNvGrpSpPr>
            <a:grpSpLocks noChangeAspect="1"/>
          </p:cNvGrpSpPr>
          <p:nvPr userDrawn="1"/>
        </p:nvGrpSpPr>
        <p:grpSpPr bwMode="auto">
          <a:xfrm>
            <a:off x="10364788" y="5233988"/>
            <a:ext cx="1225550" cy="1435100"/>
            <a:chOff x="6529" y="3125"/>
            <a:chExt cx="772" cy="904"/>
          </a:xfrm>
        </p:grpSpPr>
        <p:sp>
          <p:nvSpPr>
            <p:cNvPr id="8" name="Freeform 5">
              <a:extLst>
                <a:ext uri="{FF2B5EF4-FFF2-40B4-BE49-F238E27FC236}">
                  <a16:creationId xmlns:a16="http://schemas.microsoft.com/office/drawing/2014/main" id="{D4976617-9A36-93AE-0FB8-B15EF9344E6B}"/>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Arial" panose="020B0604020202020204" pitchFamily="34" charset="0"/>
              </a:endParaRPr>
            </a:p>
          </p:txBody>
        </p:sp>
        <p:sp>
          <p:nvSpPr>
            <p:cNvPr id="16" name="Freeform 6">
              <a:extLst>
                <a:ext uri="{FF2B5EF4-FFF2-40B4-BE49-F238E27FC236}">
                  <a16:creationId xmlns:a16="http://schemas.microsoft.com/office/drawing/2014/main" id="{B6FC08F7-2859-53A2-5165-40082A8836A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2E2E38"/>
                </a:solidFill>
                <a:effectLst/>
                <a:uLnTx/>
                <a:uFillTx/>
                <a:latin typeface="Arial" panose="020B0604020202020204" pitchFamily="34" charset="0"/>
              </a:endParaRPr>
            </a:p>
          </p:txBody>
        </p:sp>
      </p:grpSp>
      <p:sp>
        <p:nvSpPr>
          <p:cNvPr id="18" name="Freeform 56">
            <a:extLst>
              <a:ext uri="{FF2B5EF4-FFF2-40B4-BE49-F238E27FC236}">
                <a16:creationId xmlns:a16="http://schemas.microsoft.com/office/drawing/2014/main" id="{3961D014-0200-484E-852A-9ABE2110BEEE}"/>
              </a:ext>
            </a:extLst>
          </p:cNvPr>
          <p:cNvSpPr/>
          <p:nvPr userDrawn="1"/>
        </p:nvSpPr>
        <p:spPr>
          <a:xfrm>
            <a:off x="590550" y="668641"/>
            <a:ext cx="4199969" cy="3050885"/>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11" name="Title 1"/>
          <p:cNvSpPr>
            <a:spLocks noGrp="1"/>
          </p:cNvSpPr>
          <p:nvPr>
            <p:ph type="ctrTitle"/>
          </p:nvPr>
        </p:nvSpPr>
        <p:spPr>
          <a:xfrm>
            <a:off x="837200" y="1693501"/>
            <a:ext cx="3645900" cy="979702"/>
          </a:xfrm>
        </p:spPr>
        <p:txBody>
          <a:bodyPr/>
          <a:lstStyle>
            <a:lvl1pPr>
              <a:lnSpc>
                <a:spcPct val="100000"/>
              </a:lnSpc>
              <a:spcAft>
                <a:spcPts val="600"/>
              </a:spcAft>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37200" y="2954215"/>
            <a:ext cx="3645900" cy="649210"/>
          </a:xfrm>
        </p:spPr>
        <p:txBody>
          <a:bodyPr/>
          <a:lstStyle>
            <a:lvl1pPr marL="0" indent="0" algn="l">
              <a:spcAft>
                <a:spcPts val="1200"/>
              </a:spcAft>
              <a:buNone/>
              <a:defRPr sz="16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9" name="TextBox 8"/>
          <p:cNvSpPr txBox="1"/>
          <p:nvPr userDrawn="1"/>
        </p:nvSpPr>
        <p:spPr>
          <a:xfrm>
            <a:off x="-2793856" y="0"/>
            <a:ext cx="2603356" cy="1438649"/>
          </a:xfrm>
          <a:prstGeom prst="rect">
            <a:avLst/>
          </a:prstGeom>
          <a:solidFill>
            <a:schemeClr val="tx2"/>
          </a:solidFill>
        </p:spPr>
        <p:txBody>
          <a:bodyPr wrap="square" lIns="72000" tIns="72000" rIns="72000" bIns="36000" rtlCol="0">
            <a:spAutoFit/>
          </a:bodyPr>
          <a:lstStyle/>
          <a:p>
            <a:pPr>
              <a:lnSpc>
                <a:spcPct val="85000"/>
              </a:lnSpc>
              <a:spcAft>
                <a:spcPts val="600"/>
              </a:spcAft>
              <a:buClr>
                <a:schemeClr val="accent2"/>
              </a:buClr>
              <a:buSzPct val="70000"/>
            </a:pPr>
            <a:r>
              <a:rPr lang="en-US" sz="1200" b="1" noProof="0" dirty="0">
                <a:solidFill>
                  <a:schemeClr val="bg1"/>
                </a:solidFill>
                <a:latin typeface="EYInterstate" panose="02000503020000020004" pitchFamily="2" charset="0"/>
              </a:rPr>
              <a:t>DARK THEME X LIGHT THEME</a:t>
            </a:r>
          </a:p>
          <a:p>
            <a:pPr>
              <a:lnSpc>
                <a:spcPct val="85000"/>
              </a:lnSpc>
              <a:spcAft>
                <a:spcPts val="600"/>
              </a:spcAft>
              <a:buClr>
                <a:schemeClr val="accent2"/>
              </a:buClr>
              <a:buSzPct val="70000"/>
            </a:pPr>
            <a:r>
              <a:rPr lang="en-US" sz="1200" noProof="0" dirty="0">
                <a:solidFill>
                  <a:schemeClr val="bg1"/>
                </a:solidFill>
              </a:rPr>
              <a:t>With one click you can change color theme of the presentation (colors for the background, graphics, text, highlights and other elements).</a:t>
            </a:r>
          </a:p>
          <a:p>
            <a:pPr>
              <a:lnSpc>
                <a:spcPct val="85000"/>
              </a:lnSpc>
              <a:spcAft>
                <a:spcPts val="600"/>
              </a:spcAft>
              <a:buClr>
                <a:schemeClr val="accent2"/>
              </a:buClr>
              <a:buSzPct val="70000"/>
            </a:pPr>
            <a:r>
              <a:rPr lang="en-US" sz="1200" noProof="0" dirty="0">
                <a:solidFill>
                  <a:schemeClr val="bg1"/>
                </a:solidFill>
              </a:rPr>
              <a:t>Ribbon „EY Templates“ </a:t>
            </a:r>
            <a:r>
              <a:rPr lang="en-US" sz="1200" noProof="0" dirty="0">
                <a:solidFill>
                  <a:schemeClr val="bg1"/>
                </a:solidFill>
                <a:sym typeface="Wingdings" panose="05000000000000000000" pitchFamily="2" charset="2"/>
              </a:rPr>
              <a:t> Themes</a:t>
            </a:r>
            <a:endParaRPr lang="en-US" sz="1200" noProof="0" dirty="0">
              <a:solidFill>
                <a:schemeClr val="bg1"/>
              </a:solidFill>
            </a:endParaRPr>
          </a:p>
          <a:p>
            <a:pPr>
              <a:lnSpc>
                <a:spcPct val="85000"/>
              </a:lnSpc>
              <a:spcAft>
                <a:spcPts val="600"/>
              </a:spcAft>
              <a:buClr>
                <a:schemeClr val="accent2"/>
              </a:buClr>
              <a:buSzPct val="70000"/>
            </a:pPr>
            <a:endParaRPr lang="en-US" sz="1200" noProof="0" dirty="0">
              <a:solidFill>
                <a:schemeClr val="bg1"/>
              </a:solidFill>
            </a:endParaRPr>
          </a:p>
        </p:txBody>
      </p:sp>
      <p:pic>
        <p:nvPicPr>
          <p:cNvPr id="10" name="Picture 9"/>
          <p:cNvPicPr>
            <a:picLocks noChangeAspect="1"/>
          </p:cNvPicPr>
          <p:nvPr userDrawn="1"/>
        </p:nvPicPr>
        <p:blipFill rotWithShape="1">
          <a:blip r:embed="rId3"/>
          <a:srcRect r="77955" b="75999"/>
          <a:stretch/>
        </p:blipFill>
        <p:spPr>
          <a:xfrm>
            <a:off x="-2725666" y="1314450"/>
            <a:ext cx="2350053" cy="1439154"/>
          </a:xfrm>
          <a:prstGeom prst="rect">
            <a:avLst/>
          </a:prstGeom>
        </p:spPr>
      </p:pic>
    </p:spTree>
    <p:extLst>
      <p:ext uri="{BB962C8B-B14F-4D97-AF65-F5344CB8AC3E}">
        <p14:creationId xmlns:p14="http://schemas.microsoft.com/office/powerpoint/2010/main" val="24583646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etter question">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615174" y="6043331"/>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1046064" y="2375048"/>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1046256" y="3417048"/>
            <a:ext cx="4808028" cy="645742"/>
          </a:xfrm>
          <a:prstGeom prst="rect">
            <a:avLst/>
          </a:prstGeom>
        </p:spPr>
        <p:txBody>
          <a:bodyPr/>
          <a:lstStyle>
            <a:lvl1pPr marL="0" indent="0" algn="l">
              <a:buNone/>
              <a:defRPr sz="16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590550" y="940377"/>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590550" y="4238474"/>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875881" y="4238474"/>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161094" y="4238474"/>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9" name="Group 4">
            <a:extLst>
              <a:ext uri="{FF2B5EF4-FFF2-40B4-BE49-F238E27FC236}">
                <a16:creationId xmlns:a16="http://schemas.microsoft.com/office/drawing/2014/main" id="{E5FBEE3C-1F63-4D5E-9D2A-1A7FB6802BB5}"/>
              </a:ext>
            </a:extLst>
          </p:cNvPr>
          <p:cNvGrpSpPr>
            <a:grpSpLocks noChangeAspect="1"/>
          </p:cNvGrpSpPr>
          <p:nvPr userDrawn="1"/>
        </p:nvGrpSpPr>
        <p:grpSpPr bwMode="auto">
          <a:xfrm>
            <a:off x="10364788" y="5237163"/>
            <a:ext cx="1225550" cy="1435100"/>
            <a:chOff x="6529" y="3125"/>
            <a:chExt cx="772" cy="904"/>
          </a:xfrm>
        </p:grpSpPr>
        <p:sp>
          <p:nvSpPr>
            <p:cNvPr id="80" name="Freeform 5">
              <a:extLst>
                <a:ext uri="{FF2B5EF4-FFF2-40B4-BE49-F238E27FC236}">
                  <a16:creationId xmlns:a16="http://schemas.microsoft.com/office/drawing/2014/main" id="{30461ED0-0640-4302-ACC7-CC96EB84BC4D}"/>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1" name="Freeform 6">
              <a:extLst>
                <a:ext uri="{FF2B5EF4-FFF2-40B4-BE49-F238E27FC236}">
                  <a16:creationId xmlns:a16="http://schemas.microsoft.com/office/drawing/2014/main" id="{4A2253AF-913D-4A3E-A6EE-35BCF21DC22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etter question_2">
    <p:spTree>
      <p:nvGrpSpPr>
        <p:cNvPr id="1" name=""/>
        <p:cNvGrpSpPr/>
        <p:nvPr/>
      </p:nvGrpSpPr>
      <p:grpSpPr>
        <a:xfrm>
          <a:off x="0" y="0"/>
          <a:ext cx="0" cy="0"/>
          <a:chOff x="0" y="0"/>
          <a:chExt cx="0" cy="0"/>
        </a:xfrm>
      </p:grpSpPr>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1056478" y="2206281"/>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1056670" y="3248281"/>
            <a:ext cx="4020628" cy="645742"/>
          </a:xfrm>
          <a:prstGeom prst="rect">
            <a:avLst/>
          </a:prstGeom>
        </p:spPr>
        <p:txBody>
          <a:bodyPr/>
          <a:lstStyle>
            <a:lvl1pPr marL="0" indent="0" algn="l">
              <a:buNone/>
              <a:defRPr sz="16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600964" y="924010"/>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5" name="Group 84">
            <a:extLst>
              <a:ext uri="{FF2B5EF4-FFF2-40B4-BE49-F238E27FC236}">
                <a16:creationId xmlns:a16="http://schemas.microsoft.com/office/drawing/2014/main" id="{5342E118-6F1D-4C46-956E-4CCCBCAA7952}"/>
              </a:ext>
            </a:extLst>
          </p:cNvPr>
          <p:cNvGrpSpPr/>
          <p:nvPr userDrawn="1"/>
        </p:nvGrpSpPr>
        <p:grpSpPr>
          <a:xfrm>
            <a:off x="615174" y="6043331"/>
            <a:ext cx="3878023" cy="570195"/>
            <a:chOff x="498115" y="5951018"/>
            <a:chExt cx="3878023" cy="570195"/>
          </a:xfrm>
        </p:grpSpPr>
        <p:sp>
          <p:nvSpPr>
            <p:cNvPr id="86" name="Rectangle 85">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0"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1"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2"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3"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4"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5"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6"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7"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8"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9"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0"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1"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2"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3"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4"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5"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6"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7"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8"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9"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0"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1"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2"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3"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4"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5"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6"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7"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8"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9"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0"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1"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2"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3"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4"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5"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6"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7"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8"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9"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0"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1"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2"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3"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4"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5"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6"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7"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8"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9"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0"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1"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2"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3"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4"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5"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6"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7"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8"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9"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50"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51"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grpSp>
        <p:nvGrpSpPr>
          <p:cNvPr id="152" name="Group 4">
            <a:extLst>
              <a:ext uri="{FF2B5EF4-FFF2-40B4-BE49-F238E27FC236}">
                <a16:creationId xmlns:a16="http://schemas.microsoft.com/office/drawing/2014/main" id="{A44D6F37-F547-4408-8D03-F4EBFC0B719E}"/>
              </a:ext>
            </a:extLst>
          </p:cNvPr>
          <p:cNvGrpSpPr>
            <a:grpSpLocks noChangeAspect="1"/>
          </p:cNvGrpSpPr>
          <p:nvPr userDrawn="1"/>
        </p:nvGrpSpPr>
        <p:grpSpPr bwMode="auto">
          <a:xfrm>
            <a:off x="10364788" y="5237163"/>
            <a:ext cx="1225550" cy="1435100"/>
            <a:chOff x="6529" y="3125"/>
            <a:chExt cx="772" cy="904"/>
          </a:xfrm>
        </p:grpSpPr>
        <p:sp>
          <p:nvSpPr>
            <p:cNvPr id="153" name="Freeform 5">
              <a:extLst>
                <a:ext uri="{FF2B5EF4-FFF2-40B4-BE49-F238E27FC236}">
                  <a16:creationId xmlns:a16="http://schemas.microsoft.com/office/drawing/2014/main" id="{AC95B55A-1003-43F2-A777-70A4AF55743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4" name="Freeform 6">
              <a:extLst>
                <a:ext uri="{FF2B5EF4-FFF2-40B4-BE49-F238E27FC236}">
                  <a16:creationId xmlns:a16="http://schemas.microsoft.com/office/drawing/2014/main" id="{2C4941AB-6CC9-46AE-A7F0-937433DDDE2A}"/>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etter question">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658660" y="6011127"/>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1046064" y="2342721"/>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1046256" y="3384721"/>
            <a:ext cx="4808028" cy="645742"/>
          </a:xfrm>
          <a:prstGeom prst="rect">
            <a:avLst/>
          </a:prstGeom>
        </p:spPr>
        <p:txBody>
          <a:bodyPr/>
          <a:lstStyle>
            <a:lvl1pPr marL="0" indent="0" algn="l">
              <a:buNone/>
              <a:defRPr sz="16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590550" y="908050"/>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590550" y="420614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875881" y="420614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161094" y="420614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8" name="Group 4">
            <a:extLst>
              <a:ext uri="{FF2B5EF4-FFF2-40B4-BE49-F238E27FC236}">
                <a16:creationId xmlns:a16="http://schemas.microsoft.com/office/drawing/2014/main" id="{5577F5AD-F013-497E-A442-971584B122E8}"/>
              </a:ext>
            </a:extLst>
          </p:cNvPr>
          <p:cNvGrpSpPr>
            <a:grpSpLocks noChangeAspect="1"/>
          </p:cNvGrpSpPr>
          <p:nvPr userDrawn="1"/>
        </p:nvGrpSpPr>
        <p:grpSpPr bwMode="auto">
          <a:xfrm>
            <a:off x="10364788" y="5233988"/>
            <a:ext cx="1225550" cy="1435100"/>
            <a:chOff x="6529" y="3125"/>
            <a:chExt cx="772" cy="904"/>
          </a:xfrm>
        </p:grpSpPr>
        <p:sp>
          <p:nvSpPr>
            <p:cNvPr id="79" name="Freeform 5">
              <a:extLst>
                <a:ext uri="{FF2B5EF4-FFF2-40B4-BE49-F238E27FC236}">
                  <a16:creationId xmlns:a16="http://schemas.microsoft.com/office/drawing/2014/main" id="{61B5EE87-B49A-4934-BE50-677D397D80D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0" name="Freeform 6">
              <a:extLst>
                <a:ext uri="{FF2B5EF4-FFF2-40B4-BE49-F238E27FC236}">
                  <a16:creationId xmlns:a16="http://schemas.microsoft.com/office/drawing/2014/main" id="{047C6BFB-E181-4FAB-97DA-2C448251A6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etter question with picture">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9713" y="908050"/>
            <a:ext cx="4848024" cy="3933825"/>
          </a:xfrm>
          <a:prstGeom prst="rect">
            <a:avLst/>
          </a:prstGeom>
        </p:spPr>
      </p:pic>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bwMode="white">
          <a:xfrm>
            <a:off x="1065227" y="2196803"/>
            <a:ext cx="4000436" cy="860400"/>
          </a:xfrm>
          <a:prstGeom prst="rect">
            <a:avLst/>
          </a:prstGeo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bwMode="white">
          <a:xfrm>
            <a:off x="1065419" y="3238803"/>
            <a:ext cx="4020628" cy="645742"/>
          </a:xfrm>
          <a:prstGeom prst="rect">
            <a:avLst/>
          </a:prstGeom>
        </p:spPr>
        <p:txBody>
          <a:bodyPr/>
          <a:lstStyle>
            <a:lvl1pPr marL="0" indent="0" algn="l">
              <a:buNone/>
              <a:defRPr sz="1600">
                <a:solidFill>
                  <a:schemeClr val="tx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283" name="Group 282">
            <a:extLst>
              <a:ext uri="{FF2B5EF4-FFF2-40B4-BE49-F238E27FC236}">
                <a16:creationId xmlns:a16="http://schemas.microsoft.com/office/drawing/2014/main" id="{5342E118-6F1D-4C46-956E-4CCCBCAA7952}"/>
              </a:ext>
            </a:extLst>
          </p:cNvPr>
          <p:cNvGrpSpPr/>
          <p:nvPr userDrawn="1"/>
        </p:nvGrpSpPr>
        <p:grpSpPr>
          <a:xfrm>
            <a:off x="658660" y="6011127"/>
            <a:ext cx="3878023" cy="570195"/>
            <a:chOff x="498115" y="5951018"/>
            <a:chExt cx="3878023" cy="570195"/>
          </a:xfrm>
        </p:grpSpPr>
        <p:sp>
          <p:nvSpPr>
            <p:cNvPr id="284" name="Rectangle 283">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285"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286"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287"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288"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289"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290"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291"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292"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293"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294"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295"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296"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297"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298"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299"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00"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01"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02"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03"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04"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05"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06"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07"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08"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09"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10"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11"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12"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13"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14"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15"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16"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17"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18"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19"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20"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21"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22"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23"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24"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25"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26"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27"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28"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29"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30"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31"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32"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33"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34"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35"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36"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37"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38"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39"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40"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41"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42"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43"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44"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45"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46"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47"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48"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sp>
          <p:nvSpPr>
            <p:cNvPr id="349"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endParaRPr>
            </a:p>
          </p:txBody>
        </p:sp>
      </p:grpSp>
      <p:grpSp>
        <p:nvGrpSpPr>
          <p:cNvPr id="79" name="Group 4">
            <a:extLst>
              <a:ext uri="{FF2B5EF4-FFF2-40B4-BE49-F238E27FC236}">
                <a16:creationId xmlns:a16="http://schemas.microsoft.com/office/drawing/2014/main" id="{768238BA-550A-4980-A0B6-2E1F5D628690}"/>
              </a:ext>
            </a:extLst>
          </p:cNvPr>
          <p:cNvGrpSpPr>
            <a:grpSpLocks noChangeAspect="1"/>
          </p:cNvGrpSpPr>
          <p:nvPr userDrawn="1"/>
        </p:nvGrpSpPr>
        <p:grpSpPr bwMode="auto">
          <a:xfrm>
            <a:off x="10364788" y="5233988"/>
            <a:ext cx="1225550" cy="1435100"/>
            <a:chOff x="6529" y="3125"/>
            <a:chExt cx="772" cy="904"/>
          </a:xfrm>
        </p:grpSpPr>
        <p:sp>
          <p:nvSpPr>
            <p:cNvPr id="80" name="Freeform 5">
              <a:extLst>
                <a:ext uri="{FF2B5EF4-FFF2-40B4-BE49-F238E27FC236}">
                  <a16:creationId xmlns:a16="http://schemas.microsoft.com/office/drawing/2014/main" id="{9C29251F-BF6B-44D8-9162-43831E6E1E5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sp>
          <p:nvSpPr>
            <p:cNvPr id="81" name="Freeform 6">
              <a:extLst>
                <a:ext uri="{FF2B5EF4-FFF2-40B4-BE49-F238E27FC236}">
                  <a16:creationId xmlns:a16="http://schemas.microsoft.com/office/drawing/2014/main" id="{F67A662E-FDC7-4B47-AA35-FDA30DAEA9F9}"/>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endParaRPr>
            </a:p>
          </p:txBody>
        </p:sp>
      </p:grpSp>
    </p:spTree>
    <p:extLst>
      <p:ext uri="{BB962C8B-B14F-4D97-AF65-F5344CB8AC3E}">
        <p14:creationId xmlns:p14="http://schemas.microsoft.com/office/powerpoint/2010/main" val="108502039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andard slide -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502793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p>
            <a:r>
              <a:rPr lang="en-IN"/>
              <a:t>Presentation title</a:t>
            </a:r>
            <a:endParaRPr lang="en-IN" dirty="0"/>
          </a:p>
        </p:txBody>
      </p:sp>
    </p:spTree>
    <p:extLst>
      <p:ext uri="{BB962C8B-B14F-4D97-AF65-F5344CB8AC3E}">
        <p14:creationId xmlns:p14="http://schemas.microsoft.com/office/powerpoint/2010/main" val="278323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10980000" cy="502793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Footer Placeholder 6"/>
          <p:cNvSpPr>
            <a:spLocks noGrp="1"/>
          </p:cNvSpPr>
          <p:nvPr>
            <p:ph type="ftr" sz="quarter" idx="10"/>
          </p:nvPr>
        </p:nvSpPr>
        <p:spPr/>
        <p:txBody>
          <a:bodyPr/>
          <a:lstStyle/>
          <a:p>
            <a:r>
              <a:rPr lang="en-IN"/>
              <a:t>Presentation title</a:t>
            </a:r>
            <a:endParaRPr lang="en-IN" dirty="0"/>
          </a:p>
        </p:txBody>
      </p:sp>
    </p:spTree>
    <p:extLst>
      <p:ext uri="{BB962C8B-B14F-4D97-AF65-F5344CB8AC3E}">
        <p14:creationId xmlns:p14="http://schemas.microsoft.com/office/powerpoint/2010/main" val="6460789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Footer Placeholder 5"/>
          <p:cNvSpPr>
            <a:spLocks noGrp="1"/>
          </p:cNvSpPr>
          <p:nvPr>
            <p:ph type="ftr" sz="quarter" idx="10"/>
          </p:nvPr>
        </p:nvSpPr>
        <p:spPr/>
        <p:txBody>
          <a:bodyPr/>
          <a:lstStyle/>
          <a:p>
            <a:r>
              <a:rPr lang="en-IN"/>
              <a:t>Presentation title</a:t>
            </a:r>
            <a:endParaRPr lang="en-IN" dirty="0"/>
          </a:p>
        </p:txBody>
      </p:sp>
    </p:spTree>
    <p:extLst>
      <p:ext uri="{BB962C8B-B14F-4D97-AF65-F5344CB8AC3E}">
        <p14:creationId xmlns:p14="http://schemas.microsoft.com/office/powerpoint/2010/main" val="35457041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lide - picture on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Footer Placeholder 7"/>
          <p:cNvSpPr>
            <a:spLocks noGrp="1"/>
          </p:cNvSpPr>
          <p:nvPr>
            <p:ph type="ftr" sz="quarter" idx="14"/>
          </p:nvPr>
        </p:nvSpPr>
        <p:spPr/>
        <p:txBody>
          <a:bodyPr/>
          <a:lstStyle/>
          <a:p>
            <a:r>
              <a:rPr lang="en-IN"/>
              <a:t>Presentation title</a:t>
            </a:r>
            <a:endParaRPr lang="en-IN" dirty="0"/>
          </a:p>
        </p:txBody>
      </p:sp>
    </p:spTree>
    <p:extLst>
      <p:ext uri="{BB962C8B-B14F-4D97-AF65-F5344CB8AC3E}">
        <p14:creationId xmlns:p14="http://schemas.microsoft.com/office/powerpoint/2010/main" val="14500132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lide - picture on 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Footer Placeholder 7"/>
          <p:cNvSpPr>
            <a:spLocks noGrp="1"/>
          </p:cNvSpPr>
          <p:nvPr>
            <p:ph type="ftr" sz="quarter" idx="13"/>
          </p:nvPr>
        </p:nvSpPr>
        <p:spPr/>
        <p:txBody>
          <a:bodyPr/>
          <a:lstStyle/>
          <a:p>
            <a:r>
              <a:rPr lang="en-IN"/>
              <a:t>Presentation title</a:t>
            </a:r>
            <a:endParaRPr lang="en-IN" dirty="0"/>
          </a:p>
        </p:txBody>
      </p:sp>
    </p:spTree>
    <p:extLst>
      <p:ext uri="{BB962C8B-B14F-4D97-AF65-F5344CB8AC3E}">
        <p14:creationId xmlns:p14="http://schemas.microsoft.com/office/powerpoint/2010/main" val="2710894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8"/>
            <a:ext cx="5387605" cy="5027931"/>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8"/>
            <a:ext cx="5387605" cy="5027931"/>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Footer Placeholder 7"/>
          <p:cNvSpPr>
            <a:spLocks noGrp="1"/>
          </p:cNvSpPr>
          <p:nvPr>
            <p:ph type="ftr" sz="quarter" idx="10"/>
          </p:nvPr>
        </p:nvSpPr>
        <p:spPr/>
        <p:txBody>
          <a:bodyPr/>
          <a:lstStyle/>
          <a:p>
            <a:r>
              <a:rPr lang="en-IN"/>
              <a:t>Presentation title</a:t>
            </a:r>
            <a:endParaRPr lang="en-IN" dirty="0"/>
          </a:p>
        </p:txBody>
      </p:sp>
    </p:spTree>
    <p:extLst>
      <p:ext uri="{BB962C8B-B14F-4D97-AF65-F5344CB8AC3E}">
        <p14:creationId xmlns:p14="http://schemas.microsoft.com/office/powerpoint/2010/main" val="39546440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Footer Placeholder 7"/>
          <p:cNvSpPr>
            <a:spLocks noGrp="1"/>
          </p:cNvSpPr>
          <p:nvPr>
            <p:ph type="ftr" sz="quarter" idx="14"/>
          </p:nvPr>
        </p:nvSpPr>
        <p:spPr/>
        <p:txBody>
          <a:bodyPr/>
          <a:lstStyle/>
          <a:p>
            <a:r>
              <a:rPr lang="en-IN"/>
              <a:t>Presentation title</a:t>
            </a:r>
            <a:endParaRPr lang="en-IN" dirty="0"/>
          </a:p>
        </p:txBody>
      </p:sp>
    </p:spTree>
    <p:extLst>
      <p:ext uri="{BB962C8B-B14F-4D97-AF65-F5344CB8AC3E}">
        <p14:creationId xmlns:p14="http://schemas.microsoft.com/office/powerpoint/2010/main" val="5966410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Footer Placeholder 6"/>
          <p:cNvSpPr>
            <a:spLocks noGrp="1"/>
          </p:cNvSpPr>
          <p:nvPr>
            <p:ph type="ftr" sz="quarter" idx="19"/>
          </p:nvPr>
        </p:nvSpPr>
        <p:spPr/>
        <p:txBody>
          <a:bodyPr/>
          <a:lstStyle/>
          <a:p>
            <a:r>
              <a:rPr lang="en-IN"/>
              <a:t>Presentation title</a:t>
            </a:r>
            <a:endParaRPr lang="en-IN" dirty="0"/>
          </a:p>
        </p:txBody>
      </p:sp>
    </p:spTree>
    <p:extLst>
      <p:ext uri="{BB962C8B-B14F-4D97-AF65-F5344CB8AC3E}">
        <p14:creationId xmlns:p14="http://schemas.microsoft.com/office/powerpoint/2010/main" val="25254414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s slide - centre">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
        <p:nvSpPr>
          <p:cNvPr id="2" name="Footer Placeholder 1"/>
          <p:cNvSpPr>
            <a:spLocks noGrp="1"/>
          </p:cNvSpPr>
          <p:nvPr>
            <p:ph type="ftr" sz="quarter" idx="13"/>
          </p:nvPr>
        </p:nvSpPr>
        <p:spPr/>
        <p:txBody>
          <a:bodyPr/>
          <a:lstStyle/>
          <a:p>
            <a:r>
              <a:rPr lang="en-IN"/>
              <a:t>Presentation title</a:t>
            </a:r>
            <a:endParaRPr lang="en-IN" dirty="0"/>
          </a:p>
        </p:txBody>
      </p:sp>
    </p:spTree>
    <p:extLst>
      <p:ext uri="{BB962C8B-B14F-4D97-AF65-F5344CB8AC3E}">
        <p14:creationId xmlns:p14="http://schemas.microsoft.com/office/powerpoint/2010/main" val="30489916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etter question with picture">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9713" y="908050"/>
            <a:ext cx="4848024" cy="3933825"/>
          </a:xfrm>
          <a:prstGeom prst="rect">
            <a:avLst/>
          </a:prstGeom>
        </p:spPr>
      </p:pic>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bwMode="white">
          <a:xfrm>
            <a:off x="1065227" y="2196803"/>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bwMode="white">
          <a:xfrm>
            <a:off x="1065419" y="3238803"/>
            <a:ext cx="4020628" cy="645742"/>
          </a:xfrm>
          <a:prstGeom prst="rect">
            <a:avLst/>
          </a:prstGeom>
        </p:spPr>
        <p:txBody>
          <a:bodyPr/>
          <a:lstStyle>
            <a:lvl1pPr marL="0" indent="0" algn="l">
              <a:buNone/>
              <a:defRPr sz="16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76" name="Group 75">
            <a:extLst>
              <a:ext uri="{FF2B5EF4-FFF2-40B4-BE49-F238E27FC236}">
                <a16:creationId xmlns:a16="http://schemas.microsoft.com/office/drawing/2014/main" id="{5342E118-6F1D-4C46-956E-4CCCBCAA7952}"/>
              </a:ext>
            </a:extLst>
          </p:cNvPr>
          <p:cNvGrpSpPr/>
          <p:nvPr userDrawn="1"/>
        </p:nvGrpSpPr>
        <p:grpSpPr>
          <a:xfrm>
            <a:off x="658660" y="6011127"/>
            <a:ext cx="3878023" cy="570195"/>
            <a:chOff x="498115" y="5951018"/>
            <a:chExt cx="3878023" cy="570195"/>
          </a:xfrm>
        </p:grpSpPr>
        <p:sp>
          <p:nvSpPr>
            <p:cNvPr id="77" name="Rectangle 76">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9"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0"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81"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86"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87"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88"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89"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0"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1"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2"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3"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4"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5"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6"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7"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8"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9"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0"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1"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2"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3"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4"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5"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6"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7"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8"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9"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0"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1"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2"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3"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4"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5"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6"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7"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8"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9"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0"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1"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2"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3"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4"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5"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6"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7"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8"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9"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0"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1"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2"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3"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4"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5"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6"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7"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8"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9"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0"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1"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2"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3"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4"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5"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6"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grpSp>
        <p:nvGrpSpPr>
          <p:cNvPr id="147" name="Group 4">
            <a:extLst>
              <a:ext uri="{FF2B5EF4-FFF2-40B4-BE49-F238E27FC236}">
                <a16:creationId xmlns:a16="http://schemas.microsoft.com/office/drawing/2014/main" id="{EB87FF01-BD2E-4F56-9B89-ED13B7AF1325}"/>
              </a:ext>
            </a:extLst>
          </p:cNvPr>
          <p:cNvGrpSpPr>
            <a:grpSpLocks noChangeAspect="1"/>
          </p:cNvGrpSpPr>
          <p:nvPr userDrawn="1"/>
        </p:nvGrpSpPr>
        <p:grpSpPr bwMode="auto">
          <a:xfrm>
            <a:off x="10364788" y="5233988"/>
            <a:ext cx="1225550" cy="1435100"/>
            <a:chOff x="6529" y="3125"/>
            <a:chExt cx="772" cy="904"/>
          </a:xfrm>
        </p:grpSpPr>
        <p:sp>
          <p:nvSpPr>
            <p:cNvPr id="148" name="Freeform 5">
              <a:extLst>
                <a:ext uri="{FF2B5EF4-FFF2-40B4-BE49-F238E27FC236}">
                  <a16:creationId xmlns:a16="http://schemas.microsoft.com/office/drawing/2014/main" id="{80BAF289-B2BD-4B73-B582-3BE34762CCC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9" name="Freeform 6">
              <a:extLst>
                <a:ext uri="{FF2B5EF4-FFF2-40B4-BE49-F238E27FC236}">
                  <a16:creationId xmlns:a16="http://schemas.microsoft.com/office/drawing/2014/main" id="{DBEDF387-3BB0-413B-8EC7-2A8EB32E403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s slide - left side">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90550" y="2526765"/>
            <a:ext cx="5292000" cy="1800000"/>
          </a:xfrm>
        </p:spPr>
        <p:txBody>
          <a:bodyPr lIns="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90550" y="4632765"/>
            <a:ext cx="5292000" cy="316838"/>
          </a:xfrm>
        </p:spPr>
        <p:txBody>
          <a:bodyPr lIns="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90550" y="4971442"/>
            <a:ext cx="5292000" cy="316838"/>
          </a:xfrm>
        </p:spPr>
        <p:txBody>
          <a:bodyPr lIns="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
        <p:nvSpPr>
          <p:cNvPr id="2" name="Footer Placeholder 1"/>
          <p:cNvSpPr>
            <a:spLocks noGrp="1"/>
          </p:cNvSpPr>
          <p:nvPr>
            <p:ph type="ftr" sz="quarter" idx="13"/>
          </p:nvPr>
        </p:nvSpPr>
        <p:spPr/>
        <p:txBody>
          <a:bodyPr/>
          <a:lstStyle/>
          <a:p>
            <a:r>
              <a:rPr lang="en-IN"/>
              <a:t>Presentation title</a:t>
            </a:r>
            <a:endParaRPr lang="en-IN" dirty="0"/>
          </a:p>
        </p:txBody>
      </p:sp>
    </p:spTree>
    <p:extLst>
      <p:ext uri="{BB962C8B-B14F-4D97-AF65-F5344CB8AC3E}">
        <p14:creationId xmlns:p14="http://schemas.microsoft.com/office/powerpoint/2010/main" val="42217372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6" name="Footer Placeholder 5"/>
          <p:cNvSpPr>
            <a:spLocks noGrp="1"/>
          </p:cNvSpPr>
          <p:nvPr>
            <p:ph type="ftr" sz="quarter" idx="11"/>
          </p:nvPr>
        </p:nvSpPr>
        <p:spPr/>
        <p:txBody>
          <a:bodyPr/>
          <a:lstStyle/>
          <a:p>
            <a:r>
              <a:rPr lang="en-IN"/>
              <a:t>Presentation title</a:t>
            </a:r>
            <a:endParaRPr lang="en-IN" dirty="0"/>
          </a:p>
        </p:txBody>
      </p:sp>
    </p:spTree>
    <p:extLst>
      <p:ext uri="{BB962C8B-B14F-4D97-AF65-F5344CB8AC3E}">
        <p14:creationId xmlns:p14="http://schemas.microsoft.com/office/powerpoint/2010/main" val="319215703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pter Slide with pictur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590550"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590550" y="3840384"/>
            <a:ext cx="4537959" cy="1055708"/>
          </a:xfrm>
        </p:spPr>
        <p:txBody>
          <a:bodyPr/>
          <a:lstStyle>
            <a:lvl1pPr marL="0" indent="0">
              <a:buNone/>
              <a:defRPr sz="1600"/>
            </a:lvl1pPr>
          </a:lstStyle>
          <a:p>
            <a:pPr lvl="0"/>
            <a:r>
              <a:rPr lang="en-IN" dirty="0"/>
              <a:t>text</a:t>
            </a:r>
          </a:p>
        </p:txBody>
      </p:sp>
      <p:sp>
        <p:nvSpPr>
          <p:cNvPr id="6" name="Footer Placeholder 5"/>
          <p:cNvSpPr>
            <a:spLocks noGrp="1"/>
          </p:cNvSpPr>
          <p:nvPr>
            <p:ph type="ftr" sz="quarter" idx="13"/>
          </p:nvPr>
        </p:nvSpPr>
        <p:spPr/>
        <p:txBody>
          <a:bodyPr/>
          <a:lstStyle/>
          <a:p>
            <a:r>
              <a:rPr lang="en-IN"/>
              <a:t>Presentation title</a:t>
            </a:r>
            <a:endParaRPr lang="en-IN" dirty="0"/>
          </a:p>
        </p:txBody>
      </p:sp>
    </p:spTree>
    <p:extLst>
      <p:ext uri="{BB962C8B-B14F-4D97-AF65-F5344CB8AC3E}">
        <p14:creationId xmlns:p14="http://schemas.microsoft.com/office/powerpoint/2010/main" val="1678627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 Chapter slide">
    <p:spTree>
      <p:nvGrpSpPr>
        <p:cNvPr id="1" name=""/>
        <p:cNvGrpSpPr/>
        <p:nvPr/>
      </p:nvGrpSpPr>
      <p:grpSpPr>
        <a:xfrm>
          <a:off x="0" y="0"/>
          <a:ext cx="0" cy="0"/>
          <a:chOff x="0" y="0"/>
          <a:chExt cx="0" cy="0"/>
        </a:xfrm>
      </p:grpSpPr>
      <p:sp>
        <p:nvSpPr>
          <p:cNvPr id="5" name="Freeform 6"/>
          <p:cNvSpPr>
            <a:spLocks/>
          </p:cNvSpPr>
          <p:nvPr userDrawn="1"/>
        </p:nvSpPr>
        <p:spPr bwMode="gray">
          <a:xfrm>
            <a:off x="0" y="-1"/>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8" name="Text Placeholder 7"/>
          <p:cNvSpPr>
            <a:spLocks noGrp="1"/>
          </p:cNvSpPr>
          <p:nvPr>
            <p:ph type="body" sz="quarter" idx="13"/>
          </p:nvPr>
        </p:nvSpPr>
        <p:spPr>
          <a:xfrm>
            <a:off x="617538" y="908050"/>
            <a:ext cx="4703762" cy="1624012"/>
          </a:xfrm>
        </p:spPr>
        <p:txBody>
          <a:bodyPr/>
          <a:lstStyle>
            <a:lvl1pPr marL="0" indent="0">
              <a:buNone/>
              <a:defRPr sz="3000"/>
            </a:lvl1pPr>
          </a:lstStyle>
          <a:p>
            <a:pPr lvl="0"/>
            <a:r>
              <a:rPr lang="en-US" dirty="0"/>
              <a:t>Click to edit Master text styles</a:t>
            </a:r>
          </a:p>
        </p:txBody>
      </p:sp>
      <p:sp>
        <p:nvSpPr>
          <p:cNvPr id="9" name="Footer Placeholder 8"/>
          <p:cNvSpPr>
            <a:spLocks noGrp="1"/>
          </p:cNvSpPr>
          <p:nvPr>
            <p:ph type="ftr" sz="quarter" idx="14"/>
          </p:nvPr>
        </p:nvSpPr>
        <p:spPr/>
        <p:txBody>
          <a:bodyPr/>
          <a:lstStyle/>
          <a:p>
            <a:r>
              <a:rPr lang="en-IN"/>
              <a:t>Presentation title</a:t>
            </a:r>
            <a:endParaRPr lang="en-IN" dirty="0"/>
          </a:p>
        </p:txBody>
      </p:sp>
    </p:spTree>
    <p:extLst>
      <p:ext uri="{BB962C8B-B14F-4D97-AF65-F5344CB8AC3E}">
        <p14:creationId xmlns:p14="http://schemas.microsoft.com/office/powerpoint/2010/main" val="24040792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 Chapter slide - tranparency">
    <p:spTree>
      <p:nvGrpSpPr>
        <p:cNvPr id="1" name=""/>
        <p:cNvGrpSpPr/>
        <p:nvPr/>
      </p:nvGrpSpPr>
      <p:grpSpPr>
        <a:xfrm>
          <a:off x="0" y="0"/>
          <a:ext cx="0" cy="0"/>
          <a:chOff x="0" y="0"/>
          <a:chExt cx="0" cy="0"/>
        </a:xfrm>
      </p:grpSpPr>
      <p:sp>
        <p:nvSpPr>
          <p:cNvPr id="8" name="Freeform 6"/>
          <p:cNvSpPr>
            <a:spLocks/>
          </p:cNvSpPr>
          <p:nvPr userDrawn="1"/>
        </p:nvSpPr>
        <p:spPr bwMode="gray">
          <a:xfrm>
            <a:off x="-1"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7" name="Text Placeholder 6"/>
          <p:cNvSpPr>
            <a:spLocks noGrp="1"/>
          </p:cNvSpPr>
          <p:nvPr>
            <p:ph type="body" sz="quarter" idx="13"/>
          </p:nvPr>
        </p:nvSpPr>
        <p:spPr>
          <a:xfrm>
            <a:off x="617536" y="908050"/>
            <a:ext cx="4787900" cy="1536700"/>
          </a:xfrm>
        </p:spPr>
        <p:txBody>
          <a:bodyPr/>
          <a:lstStyle>
            <a:lvl1pPr marL="0" indent="0">
              <a:buNone/>
              <a:defRPr sz="3000">
                <a:solidFill>
                  <a:schemeClr val="bg2"/>
                </a:solidFill>
              </a:defRPr>
            </a:lvl1pPr>
          </a:lstStyle>
          <a:p>
            <a:pPr lvl="0"/>
            <a:r>
              <a:rPr lang="en-US" dirty="0"/>
              <a:t>Click to edit Master text styles</a:t>
            </a:r>
          </a:p>
        </p:txBody>
      </p:sp>
      <p:sp>
        <p:nvSpPr>
          <p:cNvPr id="6" name="Footer Placeholder 5"/>
          <p:cNvSpPr>
            <a:spLocks noGrp="1"/>
          </p:cNvSpPr>
          <p:nvPr>
            <p:ph type="ftr" sz="quarter" idx="14"/>
          </p:nvPr>
        </p:nvSpPr>
        <p:spPr/>
        <p:txBody>
          <a:bodyPr/>
          <a:lstStyle/>
          <a:p>
            <a:r>
              <a:rPr lang="en-US"/>
              <a:t>Presentation title</a:t>
            </a:r>
            <a:endParaRPr lang="en-US" dirty="0"/>
          </a:p>
        </p:txBody>
      </p:sp>
    </p:spTree>
    <p:extLst>
      <p:ext uri="{BB962C8B-B14F-4D97-AF65-F5344CB8AC3E}">
        <p14:creationId xmlns:p14="http://schemas.microsoft.com/office/powerpoint/2010/main" val="3732613427"/>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pter slide no pictur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590549" y="2851522"/>
            <a:ext cx="5508625"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6" name="Footer Placeholder 5"/>
          <p:cNvSpPr>
            <a:spLocks noGrp="1"/>
          </p:cNvSpPr>
          <p:nvPr>
            <p:ph type="ftr" sz="quarter" idx="11"/>
          </p:nvPr>
        </p:nvSpPr>
        <p:spPr/>
        <p:txBody>
          <a:bodyPr/>
          <a:lstStyle/>
          <a:p>
            <a:r>
              <a:rPr lang="en-IN"/>
              <a:t>Presentation title</a:t>
            </a:r>
            <a:endParaRPr lang="en-IN" dirty="0"/>
          </a:p>
        </p:txBody>
      </p:sp>
    </p:spTree>
    <p:extLst>
      <p:ext uri="{BB962C8B-B14F-4D97-AF65-F5344CB8AC3E}">
        <p14:creationId xmlns:p14="http://schemas.microsoft.com/office/powerpoint/2010/main" val="36294362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Chapter slide with number">
    <p:spTree>
      <p:nvGrpSpPr>
        <p:cNvPr id="1" name=""/>
        <p:cNvGrpSpPr/>
        <p:nvPr/>
      </p:nvGrpSpPr>
      <p:grpSpPr>
        <a:xfrm>
          <a:off x="0" y="0"/>
          <a:ext cx="0" cy="0"/>
          <a:chOff x="0" y="0"/>
          <a:chExt cx="0" cy="0"/>
        </a:xfrm>
      </p:grpSpPr>
      <p:sp>
        <p:nvSpPr>
          <p:cNvPr id="8" name="Text Placeholder 7"/>
          <p:cNvSpPr>
            <a:spLocks noGrp="1"/>
          </p:cNvSpPr>
          <p:nvPr>
            <p:ph type="body" sz="quarter" idx="16" hasCustomPrompt="1"/>
          </p:nvPr>
        </p:nvSpPr>
        <p:spPr>
          <a:xfrm>
            <a:off x="590550" y="-863760"/>
            <a:ext cx="4392000" cy="4917600"/>
          </a:xfrm>
        </p:spPr>
        <p:txBody>
          <a:bodyPr/>
          <a:lstStyle>
            <a:lvl1pPr marL="0" indent="0">
              <a:buNone/>
              <a:defRPr lang="en-US" sz="55000" b="1" kern="1200" dirty="0" smtClean="0">
                <a:solidFill>
                  <a:srgbClr val="747480">
                    <a:alpha val="50000"/>
                  </a:srgbClr>
                </a:solidFill>
                <a:latin typeface="EYInterstate Light" panose="02000506000000020004" pitchFamily="2" charset="0"/>
                <a:ea typeface="+mn-ea"/>
                <a:cs typeface="+mn-cs"/>
              </a:defRPr>
            </a:lvl1pPr>
          </a:lstStyle>
          <a:p>
            <a:pPr marL="0" marR="0" lvl="0" indent="0" algn="l" defTabSz="755512" rtl="0" eaLnBrk="1" fontAlgn="auto" latinLnBrk="0" hangingPunct="1">
              <a:lnSpc>
                <a:spcPct val="100000"/>
              </a:lnSpc>
              <a:spcBef>
                <a:spcPts val="0"/>
              </a:spcBef>
              <a:spcAft>
                <a:spcPts val="150"/>
              </a:spcAft>
              <a:buClrTx/>
              <a:buSzTx/>
              <a:buFont typeface="Arial" panose="020B0604020202020204" pitchFamily="34" charset="0"/>
              <a:buNone/>
              <a:tabLst/>
            </a:pPr>
            <a:r>
              <a:rPr lang="en-US" dirty="0"/>
              <a:t>#</a:t>
            </a:r>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590549" y="2851522"/>
            <a:ext cx="5508625"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6" name="Footer Placeholder 5"/>
          <p:cNvSpPr>
            <a:spLocks noGrp="1"/>
          </p:cNvSpPr>
          <p:nvPr>
            <p:ph type="ftr" sz="quarter" idx="17"/>
          </p:nvPr>
        </p:nvSpPr>
        <p:spPr/>
        <p:txBody>
          <a:bodyPr/>
          <a:lstStyle/>
          <a:p>
            <a:r>
              <a:rPr lang="en-US"/>
              <a:t>Presentation title</a:t>
            </a:r>
            <a:endParaRPr lang="en-US" dirty="0"/>
          </a:p>
        </p:txBody>
      </p:sp>
    </p:spTree>
    <p:extLst>
      <p:ext uri="{BB962C8B-B14F-4D97-AF65-F5344CB8AC3E}">
        <p14:creationId xmlns:p14="http://schemas.microsoft.com/office/powerpoint/2010/main" val="41188029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sclaimer CZ">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9553" y="0"/>
            <a:ext cx="12192005" cy="6858000"/>
          </a:xfrm>
          <a:prstGeom prst="rect">
            <a:avLst/>
          </a:prstGeom>
        </p:spPr>
      </p:pic>
      <p:sp>
        <p:nvSpPr>
          <p:cNvPr id="5" name="TextBox 4">
            <a:extLst>
              <a:ext uri="{FF2B5EF4-FFF2-40B4-BE49-F238E27FC236}">
                <a16:creationId xmlns:a16="http://schemas.microsoft.com/office/drawing/2014/main" id="{0E68E9BD-8FB7-4984-B079-81329579BE9A}"/>
              </a:ext>
            </a:extLst>
          </p:cNvPr>
          <p:cNvSpPr txBox="1">
            <a:spLocks/>
          </p:cNvSpPr>
          <p:nvPr userDrawn="1"/>
        </p:nvSpPr>
        <p:spPr>
          <a:xfrm>
            <a:off x="598924" y="908050"/>
            <a:ext cx="3564261" cy="3006977"/>
          </a:xfrm>
          <a:prstGeom prst="rect">
            <a:avLst/>
          </a:prstGeom>
          <a:noFill/>
        </p:spPr>
        <p:txBody>
          <a:bodyPr wrap="square" lIns="0" tIns="36576" rIns="0" bIns="0" rtlCol="0" anchor="t">
            <a:spAutoFit/>
          </a:bodyPr>
          <a:lstStyle/>
          <a:p>
            <a:pPr lvl="0">
              <a:spcAft>
                <a:spcPts val="6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rPr>
              <a:t>|  </a:t>
            </a:r>
            <a:r>
              <a:rPr lang="en-IN" sz="1200" kern="0" dirty="0">
                <a:solidFill>
                  <a:srgbClr val="FFE600"/>
                </a:solidFill>
                <a:latin typeface="EYInterstate" panose="02000503020000020004" pitchFamily="2" charset="0"/>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mj-lt"/>
              <a:cs typeface="Arial"/>
            </a:endParaRPr>
          </a:p>
          <a:p>
            <a:pPr lvl="0">
              <a:buClr>
                <a:srgbClr val="FFD200"/>
              </a:buClr>
              <a:buSzPct val="70000"/>
              <a:defRPr/>
            </a:pPr>
            <a:r>
              <a:rPr lang="cs-CZ" sz="1100" kern="0" noProof="0" dirty="0">
                <a:solidFill>
                  <a:srgbClr val="FFFFFF"/>
                </a:solidFill>
                <a:latin typeface="EYInterstate" panose="02000503020000020004" pitchFamily="2" charset="0"/>
              </a:rPr>
              <a:t>Smyslem EY je přispívat k tomu, aby svět fungoval lépe. Proto pomáháme klientům, našim zaměstnancům i širšímu společenství vytvářet dlouhodobé hodnoty </a:t>
            </a:r>
            <a:br>
              <a:rPr lang="cs-CZ" sz="1100" kern="0" noProof="0" dirty="0">
                <a:solidFill>
                  <a:srgbClr val="FFFFFF"/>
                </a:solidFill>
                <a:latin typeface="EYInterstate" panose="02000503020000020004" pitchFamily="2" charset="0"/>
              </a:rPr>
            </a:br>
            <a:r>
              <a:rPr lang="cs-CZ" sz="1100" kern="0" noProof="0" dirty="0">
                <a:solidFill>
                  <a:srgbClr val="FFFFFF"/>
                </a:solidFill>
                <a:latin typeface="EYInterstate" panose="02000503020000020004" pitchFamily="2" charset="0"/>
              </a:rPr>
              <a:t>a posilovat důvěru v kapitálové trhy. </a:t>
            </a:r>
          </a:p>
          <a:p>
            <a:pPr lvl="0">
              <a:buClr>
                <a:srgbClr val="FFD200"/>
              </a:buClr>
              <a:buSzPct val="70000"/>
              <a:defRPr/>
            </a:pPr>
            <a:endParaRPr lang="cs-CZ" sz="1100" kern="0" noProof="0" dirty="0">
              <a:solidFill>
                <a:srgbClr val="FFFFFF"/>
              </a:solidFill>
              <a:latin typeface="EYInterstate" panose="02000503020000020004" pitchFamily="2" charset="0"/>
            </a:endParaRPr>
          </a:p>
          <a:p>
            <a:pPr lvl="0">
              <a:buClr>
                <a:srgbClr val="FFD200"/>
              </a:buClr>
              <a:buSzPct val="70000"/>
              <a:defRPr/>
            </a:pPr>
            <a:r>
              <a:rPr lang="cs-CZ" sz="1100" kern="0" noProof="0" dirty="0">
                <a:solidFill>
                  <a:srgbClr val="FFFFFF"/>
                </a:solidFill>
                <a:latin typeface="EYInterstate" panose="02000503020000020004" pitchFamily="2" charset="0"/>
              </a:rPr>
              <a:t>Týmy odborníků EY, vybavené nejmodernějšími technologiemi, působí ve více než 150 zemích celého světa – provádějí audity a poskytují klientům širokou poradenskou podporu, která jim umožňuje růst, transformovat se a efektivně fungovat. </a:t>
            </a:r>
          </a:p>
          <a:p>
            <a:pPr lvl="0">
              <a:buClr>
                <a:srgbClr val="FFD200"/>
              </a:buClr>
              <a:buSzPct val="70000"/>
              <a:defRPr/>
            </a:pPr>
            <a:endParaRPr lang="cs-CZ" sz="1100" kern="0" noProof="0" dirty="0">
              <a:solidFill>
                <a:srgbClr val="FFFFFF"/>
              </a:solidFill>
              <a:latin typeface="EYInterstate" panose="02000503020000020004" pitchFamily="2" charset="0"/>
            </a:endParaRPr>
          </a:p>
          <a:p>
            <a:pPr lvl="0">
              <a:buClr>
                <a:srgbClr val="FFD200"/>
              </a:buClr>
              <a:buSzPct val="70000"/>
              <a:defRPr/>
            </a:pPr>
            <a:r>
              <a:rPr lang="cs-CZ" sz="1100" kern="0" noProof="0" dirty="0">
                <a:solidFill>
                  <a:srgbClr val="FFFFFF"/>
                </a:solidFill>
                <a:latin typeface="EYInterstate" panose="02000503020000020004" pitchFamily="2" charset="0"/>
              </a:rPr>
              <a:t>Naši auditoři, konzultanti, právní a daňoví poradci </a:t>
            </a:r>
            <a:br>
              <a:rPr lang="cs-CZ" sz="1100" kern="0" noProof="0" dirty="0">
                <a:solidFill>
                  <a:srgbClr val="FFFFFF"/>
                </a:solidFill>
                <a:latin typeface="EYInterstate" panose="02000503020000020004" pitchFamily="2" charset="0"/>
              </a:rPr>
            </a:br>
            <a:r>
              <a:rPr lang="cs-CZ" sz="1100" kern="0" noProof="0" dirty="0">
                <a:solidFill>
                  <a:srgbClr val="FFFFFF"/>
                </a:solidFill>
                <a:latin typeface="EYInterstate" panose="02000503020000020004" pitchFamily="2" charset="0"/>
              </a:rPr>
              <a:t>i odborníci na strategické a transakční poradenství </a:t>
            </a:r>
            <a:br>
              <a:rPr lang="cs-CZ" sz="1100" kern="0" noProof="0" dirty="0">
                <a:solidFill>
                  <a:srgbClr val="FFFFFF"/>
                </a:solidFill>
                <a:latin typeface="EYInterstate" panose="02000503020000020004" pitchFamily="2" charset="0"/>
              </a:rPr>
            </a:br>
            <a:r>
              <a:rPr lang="cs-CZ" sz="1100" kern="0" noProof="0" dirty="0">
                <a:solidFill>
                  <a:srgbClr val="FFFFFF"/>
                </a:solidFill>
                <a:latin typeface="EYInterstate" panose="02000503020000020004" pitchFamily="2" charset="0"/>
              </a:rPr>
              <a:t>si kladou ty správné otázky a dokážou najít ty správné odpovědi na složité problémy dnešního světa.</a:t>
            </a:r>
          </a:p>
        </p:txBody>
      </p:sp>
      <p:sp>
        <p:nvSpPr>
          <p:cNvPr id="7" name="TextBox 6">
            <a:extLst>
              <a:ext uri="{FF2B5EF4-FFF2-40B4-BE49-F238E27FC236}">
                <a16:creationId xmlns:a16="http://schemas.microsoft.com/office/drawing/2014/main" id="{A429E01A-367F-4629-AA87-D8BF73890D2E}"/>
              </a:ext>
            </a:extLst>
          </p:cNvPr>
          <p:cNvSpPr txBox="1">
            <a:spLocks/>
          </p:cNvSpPr>
          <p:nvPr userDrawn="1"/>
        </p:nvSpPr>
        <p:spPr>
          <a:xfrm>
            <a:off x="8289616" y="908050"/>
            <a:ext cx="3309810" cy="2786404"/>
          </a:xfrm>
          <a:prstGeom prst="rect">
            <a:avLst/>
          </a:prstGeom>
          <a:noFill/>
        </p:spPr>
        <p:txBody>
          <a:bodyPr wrap="square" lIns="0" tIns="36576" rIns="0" bIns="0" rtlCol="0" anchor="t">
            <a:spAutoFit/>
          </a:bodyPr>
          <a:lstStyle/>
          <a:p>
            <a:pPr lvl="0">
              <a:buClr>
                <a:srgbClr val="FFD200"/>
              </a:buClr>
              <a:buSzPct val="70000"/>
              <a:defRPr/>
            </a:pPr>
            <a:r>
              <a:rPr lang="cs-CZ" sz="800" kern="0" noProof="0" dirty="0">
                <a:solidFill>
                  <a:srgbClr val="FFFFFF"/>
                </a:solidFill>
                <a:latin typeface="+mj-lt"/>
              </a:rPr>
              <a:t>Název EY zahrnuje celosvětovou organizaci a může zahrnovat jednu </a:t>
            </a:r>
            <a:br>
              <a:rPr lang="cs-CZ" sz="800" kern="0" noProof="0" dirty="0">
                <a:solidFill>
                  <a:srgbClr val="FFFFFF"/>
                </a:solidFill>
                <a:latin typeface="+mj-lt"/>
              </a:rPr>
            </a:br>
            <a:r>
              <a:rPr lang="cs-CZ" sz="800" kern="0" noProof="0" dirty="0">
                <a:solidFill>
                  <a:srgbClr val="FFFFFF"/>
                </a:solidFill>
                <a:latin typeface="+mj-lt"/>
              </a:rPr>
              <a:t>či více členských firem Ernst &amp; </a:t>
            </a:r>
            <a:r>
              <a:rPr lang="en-US" sz="800" kern="0" noProof="0" dirty="0">
                <a:solidFill>
                  <a:srgbClr val="FFFFFF"/>
                </a:solidFill>
                <a:latin typeface="+mj-lt"/>
              </a:rPr>
              <a:t>Young Global </a:t>
            </a:r>
            <a:r>
              <a:rPr lang="cs-CZ" sz="800" kern="0" noProof="0" dirty="0">
                <a:solidFill>
                  <a:srgbClr val="FFFFFF"/>
                </a:solidFill>
                <a:latin typeface="+mj-lt"/>
              </a:rPr>
              <a:t>Limited, z nichž každá je samostatnou právnickou osobou. Ernst &amp; </a:t>
            </a:r>
            <a:r>
              <a:rPr lang="en-US" sz="800" kern="0" noProof="0" dirty="0">
                <a:solidFill>
                  <a:srgbClr val="FFFFFF"/>
                </a:solidFill>
                <a:latin typeface="+mj-lt"/>
              </a:rPr>
              <a:t>Young Global </a:t>
            </a:r>
            <a:r>
              <a:rPr lang="cs-CZ" sz="800" kern="0" noProof="0" dirty="0">
                <a:solidFill>
                  <a:srgbClr val="FFFFFF"/>
                </a:solidFill>
                <a:latin typeface="+mj-lt"/>
              </a:rPr>
              <a:t>Limited je britská společnost s ručením omezeným garancí, která neposkytuje služby klientům. Informace o tom, jak EY shromažďuje a používá osobní údaje, a o právech fyzických osob stanovených právními předpisy o ochraně osobních údajů jsou k dispozici na ey.com/</a:t>
            </a:r>
            <a:r>
              <a:rPr lang="en-US" sz="800" kern="0" noProof="0" dirty="0">
                <a:solidFill>
                  <a:srgbClr val="FFFFFF"/>
                </a:solidFill>
                <a:latin typeface="+mj-lt"/>
              </a:rPr>
              <a:t>privacy</a:t>
            </a:r>
            <a:r>
              <a:rPr lang="cs-CZ" sz="800" kern="0" noProof="0" dirty="0">
                <a:solidFill>
                  <a:srgbClr val="FFFFFF"/>
                </a:solidFill>
                <a:latin typeface="+mj-lt"/>
              </a:rPr>
              <a:t>. Členské firmy EY neposkytují právní služby v zemích, kde to zákon neumožňuje. Podrobnější informace o naší organizaci najdete na našich webových stránkách ey.com. </a:t>
            </a:r>
          </a:p>
          <a:p>
            <a:pPr lvl="0">
              <a:buClr>
                <a:srgbClr val="FFD200"/>
              </a:buClr>
              <a:buSzPct val="70000"/>
              <a:defRPr/>
            </a:pPr>
            <a:endParaRPr lang="en-IN" sz="800" kern="0" dirty="0">
              <a:solidFill>
                <a:srgbClr val="FFFFFF"/>
              </a:solidFill>
              <a:latin typeface="+mj-lt"/>
            </a:endParaRPr>
          </a:p>
          <a:p>
            <a:pPr marL="0" marR="0" lvl="0" indent="0" algn="l" defTabSz="914400" rtl="0" eaLnBrk="1" fontAlgn="base" latinLnBrk="0" hangingPunct="1">
              <a:lnSpc>
                <a:spcPct val="100000"/>
              </a:lnSpc>
              <a:spcBef>
                <a:spcPct val="0"/>
              </a:spcBef>
              <a:spcAft>
                <a:spcPts val="1013"/>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202</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4</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Ernst &amp; Young,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 </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Ernst &amp; Young Audit,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 </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a:t>
            </a:r>
            <a:b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E &amp; Y Valuations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 | EY </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Law</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advokátní kancelář, s.r.o.</a:t>
            </a:r>
            <a:b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b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Všechna práva vyhrazena. </a:t>
            </a:r>
          </a:p>
          <a:p>
            <a:pPr marL="0" marR="0" lvl="0" indent="0" algn="l" defTabSz="914400" rtl="0" eaLnBrk="1" fontAlgn="base" latinLnBrk="0" hangingPunct="1">
              <a:lnSpc>
                <a:spcPct val="100000"/>
              </a:lnSpc>
              <a:spcBef>
                <a:spcPct val="0"/>
              </a:spcBef>
              <a:spcAft>
                <a:spcPts val="1013"/>
              </a:spcAft>
              <a:buClrTx/>
              <a:buSzTx/>
              <a:buFontTx/>
              <a:buNone/>
              <a:tabLst/>
              <a:defRPr/>
            </a:pPr>
            <a:r>
              <a:rPr lang="cs-CZ" sz="800" kern="0" noProof="0" dirty="0">
                <a:solidFill>
                  <a:srgbClr val="FFFFFF"/>
                </a:solidFill>
              </a:rPr>
              <a:t>Tento materiál má pouze všeobecný informační charakter, na který není možné spoléhat se jako na poskytnutí účetního, daňového ani jiného odborného poradenství. V případě potřeby se prosím obraťte </a:t>
            </a:r>
            <a:br>
              <a:rPr lang="cs-CZ" sz="800" kern="0" noProof="0" dirty="0">
                <a:solidFill>
                  <a:srgbClr val="FFFFFF"/>
                </a:solidFill>
              </a:rPr>
            </a:br>
            <a:r>
              <a:rPr lang="cs-CZ" sz="800" kern="0" noProof="0" dirty="0">
                <a:solidFill>
                  <a:srgbClr val="FFFFFF"/>
                </a:solidFill>
              </a:rPr>
              <a:t>na svého konkrétního poradce.</a:t>
            </a:r>
          </a:p>
          <a:p>
            <a:pPr>
              <a:buClr>
                <a:srgbClr val="FFD200"/>
              </a:buClr>
              <a:buSzPct val="70000"/>
              <a:defRPr/>
            </a:pPr>
            <a:endParaRPr lang="en-IN" sz="700" kern="0" dirty="0">
              <a:solidFill>
                <a:srgbClr val="FFFFFF"/>
              </a:solidFill>
            </a:endParaRPr>
          </a:p>
          <a:p>
            <a:pPr lvl="0">
              <a:spcAft>
                <a:spcPts val="600"/>
              </a:spcAft>
              <a:buClr>
                <a:srgbClr val="FFD200"/>
              </a:buClr>
              <a:buSzPct val="70000"/>
              <a:defRPr/>
            </a:pPr>
            <a:r>
              <a:rPr lang="en-IN" sz="1100" kern="0" dirty="0">
                <a:solidFill>
                  <a:srgbClr val="FFFFFF"/>
                </a:solidFill>
                <a:latin typeface="EYInterstate" panose="02000503020000020004" pitchFamily="2" charset="0"/>
              </a:rPr>
              <a:t>ey.com</a:t>
            </a:r>
          </a:p>
        </p:txBody>
      </p:sp>
    </p:spTree>
    <p:extLst>
      <p:ext uri="{BB962C8B-B14F-4D97-AF65-F5344CB8AC3E}">
        <p14:creationId xmlns:p14="http://schemas.microsoft.com/office/powerpoint/2010/main" val="29576362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sclaimer ENG">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9553" y="0"/>
            <a:ext cx="12192005" cy="6858000"/>
          </a:xfrm>
          <a:prstGeom prst="rect">
            <a:avLst/>
          </a:prstGeom>
        </p:spPr>
      </p:pic>
      <p:sp>
        <p:nvSpPr>
          <p:cNvPr id="6" name="TextBox 5">
            <a:extLst>
              <a:ext uri="{FF2B5EF4-FFF2-40B4-BE49-F238E27FC236}">
                <a16:creationId xmlns:a16="http://schemas.microsoft.com/office/drawing/2014/main" id="{356043E5-4D4E-46F9-8502-1A2C82EA3931}"/>
              </a:ext>
            </a:extLst>
          </p:cNvPr>
          <p:cNvSpPr txBox="1">
            <a:spLocks/>
          </p:cNvSpPr>
          <p:nvPr userDrawn="1"/>
        </p:nvSpPr>
        <p:spPr>
          <a:xfrm>
            <a:off x="601940" y="908050"/>
            <a:ext cx="3205138" cy="2660728"/>
          </a:xfrm>
          <a:prstGeom prst="rect">
            <a:avLst/>
          </a:prstGeom>
          <a:noFill/>
        </p:spPr>
        <p:txBody>
          <a:bodyPr wrap="square" lIns="0" tIns="36576" rIns="0" bIns="0" rtlCol="0" anchor="t">
            <a:spAutoFit/>
          </a:bodyPr>
          <a:lstStyle/>
          <a:p>
            <a:pPr lvl="0">
              <a:spcAft>
                <a:spcPts val="6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rPr>
              <a:t>|  </a:t>
            </a:r>
            <a:r>
              <a:rPr lang="en-IN" sz="1200" kern="0" dirty="0">
                <a:solidFill>
                  <a:srgbClr val="FFE600"/>
                </a:solidFill>
                <a:latin typeface="EYInterstate" panose="02000503020000020004" pitchFamily="2" charset="0"/>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mj-lt"/>
              <a:cs typeface="Arial"/>
            </a:endParaRPr>
          </a:p>
          <a:p>
            <a:pPr lvl="0">
              <a:buClr>
                <a:srgbClr val="FFD200"/>
              </a:buClr>
              <a:buSzPct val="70000"/>
              <a:defRPr/>
            </a:pPr>
            <a:r>
              <a:rPr lang="en-IN" sz="1100" kern="0" dirty="0">
                <a:solidFill>
                  <a:srgbClr val="FFFFFF"/>
                </a:solidFill>
                <a:latin typeface="EYInterstate" panose="02000503020000020004" pitchFamily="2" charset="0"/>
              </a:rPr>
              <a:t>EY exists to build a better working world, helping to create long-term value for clients, people and society and build trust in the capital markets. </a:t>
            </a:r>
          </a:p>
          <a:p>
            <a:pPr lvl="0">
              <a:buClr>
                <a:srgbClr val="FFD200"/>
              </a:buClr>
              <a:buSzPct val="70000"/>
              <a:defRPr/>
            </a:pPr>
            <a:endParaRPr lang="en-IN" sz="1100" kern="0" dirty="0">
              <a:solidFill>
                <a:srgbClr val="FFFFFF"/>
              </a:solidFill>
              <a:latin typeface="EYInterstate" panose="02000503020000020004" pitchFamily="2" charset="0"/>
            </a:endParaRPr>
          </a:p>
          <a:p>
            <a:pPr lvl="0">
              <a:buClr>
                <a:srgbClr val="FFD200"/>
              </a:buClr>
              <a:buSzPct val="70000"/>
              <a:defRPr/>
            </a:pPr>
            <a:r>
              <a:rPr lang="en-IN" sz="1100" kern="0" dirty="0">
                <a:solidFill>
                  <a:srgbClr val="FFFFFF"/>
                </a:solidFill>
                <a:latin typeface="EYInterstate" panose="02000503020000020004" pitchFamily="2" charset="0"/>
              </a:rPr>
              <a:t>Enabled by data and technology, diverse EY teams in over 150 countries provide trust through assurance and help clients grow, transform and operate. </a:t>
            </a:r>
          </a:p>
          <a:p>
            <a:pPr lvl="0">
              <a:buClr>
                <a:srgbClr val="FFD200"/>
              </a:buClr>
              <a:buSzPct val="70000"/>
              <a:defRPr/>
            </a:pPr>
            <a:endParaRPr lang="en-IN" sz="1100" kern="0" dirty="0">
              <a:solidFill>
                <a:srgbClr val="FFFFFF"/>
              </a:solidFill>
              <a:latin typeface="EYInterstate" panose="02000503020000020004" pitchFamily="2" charset="0"/>
            </a:endParaRPr>
          </a:p>
          <a:p>
            <a:pPr lvl="0">
              <a:buClr>
                <a:srgbClr val="FFD200"/>
              </a:buClr>
              <a:buSzPct val="70000"/>
              <a:defRPr/>
            </a:pPr>
            <a:r>
              <a:rPr lang="en-IN" sz="1100" kern="0" dirty="0">
                <a:solidFill>
                  <a:srgbClr val="FFFFFF"/>
                </a:solidFill>
                <a:latin typeface="EYInterstate" panose="02000503020000020004" pitchFamily="2" charset="0"/>
              </a:rPr>
              <a:t>Working across assurance, consulting, law, strategy, tax and transactions, EY teams ask better questions to find new answers for the complex issues facing our world today.</a:t>
            </a:r>
          </a:p>
        </p:txBody>
      </p:sp>
      <p:sp>
        <p:nvSpPr>
          <p:cNvPr id="7" name="TextBox 6">
            <a:extLst>
              <a:ext uri="{FF2B5EF4-FFF2-40B4-BE49-F238E27FC236}">
                <a16:creationId xmlns:a16="http://schemas.microsoft.com/office/drawing/2014/main" id="{DDB745ED-4969-4BC5-80B2-D36AC5106122}"/>
              </a:ext>
            </a:extLst>
          </p:cNvPr>
          <p:cNvSpPr txBox="1">
            <a:spLocks/>
          </p:cNvSpPr>
          <p:nvPr userDrawn="1"/>
        </p:nvSpPr>
        <p:spPr>
          <a:xfrm>
            <a:off x="8297990" y="908050"/>
            <a:ext cx="3309810" cy="2411942"/>
          </a:xfrm>
          <a:prstGeom prst="rect">
            <a:avLst/>
          </a:prstGeom>
          <a:noFill/>
        </p:spPr>
        <p:txBody>
          <a:bodyPr wrap="square" lIns="0" tIns="36576" rIns="0" bIns="0" rtlCol="0" anchor="t">
            <a:spAutoFit/>
          </a:bodyPr>
          <a:lstStyle/>
          <a:p>
            <a:pPr lvl="0">
              <a:buClr>
                <a:srgbClr val="FFD200"/>
              </a:buClr>
              <a:buSzPct val="70000"/>
              <a:defRPr/>
            </a:pPr>
            <a:r>
              <a:rPr lang="en-IN" sz="800" kern="0" dirty="0">
                <a:solidFill>
                  <a:srgbClr val="FFFFFF"/>
                </a:solidFill>
                <a:latin typeface="+mj-lt"/>
              </a:rPr>
              <a:t>EY refers to the global organization, and may refer to one or more, </a:t>
            </a:r>
            <a:br>
              <a:rPr lang="cs-CZ" sz="800" kern="0" dirty="0">
                <a:solidFill>
                  <a:srgbClr val="FFFFFF"/>
                </a:solidFill>
                <a:latin typeface="+mj-lt"/>
              </a:rPr>
            </a:br>
            <a:r>
              <a:rPr lang="en-IN" sz="800" kern="0" dirty="0">
                <a:solidFill>
                  <a:srgbClr val="FFFFFF"/>
                </a:solidFill>
                <a:latin typeface="+mj-lt"/>
              </a:rPr>
              <a:t>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buClr>
                <a:srgbClr val="FFD200"/>
              </a:buClr>
              <a:buSzPct val="70000"/>
              <a:defRPr/>
            </a:pPr>
            <a:endParaRPr lang="en-IN" sz="800" kern="0" dirty="0">
              <a:solidFill>
                <a:srgbClr val="FFFFFF"/>
              </a:solidFill>
              <a:latin typeface="+mj-lt"/>
            </a:endParaRPr>
          </a:p>
          <a:p>
            <a:pPr marL="0" marR="0" lvl="0" indent="0" algn="l" defTabSz="914400" rtl="0" eaLnBrk="1" fontAlgn="base" latinLnBrk="0" hangingPunct="1">
              <a:lnSpc>
                <a:spcPct val="100000"/>
              </a:lnSpc>
              <a:spcBef>
                <a:spcPct val="0"/>
              </a:spcBef>
              <a:spcAft>
                <a:spcPts val="1013"/>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202</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4</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Ernst &amp; Young,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 </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Ernst &amp; Young Audit,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 </a:t>
            </a:r>
            <a:b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E &amp; Y Valuations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 | EY </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Law</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advokátní kancelář, s.r.o.</a:t>
            </a:r>
            <a:b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All Rights Reserved.</a:t>
            </a:r>
            <a:endPar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endParaRPr>
          </a:p>
          <a:p>
            <a:pPr>
              <a:buClr>
                <a:srgbClr val="FFD200"/>
              </a:buClr>
              <a:buSzPct val="70000"/>
              <a:defRPr/>
            </a:pPr>
            <a:r>
              <a:rPr lang="en-US" sz="800" kern="0" dirty="0">
                <a:solidFill>
                  <a:srgbClr val="FFFFFF"/>
                </a:solidFill>
              </a:rPr>
              <a:t>This material has been prepared for general informational purposes only and is not intended to be relied upon as accounting, tax or other professional advice. Please refer to your advisors for specific advice.</a:t>
            </a:r>
            <a:endParaRPr lang="cs-CZ" sz="800" kern="0" dirty="0">
              <a:solidFill>
                <a:srgbClr val="FFFFFF"/>
              </a:solidFill>
            </a:endParaRPr>
          </a:p>
          <a:p>
            <a:pPr>
              <a:buClr>
                <a:srgbClr val="FFD200"/>
              </a:buClr>
              <a:buSzPct val="70000"/>
              <a:defRPr/>
            </a:pPr>
            <a:endParaRPr lang="en-IN" sz="700" kern="0" dirty="0">
              <a:solidFill>
                <a:srgbClr val="FFFFFF"/>
              </a:solidFill>
            </a:endParaRPr>
          </a:p>
          <a:p>
            <a:pPr lvl="0">
              <a:spcAft>
                <a:spcPts val="600"/>
              </a:spcAft>
              <a:buClr>
                <a:srgbClr val="FFD200"/>
              </a:buClr>
              <a:buSzPct val="70000"/>
              <a:defRPr/>
            </a:pPr>
            <a:r>
              <a:rPr lang="en-IN" sz="1100" kern="0" dirty="0">
                <a:solidFill>
                  <a:srgbClr val="FFFFFF"/>
                </a:solidFill>
                <a:latin typeface="EYInterstate" panose="02000503020000020004" pitchFamily="2" charset="0"/>
              </a:rPr>
              <a:t>ey.com</a:t>
            </a:r>
          </a:p>
        </p:txBody>
      </p:sp>
    </p:spTree>
    <p:extLst>
      <p:ext uri="{BB962C8B-B14F-4D97-AF65-F5344CB8AC3E}">
        <p14:creationId xmlns:p14="http://schemas.microsoft.com/office/powerpoint/2010/main" val="9723467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r>
              <a:rPr lang="en-IN"/>
              <a:t>Presentation title</a:t>
            </a:r>
            <a:endParaRPr lang="en-IN" dirty="0"/>
          </a:p>
        </p:txBody>
      </p:sp>
    </p:spTree>
    <p:extLst>
      <p:ext uri="{BB962C8B-B14F-4D97-AF65-F5344CB8AC3E}">
        <p14:creationId xmlns:p14="http://schemas.microsoft.com/office/powerpoint/2010/main" val="895650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502793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Footer Placeholder 2"/>
          <p:cNvSpPr>
            <a:spLocks noGrp="1"/>
          </p:cNvSpPr>
          <p:nvPr>
            <p:ph type="ftr" sz="quarter" idx="10"/>
          </p:nvPr>
        </p:nvSpPr>
        <p:spPr/>
        <p:txBody>
          <a:bodyPr/>
          <a:lstStyle/>
          <a:p>
            <a:r>
              <a:rPr lang="en-US"/>
              <a:t>Presentation title</a:t>
            </a:r>
            <a:endParaRPr lang="en-US" dirty="0"/>
          </a:p>
        </p:txBody>
      </p:sp>
    </p:spTree>
    <p:extLst>
      <p:ext uri="{BB962C8B-B14F-4D97-AF65-F5344CB8AC3E}">
        <p14:creationId xmlns:p14="http://schemas.microsoft.com/office/powerpoint/2010/main" val="9993965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49480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Jenom nadpi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Footer Placeholder 5"/>
          <p:cNvSpPr>
            <a:spLocks noGrp="1"/>
          </p:cNvSpPr>
          <p:nvPr>
            <p:ph type="ftr" sz="quarter" idx="10"/>
          </p:nvPr>
        </p:nvSpPr>
        <p:spPr/>
        <p:txBody>
          <a:bodyPr/>
          <a:lstStyle/>
          <a:p>
            <a:r>
              <a:rPr lang="cs-CZ" sz="800" dirty="0"/>
              <a:t>JADERNÁ ENERGETIKA - EVROPA</a:t>
            </a:r>
            <a:endParaRPr lang="en-US" dirty="0"/>
          </a:p>
        </p:txBody>
      </p:sp>
    </p:spTree>
    <p:extLst>
      <p:ext uri="{BB962C8B-B14F-4D97-AF65-F5344CB8AC3E}">
        <p14:creationId xmlns:p14="http://schemas.microsoft.com/office/powerpoint/2010/main" val="20663054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ver slide with picture">
    <p:spTree>
      <p:nvGrpSpPr>
        <p:cNvPr id="1" name=""/>
        <p:cNvGrpSpPr/>
        <p:nvPr/>
      </p:nvGrpSpPr>
      <p:grpSpPr>
        <a:xfrm>
          <a:off x="0" y="0"/>
          <a:ext cx="0" cy="0"/>
          <a:chOff x="0" y="0"/>
          <a:chExt cx="0" cy="0"/>
        </a:xfrm>
      </p:grpSpPr>
      <p:pic>
        <p:nvPicPr>
          <p:cNvPr id="6" name="Picture 4">
            <a:extLst>
              <a:ext uri="{FF2B5EF4-FFF2-40B4-BE49-F238E27FC236}">
                <a16:creationId xmlns:a16="http://schemas.microsoft.com/office/drawing/2014/main" id="{3E4F7CA3-74A6-9C93-2DEC-B00C917C6291}"/>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a:stretch/>
        </p:blipFill>
        <p:spPr bwMode="auto">
          <a:xfrm>
            <a:off x="614" y="0"/>
            <a:ext cx="12197736"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4">
            <a:extLst>
              <a:ext uri="{FF2B5EF4-FFF2-40B4-BE49-F238E27FC236}">
                <a16:creationId xmlns:a16="http://schemas.microsoft.com/office/drawing/2014/main" id="{CD9EABA5-590B-9A95-8972-39983FB19D6B}"/>
              </a:ext>
            </a:extLst>
          </p:cNvPr>
          <p:cNvGrpSpPr>
            <a:grpSpLocks noChangeAspect="1"/>
          </p:cNvGrpSpPr>
          <p:nvPr userDrawn="1"/>
        </p:nvGrpSpPr>
        <p:grpSpPr bwMode="auto">
          <a:xfrm>
            <a:off x="10364788" y="5233988"/>
            <a:ext cx="1225550" cy="1435100"/>
            <a:chOff x="6529" y="3125"/>
            <a:chExt cx="772" cy="904"/>
          </a:xfrm>
        </p:grpSpPr>
        <p:sp>
          <p:nvSpPr>
            <p:cNvPr id="4" name="Freeform 5">
              <a:extLst>
                <a:ext uri="{FF2B5EF4-FFF2-40B4-BE49-F238E27FC236}">
                  <a16:creationId xmlns:a16="http://schemas.microsoft.com/office/drawing/2014/main" id="{F3ACBE70-FDC4-BA7C-2E2A-83798960BC6E}"/>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 name="Freeform 6">
              <a:extLst>
                <a:ext uri="{FF2B5EF4-FFF2-40B4-BE49-F238E27FC236}">
                  <a16:creationId xmlns:a16="http://schemas.microsoft.com/office/drawing/2014/main" id="{26FA2D9C-83D0-6290-4A15-A6936A979FBB}"/>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
        <p:nvSpPr>
          <p:cNvPr id="16" name="Freeform 56">
            <a:extLst>
              <a:ext uri="{FF2B5EF4-FFF2-40B4-BE49-F238E27FC236}">
                <a16:creationId xmlns:a16="http://schemas.microsoft.com/office/drawing/2014/main" id="{13A7AC18-CF42-4EC5-8D40-441EAE30A06C}"/>
              </a:ext>
            </a:extLst>
          </p:cNvPr>
          <p:cNvSpPr/>
          <p:nvPr userDrawn="1"/>
        </p:nvSpPr>
        <p:spPr>
          <a:xfrm>
            <a:off x="590550" y="908050"/>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867939" y="2066609"/>
            <a:ext cx="4328932" cy="979702"/>
          </a:xfrm>
        </p:spPr>
        <p:txBody>
          <a:bodyPr/>
          <a:lstStyle>
            <a:lvl1pPr>
              <a:lnSpc>
                <a:spcPct val="100000"/>
              </a:lnSpc>
              <a:spcAft>
                <a:spcPts val="600"/>
              </a:spcAft>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867939" y="3429000"/>
            <a:ext cx="4328932" cy="775869"/>
          </a:xfrm>
        </p:spPr>
        <p:txBody>
          <a:bodyPr/>
          <a:lstStyle>
            <a:lvl1pPr marL="0" indent="0" algn="l">
              <a:spcAft>
                <a:spcPts val="1200"/>
              </a:spcAft>
              <a:buNone/>
              <a:defRPr sz="16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782235954"/>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Cover slide with picture">
    <p:spTree>
      <p:nvGrpSpPr>
        <p:cNvPr id="1" name=""/>
        <p:cNvGrpSpPr/>
        <p:nvPr/>
      </p:nvGrpSpPr>
      <p:grpSpPr>
        <a:xfrm>
          <a:off x="0" y="0"/>
          <a:ext cx="0" cy="0"/>
          <a:chOff x="0" y="0"/>
          <a:chExt cx="0" cy="0"/>
        </a:xfrm>
      </p:grpSpPr>
      <p:pic>
        <p:nvPicPr>
          <p:cNvPr id="2" name="Picture 1" descr="A group of people sitting around a table&#10;&#10;Description automatically generated">
            <a:extLst>
              <a:ext uri="{FF2B5EF4-FFF2-40B4-BE49-F238E27FC236}">
                <a16:creationId xmlns:a16="http://schemas.microsoft.com/office/drawing/2014/main" id="{605F067E-5FD8-15E8-9CB8-58A9E02A178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1629" r="18945"/>
          <a:stretch/>
        </p:blipFill>
        <p:spPr>
          <a:xfrm>
            <a:off x="0" y="0"/>
            <a:ext cx="12198350" cy="6858000"/>
          </a:xfrm>
          <a:prstGeom prst="rect">
            <a:avLst/>
          </a:prstGeom>
        </p:spPr>
      </p:pic>
      <p:grpSp>
        <p:nvGrpSpPr>
          <p:cNvPr id="3" name="Group 4">
            <a:extLst>
              <a:ext uri="{FF2B5EF4-FFF2-40B4-BE49-F238E27FC236}">
                <a16:creationId xmlns:a16="http://schemas.microsoft.com/office/drawing/2014/main" id="{BAB60996-64F8-E11B-D4FD-A113F8DC4876}"/>
              </a:ext>
            </a:extLst>
          </p:cNvPr>
          <p:cNvGrpSpPr>
            <a:grpSpLocks noChangeAspect="1"/>
          </p:cNvGrpSpPr>
          <p:nvPr userDrawn="1"/>
        </p:nvGrpSpPr>
        <p:grpSpPr bwMode="auto">
          <a:xfrm>
            <a:off x="10364788" y="5233988"/>
            <a:ext cx="1225550" cy="1435100"/>
            <a:chOff x="6529" y="3125"/>
            <a:chExt cx="772" cy="904"/>
          </a:xfrm>
        </p:grpSpPr>
        <p:sp>
          <p:nvSpPr>
            <p:cNvPr id="4" name="Freeform 5">
              <a:extLst>
                <a:ext uri="{FF2B5EF4-FFF2-40B4-BE49-F238E27FC236}">
                  <a16:creationId xmlns:a16="http://schemas.microsoft.com/office/drawing/2014/main" id="{EFD9C4CB-191C-0AB3-3EF9-912B8FBFB0AB}"/>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 name="Freeform 6">
              <a:extLst>
                <a:ext uri="{FF2B5EF4-FFF2-40B4-BE49-F238E27FC236}">
                  <a16:creationId xmlns:a16="http://schemas.microsoft.com/office/drawing/2014/main" id="{56624363-C318-3FBF-0F2F-7FD5A0EB5CE1}"/>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
        <p:nvSpPr>
          <p:cNvPr id="18" name="Freeform 56">
            <a:extLst>
              <a:ext uri="{FF2B5EF4-FFF2-40B4-BE49-F238E27FC236}">
                <a16:creationId xmlns:a16="http://schemas.microsoft.com/office/drawing/2014/main" id="{3961D014-0200-484E-852A-9ABE2110BEEE}"/>
              </a:ext>
            </a:extLst>
          </p:cNvPr>
          <p:cNvSpPr/>
          <p:nvPr userDrawn="1"/>
        </p:nvSpPr>
        <p:spPr>
          <a:xfrm>
            <a:off x="590550" y="668641"/>
            <a:ext cx="4199969" cy="3050885"/>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11" name="Title 1"/>
          <p:cNvSpPr>
            <a:spLocks noGrp="1"/>
          </p:cNvSpPr>
          <p:nvPr>
            <p:ph type="ctrTitle"/>
          </p:nvPr>
        </p:nvSpPr>
        <p:spPr>
          <a:xfrm>
            <a:off x="837200" y="1693501"/>
            <a:ext cx="3645900" cy="979702"/>
          </a:xfrm>
        </p:spPr>
        <p:txBody>
          <a:bodyPr/>
          <a:lstStyle>
            <a:lvl1pPr>
              <a:lnSpc>
                <a:spcPct val="100000"/>
              </a:lnSpc>
              <a:spcAft>
                <a:spcPts val="600"/>
              </a:spcAft>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837200" y="2934783"/>
            <a:ext cx="3645900" cy="523162"/>
          </a:xfrm>
        </p:spPr>
        <p:txBody>
          <a:bodyPr/>
          <a:lstStyle>
            <a:lvl1pPr marL="0" indent="0" algn="l">
              <a:spcAft>
                <a:spcPts val="1200"/>
              </a:spcAft>
              <a:buNone/>
              <a:defRPr sz="16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9" name="TextBox 8"/>
          <p:cNvSpPr txBox="1"/>
          <p:nvPr userDrawn="1"/>
        </p:nvSpPr>
        <p:spPr>
          <a:xfrm>
            <a:off x="-2793856" y="0"/>
            <a:ext cx="2603356" cy="1438649"/>
          </a:xfrm>
          <a:prstGeom prst="rect">
            <a:avLst/>
          </a:prstGeom>
          <a:solidFill>
            <a:schemeClr val="tx2"/>
          </a:solidFill>
        </p:spPr>
        <p:txBody>
          <a:bodyPr wrap="square" lIns="72000" tIns="72000" rIns="72000" bIns="36000" rtlCol="0">
            <a:spAutoFit/>
          </a:bodyPr>
          <a:lstStyle/>
          <a:p>
            <a:pPr>
              <a:lnSpc>
                <a:spcPct val="85000"/>
              </a:lnSpc>
              <a:spcAft>
                <a:spcPts val="600"/>
              </a:spcAft>
              <a:buClr>
                <a:schemeClr val="accent2"/>
              </a:buClr>
              <a:buSzPct val="70000"/>
            </a:pPr>
            <a:r>
              <a:rPr lang="en-US" sz="1200" b="1" noProof="0" dirty="0">
                <a:latin typeface="EYInterstate" panose="02000503020000020004" pitchFamily="2" charset="0"/>
              </a:rPr>
              <a:t>DARK THEME X LIGHT THEME</a:t>
            </a:r>
          </a:p>
          <a:p>
            <a:pPr>
              <a:lnSpc>
                <a:spcPct val="85000"/>
              </a:lnSpc>
              <a:spcAft>
                <a:spcPts val="600"/>
              </a:spcAft>
              <a:buClr>
                <a:schemeClr val="accent2"/>
              </a:buClr>
              <a:buSzPct val="70000"/>
            </a:pPr>
            <a:r>
              <a:rPr lang="en-US" sz="1200" noProof="0" dirty="0"/>
              <a:t>With one click you can change color theme of the presentation (colors for the background, graphics, text, highlights and other elements).</a:t>
            </a:r>
          </a:p>
          <a:p>
            <a:pPr>
              <a:lnSpc>
                <a:spcPct val="85000"/>
              </a:lnSpc>
              <a:spcAft>
                <a:spcPts val="600"/>
              </a:spcAft>
              <a:buClr>
                <a:schemeClr val="accent2"/>
              </a:buClr>
              <a:buSzPct val="70000"/>
            </a:pPr>
            <a:r>
              <a:rPr lang="en-US" sz="1200" noProof="0" dirty="0"/>
              <a:t>Ribbon „EY Templates“ </a:t>
            </a:r>
            <a:r>
              <a:rPr lang="en-US" sz="1200" noProof="0" dirty="0">
                <a:sym typeface="Wingdings" panose="05000000000000000000" pitchFamily="2" charset="2"/>
              </a:rPr>
              <a:t> Themes</a:t>
            </a:r>
            <a:endParaRPr lang="en-US" sz="1200" noProof="0" dirty="0"/>
          </a:p>
          <a:p>
            <a:pPr>
              <a:lnSpc>
                <a:spcPct val="85000"/>
              </a:lnSpc>
              <a:spcAft>
                <a:spcPts val="600"/>
              </a:spcAft>
              <a:buClr>
                <a:schemeClr val="accent2"/>
              </a:buClr>
              <a:buSzPct val="70000"/>
            </a:pPr>
            <a:endParaRPr lang="en-US" sz="1200" noProof="0" dirty="0">
              <a:solidFill>
                <a:schemeClr val="bg1"/>
              </a:solidFill>
            </a:endParaRPr>
          </a:p>
        </p:txBody>
      </p:sp>
      <p:pic>
        <p:nvPicPr>
          <p:cNvPr id="10" name="Picture 9"/>
          <p:cNvPicPr>
            <a:picLocks noChangeAspect="1"/>
          </p:cNvPicPr>
          <p:nvPr userDrawn="1"/>
        </p:nvPicPr>
        <p:blipFill rotWithShape="1">
          <a:blip r:embed="rId3"/>
          <a:srcRect r="77955" b="75999"/>
          <a:stretch/>
        </p:blipFill>
        <p:spPr>
          <a:xfrm>
            <a:off x="-2725666" y="1314450"/>
            <a:ext cx="2350053" cy="1439154"/>
          </a:xfrm>
          <a:prstGeom prst="rect">
            <a:avLst/>
          </a:prstGeom>
        </p:spPr>
      </p:pic>
    </p:spTree>
    <p:extLst>
      <p:ext uri="{BB962C8B-B14F-4D97-AF65-F5344CB8AC3E}">
        <p14:creationId xmlns:p14="http://schemas.microsoft.com/office/powerpoint/2010/main" val="3122176777"/>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etter question">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658660" y="6011127"/>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1046064" y="2342721"/>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1046256" y="3384721"/>
            <a:ext cx="4808028" cy="645742"/>
          </a:xfrm>
          <a:prstGeom prst="rect">
            <a:avLst/>
          </a:prstGeom>
        </p:spPr>
        <p:txBody>
          <a:bodyPr/>
          <a:lstStyle>
            <a:lvl1pPr marL="0" indent="0" algn="l">
              <a:buNone/>
              <a:defRPr sz="16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590550" y="908050"/>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590550" y="420614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875881" y="420614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161094" y="420614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8" name="Group 4">
            <a:extLst>
              <a:ext uri="{FF2B5EF4-FFF2-40B4-BE49-F238E27FC236}">
                <a16:creationId xmlns:a16="http://schemas.microsoft.com/office/drawing/2014/main" id="{5577F5AD-F013-497E-A442-971584B122E8}"/>
              </a:ext>
            </a:extLst>
          </p:cNvPr>
          <p:cNvGrpSpPr>
            <a:grpSpLocks noChangeAspect="1"/>
          </p:cNvGrpSpPr>
          <p:nvPr userDrawn="1"/>
        </p:nvGrpSpPr>
        <p:grpSpPr bwMode="auto">
          <a:xfrm>
            <a:off x="10364788" y="5233988"/>
            <a:ext cx="1225550" cy="1435100"/>
            <a:chOff x="6529" y="3125"/>
            <a:chExt cx="772" cy="904"/>
          </a:xfrm>
        </p:grpSpPr>
        <p:sp>
          <p:nvSpPr>
            <p:cNvPr id="79" name="Freeform 5">
              <a:extLst>
                <a:ext uri="{FF2B5EF4-FFF2-40B4-BE49-F238E27FC236}">
                  <a16:creationId xmlns:a16="http://schemas.microsoft.com/office/drawing/2014/main" id="{61B5EE87-B49A-4934-BE50-677D397D80D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0" name="Freeform 6">
              <a:extLst>
                <a:ext uri="{FF2B5EF4-FFF2-40B4-BE49-F238E27FC236}">
                  <a16:creationId xmlns:a16="http://schemas.microsoft.com/office/drawing/2014/main" id="{047C6BFB-E181-4FAB-97DA-2C448251A6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415081741"/>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etter question with picture">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9713" y="908050"/>
            <a:ext cx="4848024" cy="3933825"/>
          </a:xfrm>
          <a:prstGeom prst="rect">
            <a:avLst/>
          </a:prstGeom>
        </p:spPr>
      </p:pic>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bwMode="white">
          <a:xfrm>
            <a:off x="1065227" y="2196803"/>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bwMode="white">
          <a:xfrm>
            <a:off x="1065419" y="3238803"/>
            <a:ext cx="4020628" cy="645742"/>
          </a:xfrm>
          <a:prstGeom prst="rect">
            <a:avLst/>
          </a:prstGeom>
        </p:spPr>
        <p:txBody>
          <a:bodyPr/>
          <a:lstStyle>
            <a:lvl1pPr marL="0" indent="0" algn="l">
              <a:buNone/>
              <a:defRPr sz="16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76" name="Group 75">
            <a:extLst>
              <a:ext uri="{FF2B5EF4-FFF2-40B4-BE49-F238E27FC236}">
                <a16:creationId xmlns:a16="http://schemas.microsoft.com/office/drawing/2014/main" id="{5342E118-6F1D-4C46-956E-4CCCBCAA7952}"/>
              </a:ext>
            </a:extLst>
          </p:cNvPr>
          <p:cNvGrpSpPr/>
          <p:nvPr userDrawn="1"/>
        </p:nvGrpSpPr>
        <p:grpSpPr>
          <a:xfrm>
            <a:off x="658660" y="6011127"/>
            <a:ext cx="3878023" cy="570195"/>
            <a:chOff x="498115" y="5951018"/>
            <a:chExt cx="3878023" cy="570195"/>
          </a:xfrm>
        </p:grpSpPr>
        <p:sp>
          <p:nvSpPr>
            <p:cNvPr id="77" name="Rectangle 76">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9"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0"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81"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86"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87"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88"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89"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0"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1"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2"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3"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4"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5"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6"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7"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8"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99"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0"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1"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2"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3"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4"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5"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6"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7"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8"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09"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0"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1"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2"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3"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4"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5"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6"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7"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8"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19"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0"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1"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2"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3"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4"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5"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6"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7"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8"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29"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0"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1"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2"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3"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4"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5"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6"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7"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8"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39"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0"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1"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2"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3"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4"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5"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46"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grpSp>
        <p:nvGrpSpPr>
          <p:cNvPr id="147" name="Group 4">
            <a:extLst>
              <a:ext uri="{FF2B5EF4-FFF2-40B4-BE49-F238E27FC236}">
                <a16:creationId xmlns:a16="http://schemas.microsoft.com/office/drawing/2014/main" id="{EB87FF01-BD2E-4F56-9B89-ED13B7AF1325}"/>
              </a:ext>
            </a:extLst>
          </p:cNvPr>
          <p:cNvGrpSpPr>
            <a:grpSpLocks noChangeAspect="1"/>
          </p:cNvGrpSpPr>
          <p:nvPr userDrawn="1"/>
        </p:nvGrpSpPr>
        <p:grpSpPr bwMode="auto">
          <a:xfrm>
            <a:off x="10364788" y="5233988"/>
            <a:ext cx="1225550" cy="1435100"/>
            <a:chOff x="6529" y="3125"/>
            <a:chExt cx="772" cy="904"/>
          </a:xfrm>
        </p:grpSpPr>
        <p:sp>
          <p:nvSpPr>
            <p:cNvPr id="148" name="Freeform 5">
              <a:extLst>
                <a:ext uri="{FF2B5EF4-FFF2-40B4-BE49-F238E27FC236}">
                  <a16:creationId xmlns:a16="http://schemas.microsoft.com/office/drawing/2014/main" id="{80BAF289-B2BD-4B73-B582-3BE34762CCC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9" name="Freeform 6">
              <a:extLst>
                <a:ext uri="{FF2B5EF4-FFF2-40B4-BE49-F238E27FC236}">
                  <a16:creationId xmlns:a16="http://schemas.microsoft.com/office/drawing/2014/main" id="{DBEDF387-3BB0-413B-8EC7-2A8EB32E403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81175690"/>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tandard slide -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502793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Footer Placeholder 2"/>
          <p:cNvSpPr>
            <a:spLocks noGrp="1"/>
          </p:cNvSpPr>
          <p:nvPr>
            <p:ph type="ftr" sz="quarter" idx="10"/>
          </p:nvPr>
        </p:nvSpPr>
        <p:spPr/>
        <p:txBody>
          <a:bodyPr/>
          <a:lstStyle/>
          <a:p>
            <a:r>
              <a:rPr lang="en-US"/>
              <a:t>Presentation title</a:t>
            </a:r>
            <a:endParaRPr lang="en-US" dirty="0"/>
          </a:p>
        </p:txBody>
      </p:sp>
    </p:spTree>
    <p:extLst>
      <p:ext uri="{BB962C8B-B14F-4D97-AF65-F5344CB8AC3E}">
        <p14:creationId xmlns:p14="http://schemas.microsoft.com/office/powerpoint/2010/main" val="11496483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10980000" cy="502793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Footer Placeholder 6"/>
          <p:cNvSpPr>
            <a:spLocks noGrp="1"/>
          </p:cNvSpPr>
          <p:nvPr>
            <p:ph type="ftr" sz="quarter" idx="10"/>
          </p:nvPr>
        </p:nvSpPr>
        <p:spPr/>
        <p:txBody>
          <a:bodyPr/>
          <a:lstStyle/>
          <a:p>
            <a:r>
              <a:rPr lang="en-US"/>
              <a:t>Presentation title</a:t>
            </a:r>
            <a:endParaRPr lang="en-US" dirty="0"/>
          </a:p>
        </p:txBody>
      </p:sp>
    </p:spTree>
    <p:extLst>
      <p:ext uri="{BB962C8B-B14F-4D97-AF65-F5344CB8AC3E}">
        <p14:creationId xmlns:p14="http://schemas.microsoft.com/office/powerpoint/2010/main" val="14858033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Jenom nadpi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Footer Placeholder 5"/>
          <p:cNvSpPr>
            <a:spLocks noGrp="1"/>
          </p:cNvSpPr>
          <p:nvPr>
            <p:ph type="ftr" sz="quarter" idx="10"/>
          </p:nvPr>
        </p:nvSpPr>
        <p:spPr/>
        <p:txBody>
          <a:bodyPr/>
          <a:lstStyle/>
          <a:p>
            <a:r>
              <a:rPr lang="en-US"/>
              <a:t>Presentation title</a:t>
            </a:r>
            <a:endParaRPr lang="en-US" dirty="0"/>
          </a:p>
        </p:txBody>
      </p:sp>
    </p:spTree>
    <p:extLst>
      <p:ext uri="{BB962C8B-B14F-4D97-AF65-F5344CB8AC3E}">
        <p14:creationId xmlns:p14="http://schemas.microsoft.com/office/powerpoint/2010/main" val="22480454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lide - picture on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Footer Placeholder 7"/>
          <p:cNvSpPr>
            <a:spLocks noGrp="1"/>
          </p:cNvSpPr>
          <p:nvPr>
            <p:ph type="ftr" sz="quarter" idx="14"/>
          </p:nvPr>
        </p:nvSpPr>
        <p:spPr/>
        <p:txBody>
          <a:bodyPr/>
          <a:lstStyle/>
          <a:p>
            <a:r>
              <a:rPr lang="en-US"/>
              <a:t>Presentation title</a:t>
            </a:r>
            <a:endParaRPr lang="en-US" dirty="0"/>
          </a:p>
        </p:txBody>
      </p:sp>
    </p:spTree>
    <p:extLst>
      <p:ext uri="{BB962C8B-B14F-4D97-AF65-F5344CB8AC3E}">
        <p14:creationId xmlns:p14="http://schemas.microsoft.com/office/powerpoint/2010/main" val="25000925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10980000" cy="502793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Footer Placeholder 6"/>
          <p:cNvSpPr>
            <a:spLocks noGrp="1"/>
          </p:cNvSpPr>
          <p:nvPr>
            <p:ph type="ftr" sz="quarter" idx="10"/>
          </p:nvPr>
        </p:nvSpPr>
        <p:spPr/>
        <p:txBody>
          <a:bodyPr/>
          <a:lstStyle/>
          <a:p>
            <a:r>
              <a:rPr lang="en-US"/>
              <a:t>Presentation title</a:t>
            </a:r>
            <a:endParaRPr lang="en-US" dirty="0"/>
          </a:p>
        </p:txBody>
      </p:sp>
    </p:spTree>
    <p:extLst>
      <p:ext uri="{BB962C8B-B14F-4D97-AF65-F5344CB8AC3E}">
        <p14:creationId xmlns:p14="http://schemas.microsoft.com/office/powerpoint/2010/main" val="2534576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lide - picture on 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r>
              <a:rPr lang="en-US"/>
              <a:t>Click icon to add picture</a:t>
            </a:r>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Footer Placeholder 7"/>
          <p:cNvSpPr>
            <a:spLocks noGrp="1"/>
          </p:cNvSpPr>
          <p:nvPr>
            <p:ph type="ftr" sz="quarter" idx="13"/>
          </p:nvPr>
        </p:nvSpPr>
        <p:spPr/>
        <p:txBody>
          <a:bodyPr/>
          <a:lstStyle/>
          <a:p>
            <a:r>
              <a:rPr lang="en-US"/>
              <a:t>Presentation title</a:t>
            </a:r>
            <a:endParaRPr lang="en-US" dirty="0"/>
          </a:p>
        </p:txBody>
      </p:sp>
    </p:spTree>
    <p:extLst>
      <p:ext uri="{BB962C8B-B14F-4D97-AF65-F5344CB8AC3E}">
        <p14:creationId xmlns:p14="http://schemas.microsoft.com/office/powerpoint/2010/main" val="3096409374"/>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8" y="1137918"/>
            <a:ext cx="5387605" cy="5027931"/>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137918"/>
            <a:ext cx="5387605" cy="5027931"/>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Footer Placeholder 7"/>
          <p:cNvSpPr>
            <a:spLocks noGrp="1"/>
          </p:cNvSpPr>
          <p:nvPr>
            <p:ph type="ftr" sz="quarter" idx="10"/>
          </p:nvPr>
        </p:nvSpPr>
        <p:spPr/>
        <p:txBody>
          <a:bodyPr/>
          <a:lstStyle/>
          <a:p>
            <a:r>
              <a:rPr lang="en-US"/>
              <a:t>Presentation title</a:t>
            </a:r>
            <a:endParaRPr lang="en-US" dirty="0"/>
          </a:p>
        </p:txBody>
      </p:sp>
    </p:spTree>
    <p:extLst>
      <p:ext uri="{BB962C8B-B14F-4D97-AF65-F5344CB8AC3E}">
        <p14:creationId xmlns:p14="http://schemas.microsoft.com/office/powerpoint/2010/main" val="24505090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Footer Placeholder 7"/>
          <p:cNvSpPr>
            <a:spLocks noGrp="1"/>
          </p:cNvSpPr>
          <p:nvPr>
            <p:ph type="ftr" sz="quarter" idx="14"/>
          </p:nvPr>
        </p:nvSpPr>
        <p:spPr/>
        <p:txBody>
          <a:bodyPr/>
          <a:lstStyle/>
          <a:p>
            <a:r>
              <a:rPr lang="en-US"/>
              <a:t>Presentation title</a:t>
            </a:r>
            <a:endParaRPr lang="en-US" dirty="0"/>
          </a:p>
        </p:txBody>
      </p:sp>
    </p:spTree>
    <p:extLst>
      <p:ext uri="{BB962C8B-B14F-4D97-AF65-F5344CB8AC3E}">
        <p14:creationId xmlns:p14="http://schemas.microsoft.com/office/powerpoint/2010/main" val="18949317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Footer Placeholder 6"/>
          <p:cNvSpPr>
            <a:spLocks noGrp="1"/>
          </p:cNvSpPr>
          <p:nvPr>
            <p:ph type="ftr" sz="quarter" idx="19"/>
          </p:nvPr>
        </p:nvSpPr>
        <p:spPr/>
        <p:txBody>
          <a:bodyPr/>
          <a:lstStyle/>
          <a:p>
            <a:r>
              <a:rPr lang="en-US"/>
              <a:t>Presentation title</a:t>
            </a:r>
            <a:endParaRPr lang="en-US" dirty="0"/>
          </a:p>
        </p:txBody>
      </p:sp>
    </p:spTree>
    <p:extLst>
      <p:ext uri="{BB962C8B-B14F-4D97-AF65-F5344CB8AC3E}">
        <p14:creationId xmlns:p14="http://schemas.microsoft.com/office/powerpoint/2010/main" val="13359208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s slide - centre">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
        <p:nvSpPr>
          <p:cNvPr id="2" name="Footer Placeholder 1"/>
          <p:cNvSpPr>
            <a:spLocks noGrp="1"/>
          </p:cNvSpPr>
          <p:nvPr>
            <p:ph type="ftr" sz="quarter" idx="13"/>
          </p:nvPr>
        </p:nvSpPr>
        <p:spPr/>
        <p:txBody>
          <a:bodyPr/>
          <a:lstStyle/>
          <a:p>
            <a:r>
              <a:rPr lang="en-US"/>
              <a:t>Presentation title</a:t>
            </a:r>
            <a:endParaRPr lang="en-US" dirty="0"/>
          </a:p>
        </p:txBody>
      </p:sp>
    </p:spTree>
    <p:extLst>
      <p:ext uri="{BB962C8B-B14F-4D97-AF65-F5344CB8AC3E}">
        <p14:creationId xmlns:p14="http://schemas.microsoft.com/office/powerpoint/2010/main" val="4182514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s slide - left side">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90550" y="2529000"/>
            <a:ext cx="5292000" cy="1800000"/>
          </a:xfrm>
        </p:spPr>
        <p:txBody>
          <a:bodyPr lIns="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90550" y="4635000"/>
            <a:ext cx="5292000" cy="316838"/>
          </a:xfrm>
        </p:spPr>
        <p:txBody>
          <a:bodyPr lIns="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90550" y="4973677"/>
            <a:ext cx="5292000" cy="316838"/>
          </a:xfrm>
        </p:spPr>
        <p:txBody>
          <a:bodyPr lIns="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
        <p:nvSpPr>
          <p:cNvPr id="2" name="Footer Placeholder 1"/>
          <p:cNvSpPr>
            <a:spLocks noGrp="1"/>
          </p:cNvSpPr>
          <p:nvPr>
            <p:ph type="ftr" sz="quarter" idx="13"/>
          </p:nvPr>
        </p:nvSpPr>
        <p:spPr/>
        <p:txBody>
          <a:bodyPr/>
          <a:lstStyle/>
          <a:p>
            <a:r>
              <a:rPr lang="en-US"/>
              <a:t>Presentation title</a:t>
            </a:r>
            <a:endParaRPr lang="en-US" dirty="0"/>
          </a:p>
        </p:txBody>
      </p:sp>
    </p:spTree>
    <p:extLst>
      <p:ext uri="{BB962C8B-B14F-4D97-AF65-F5344CB8AC3E}">
        <p14:creationId xmlns:p14="http://schemas.microsoft.com/office/powerpoint/2010/main" val="8458196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6" name="Footer Placeholder 5"/>
          <p:cNvSpPr>
            <a:spLocks noGrp="1"/>
          </p:cNvSpPr>
          <p:nvPr>
            <p:ph type="ftr" sz="quarter" idx="11"/>
          </p:nvPr>
        </p:nvSpPr>
        <p:spPr/>
        <p:txBody>
          <a:bodyPr/>
          <a:lstStyle/>
          <a:p>
            <a:r>
              <a:rPr lang="en-US"/>
              <a:t>Presentation title</a:t>
            </a:r>
            <a:endParaRPr lang="en-US" dirty="0"/>
          </a:p>
        </p:txBody>
      </p:sp>
    </p:spTree>
    <p:extLst>
      <p:ext uri="{BB962C8B-B14F-4D97-AF65-F5344CB8AC3E}">
        <p14:creationId xmlns:p14="http://schemas.microsoft.com/office/powerpoint/2010/main" val="28152447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pter Slide with pictur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590550"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590550" y="3840384"/>
            <a:ext cx="4537959" cy="1055708"/>
          </a:xfrm>
        </p:spPr>
        <p:txBody>
          <a:bodyPr/>
          <a:lstStyle>
            <a:lvl1pPr marL="0" indent="0">
              <a:buNone/>
              <a:defRPr sz="1600"/>
            </a:lvl1pPr>
          </a:lstStyle>
          <a:p>
            <a:pPr lvl="0"/>
            <a:r>
              <a:rPr lang="en-IN" dirty="0"/>
              <a:t>text</a:t>
            </a:r>
          </a:p>
        </p:txBody>
      </p:sp>
      <p:sp>
        <p:nvSpPr>
          <p:cNvPr id="6" name="Footer Placeholder 5"/>
          <p:cNvSpPr>
            <a:spLocks noGrp="1"/>
          </p:cNvSpPr>
          <p:nvPr>
            <p:ph type="ftr" sz="quarter" idx="13"/>
          </p:nvPr>
        </p:nvSpPr>
        <p:spPr/>
        <p:txBody>
          <a:bodyPr/>
          <a:lstStyle/>
          <a:p>
            <a:r>
              <a:rPr lang="en-US"/>
              <a:t>Presentation title</a:t>
            </a:r>
            <a:endParaRPr lang="en-US" dirty="0"/>
          </a:p>
        </p:txBody>
      </p:sp>
    </p:spTree>
    <p:extLst>
      <p:ext uri="{BB962C8B-B14F-4D97-AF65-F5344CB8AC3E}">
        <p14:creationId xmlns:p14="http://schemas.microsoft.com/office/powerpoint/2010/main" val="37935949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 / Chapter slide">
    <p:spTree>
      <p:nvGrpSpPr>
        <p:cNvPr id="1" name=""/>
        <p:cNvGrpSpPr/>
        <p:nvPr/>
      </p:nvGrpSpPr>
      <p:grpSpPr>
        <a:xfrm>
          <a:off x="0" y="0"/>
          <a:ext cx="0" cy="0"/>
          <a:chOff x="0" y="0"/>
          <a:chExt cx="0" cy="0"/>
        </a:xfrm>
      </p:grpSpPr>
      <p:sp>
        <p:nvSpPr>
          <p:cNvPr id="5" name="Freeform 6"/>
          <p:cNvSpPr>
            <a:spLocks/>
          </p:cNvSpPr>
          <p:nvPr userDrawn="1"/>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7" name="Text Placeholder 6"/>
          <p:cNvSpPr>
            <a:spLocks noGrp="1"/>
          </p:cNvSpPr>
          <p:nvPr>
            <p:ph type="body" sz="quarter" idx="13"/>
          </p:nvPr>
        </p:nvSpPr>
        <p:spPr>
          <a:xfrm>
            <a:off x="617537" y="908050"/>
            <a:ext cx="4787900" cy="1536700"/>
          </a:xfrm>
        </p:spPr>
        <p:txBody>
          <a:bodyPr/>
          <a:lstStyle>
            <a:lvl1pPr marL="0" indent="0">
              <a:buNone/>
              <a:defRPr sz="3000">
                <a:solidFill>
                  <a:schemeClr val="bg2"/>
                </a:solidFill>
              </a:defRPr>
            </a:lvl1pPr>
          </a:lstStyle>
          <a:p>
            <a:pPr lvl="0"/>
            <a:r>
              <a:rPr lang="en-US"/>
              <a:t>Click to edit Master text styles</a:t>
            </a:r>
          </a:p>
        </p:txBody>
      </p:sp>
      <p:sp>
        <p:nvSpPr>
          <p:cNvPr id="8" name="Footer Placeholder 7"/>
          <p:cNvSpPr>
            <a:spLocks noGrp="1"/>
          </p:cNvSpPr>
          <p:nvPr>
            <p:ph type="ftr" sz="quarter" idx="14"/>
          </p:nvPr>
        </p:nvSpPr>
        <p:spPr/>
        <p:txBody>
          <a:bodyPr/>
          <a:lstStyle/>
          <a:p>
            <a:r>
              <a:rPr lang="en-US"/>
              <a:t>Presentation title</a:t>
            </a:r>
            <a:endParaRPr lang="en-US" dirty="0"/>
          </a:p>
        </p:txBody>
      </p:sp>
    </p:spTree>
    <p:extLst>
      <p:ext uri="{BB962C8B-B14F-4D97-AF65-F5344CB8AC3E}">
        <p14:creationId xmlns:p14="http://schemas.microsoft.com/office/powerpoint/2010/main" val="2598717752"/>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 Chapter slide - tranparency">
    <p:spTree>
      <p:nvGrpSpPr>
        <p:cNvPr id="1" name=""/>
        <p:cNvGrpSpPr/>
        <p:nvPr/>
      </p:nvGrpSpPr>
      <p:grpSpPr>
        <a:xfrm>
          <a:off x="0" y="0"/>
          <a:ext cx="0" cy="0"/>
          <a:chOff x="0" y="0"/>
          <a:chExt cx="0" cy="0"/>
        </a:xfrm>
      </p:grpSpPr>
      <p:sp>
        <p:nvSpPr>
          <p:cNvPr id="8" name="Freeform 6"/>
          <p:cNvSpPr>
            <a:spLocks/>
          </p:cNvSpPr>
          <p:nvPr userDrawn="1"/>
        </p:nvSpPr>
        <p:spPr bwMode="gray">
          <a:xfrm>
            <a:off x="-1"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7" name="Text Placeholder 6"/>
          <p:cNvSpPr>
            <a:spLocks noGrp="1"/>
          </p:cNvSpPr>
          <p:nvPr>
            <p:ph type="body" sz="quarter" idx="13"/>
          </p:nvPr>
        </p:nvSpPr>
        <p:spPr>
          <a:xfrm>
            <a:off x="617536" y="908050"/>
            <a:ext cx="4787900" cy="1536700"/>
          </a:xfrm>
        </p:spPr>
        <p:txBody>
          <a:bodyPr/>
          <a:lstStyle>
            <a:lvl1pPr marL="0" indent="0">
              <a:buNone/>
              <a:defRPr sz="3000">
                <a:solidFill>
                  <a:schemeClr val="bg2"/>
                </a:solidFill>
              </a:defRPr>
            </a:lvl1pPr>
          </a:lstStyle>
          <a:p>
            <a:pPr lvl="0"/>
            <a:r>
              <a:rPr lang="en-US"/>
              <a:t>Click to edit Master text styles</a:t>
            </a:r>
          </a:p>
        </p:txBody>
      </p:sp>
      <p:sp>
        <p:nvSpPr>
          <p:cNvPr id="6" name="Footer Placeholder 5"/>
          <p:cNvSpPr>
            <a:spLocks noGrp="1"/>
          </p:cNvSpPr>
          <p:nvPr>
            <p:ph type="ftr" sz="quarter" idx="14"/>
          </p:nvPr>
        </p:nvSpPr>
        <p:spPr/>
        <p:txBody>
          <a:bodyPr/>
          <a:lstStyle/>
          <a:p>
            <a:r>
              <a:rPr lang="en-US"/>
              <a:t>Presentation title</a:t>
            </a:r>
            <a:endParaRPr lang="en-US" dirty="0"/>
          </a:p>
        </p:txBody>
      </p:sp>
    </p:spTree>
    <p:extLst>
      <p:ext uri="{BB962C8B-B14F-4D97-AF65-F5344CB8AC3E}">
        <p14:creationId xmlns:p14="http://schemas.microsoft.com/office/powerpoint/2010/main" val="410772150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Jenom nadpi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Footer Placeholder 5"/>
          <p:cNvSpPr>
            <a:spLocks noGrp="1"/>
          </p:cNvSpPr>
          <p:nvPr>
            <p:ph type="ftr" sz="quarter" idx="10"/>
          </p:nvPr>
        </p:nvSpPr>
        <p:spPr/>
        <p:txBody>
          <a:bodyPr/>
          <a:lstStyle/>
          <a:p>
            <a:r>
              <a:rPr lang="en-US"/>
              <a:t>Presentation title</a:t>
            </a:r>
            <a:endParaRPr lang="en-US" dirty="0"/>
          </a:p>
        </p:txBody>
      </p:sp>
    </p:spTree>
    <p:extLst>
      <p:ext uri="{BB962C8B-B14F-4D97-AF65-F5344CB8AC3E}">
        <p14:creationId xmlns:p14="http://schemas.microsoft.com/office/powerpoint/2010/main" val="136554701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hapter slide no pictur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590549" y="2851522"/>
            <a:ext cx="5508625"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9" name="Footer Placeholder 8"/>
          <p:cNvSpPr>
            <a:spLocks noGrp="1"/>
          </p:cNvSpPr>
          <p:nvPr>
            <p:ph type="ftr" sz="quarter" idx="11"/>
          </p:nvPr>
        </p:nvSpPr>
        <p:spPr/>
        <p:txBody>
          <a:bodyPr/>
          <a:lstStyle/>
          <a:p>
            <a:r>
              <a:rPr lang="en-US"/>
              <a:t>Presentation title</a:t>
            </a:r>
            <a:endParaRPr lang="en-US" dirty="0"/>
          </a:p>
        </p:txBody>
      </p:sp>
    </p:spTree>
    <p:extLst>
      <p:ext uri="{BB962C8B-B14F-4D97-AF65-F5344CB8AC3E}">
        <p14:creationId xmlns:p14="http://schemas.microsoft.com/office/powerpoint/2010/main" val="7274285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hapter slide with number">
    <p:spTree>
      <p:nvGrpSpPr>
        <p:cNvPr id="1" name=""/>
        <p:cNvGrpSpPr/>
        <p:nvPr/>
      </p:nvGrpSpPr>
      <p:grpSpPr>
        <a:xfrm>
          <a:off x="0" y="0"/>
          <a:ext cx="0" cy="0"/>
          <a:chOff x="0" y="0"/>
          <a:chExt cx="0" cy="0"/>
        </a:xfrm>
      </p:grpSpPr>
      <p:sp>
        <p:nvSpPr>
          <p:cNvPr id="8" name="Text Placeholder 7"/>
          <p:cNvSpPr>
            <a:spLocks noGrp="1"/>
          </p:cNvSpPr>
          <p:nvPr>
            <p:ph type="body" sz="quarter" idx="16" hasCustomPrompt="1"/>
          </p:nvPr>
        </p:nvSpPr>
        <p:spPr>
          <a:xfrm>
            <a:off x="590550" y="-863760"/>
            <a:ext cx="4392000" cy="4917600"/>
          </a:xfrm>
        </p:spPr>
        <p:txBody>
          <a:bodyPr/>
          <a:lstStyle>
            <a:lvl1pPr marL="0" indent="0">
              <a:buNone/>
              <a:defRPr lang="en-US" sz="55000" b="1" kern="1200" dirty="0" smtClean="0">
                <a:solidFill>
                  <a:srgbClr val="747480">
                    <a:alpha val="50000"/>
                  </a:srgbClr>
                </a:solidFill>
                <a:latin typeface="EYInterstate Light" panose="02000506000000020004" pitchFamily="2" charset="0"/>
                <a:ea typeface="+mn-ea"/>
                <a:cs typeface="+mn-cs"/>
              </a:defRPr>
            </a:lvl1pPr>
          </a:lstStyle>
          <a:p>
            <a:pPr marL="0" marR="0" lvl="0" indent="0" algn="l" defTabSz="755512" rtl="0" eaLnBrk="1" fontAlgn="auto" latinLnBrk="0" hangingPunct="1">
              <a:lnSpc>
                <a:spcPct val="100000"/>
              </a:lnSpc>
              <a:spcBef>
                <a:spcPts val="0"/>
              </a:spcBef>
              <a:spcAft>
                <a:spcPts val="150"/>
              </a:spcAft>
              <a:buClrTx/>
              <a:buSzTx/>
              <a:buFont typeface="Arial" panose="020B0604020202020204" pitchFamily="34" charset="0"/>
              <a:buNone/>
              <a:tabLst/>
            </a:pPr>
            <a:r>
              <a:rPr lang="en-US" dirty="0"/>
              <a:t>#</a:t>
            </a:r>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590549" y="2851522"/>
            <a:ext cx="5508625"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6" name="Footer Placeholder 5"/>
          <p:cNvSpPr>
            <a:spLocks noGrp="1"/>
          </p:cNvSpPr>
          <p:nvPr>
            <p:ph type="ftr" sz="quarter" idx="17"/>
          </p:nvPr>
        </p:nvSpPr>
        <p:spPr/>
        <p:txBody>
          <a:bodyPr/>
          <a:lstStyle/>
          <a:p>
            <a:r>
              <a:rPr lang="en-US"/>
              <a:t>Presentation title</a:t>
            </a:r>
            <a:endParaRPr lang="en-US" dirty="0"/>
          </a:p>
        </p:txBody>
      </p:sp>
    </p:spTree>
    <p:extLst>
      <p:ext uri="{BB962C8B-B14F-4D97-AF65-F5344CB8AC3E}">
        <p14:creationId xmlns:p14="http://schemas.microsoft.com/office/powerpoint/2010/main" val="162576917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isclaimer CZ">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9553" y="0"/>
            <a:ext cx="12192005" cy="6858000"/>
          </a:xfrm>
          <a:prstGeom prst="rect">
            <a:avLst/>
          </a:prstGeom>
        </p:spPr>
      </p:pic>
      <p:sp>
        <p:nvSpPr>
          <p:cNvPr id="5" name="TextBox 4">
            <a:extLst>
              <a:ext uri="{FF2B5EF4-FFF2-40B4-BE49-F238E27FC236}">
                <a16:creationId xmlns:a16="http://schemas.microsoft.com/office/drawing/2014/main" id="{0E68E9BD-8FB7-4984-B079-81329579BE9A}"/>
              </a:ext>
            </a:extLst>
          </p:cNvPr>
          <p:cNvSpPr txBox="1">
            <a:spLocks/>
          </p:cNvSpPr>
          <p:nvPr userDrawn="1"/>
        </p:nvSpPr>
        <p:spPr>
          <a:xfrm>
            <a:off x="598924" y="908050"/>
            <a:ext cx="3564261" cy="3006977"/>
          </a:xfrm>
          <a:prstGeom prst="rect">
            <a:avLst/>
          </a:prstGeom>
          <a:noFill/>
        </p:spPr>
        <p:txBody>
          <a:bodyPr wrap="square" lIns="0" tIns="36576" rIns="0" bIns="0" rtlCol="0" anchor="t">
            <a:spAutoFit/>
          </a:bodyPr>
          <a:lstStyle/>
          <a:p>
            <a:pPr lvl="0">
              <a:spcAft>
                <a:spcPts val="6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rPr>
              <a:t>|  </a:t>
            </a:r>
            <a:r>
              <a:rPr lang="en-IN" sz="1200" kern="0" dirty="0">
                <a:solidFill>
                  <a:srgbClr val="FFE600"/>
                </a:solidFill>
                <a:latin typeface="EYInterstate" panose="02000503020000020004" pitchFamily="2" charset="0"/>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mj-lt"/>
              <a:cs typeface="Arial"/>
            </a:endParaRPr>
          </a:p>
          <a:p>
            <a:pPr lvl="0">
              <a:buClr>
                <a:srgbClr val="FFD200"/>
              </a:buClr>
              <a:buSzPct val="70000"/>
              <a:defRPr/>
            </a:pPr>
            <a:r>
              <a:rPr lang="cs-CZ" sz="1100" kern="0" noProof="0" dirty="0">
                <a:solidFill>
                  <a:srgbClr val="FFFFFF"/>
                </a:solidFill>
                <a:latin typeface="EYInterstate" panose="02000503020000020004" pitchFamily="2" charset="0"/>
              </a:rPr>
              <a:t>Smyslem EY je přispívat k tomu, aby svět fungoval lépe. Proto pomáháme klientům, našim zaměstnancům i širšímu společenství vytvářet dlouhodobé hodnoty </a:t>
            </a:r>
            <a:br>
              <a:rPr lang="cs-CZ" sz="1100" kern="0" noProof="0" dirty="0">
                <a:solidFill>
                  <a:srgbClr val="FFFFFF"/>
                </a:solidFill>
                <a:latin typeface="EYInterstate" panose="02000503020000020004" pitchFamily="2" charset="0"/>
              </a:rPr>
            </a:br>
            <a:r>
              <a:rPr lang="cs-CZ" sz="1100" kern="0" noProof="0" dirty="0">
                <a:solidFill>
                  <a:srgbClr val="FFFFFF"/>
                </a:solidFill>
                <a:latin typeface="EYInterstate" panose="02000503020000020004" pitchFamily="2" charset="0"/>
              </a:rPr>
              <a:t>a posilovat důvěru v kapitálové trhy. </a:t>
            </a:r>
          </a:p>
          <a:p>
            <a:pPr lvl="0">
              <a:buClr>
                <a:srgbClr val="FFD200"/>
              </a:buClr>
              <a:buSzPct val="70000"/>
              <a:defRPr/>
            </a:pPr>
            <a:endParaRPr lang="cs-CZ" sz="1100" kern="0" noProof="0" dirty="0">
              <a:solidFill>
                <a:srgbClr val="FFFFFF"/>
              </a:solidFill>
              <a:latin typeface="EYInterstate" panose="02000503020000020004" pitchFamily="2" charset="0"/>
            </a:endParaRPr>
          </a:p>
          <a:p>
            <a:pPr lvl="0">
              <a:buClr>
                <a:srgbClr val="FFD200"/>
              </a:buClr>
              <a:buSzPct val="70000"/>
              <a:defRPr/>
            </a:pPr>
            <a:r>
              <a:rPr lang="cs-CZ" sz="1100" kern="0" noProof="0" dirty="0">
                <a:solidFill>
                  <a:srgbClr val="FFFFFF"/>
                </a:solidFill>
                <a:latin typeface="EYInterstate" panose="02000503020000020004" pitchFamily="2" charset="0"/>
              </a:rPr>
              <a:t>Týmy odborníků EY, vybavené nejmodernějšími technologiemi, působí ve více než 150 zemích celého světa – provádějí audity a poskytují klientům širokou poradenskou podporu, která jim umožňuje růst, transformovat se a efektivně fungovat. </a:t>
            </a:r>
          </a:p>
          <a:p>
            <a:pPr lvl="0">
              <a:buClr>
                <a:srgbClr val="FFD200"/>
              </a:buClr>
              <a:buSzPct val="70000"/>
              <a:defRPr/>
            </a:pPr>
            <a:endParaRPr lang="cs-CZ" sz="1100" kern="0" noProof="0" dirty="0">
              <a:solidFill>
                <a:srgbClr val="FFFFFF"/>
              </a:solidFill>
              <a:latin typeface="EYInterstate" panose="02000503020000020004" pitchFamily="2" charset="0"/>
            </a:endParaRPr>
          </a:p>
          <a:p>
            <a:pPr lvl="0">
              <a:buClr>
                <a:srgbClr val="FFD200"/>
              </a:buClr>
              <a:buSzPct val="70000"/>
              <a:defRPr/>
            </a:pPr>
            <a:r>
              <a:rPr lang="cs-CZ" sz="1100" kern="0" noProof="0" dirty="0">
                <a:solidFill>
                  <a:srgbClr val="FFFFFF"/>
                </a:solidFill>
                <a:latin typeface="EYInterstate" panose="02000503020000020004" pitchFamily="2" charset="0"/>
              </a:rPr>
              <a:t>Naši auditoři, konzultanti, právní a daňoví poradci </a:t>
            </a:r>
            <a:br>
              <a:rPr lang="cs-CZ" sz="1100" kern="0" noProof="0" dirty="0">
                <a:solidFill>
                  <a:srgbClr val="FFFFFF"/>
                </a:solidFill>
                <a:latin typeface="EYInterstate" panose="02000503020000020004" pitchFamily="2" charset="0"/>
              </a:rPr>
            </a:br>
            <a:r>
              <a:rPr lang="cs-CZ" sz="1100" kern="0" noProof="0" dirty="0">
                <a:solidFill>
                  <a:srgbClr val="FFFFFF"/>
                </a:solidFill>
                <a:latin typeface="EYInterstate" panose="02000503020000020004" pitchFamily="2" charset="0"/>
              </a:rPr>
              <a:t>i odborníci na strategické a transakční poradenství </a:t>
            </a:r>
            <a:br>
              <a:rPr lang="cs-CZ" sz="1100" kern="0" noProof="0" dirty="0">
                <a:solidFill>
                  <a:srgbClr val="FFFFFF"/>
                </a:solidFill>
                <a:latin typeface="EYInterstate" panose="02000503020000020004" pitchFamily="2" charset="0"/>
              </a:rPr>
            </a:br>
            <a:r>
              <a:rPr lang="cs-CZ" sz="1100" kern="0" noProof="0" dirty="0">
                <a:solidFill>
                  <a:srgbClr val="FFFFFF"/>
                </a:solidFill>
                <a:latin typeface="EYInterstate" panose="02000503020000020004" pitchFamily="2" charset="0"/>
              </a:rPr>
              <a:t>si kladou ty správné otázky a dokážou najít ty správné odpovědi na složité problémy dnešního světa.</a:t>
            </a:r>
          </a:p>
        </p:txBody>
      </p:sp>
      <p:sp>
        <p:nvSpPr>
          <p:cNvPr id="7" name="TextBox 6">
            <a:extLst>
              <a:ext uri="{FF2B5EF4-FFF2-40B4-BE49-F238E27FC236}">
                <a16:creationId xmlns:a16="http://schemas.microsoft.com/office/drawing/2014/main" id="{A429E01A-367F-4629-AA87-D8BF73890D2E}"/>
              </a:ext>
            </a:extLst>
          </p:cNvPr>
          <p:cNvSpPr txBox="1">
            <a:spLocks/>
          </p:cNvSpPr>
          <p:nvPr userDrawn="1"/>
        </p:nvSpPr>
        <p:spPr>
          <a:xfrm>
            <a:off x="8289616" y="908050"/>
            <a:ext cx="3309810" cy="2786404"/>
          </a:xfrm>
          <a:prstGeom prst="rect">
            <a:avLst/>
          </a:prstGeom>
          <a:noFill/>
        </p:spPr>
        <p:txBody>
          <a:bodyPr wrap="square" lIns="0" tIns="36576" rIns="0" bIns="0" rtlCol="0" anchor="t">
            <a:spAutoFit/>
          </a:bodyPr>
          <a:lstStyle/>
          <a:p>
            <a:pPr lvl="0">
              <a:buClr>
                <a:srgbClr val="FFD200"/>
              </a:buClr>
              <a:buSzPct val="70000"/>
              <a:defRPr/>
            </a:pPr>
            <a:r>
              <a:rPr lang="cs-CZ" sz="800" kern="0" noProof="0" dirty="0">
                <a:solidFill>
                  <a:srgbClr val="FFFFFF"/>
                </a:solidFill>
                <a:latin typeface="+mj-lt"/>
              </a:rPr>
              <a:t>Název EY zahrnuje celosvětovou organizaci a může zahrnovat jednu </a:t>
            </a:r>
            <a:br>
              <a:rPr lang="cs-CZ" sz="800" kern="0" noProof="0" dirty="0">
                <a:solidFill>
                  <a:srgbClr val="FFFFFF"/>
                </a:solidFill>
                <a:latin typeface="+mj-lt"/>
              </a:rPr>
            </a:br>
            <a:r>
              <a:rPr lang="cs-CZ" sz="800" kern="0" noProof="0" dirty="0">
                <a:solidFill>
                  <a:srgbClr val="FFFFFF"/>
                </a:solidFill>
                <a:latin typeface="+mj-lt"/>
              </a:rPr>
              <a:t>či více členských firem Ernst &amp; </a:t>
            </a:r>
            <a:r>
              <a:rPr lang="en-US" sz="800" kern="0" noProof="0" dirty="0">
                <a:solidFill>
                  <a:srgbClr val="FFFFFF"/>
                </a:solidFill>
                <a:latin typeface="+mj-lt"/>
              </a:rPr>
              <a:t>Young Global </a:t>
            </a:r>
            <a:r>
              <a:rPr lang="cs-CZ" sz="800" kern="0" noProof="0" dirty="0">
                <a:solidFill>
                  <a:srgbClr val="FFFFFF"/>
                </a:solidFill>
                <a:latin typeface="+mj-lt"/>
              </a:rPr>
              <a:t>Limited, z nichž každá je samostatnou právnickou osobou. Ernst &amp; </a:t>
            </a:r>
            <a:r>
              <a:rPr lang="en-US" sz="800" kern="0" noProof="0" dirty="0">
                <a:solidFill>
                  <a:srgbClr val="FFFFFF"/>
                </a:solidFill>
                <a:latin typeface="+mj-lt"/>
              </a:rPr>
              <a:t>Young Global </a:t>
            </a:r>
            <a:r>
              <a:rPr lang="cs-CZ" sz="800" kern="0" noProof="0" dirty="0">
                <a:solidFill>
                  <a:srgbClr val="FFFFFF"/>
                </a:solidFill>
                <a:latin typeface="+mj-lt"/>
              </a:rPr>
              <a:t>Limited je britská společnost s ručením omezeným garancí, která neposkytuje služby klientům. Informace o tom, jak EY shromažďuje a používá osobní údaje, a o právech fyzických osob stanovených právními předpisy o ochraně osobních údajů jsou k dispozici na ey.com/</a:t>
            </a:r>
            <a:r>
              <a:rPr lang="en-US" sz="800" kern="0" noProof="0" dirty="0">
                <a:solidFill>
                  <a:srgbClr val="FFFFFF"/>
                </a:solidFill>
                <a:latin typeface="+mj-lt"/>
              </a:rPr>
              <a:t>privacy</a:t>
            </a:r>
            <a:r>
              <a:rPr lang="cs-CZ" sz="800" kern="0" noProof="0" dirty="0">
                <a:solidFill>
                  <a:srgbClr val="FFFFFF"/>
                </a:solidFill>
                <a:latin typeface="+mj-lt"/>
              </a:rPr>
              <a:t>. Členské firmy EY neposkytují právní služby v zemích, kde to zákon neumožňuje. Podrobnější informace o naší organizaci najdete na našich webových stránkách ey.com. </a:t>
            </a:r>
          </a:p>
          <a:p>
            <a:pPr lvl="0">
              <a:buClr>
                <a:srgbClr val="FFD200"/>
              </a:buClr>
              <a:buSzPct val="70000"/>
              <a:defRPr/>
            </a:pPr>
            <a:endParaRPr lang="en-IN" sz="800" kern="0" dirty="0">
              <a:solidFill>
                <a:srgbClr val="FFFFFF"/>
              </a:solidFill>
              <a:latin typeface="+mj-lt"/>
            </a:endParaRPr>
          </a:p>
          <a:p>
            <a:pPr marL="0" marR="0" lvl="0" indent="0" algn="l" defTabSz="914400" rtl="0" eaLnBrk="1" fontAlgn="base" latinLnBrk="0" hangingPunct="1">
              <a:lnSpc>
                <a:spcPct val="100000"/>
              </a:lnSpc>
              <a:spcBef>
                <a:spcPct val="0"/>
              </a:spcBef>
              <a:spcAft>
                <a:spcPts val="1013"/>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202</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4</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Ernst &amp; Young,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 </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Ernst &amp; Young Audit,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 </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a:t>
            </a:r>
            <a:b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E &amp; Y Valuations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 | EY </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Law</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advokátní kancelář, s.r.o.</a:t>
            </a:r>
            <a:b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b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Všechna práva vyhrazena. </a:t>
            </a:r>
          </a:p>
          <a:p>
            <a:pPr marL="0" marR="0" lvl="0" indent="0" algn="l" defTabSz="914400" rtl="0" eaLnBrk="1" fontAlgn="base" latinLnBrk="0" hangingPunct="1">
              <a:lnSpc>
                <a:spcPct val="100000"/>
              </a:lnSpc>
              <a:spcBef>
                <a:spcPct val="0"/>
              </a:spcBef>
              <a:spcAft>
                <a:spcPts val="1013"/>
              </a:spcAft>
              <a:buClrTx/>
              <a:buSzTx/>
              <a:buFontTx/>
              <a:buNone/>
              <a:tabLst/>
              <a:defRPr/>
            </a:pPr>
            <a:r>
              <a:rPr lang="cs-CZ" sz="800" kern="0" noProof="0" dirty="0">
                <a:solidFill>
                  <a:srgbClr val="FFFFFF"/>
                </a:solidFill>
              </a:rPr>
              <a:t>Tento materiál má pouze všeobecný informační charakter, na který není možné spoléhat se jako na poskytnutí účetního, daňového ani jiného odborného poradenství. V případě potřeby se prosím obraťte </a:t>
            </a:r>
            <a:br>
              <a:rPr lang="cs-CZ" sz="800" kern="0" noProof="0" dirty="0">
                <a:solidFill>
                  <a:srgbClr val="FFFFFF"/>
                </a:solidFill>
              </a:rPr>
            </a:br>
            <a:r>
              <a:rPr lang="cs-CZ" sz="800" kern="0" noProof="0" dirty="0">
                <a:solidFill>
                  <a:srgbClr val="FFFFFF"/>
                </a:solidFill>
              </a:rPr>
              <a:t>na svého konkrétního poradce.</a:t>
            </a:r>
          </a:p>
          <a:p>
            <a:pPr>
              <a:buClr>
                <a:srgbClr val="FFD200"/>
              </a:buClr>
              <a:buSzPct val="70000"/>
              <a:defRPr/>
            </a:pPr>
            <a:endParaRPr lang="en-IN" sz="700" kern="0" dirty="0">
              <a:solidFill>
                <a:srgbClr val="FFFFFF"/>
              </a:solidFill>
            </a:endParaRPr>
          </a:p>
          <a:p>
            <a:pPr lvl="0">
              <a:spcAft>
                <a:spcPts val="600"/>
              </a:spcAft>
              <a:buClr>
                <a:srgbClr val="FFD200"/>
              </a:buClr>
              <a:buSzPct val="70000"/>
              <a:defRPr/>
            </a:pPr>
            <a:r>
              <a:rPr lang="en-IN" sz="1100" kern="0" dirty="0">
                <a:solidFill>
                  <a:srgbClr val="FFFFFF"/>
                </a:solidFill>
                <a:latin typeface="EYInterstate" panose="02000503020000020004" pitchFamily="2" charset="0"/>
              </a:rPr>
              <a:t>ey.com</a:t>
            </a:r>
          </a:p>
        </p:txBody>
      </p:sp>
    </p:spTree>
    <p:extLst>
      <p:ext uri="{BB962C8B-B14F-4D97-AF65-F5344CB8AC3E}">
        <p14:creationId xmlns:p14="http://schemas.microsoft.com/office/powerpoint/2010/main" val="34610767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sclaimer ENG">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ltGray">
          <a:xfrm>
            <a:off x="9553" y="0"/>
            <a:ext cx="12192005" cy="6858000"/>
          </a:xfrm>
          <a:prstGeom prst="rect">
            <a:avLst/>
          </a:prstGeom>
        </p:spPr>
      </p:pic>
      <p:sp>
        <p:nvSpPr>
          <p:cNvPr id="6" name="TextBox 5">
            <a:extLst>
              <a:ext uri="{FF2B5EF4-FFF2-40B4-BE49-F238E27FC236}">
                <a16:creationId xmlns:a16="http://schemas.microsoft.com/office/drawing/2014/main" id="{356043E5-4D4E-46F9-8502-1A2C82EA3931}"/>
              </a:ext>
            </a:extLst>
          </p:cNvPr>
          <p:cNvSpPr txBox="1">
            <a:spLocks/>
          </p:cNvSpPr>
          <p:nvPr userDrawn="1"/>
        </p:nvSpPr>
        <p:spPr>
          <a:xfrm>
            <a:off x="601940" y="908050"/>
            <a:ext cx="3205138" cy="2668423"/>
          </a:xfrm>
          <a:prstGeom prst="rect">
            <a:avLst/>
          </a:prstGeom>
          <a:noFill/>
        </p:spPr>
        <p:txBody>
          <a:bodyPr wrap="square" lIns="0" tIns="36576" rIns="0" bIns="0" rtlCol="0" anchor="t">
            <a:spAutoFit/>
          </a:bodyPr>
          <a:lstStyle/>
          <a:p>
            <a:pPr lvl="0">
              <a:spcAft>
                <a:spcPts val="6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rPr>
              <a:t>|  </a:t>
            </a:r>
            <a:r>
              <a:rPr lang="en-IN" sz="1200" kern="0" dirty="0">
                <a:solidFill>
                  <a:srgbClr val="FFE600"/>
                </a:solidFill>
                <a:latin typeface="EYInterstate" panose="02000503020000020004" pitchFamily="2" charset="0"/>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mj-lt"/>
              <a:cs typeface="Arial"/>
            </a:endParaRPr>
          </a:p>
          <a:p>
            <a:pPr lvl="0">
              <a:buClr>
                <a:srgbClr val="FFD200"/>
              </a:buClr>
              <a:buSzPct val="70000"/>
              <a:defRPr/>
            </a:pPr>
            <a:r>
              <a:rPr lang="en-IN" sz="1100" kern="0" dirty="0">
                <a:solidFill>
                  <a:srgbClr val="FFFFFF"/>
                </a:solidFill>
                <a:latin typeface="EYInterstate" panose="02000503020000020004" pitchFamily="2" charset="0"/>
              </a:rPr>
              <a:t>EY exists to build a better working world, helping to create long-term value for clients, people and society and build trust in the capital markets. </a:t>
            </a:r>
          </a:p>
          <a:p>
            <a:pPr lvl="0">
              <a:buClr>
                <a:srgbClr val="FFD200"/>
              </a:buClr>
              <a:buSzPct val="70000"/>
              <a:defRPr/>
            </a:pPr>
            <a:endParaRPr lang="en-IN" sz="1100" kern="0" dirty="0">
              <a:solidFill>
                <a:srgbClr val="FFFFFF"/>
              </a:solidFill>
              <a:latin typeface="EYInterstate" panose="02000503020000020004" pitchFamily="2" charset="0"/>
            </a:endParaRPr>
          </a:p>
          <a:p>
            <a:pPr lvl="0">
              <a:buClr>
                <a:srgbClr val="FFD200"/>
              </a:buClr>
              <a:buSzPct val="70000"/>
              <a:defRPr/>
            </a:pPr>
            <a:r>
              <a:rPr lang="en-IN" sz="1100" kern="0" dirty="0">
                <a:solidFill>
                  <a:srgbClr val="FFFFFF"/>
                </a:solidFill>
                <a:latin typeface="EYInterstate" panose="02000503020000020004" pitchFamily="2" charset="0"/>
              </a:rPr>
              <a:t>Enabled by data and technology, diverse EY teams in over 150 countries provide trust through assurance and help clients grow, transform and operate. </a:t>
            </a:r>
          </a:p>
          <a:p>
            <a:pPr lvl="0">
              <a:buClr>
                <a:srgbClr val="FFD200"/>
              </a:buClr>
              <a:buSzPct val="70000"/>
              <a:defRPr/>
            </a:pPr>
            <a:endParaRPr lang="en-IN" sz="1100" kern="0" dirty="0">
              <a:solidFill>
                <a:srgbClr val="FFFFFF"/>
              </a:solidFill>
              <a:latin typeface="EYInterstate" panose="02000503020000020004" pitchFamily="2" charset="0"/>
            </a:endParaRPr>
          </a:p>
          <a:p>
            <a:pPr lvl="0">
              <a:buClr>
                <a:srgbClr val="FFD200"/>
              </a:buClr>
              <a:buSzPct val="70000"/>
              <a:defRPr/>
            </a:pPr>
            <a:r>
              <a:rPr lang="en-IN" sz="1100" kern="0" dirty="0">
                <a:solidFill>
                  <a:srgbClr val="FFFFFF"/>
                </a:solidFill>
                <a:latin typeface="EYInterstate" panose="02000503020000020004" pitchFamily="2" charset="0"/>
              </a:rPr>
              <a:t>Working across assurance, consulting, law, strategy, tax and transactions, EY teams ask better questions to find new answers for the complex issues facing our world today.</a:t>
            </a:r>
          </a:p>
        </p:txBody>
      </p:sp>
      <p:sp>
        <p:nvSpPr>
          <p:cNvPr id="7" name="TextBox 6">
            <a:extLst>
              <a:ext uri="{FF2B5EF4-FFF2-40B4-BE49-F238E27FC236}">
                <a16:creationId xmlns:a16="http://schemas.microsoft.com/office/drawing/2014/main" id="{DDB745ED-4969-4BC5-80B2-D36AC5106122}"/>
              </a:ext>
            </a:extLst>
          </p:cNvPr>
          <p:cNvSpPr txBox="1">
            <a:spLocks/>
          </p:cNvSpPr>
          <p:nvPr userDrawn="1"/>
        </p:nvSpPr>
        <p:spPr>
          <a:xfrm>
            <a:off x="8297990" y="908050"/>
            <a:ext cx="3309810" cy="2411942"/>
          </a:xfrm>
          <a:prstGeom prst="rect">
            <a:avLst/>
          </a:prstGeom>
          <a:noFill/>
        </p:spPr>
        <p:txBody>
          <a:bodyPr wrap="square" lIns="0" tIns="36576" rIns="0" bIns="0" rtlCol="0" anchor="t">
            <a:spAutoFit/>
          </a:bodyPr>
          <a:lstStyle/>
          <a:p>
            <a:pPr lvl="0">
              <a:buClr>
                <a:srgbClr val="FFD200"/>
              </a:buClr>
              <a:buSzPct val="70000"/>
              <a:defRPr/>
            </a:pPr>
            <a:r>
              <a:rPr lang="en-IN" sz="800" kern="0" dirty="0">
                <a:solidFill>
                  <a:srgbClr val="FFFFFF"/>
                </a:solidFill>
                <a:latin typeface="+mj-lt"/>
              </a:rPr>
              <a:t>EY refers to the global organization, and may refer to one or more, </a:t>
            </a:r>
            <a:br>
              <a:rPr lang="cs-CZ" sz="800" kern="0" dirty="0">
                <a:solidFill>
                  <a:srgbClr val="FFFFFF"/>
                </a:solidFill>
                <a:latin typeface="+mj-lt"/>
              </a:rPr>
            </a:br>
            <a:r>
              <a:rPr lang="en-IN" sz="800" kern="0" dirty="0">
                <a:solidFill>
                  <a:srgbClr val="FFFFFF"/>
                </a:solidFill>
                <a:latin typeface="+mj-lt"/>
              </a:rPr>
              <a:t>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buClr>
                <a:srgbClr val="FFD200"/>
              </a:buClr>
              <a:buSzPct val="70000"/>
              <a:defRPr/>
            </a:pPr>
            <a:endParaRPr lang="en-IN" sz="800" kern="0" dirty="0">
              <a:solidFill>
                <a:srgbClr val="FFFFFF"/>
              </a:solidFill>
              <a:latin typeface="+mj-lt"/>
            </a:endParaRPr>
          </a:p>
          <a:p>
            <a:pPr marL="0" marR="0" lvl="0" indent="0" algn="l" defTabSz="914400" rtl="0" eaLnBrk="1" fontAlgn="base" latinLnBrk="0" hangingPunct="1">
              <a:lnSpc>
                <a:spcPct val="100000"/>
              </a:lnSpc>
              <a:spcBef>
                <a:spcPct val="0"/>
              </a:spcBef>
              <a:spcAft>
                <a:spcPts val="1013"/>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202</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4</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Ernst &amp; Young,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 </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Ernst &amp; Young Audit,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 </a:t>
            </a:r>
            <a:b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E &amp; Y Valuations </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s.r.o. | EY </a:t>
            </a: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Law</a:t>
            </a:r>
            <a:r>
              <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 advokátní kancelář, s.r.o.</a:t>
            </a:r>
            <a:b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rPr>
              <a:t>All Rights Reserved.</a:t>
            </a:r>
            <a:endParaRPr kumimoji="0" lang="cs-CZ" sz="800" b="0" i="0" u="none" strike="noStrike" kern="1200" cap="none" spc="0" normalizeH="0" baseline="0" noProof="0" dirty="0">
              <a:ln>
                <a:noFill/>
              </a:ln>
              <a:solidFill>
                <a:prstClr val="white"/>
              </a:solidFill>
              <a:effectLst/>
              <a:uLnTx/>
              <a:uFillTx/>
              <a:latin typeface="+mj-lt"/>
              <a:ea typeface="+mn-ea"/>
              <a:cs typeface="Arial" panose="020B0604020202020204" pitchFamily="34" charset="0"/>
            </a:endParaRPr>
          </a:p>
          <a:p>
            <a:pPr>
              <a:buClr>
                <a:srgbClr val="FFD200"/>
              </a:buClr>
              <a:buSzPct val="70000"/>
              <a:defRPr/>
            </a:pPr>
            <a:r>
              <a:rPr lang="en-US" sz="800" kern="0" dirty="0">
                <a:solidFill>
                  <a:srgbClr val="FFFFFF"/>
                </a:solidFill>
              </a:rPr>
              <a:t>This material has been prepared for general informational purposes only and is not intended to be relied upon as accounting, tax or other professional advice. Please refer to your advisors for specific advice.</a:t>
            </a:r>
            <a:endParaRPr lang="cs-CZ" sz="800" kern="0" dirty="0">
              <a:solidFill>
                <a:srgbClr val="FFFFFF"/>
              </a:solidFill>
            </a:endParaRPr>
          </a:p>
          <a:p>
            <a:pPr>
              <a:buClr>
                <a:srgbClr val="FFD200"/>
              </a:buClr>
              <a:buSzPct val="70000"/>
              <a:defRPr/>
            </a:pPr>
            <a:endParaRPr lang="en-IN" sz="700" kern="0" dirty="0">
              <a:solidFill>
                <a:srgbClr val="FFFFFF"/>
              </a:solidFill>
            </a:endParaRPr>
          </a:p>
          <a:p>
            <a:pPr lvl="0">
              <a:spcAft>
                <a:spcPts val="600"/>
              </a:spcAft>
              <a:buClr>
                <a:srgbClr val="FFD200"/>
              </a:buClr>
              <a:buSzPct val="70000"/>
              <a:defRPr/>
            </a:pPr>
            <a:r>
              <a:rPr lang="en-IN" sz="1100" kern="0" dirty="0">
                <a:solidFill>
                  <a:srgbClr val="FFFFFF"/>
                </a:solidFill>
                <a:latin typeface="EYInterstate" panose="02000503020000020004" pitchFamily="2" charset="0"/>
              </a:rPr>
              <a:t>ey.com</a:t>
            </a:r>
          </a:p>
        </p:txBody>
      </p:sp>
    </p:spTree>
    <p:extLst>
      <p:ext uri="{BB962C8B-B14F-4D97-AF65-F5344CB8AC3E}">
        <p14:creationId xmlns:p14="http://schemas.microsoft.com/office/powerpoint/2010/main" val="35883753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r>
              <a:rPr lang="en-US"/>
              <a:t>Presentation title</a:t>
            </a:r>
            <a:endParaRPr lang="en-US" dirty="0"/>
          </a:p>
        </p:txBody>
      </p:sp>
    </p:spTree>
    <p:extLst>
      <p:ext uri="{BB962C8B-B14F-4D97-AF65-F5344CB8AC3E}">
        <p14:creationId xmlns:p14="http://schemas.microsoft.com/office/powerpoint/2010/main" val="15244381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05010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EYP Cov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userDrawn="1">
            <p:custDataLst>
              <p:tags r:id="rId1"/>
            </p:custDataLst>
            <p:extLst>
              <p:ext uri="{D42A27DB-BD31-4B8C-83A1-F6EECF244321}">
                <p14:modId xmlns:p14="http://schemas.microsoft.com/office/powerpoint/2010/main" val="3074049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descr="Website&#10;&#10;Description automatically generated with medium confidence">
            <a:extLst>
              <a:ext uri="{FF2B5EF4-FFF2-40B4-BE49-F238E27FC236}">
                <a16:creationId xmlns:a16="http://schemas.microsoft.com/office/drawing/2014/main" id="{B21545A3-FB37-9AC7-05A0-2BE5BEE45A2F}"/>
              </a:ext>
            </a:extLst>
          </p:cNvPr>
          <p:cNvPicPr>
            <a:picLocks noChangeAspect="1"/>
          </p:cNvPicPr>
          <p:nvPr userDrawn="1"/>
        </p:nvPicPr>
        <p:blipFill rotWithShape="1">
          <a:blip r:embed="rId6"/>
          <a:srcRect t="28677"/>
          <a:stretch/>
        </p:blipFill>
        <p:spPr>
          <a:xfrm>
            <a:off x="0" y="0"/>
            <a:ext cx="12198350" cy="6858000"/>
          </a:xfrm>
          <a:prstGeom prst="rect">
            <a:avLst/>
          </a:prstGeom>
        </p:spPr>
      </p:pic>
      <p:sp>
        <p:nvSpPr>
          <p:cNvPr id="5" name="Rectangle 4">
            <a:extLst>
              <a:ext uri="{FF2B5EF4-FFF2-40B4-BE49-F238E27FC236}">
                <a16:creationId xmlns:a16="http://schemas.microsoft.com/office/drawing/2014/main" id="{01D9AE3C-2886-2E6E-0806-AC52C6E57805}"/>
              </a:ext>
            </a:extLst>
          </p:cNvPr>
          <p:cNvSpPr/>
          <p:nvPr userDrawn="1"/>
        </p:nvSpPr>
        <p:spPr>
          <a:xfrm>
            <a:off x="1" y="0"/>
            <a:ext cx="8337635" cy="6858000"/>
          </a:xfrm>
          <a:prstGeom prst="rect">
            <a:avLst/>
          </a:prstGeom>
          <a:gradFill flip="none" rotWithShape="1">
            <a:gsLst>
              <a:gs pos="63000">
                <a:srgbClr val="2E2E38">
                  <a:alpha val="72000"/>
                </a:srgbClr>
              </a:gs>
              <a:gs pos="0">
                <a:schemeClr val="bg1"/>
              </a:gs>
              <a:gs pos="100000">
                <a:schemeClr val="bg1">
                  <a:alpha val="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200" err="1">
              <a:solidFill>
                <a:schemeClr val="bg1"/>
              </a:solidFill>
            </a:endParaRPr>
          </a:p>
        </p:txBody>
      </p:sp>
      <p:sp>
        <p:nvSpPr>
          <p:cNvPr id="18" name="Title 1"/>
          <p:cNvSpPr>
            <a:spLocks noGrp="1"/>
          </p:cNvSpPr>
          <p:nvPr userDrawn="1">
            <p:ph type="ctrTitle"/>
          </p:nvPr>
        </p:nvSpPr>
        <p:spPr>
          <a:xfrm>
            <a:off x="1058590" y="435988"/>
            <a:ext cx="3794760" cy="868680"/>
          </a:xfrm>
          <a:prstGeom prst="rect">
            <a:avLst/>
          </a:prstGeom>
        </p:spPr>
        <p:txBody>
          <a:bodyPr vert="horz"/>
          <a:lstStyle>
            <a:lvl1pPr>
              <a:defRPr sz="2999" b="0">
                <a:solidFill>
                  <a:srgbClr val="2E2E38"/>
                </a:solidFill>
                <a:latin typeface="Arial" panose="020B0604020202020204" pitchFamily="34" charset="0"/>
                <a:cs typeface="Arial" pitchFamily="34" charset="0"/>
                <a:sym typeface="Arial" panose="020B0604020202020204"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1069849" y="1780465"/>
            <a:ext cx="3794760" cy="307648"/>
          </a:xfrm>
          <a:prstGeom prst="rect">
            <a:avLst/>
          </a:prstGeom>
        </p:spPr>
        <p:txBody>
          <a:bodyPr/>
          <a:lstStyle>
            <a:lvl1pPr marL="0" indent="0" algn="l">
              <a:buNone/>
              <a:defRPr sz="1999">
                <a:solidFill>
                  <a:srgbClr val="2E2E38"/>
                </a:solidFill>
                <a:latin typeface="Arial" panose="020B0604020202020204" pitchFamily="34" charset="0"/>
                <a:cs typeface="Arial" pitchFamily="34" charset="0"/>
                <a:sym typeface="Arial" panose="020B0604020202020204"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42" name="Rectangle 341">
            <a:extLst>
              <a:ext uri="{FF2B5EF4-FFF2-40B4-BE49-F238E27FC236}">
                <a16:creationId xmlns:a16="http://schemas.microsoft.com/office/drawing/2014/main" id="{BFBC66B5-2475-4F1B-8CD3-426699968443}"/>
              </a:ext>
            </a:extLst>
          </p:cNvPr>
          <p:cNvSpPr/>
          <p:nvPr userDrawn="1"/>
        </p:nvSpPr>
        <p:spPr>
          <a:xfrm>
            <a:off x="5317308"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2"/>
            </p:custDataLst>
          </p:nvPr>
        </p:nvSpPr>
        <p:spPr>
          <a:xfrm>
            <a:off x="612764"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52" name="Text Placeholder 16">
            <a:extLst>
              <a:ext uri="{FF2B5EF4-FFF2-40B4-BE49-F238E27FC236}">
                <a16:creationId xmlns:a16="http://schemas.microsoft.com/office/drawing/2014/main" id="{C0C18077-3829-4A1D-B973-869FA6D6A01A}"/>
              </a:ext>
            </a:extLst>
          </p:cNvPr>
          <p:cNvSpPr>
            <a:spLocks noGrp="1"/>
          </p:cNvSpPr>
          <p:nvPr userDrawn="1">
            <p:ph type="body" sz="quarter" idx="16" hasCustomPrompt="1"/>
          </p:nvPr>
        </p:nvSpPr>
        <p:spPr>
          <a:xfrm>
            <a:off x="1550205" y="5862356"/>
            <a:ext cx="3089275" cy="184538"/>
          </a:xfrm>
          <a:prstGeom prst="rect">
            <a:avLst/>
          </a:prstGeom>
        </p:spPr>
        <p:txBody>
          <a:bodyPr/>
          <a:lstStyle>
            <a:lvl1pPr marL="0" indent="0">
              <a:buNone/>
              <a:defRPr sz="1199">
                <a:solidFill>
                  <a:srgbClr val="1A9AFA"/>
                </a:solidFill>
              </a:defRPr>
            </a:lvl1pPr>
          </a:lstStyle>
          <a:p>
            <a:pPr lvl="0"/>
            <a:r>
              <a:rPr lang="en-US"/>
              <a:t>Client name</a:t>
            </a:r>
            <a:endParaRPr lang="en-GB"/>
          </a:p>
        </p:txBody>
      </p:sp>
      <p:sp>
        <p:nvSpPr>
          <p:cNvPr id="353" name="Text Placeholder 16">
            <a:extLst>
              <a:ext uri="{FF2B5EF4-FFF2-40B4-BE49-F238E27FC236}">
                <a16:creationId xmlns:a16="http://schemas.microsoft.com/office/drawing/2014/main" id="{0E56CFA0-D3C6-452E-8DFA-FE75B6A8F668}"/>
              </a:ext>
            </a:extLst>
          </p:cNvPr>
          <p:cNvSpPr>
            <a:spLocks noGrp="1"/>
          </p:cNvSpPr>
          <p:nvPr userDrawn="1">
            <p:ph type="body" sz="quarter" idx="17" hasCustomPrompt="1"/>
          </p:nvPr>
        </p:nvSpPr>
        <p:spPr>
          <a:xfrm>
            <a:off x="1550205" y="6104999"/>
            <a:ext cx="3089275" cy="184538"/>
          </a:xfrm>
          <a:prstGeom prst="rect">
            <a:avLst/>
          </a:prstGeom>
        </p:spPr>
        <p:txBody>
          <a:bodyPr/>
          <a:lstStyle>
            <a:lvl1pPr marL="0" indent="0">
              <a:buNone/>
              <a:defRPr sz="1199">
                <a:solidFill>
                  <a:srgbClr val="2E2E38"/>
                </a:solidFill>
              </a:defRPr>
            </a:lvl1pPr>
          </a:lstStyle>
          <a:p>
            <a:pPr lvl="0"/>
            <a:r>
              <a:rPr lang="en-US"/>
              <a:t>Additional text if needed</a:t>
            </a:r>
            <a:endParaRPr lang="en-GB"/>
          </a:p>
        </p:txBody>
      </p:sp>
      <p:cxnSp>
        <p:nvCxnSpPr>
          <p:cNvPr id="354" name="Straight Connector 353">
            <a:extLst>
              <a:ext uri="{FF2B5EF4-FFF2-40B4-BE49-F238E27FC236}">
                <a16:creationId xmlns:a16="http://schemas.microsoft.com/office/drawing/2014/main" id="{CF2BAD60-3442-4E35-A513-743463E51DDA}"/>
              </a:ext>
            </a:extLst>
          </p:cNvPr>
          <p:cNvCxnSpPr>
            <a:cxnSpLocks/>
          </p:cNvCxnSpPr>
          <p:nvPr userDrawn="1"/>
        </p:nvCxnSpPr>
        <p:spPr>
          <a:xfrm>
            <a:off x="1552931" y="5743608"/>
            <a:ext cx="7477948" cy="0"/>
          </a:xfrm>
          <a:prstGeom prst="line">
            <a:avLst/>
          </a:prstGeom>
          <a:ln w="9525" cap="flat" cmpd="sng" algn="ctr">
            <a:solidFill>
              <a:srgbClr val="82829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5" name="TextBox 354">
            <a:extLst>
              <a:ext uri="{FF2B5EF4-FFF2-40B4-BE49-F238E27FC236}">
                <a16:creationId xmlns:a16="http://schemas.microsoft.com/office/drawing/2014/main" id="{8A893E32-F4C1-4B32-AA48-800A2306B6CA}"/>
              </a:ext>
            </a:extLst>
          </p:cNvPr>
          <p:cNvSpPr txBox="1"/>
          <p:nvPr userDrawn="1"/>
        </p:nvSpPr>
        <p:spPr>
          <a:xfrm>
            <a:off x="611281" y="5630225"/>
            <a:ext cx="1045073" cy="197581"/>
          </a:xfrm>
          <a:prstGeom prst="rect">
            <a:avLst/>
          </a:prstGeom>
          <a:noFill/>
        </p:spPr>
        <p:txBody>
          <a:bodyPr wrap="square" lIns="0" tIns="0" rIns="0" bIns="0" rtlCol="0" anchor="ctr" anchorCtr="0">
            <a:noAutofit/>
          </a:bodyPr>
          <a:lstStyle/>
          <a:p>
            <a:r>
              <a:rPr lang="en-GB" sz="1199">
                <a:solidFill>
                  <a:srgbClr val="828290"/>
                </a:solidFill>
                <a:latin typeface="Arial" panose="020B0604020202020204" pitchFamily="34" charset="0"/>
                <a:sym typeface="Arial" panose="020B0604020202020204" pitchFamily="34" charset="0"/>
              </a:rPr>
              <a:t>Prepared for</a:t>
            </a:r>
          </a:p>
        </p:txBody>
      </p:sp>
      <p:sp>
        <p:nvSpPr>
          <p:cNvPr id="3" name="Text Placeholder 2">
            <a:extLst>
              <a:ext uri="{FF2B5EF4-FFF2-40B4-BE49-F238E27FC236}">
                <a16:creationId xmlns:a16="http://schemas.microsoft.com/office/drawing/2014/main" id="{C40DD0AB-B389-4838-A777-D9AD125B3126}"/>
              </a:ext>
            </a:extLst>
          </p:cNvPr>
          <p:cNvSpPr>
            <a:spLocks noGrp="1"/>
          </p:cNvSpPr>
          <p:nvPr userDrawn="1">
            <p:ph type="body" sz="quarter" idx="18" hasCustomPrompt="1"/>
          </p:nvPr>
        </p:nvSpPr>
        <p:spPr>
          <a:xfrm>
            <a:off x="1069976" y="3750852"/>
            <a:ext cx="3810000" cy="169277"/>
          </a:xfrm>
        </p:spPr>
        <p:txBody>
          <a:bodyPr anchor="b"/>
          <a:lstStyle>
            <a:lvl1pPr marL="0" indent="0" algn="l">
              <a:buFontTx/>
              <a:buNone/>
              <a:defRPr>
                <a:solidFill>
                  <a:srgbClr val="2E2E38"/>
                </a:solidFill>
              </a:defRPr>
            </a:lvl1pPr>
            <a:lvl2pPr marL="171364" indent="0" algn="l">
              <a:buFontTx/>
              <a:buNone/>
              <a:defRPr/>
            </a:lvl2pPr>
            <a:lvl3pPr marL="342729" indent="0" algn="l">
              <a:buFontTx/>
              <a:buNone/>
              <a:defRPr/>
            </a:lvl3pPr>
            <a:lvl4pPr marL="514093" indent="0" algn="l">
              <a:buFontTx/>
              <a:buNone/>
              <a:defRPr/>
            </a:lvl4pPr>
            <a:lvl5pPr marL="685457" indent="0" algn="l">
              <a:buFontTx/>
              <a:buNone/>
              <a:defRPr/>
            </a:lvl5pPr>
          </a:lstStyle>
          <a:p>
            <a:pPr lvl="0"/>
            <a:r>
              <a:rPr lang="en-US"/>
              <a:t>Date</a:t>
            </a:r>
          </a:p>
        </p:txBody>
      </p:sp>
      <p:grpSp>
        <p:nvGrpSpPr>
          <p:cNvPr id="26" name="Group 25">
            <a:extLst>
              <a:ext uri="{FF2B5EF4-FFF2-40B4-BE49-F238E27FC236}">
                <a16:creationId xmlns:a16="http://schemas.microsoft.com/office/drawing/2014/main" id="{8FBA5B27-13AD-4B4F-95D7-65F6886D3F96}"/>
              </a:ext>
            </a:extLst>
          </p:cNvPr>
          <p:cNvGrpSpPr>
            <a:grpSpLocks noChangeAspect="1"/>
          </p:cNvGrpSpPr>
          <p:nvPr userDrawn="1"/>
        </p:nvGrpSpPr>
        <p:grpSpPr>
          <a:xfrm>
            <a:off x="9262994" y="5366079"/>
            <a:ext cx="2342254" cy="755058"/>
            <a:chOff x="9258171" y="4332267"/>
            <a:chExt cx="2341035" cy="755058"/>
          </a:xfrm>
        </p:grpSpPr>
        <p:sp>
          <p:nvSpPr>
            <p:cNvPr id="27" name="Freeform 107">
              <a:extLst>
                <a:ext uri="{FF2B5EF4-FFF2-40B4-BE49-F238E27FC236}">
                  <a16:creationId xmlns:a16="http://schemas.microsoft.com/office/drawing/2014/main" id="{1BDEBB6C-35D5-4DCC-904F-796783AF5801}"/>
                </a:ext>
              </a:extLst>
            </p:cNvPr>
            <p:cNvSpPr>
              <a:spLocks noEditPoints="1"/>
            </p:cNvSpPr>
            <p:nvPr userDrawn="1"/>
          </p:nvSpPr>
          <p:spPr bwMode="auto">
            <a:xfrm>
              <a:off x="9991892" y="4824181"/>
              <a:ext cx="190838" cy="259589"/>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8" name="Freeform 108">
              <a:extLst>
                <a:ext uri="{FF2B5EF4-FFF2-40B4-BE49-F238E27FC236}">
                  <a16:creationId xmlns:a16="http://schemas.microsoft.com/office/drawing/2014/main" id="{BCD91366-0ACE-4D7B-BB11-9311EE05F5F6}"/>
                </a:ext>
              </a:extLst>
            </p:cNvPr>
            <p:cNvSpPr>
              <a:spLocks noEditPoints="1"/>
            </p:cNvSpPr>
            <p:nvPr userDrawn="1"/>
          </p:nvSpPr>
          <p:spPr bwMode="auto">
            <a:xfrm>
              <a:off x="10195771" y="4884632"/>
              <a:ext cx="157649" cy="20269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9" name="Freeform 109">
              <a:extLst>
                <a:ext uri="{FF2B5EF4-FFF2-40B4-BE49-F238E27FC236}">
                  <a16:creationId xmlns:a16="http://schemas.microsoft.com/office/drawing/2014/main" id="{5B856923-F641-4D75-9CAD-3802B0FB1F17}"/>
                </a:ext>
              </a:extLst>
            </p:cNvPr>
            <p:cNvSpPr>
              <a:spLocks/>
            </p:cNvSpPr>
            <p:nvPr userDrawn="1"/>
          </p:nvSpPr>
          <p:spPr bwMode="auto">
            <a:xfrm>
              <a:off x="10391350" y="4884632"/>
              <a:ext cx="114977" cy="199136"/>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0" name="Freeform 110">
              <a:extLst>
                <a:ext uri="{FF2B5EF4-FFF2-40B4-BE49-F238E27FC236}">
                  <a16:creationId xmlns:a16="http://schemas.microsoft.com/office/drawing/2014/main" id="{40DAF9A5-54C2-4E1B-B8EF-D07B9E8A41FA}"/>
                </a:ext>
              </a:extLst>
            </p:cNvPr>
            <p:cNvSpPr>
              <a:spLocks/>
            </p:cNvSpPr>
            <p:nvPr userDrawn="1"/>
          </p:nvSpPr>
          <p:spPr bwMode="auto">
            <a:xfrm>
              <a:off x="10528849" y="4813512"/>
              <a:ext cx="112606" cy="273813"/>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1" name="Freeform 111">
              <a:extLst>
                <a:ext uri="{FF2B5EF4-FFF2-40B4-BE49-F238E27FC236}">
                  <a16:creationId xmlns:a16="http://schemas.microsoft.com/office/drawing/2014/main" id="{4EAC484B-8D53-4F3D-B63E-275952A93EA3}"/>
                </a:ext>
              </a:extLst>
            </p:cNvPr>
            <p:cNvSpPr>
              <a:spLocks/>
            </p:cNvSpPr>
            <p:nvPr userDrawn="1"/>
          </p:nvSpPr>
          <p:spPr bwMode="auto">
            <a:xfrm>
              <a:off x="10678201" y="4813512"/>
              <a:ext cx="156464" cy="270256"/>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 name="Freeform 112">
              <a:extLst>
                <a:ext uri="{FF2B5EF4-FFF2-40B4-BE49-F238E27FC236}">
                  <a16:creationId xmlns:a16="http://schemas.microsoft.com/office/drawing/2014/main" id="{EE9B6653-B2BA-4F04-85A8-ACBD80054A7D}"/>
                </a:ext>
              </a:extLst>
            </p:cNvPr>
            <p:cNvSpPr>
              <a:spLocks noEditPoints="1"/>
            </p:cNvSpPr>
            <p:nvPr userDrawn="1"/>
          </p:nvSpPr>
          <p:spPr bwMode="auto">
            <a:xfrm>
              <a:off x="10861929" y="4884632"/>
              <a:ext cx="167132" cy="20269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3" name="Freeform 113">
              <a:extLst>
                <a:ext uri="{FF2B5EF4-FFF2-40B4-BE49-F238E27FC236}">
                  <a16:creationId xmlns:a16="http://schemas.microsoft.com/office/drawing/2014/main" id="{62285B7B-621E-4890-98FB-CE3A75F753AE}"/>
                </a:ext>
              </a:extLst>
            </p:cNvPr>
            <p:cNvSpPr>
              <a:spLocks/>
            </p:cNvSpPr>
            <p:nvPr userDrawn="1"/>
          </p:nvSpPr>
          <p:spPr bwMode="auto">
            <a:xfrm>
              <a:off x="11057507" y="4884632"/>
              <a:ext cx="155278" cy="199136"/>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4" name="Freeform 114">
              <a:extLst>
                <a:ext uri="{FF2B5EF4-FFF2-40B4-BE49-F238E27FC236}">
                  <a16:creationId xmlns:a16="http://schemas.microsoft.com/office/drawing/2014/main" id="{ED2D9B08-BB63-4F97-AB32-30678987236B}"/>
                </a:ext>
              </a:extLst>
            </p:cNvPr>
            <p:cNvSpPr>
              <a:spLocks noEditPoints="1"/>
            </p:cNvSpPr>
            <p:nvPr userDrawn="1"/>
          </p:nvSpPr>
          <p:spPr bwMode="auto">
            <a:xfrm>
              <a:off x="11241235" y="4884632"/>
              <a:ext cx="173060" cy="20269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5" name="Freeform 115">
              <a:extLst>
                <a:ext uri="{FF2B5EF4-FFF2-40B4-BE49-F238E27FC236}">
                  <a16:creationId xmlns:a16="http://schemas.microsoft.com/office/drawing/2014/main" id="{7507FDA4-AD3A-46A4-A0BE-347939901AE8}"/>
                </a:ext>
              </a:extLst>
            </p:cNvPr>
            <p:cNvSpPr>
              <a:spLocks/>
            </p:cNvSpPr>
            <p:nvPr userDrawn="1"/>
          </p:nvSpPr>
          <p:spPr bwMode="auto">
            <a:xfrm>
              <a:off x="11442742" y="4884632"/>
              <a:ext cx="156464" cy="199136"/>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6" name="Freeform 117">
              <a:extLst>
                <a:ext uri="{FF2B5EF4-FFF2-40B4-BE49-F238E27FC236}">
                  <a16:creationId xmlns:a16="http://schemas.microsoft.com/office/drawing/2014/main" id="{02273CF4-735A-46D2-A6F8-4D05FD16C6B0}"/>
                </a:ext>
              </a:extLst>
            </p:cNvPr>
            <p:cNvSpPr>
              <a:spLocks/>
            </p:cNvSpPr>
            <p:nvPr userDrawn="1"/>
          </p:nvSpPr>
          <p:spPr bwMode="auto">
            <a:xfrm>
              <a:off x="9258171" y="4332267"/>
              <a:ext cx="733721" cy="267886"/>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Lst>
              <a:ahLst/>
              <a:cxnLst>
                <a:cxn ang="0">
                  <a:pos x="T0" y="T1"/>
                </a:cxn>
                <a:cxn ang="0">
                  <a:pos x="T2" y="T3"/>
                </a:cxn>
                <a:cxn ang="0">
                  <a:pos x="T4" y="T5"/>
                </a:cxn>
                <a:cxn ang="0">
                  <a:pos x="T6" y="T7"/>
                </a:cxn>
                <a:cxn ang="0">
                  <a:pos x="T8" y="T9"/>
                </a:cxn>
              </a:cxnLst>
              <a:rect l="0" t="0" r="r" b="b"/>
              <a:pathLst>
                <a:path w="619" h="226">
                  <a:moveTo>
                    <a:pt x="619" y="0"/>
                  </a:moveTo>
                  <a:lnTo>
                    <a:pt x="0" y="226"/>
                  </a:lnTo>
                  <a:lnTo>
                    <a:pt x="619" y="117"/>
                  </a:lnTo>
                  <a:lnTo>
                    <a:pt x="619" y="0"/>
                  </a:lnTo>
                  <a:lnTo>
                    <a:pt x="61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7" name="Freeform 118">
              <a:extLst>
                <a:ext uri="{FF2B5EF4-FFF2-40B4-BE49-F238E27FC236}">
                  <a16:creationId xmlns:a16="http://schemas.microsoft.com/office/drawing/2014/main" id="{AEF436CD-F8A5-405C-A4DE-1B20E82BA9F2}"/>
                </a:ext>
              </a:extLst>
            </p:cNvPr>
            <p:cNvSpPr>
              <a:spLocks noEditPoints="1"/>
            </p:cNvSpPr>
            <p:nvPr userDrawn="1"/>
          </p:nvSpPr>
          <p:spPr bwMode="auto">
            <a:xfrm>
              <a:off x="9264100" y="4711579"/>
              <a:ext cx="616374" cy="372194"/>
            </a:xfrm>
            <a:custGeom>
              <a:avLst/>
              <a:gdLst>
                <a:gd name="T0" fmla="*/ 418 w 520"/>
                <a:gd name="T1" fmla="*/ 0 h 314"/>
                <a:gd name="T2" fmla="*/ 364 w 520"/>
                <a:gd name="T3" fmla="*/ 102 h 314"/>
                <a:gd name="T4" fmla="*/ 311 w 520"/>
                <a:gd name="T5" fmla="*/ 0 h 314"/>
                <a:gd name="T6" fmla="*/ 207 w 520"/>
                <a:gd name="T7" fmla="*/ 0 h 314"/>
                <a:gd name="T8" fmla="*/ 318 w 520"/>
                <a:gd name="T9" fmla="*/ 189 h 314"/>
                <a:gd name="T10" fmla="*/ 318 w 520"/>
                <a:gd name="T11" fmla="*/ 314 h 314"/>
                <a:gd name="T12" fmla="*/ 410 w 520"/>
                <a:gd name="T13" fmla="*/ 314 h 314"/>
                <a:gd name="T14" fmla="*/ 410 w 520"/>
                <a:gd name="T15" fmla="*/ 189 h 314"/>
                <a:gd name="T16" fmla="*/ 520 w 520"/>
                <a:gd name="T17" fmla="*/ 0 h 314"/>
                <a:gd name="T18" fmla="*/ 418 w 520"/>
                <a:gd name="T19" fmla="*/ 0 h 314"/>
                <a:gd name="T20" fmla="*/ 0 w 520"/>
                <a:gd name="T21" fmla="*/ 0 h 314"/>
                <a:gd name="T22" fmla="*/ 0 w 520"/>
                <a:gd name="T23" fmla="*/ 314 h 314"/>
                <a:gd name="T24" fmla="*/ 251 w 520"/>
                <a:gd name="T25" fmla="*/ 314 h 314"/>
                <a:gd name="T26" fmla="*/ 251 w 520"/>
                <a:gd name="T27" fmla="*/ 242 h 314"/>
                <a:gd name="T28" fmla="*/ 94 w 520"/>
                <a:gd name="T29" fmla="*/ 242 h 314"/>
                <a:gd name="T30" fmla="*/ 94 w 520"/>
                <a:gd name="T31" fmla="*/ 189 h 314"/>
                <a:gd name="T32" fmla="*/ 207 w 520"/>
                <a:gd name="T33" fmla="*/ 189 h 314"/>
                <a:gd name="T34" fmla="*/ 207 w 520"/>
                <a:gd name="T35" fmla="*/ 124 h 314"/>
                <a:gd name="T36" fmla="*/ 94 w 520"/>
                <a:gd name="T37" fmla="*/ 124 h 314"/>
                <a:gd name="T38" fmla="*/ 94 w 520"/>
                <a:gd name="T39" fmla="*/ 72 h 314"/>
                <a:gd name="T40" fmla="*/ 219 w 520"/>
                <a:gd name="T41" fmla="*/ 72 h 314"/>
                <a:gd name="T42" fmla="*/ 178 w 520"/>
                <a:gd name="T43" fmla="*/ 0 h 314"/>
                <a:gd name="T44" fmla="*/ 0 w 520"/>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0" h="314">
                  <a:moveTo>
                    <a:pt x="418" y="0"/>
                  </a:moveTo>
                  <a:lnTo>
                    <a:pt x="364" y="102"/>
                  </a:lnTo>
                  <a:lnTo>
                    <a:pt x="311" y="0"/>
                  </a:lnTo>
                  <a:lnTo>
                    <a:pt x="207" y="0"/>
                  </a:lnTo>
                  <a:lnTo>
                    <a:pt x="318" y="189"/>
                  </a:lnTo>
                  <a:lnTo>
                    <a:pt x="318" y="314"/>
                  </a:lnTo>
                  <a:lnTo>
                    <a:pt x="410" y="314"/>
                  </a:lnTo>
                  <a:lnTo>
                    <a:pt x="410" y="189"/>
                  </a:lnTo>
                  <a:lnTo>
                    <a:pt x="520" y="0"/>
                  </a:lnTo>
                  <a:lnTo>
                    <a:pt x="418" y="0"/>
                  </a:lnTo>
                  <a:close/>
                  <a:moveTo>
                    <a:pt x="0" y="0"/>
                  </a:moveTo>
                  <a:lnTo>
                    <a:pt x="0" y="314"/>
                  </a:lnTo>
                  <a:lnTo>
                    <a:pt x="251" y="314"/>
                  </a:lnTo>
                  <a:lnTo>
                    <a:pt x="251" y="242"/>
                  </a:lnTo>
                  <a:lnTo>
                    <a:pt x="94" y="242"/>
                  </a:lnTo>
                  <a:lnTo>
                    <a:pt x="94" y="189"/>
                  </a:lnTo>
                  <a:lnTo>
                    <a:pt x="207" y="189"/>
                  </a:lnTo>
                  <a:lnTo>
                    <a:pt x="207" y="124"/>
                  </a:lnTo>
                  <a:lnTo>
                    <a:pt x="94" y="124"/>
                  </a:lnTo>
                  <a:lnTo>
                    <a:pt x="94" y="72"/>
                  </a:lnTo>
                  <a:lnTo>
                    <a:pt x="219" y="72"/>
                  </a:lnTo>
                  <a:lnTo>
                    <a:pt x="178" y="0"/>
                  </a:lnTo>
                  <a:lnTo>
                    <a:pt x="0" y="0"/>
                  </a:lnTo>
                  <a:close/>
                </a:path>
              </a:pathLst>
            </a:custGeom>
            <a:solidFill>
              <a:srgbClr val="2E2E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spTree>
    <p:extLst>
      <p:ext uri="{BB962C8B-B14F-4D97-AF65-F5344CB8AC3E}">
        <p14:creationId xmlns:p14="http://schemas.microsoft.com/office/powerpoint/2010/main" val="2718532351"/>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80">
          <p15:clr>
            <a:srgbClr val="5ACBF0"/>
          </p15:clr>
        </p15:guide>
        <p15:guide id="8" orient="horz" pos="3992">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4203982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2"/>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8" y="269600"/>
            <a:ext cx="10979999"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25057688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EYP Title only with tra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1975998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2"/>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userDrawn="1"/>
        </p:nvCxnSpPr>
        <p:spPr>
          <a:xfrm>
            <a:off x="9525202" y="124522"/>
            <a:ext cx="0" cy="777240"/>
          </a:xfrm>
          <a:prstGeom prst="line">
            <a:avLst/>
          </a:prstGeom>
          <a:noFill/>
          <a:ln w="19050" cap="flat" cmpd="sng" algn="ctr">
            <a:solidFill>
              <a:srgbClr val="1A9AFA"/>
            </a:solidFill>
            <a:prstDash val="solid"/>
            <a:round/>
            <a:headEnd type="none" w="med" len="med"/>
            <a:tailEnd type="none" w="med" len="med"/>
          </a:ln>
          <a:effectLst/>
        </p:spPr>
      </p:cxn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9" y="269600"/>
            <a:ext cx="8848406"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8989126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userDrawn="1">
            <p:custDataLst>
              <p:tags r:id="rId1"/>
            </p:custDataLst>
            <p:extLst>
              <p:ext uri="{D42A27DB-BD31-4B8C-83A1-F6EECF244321}">
                <p14:modId xmlns:p14="http://schemas.microsoft.com/office/powerpoint/2010/main" val="248758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0" imgH="300" progId="TCLayout.ActiveDocument.1">
                  <p:embed/>
                </p:oleObj>
              </mc:Choice>
              <mc:Fallback>
                <p:oleObj name="think-cell Slide" r:id="rId3"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9968789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 picture on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Footer Placeholder 7"/>
          <p:cNvSpPr>
            <a:spLocks noGrp="1"/>
          </p:cNvSpPr>
          <p:nvPr>
            <p:ph type="ftr" sz="quarter" idx="14"/>
          </p:nvPr>
        </p:nvSpPr>
        <p:spPr/>
        <p:txBody>
          <a:bodyPr/>
          <a:lstStyle/>
          <a:p>
            <a:r>
              <a:rPr lang="en-US"/>
              <a:t>Presentation title</a:t>
            </a:r>
            <a:endParaRPr lang="en-US" dirty="0"/>
          </a:p>
        </p:txBody>
      </p:sp>
    </p:spTree>
    <p:extLst>
      <p:ext uri="{BB962C8B-B14F-4D97-AF65-F5344CB8AC3E}">
        <p14:creationId xmlns:p14="http://schemas.microsoft.com/office/powerpoint/2010/main" val="14063912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 picture on 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r>
              <a:rPr lang="en-US"/>
              <a:t>Click icon to add picture</a:t>
            </a:r>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Footer Placeholder 7"/>
          <p:cNvSpPr>
            <a:spLocks noGrp="1"/>
          </p:cNvSpPr>
          <p:nvPr>
            <p:ph type="ftr" sz="quarter" idx="13"/>
          </p:nvPr>
        </p:nvSpPr>
        <p:spPr/>
        <p:txBody>
          <a:bodyPr/>
          <a:lstStyle/>
          <a:p>
            <a:r>
              <a:rPr lang="en-US"/>
              <a:t>Presentation title</a:t>
            </a:r>
            <a:endParaRPr lang="en-US" dirty="0"/>
          </a:p>
        </p:txBody>
      </p:sp>
    </p:spTree>
    <p:extLst>
      <p:ext uri="{BB962C8B-B14F-4D97-AF65-F5344CB8AC3E}">
        <p14:creationId xmlns:p14="http://schemas.microsoft.com/office/powerpoint/2010/main" val="35313813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heme" Target="../theme/theme2.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theme" Target="../theme/theme3.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78.xml"/><Relationship Id="rId7" Type="http://schemas.openxmlformats.org/officeDocument/2006/relationships/tags" Target="../tags/tag2.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tags" Target="../tags/tag1.xml"/><Relationship Id="rId5" Type="http://schemas.openxmlformats.org/officeDocument/2006/relationships/theme" Target="../theme/theme4.xml"/><Relationship Id="rId4" Type="http://schemas.openxmlformats.org/officeDocument/2006/relationships/slideLayout" Target="../slideLayouts/slideLayout79.xml"/><Relationship Id="rId9" Type="http://schemas.openxmlformats.org/officeDocument/2006/relationships/image" Target="../media/image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cs-CZ"/>
              <a:t>Kliknutím lze upravit styl.</a:t>
            </a:r>
            <a:endParaRPr lang="en-GB" dirty="0"/>
          </a:p>
        </p:txBody>
      </p:sp>
      <p:sp>
        <p:nvSpPr>
          <p:cNvPr id="3" name="Text Placeholder 2"/>
          <p:cNvSpPr>
            <a:spLocks noGrp="1"/>
          </p:cNvSpPr>
          <p:nvPr>
            <p:ph type="body" idx="1"/>
          </p:nvPr>
        </p:nvSpPr>
        <p:spPr>
          <a:xfrm>
            <a:off x="609918" y="1137919"/>
            <a:ext cx="10978515" cy="5019137"/>
          </a:xfrm>
          <a:prstGeom prst="rect">
            <a:avLst/>
          </a:prstGeom>
        </p:spPr>
        <p:txBody>
          <a:bodyPr vert="horz" lIns="0" tIns="0" rIns="0" bIns="0" rtlCol="0" anchor="t" anchorCtr="0">
            <a:no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GB"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2678113" y="6471244"/>
            <a:ext cx="3086100" cy="180000"/>
          </a:xfrm>
          <a:prstGeom prst="rect">
            <a:avLst/>
          </a:prstGeom>
        </p:spPr>
        <p:txBody>
          <a:bodyPr vert="horz" lIns="0" tIns="0" rIns="0" bIns="0" rtlCol="0" anchor="b"/>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cs-CZ" dirty="0"/>
              <a:t>Jaderná energetika – Evropa</a:t>
            </a:r>
            <a:endParaRPr lang="en-US" dirty="0"/>
          </a:p>
        </p:txBody>
      </p:sp>
      <p:sp>
        <p:nvSpPr>
          <p:cNvPr id="4" name="TextBox 3"/>
          <p:cNvSpPr txBox="1"/>
          <p:nvPr userDrawn="1"/>
        </p:nvSpPr>
        <p:spPr>
          <a:xfrm>
            <a:off x="609918" y="6513513"/>
            <a:ext cx="748982" cy="154658"/>
          </a:xfrm>
          <a:prstGeom prst="rect">
            <a:avLst/>
          </a:prstGeom>
          <a:noFill/>
        </p:spPr>
        <p:txBody>
          <a:bodyPr wrap="square" lIns="0" tIns="36576" rIns="0" bIns="0" rtlCol="0">
            <a:spAutoFit/>
          </a:bodyPr>
          <a:lstStyle/>
          <a:p>
            <a:pPr marL="0" indent="0">
              <a:lnSpc>
                <a:spcPct val="85000"/>
              </a:lnSpc>
              <a:spcAft>
                <a:spcPts val="600"/>
              </a:spcAft>
              <a:buClr>
                <a:schemeClr val="accent2"/>
              </a:buClr>
              <a:buSzPct val="70000"/>
              <a:buFont typeface="Arial" pitchFamily="34" charset="0"/>
              <a:buNone/>
            </a:pPr>
            <a:r>
              <a:rPr lang="en-US" sz="900" noProof="0" dirty="0">
                <a:solidFill>
                  <a:schemeClr val="bg1"/>
                </a:solidFill>
              </a:rPr>
              <a:t>Page</a:t>
            </a:r>
            <a:r>
              <a:rPr lang="cs-CZ" sz="900" dirty="0">
                <a:solidFill>
                  <a:schemeClr val="bg1"/>
                </a:solidFill>
              </a:rPr>
              <a:t> </a:t>
            </a:r>
            <a:fld id="{8412A662-13BD-455F-A120-9D435B914FAC}" type="slidenum">
              <a:rPr lang="cs-CZ" sz="900" smtClean="0">
                <a:solidFill>
                  <a:schemeClr val="bg1"/>
                </a:solidFill>
              </a:rPr>
              <a:t>‹#›</a:t>
            </a:fld>
            <a:endParaRPr lang="cs-CZ" sz="900" dirty="0" err="1">
              <a:solidFill>
                <a:schemeClr val="bg1"/>
              </a:solidFill>
            </a:endParaRPr>
          </a:p>
        </p:txBody>
      </p:sp>
      <p:grpSp>
        <p:nvGrpSpPr>
          <p:cNvPr id="10"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167937" y="6223052"/>
            <a:ext cx="434658" cy="446036"/>
            <a:chOff x="7110" y="4004"/>
            <a:chExt cx="191" cy="196"/>
          </a:xfrm>
        </p:grpSpPr>
        <p:sp>
          <p:nvSpPr>
            <p:cNvPr id="13"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5"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6"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90" r:id="rId1"/>
    <p:sldLayoutId id="2147483984" r:id="rId2"/>
    <p:sldLayoutId id="2147483825" r:id="rId3"/>
    <p:sldLayoutId id="2147483826" r:id="rId4"/>
    <p:sldLayoutId id="2147483827" r:id="rId5"/>
    <p:sldLayoutId id="2147483828" r:id="rId6"/>
    <p:sldLayoutId id="2147483875" r:id="rId7"/>
    <p:sldLayoutId id="2147483873" r:id="rId8"/>
    <p:sldLayoutId id="2147483872" r:id="rId9"/>
    <p:sldLayoutId id="2147483832" r:id="rId10"/>
    <p:sldLayoutId id="2147483833" r:id="rId11"/>
    <p:sldLayoutId id="2147483871" r:id="rId12"/>
    <p:sldLayoutId id="2147483923" r:id="rId13"/>
    <p:sldLayoutId id="2147483921" r:id="rId14"/>
    <p:sldLayoutId id="2147483874" r:id="rId15"/>
    <p:sldLayoutId id="2147483876" r:id="rId16"/>
    <p:sldLayoutId id="2147483836" r:id="rId17"/>
    <p:sldLayoutId id="2147483968" r:id="rId18"/>
    <p:sldLayoutId id="2147483877" r:id="rId19"/>
    <p:sldLayoutId id="2147483970" r:id="rId20"/>
    <p:sldLayoutId id="2147483969" r:id="rId21"/>
    <p:sldLayoutId id="2147483926" r:id="rId22"/>
    <p:sldLayoutId id="2147483837" r:id="rId23"/>
    <p:sldLayoutId id="2147483838" r:id="rId24"/>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2" userDrawn="1">
          <p15:clr>
            <a:srgbClr val="F26B43"/>
          </p15:clr>
        </p15:guide>
        <p15:guide id="3" pos="7312" userDrawn="1">
          <p15:clr>
            <a:srgbClr val="F26B43"/>
          </p15:clr>
        </p15:guide>
        <p15:guide id="4" pos="372" userDrawn="1">
          <p15:clr>
            <a:srgbClr val="F26B43"/>
          </p15:clr>
        </p15:guide>
        <p15:guide id="5" orient="horz" pos="4201" userDrawn="1">
          <p15:clr>
            <a:srgbClr val="F26B43"/>
          </p15:clr>
        </p15:guide>
        <p15:guide id="6" orient="horz" pos="3884" userDrawn="1">
          <p15:clr>
            <a:srgbClr val="F26B43"/>
          </p15:clr>
        </p15:guide>
        <p15:guide id="7" orient="horz" pos="572" userDrawn="1">
          <p15:clr>
            <a:srgbClr val="F26B43"/>
          </p15:clr>
        </p15:guide>
        <p15:guide id="8" orient="horz" pos="70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502793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2678113" y="6471244"/>
            <a:ext cx="3086100" cy="180000"/>
          </a:xfrm>
          <a:prstGeom prst="rect">
            <a:avLst/>
          </a:prstGeom>
        </p:spPr>
        <p:txBody>
          <a:bodyPr lIns="0" tIns="0" rIns="0" bIns="0" anchor="b"/>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4" name="TextBox 3"/>
          <p:cNvSpPr txBox="1"/>
          <p:nvPr userDrawn="1"/>
        </p:nvSpPr>
        <p:spPr>
          <a:xfrm>
            <a:off x="609918" y="6513513"/>
            <a:ext cx="596582" cy="154658"/>
          </a:xfrm>
          <a:prstGeom prst="rect">
            <a:avLst/>
          </a:prstGeom>
          <a:noFill/>
        </p:spPr>
        <p:txBody>
          <a:bodyPr wrap="square" lIns="0" tIns="36576" rIns="0" bIns="0" rtlCol="0">
            <a:spAutoFit/>
          </a:bodyPr>
          <a:lstStyle/>
          <a:p>
            <a:pPr marL="0" indent="0">
              <a:lnSpc>
                <a:spcPct val="85000"/>
              </a:lnSpc>
              <a:spcAft>
                <a:spcPts val="600"/>
              </a:spcAft>
              <a:buClr>
                <a:schemeClr val="accent2"/>
              </a:buClr>
              <a:buSzPct val="70000"/>
              <a:buFont typeface="Arial" pitchFamily="34" charset="0"/>
              <a:buNone/>
            </a:pPr>
            <a:r>
              <a:rPr lang="en-US" sz="900" noProof="0" dirty="0">
                <a:solidFill>
                  <a:schemeClr val="bg1"/>
                </a:solidFill>
              </a:rPr>
              <a:t>Page</a:t>
            </a:r>
            <a:r>
              <a:rPr lang="cs-CZ" sz="900" dirty="0">
                <a:solidFill>
                  <a:schemeClr val="bg1"/>
                </a:solidFill>
              </a:rPr>
              <a:t> </a:t>
            </a:r>
            <a:fld id="{0E86666E-B6FF-4558-B63F-39D0B55FC8C4}" type="slidenum">
              <a:rPr lang="cs-CZ" sz="900" smtClean="0">
                <a:solidFill>
                  <a:schemeClr val="bg1"/>
                </a:solidFill>
              </a:rPr>
              <a:t>‹#›</a:t>
            </a:fld>
            <a:endParaRPr lang="cs-CZ" sz="900" dirty="0">
              <a:solidFill>
                <a:schemeClr val="bg1"/>
              </a:solidFill>
            </a:endParaRPr>
          </a:p>
        </p:txBody>
      </p:sp>
      <p:grpSp>
        <p:nvGrpSpPr>
          <p:cNvPr id="10"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172787" y="6222688"/>
            <a:ext cx="435013" cy="446400"/>
            <a:chOff x="7110" y="4004"/>
            <a:chExt cx="191" cy="196"/>
          </a:xfrm>
        </p:grpSpPr>
        <p:sp>
          <p:nvSpPr>
            <p:cNvPr id="11"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2"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3"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4" r:id="rId1"/>
    <p:sldLayoutId id="2147483893" r:id="rId2"/>
    <p:sldLayoutId id="2147483985" r:id="rId3"/>
    <p:sldLayoutId id="2147483895" r:id="rId4"/>
    <p:sldLayoutId id="2147483896" r:id="rId5"/>
    <p:sldLayoutId id="2147483981" r:id="rId6"/>
    <p:sldLayoutId id="2147483897" r:id="rId7"/>
    <p:sldLayoutId id="2147483901" r:id="rId8"/>
    <p:sldLayoutId id="2147483898" r:id="rId9"/>
    <p:sldLayoutId id="2147483899" r:id="rId10"/>
    <p:sldLayoutId id="2147483900" r:id="rId11"/>
    <p:sldLayoutId id="2147483909" r:id="rId12"/>
    <p:sldLayoutId id="2147483910" r:id="rId13"/>
    <p:sldLayoutId id="2147483905" r:id="rId14"/>
    <p:sldLayoutId id="2147483924" r:id="rId15"/>
    <p:sldLayoutId id="2147483922" r:id="rId16"/>
    <p:sldLayoutId id="2147483916" r:id="rId17"/>
    <p:sldLayoutId id="2147483904" r:id="rId18"/>
    <p:sldLayoutId id="2147483912" r:id="rId19"/>
    <p:sldLayoutId id="2147483982" r:id="rId20"/>
    <p:sldLayoutId id="2147483903" r:id="rId21"/>
    <p:sldLayoutId id="2147483983" r:id="rId22"/>
    <p:sldLayoutId id="2147483986" r:id="rId23"/>
    <p:sldLayoutId id="2147483987" r:id="rId24"/>
    <p:sldLayoutId id="2147483906" r:id="rId25"/>
    <p:sldLayoutId id="2147483979" r:id="rId26"/>
    <p:sldLayoutId id="2147483988" r:id="rId27"/>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2" userDrawn="1">
          <p15:clr>
            <a:srgbClr val="F26B43"/>
          </p15:clr>
        </p15:guide>
        <p15:guide id="3" pos="7312" userDrawn="1">
          <p15:clr>
            <a:srgbClr val="F26B43"/>
          </p15:clr>
        </p15:guide>
        <p15:guide id="4" pos="372" userDrawn="1">
          <p15:clr>
            <a:srgbClr val="F26B43"/>
          </p15:clr>
        </p15:guide>
        <p15:guide id="5" orient="horz" pos="4201" userDrawn="1">
          <p15:clr>
            <a:srgbClr val="F26B43"/>
          </p15:clr>
        </p15:guide>
        <p15:guide id="6" orient="horz" pos="3884" userDrawn="1">
          <p15:clr>
            <a:srgbClr val="F26B43"/>
          </p15:clr>
        </p15:guide>
        <p15:guide id="7" orient="horz" pos="709" userDrawn="1">
          <p15:clr>
            <a:srgbClr val="F26B43"/>
          </p15:clr>
        </p15:guide>
        <p15:guide id="8" orient="horz" pos="57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cs-CZ"/>
              <a:t>Kliknutím lze upravit styl.</a:t>
            </a:r>
            <a:endParaRPr lang="en-GB" dirty="0"/>
          </a:p>
        </p:txBody>
      </p:sp>
      <p:sp>
        <p:nvSpPr>
          <p:cNvPr id="3" name="Text Placeholder 2"/>
          <p:cNvSpPr>
            <a:spLocks noGrp="1"/>
          </p:cNvSpPr>
          <p:nvPr>
            <p:ph type="body" idx="1"/>
          </p:nvPr>
        </p:nvSpPr>
        <p:spPr>
          <a:xfrm>
            <a:off x="609918" y="1137919"/>
            <a:ext cx="10978515" cy="5019137"/>
          </a:xfrm>
          <a:prstGeom prst="rect">
            <a:avLst/>
          </a:prstGeom>
        </p:spPr>
        <p:txBody>
          <a:bodyPr vert="horz" lIns="0" tIns="0" rIns="0" bIns="0" rtlCol="0" anchor="t" anchorCtr="0">
            <a:no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GB"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2678113" y="6471244"/>
            <a:ext cx="3086100" cy="180000"/>
          </a:xfrm>
          <a:prstGeom prst="rect">
            <a:avLst/>
          </a:prstGeom>
        </p:spPr>
        <p:txBody>
          <a:bodyPr vert="horz" lIns="0" tIns="0" rIns="0" bIns="0" rtlCol="0" anchor="b"/>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dirty="0"/>
              <a:t>Presentation title</a:t>
            </a:r>
          </a:p>
        </p:txBody>
      </p:sp>
      <p:sp>
        <p:nvSpPr>
          <p:cNvPr id="4" name="TextBox 3"/>
          <p:cNvSpPr txBox="1"/>
          <p:nvPr userDrawn="1"/>
        </p:nvSpPr>
        <p:spPr>
          <a:xfrm>
            <a:off x="609918" y="6513513"/>
            <a:ext cx="748982" cy="154658"/>
          </a:xfrm>
          <a:prstGeom prst="rect">
            <a:avLst/>
          </a:prstGeom>
          <a:noFill/>
        </p:spPr>
        <p:txBody>
          <a:bodyPr wrap="square" lIns="0" tIns="36576" rIns="0" bIns="0" rtlCol="0">
            <a:spAutoFit/>
          </a:bodyPr>
          <a:lstStyle/>
          <a:p>
            <a:pPr marL="0" indent="0">
              <a:lnSpc>
                <a:spcPct val="85000"/>
              </a:lnSpc>
              <a:spcAft>
                <a:spcPts val="600"/>
              </a:spcAft>
              <a:buClr>
                <a:schemeClr val="accent2"/>
              </a:buClr>
              <a:buSzPct val="70000"/>
              <a:buFont typeface="Arial" pitchFamily="34" charset="0"/>
              <a:buNone/>
            </a:pPr>
            <a:r>
              <a:rPr lang="en-US" sz="900" noProof="0" dirty="0">
                <a:solidFill>
                  <a:schemeClr val="bg1"/>
                </a:solidFill>
              </a:rPr>
              <a:t>Page</a:t>
            </a:r>
            <a:r>
              <a:rPr lang="cs-CZ" sz="900" dirty="0">
                <a:solidFill>
                  <a:schemeClr val="bg1"/>
                </a:solidFill>
              </a:rPr>
              <a:t> </a:t>
            </a:r>
            <a:fld id="{8412A662-13BD-455F-A120-9D435B914FAC}" type="slidenum">
              <a:rPr lang="cs-CZ" sz="900" smtClean="0">
                <a:solidFill>
                  <a:schemeClr val="bg1"/>
                </a:solidFill>
              </a:rPr>
              <a:t>‹#›</a:t>
            </a:fld>
            <a:endParaRPr lang="cs-CZ" sz="900" dirty="0" err="1">
              <a:solidFill>
                <a:schemeClr val="bg1"/>
              </a:solidFill>
            </a:endParaRPr>
          </a:p>
        </p:txBody>
      </p:sp>
      <p:grpSp>
        <p:nvGrpSpPr>
          <p:cNvPr id="10"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167937" y="6223052"/>
            <a:ext cx="434658" cy="446036"/>
            <a:chOff x="7110" y="4004"/>
            <a:chExt cx="191" cy="196"/>
          </a:xfrm>
        </p:grpSpPr>
        <p:sp>
          <p:nvSpPr>
            <p:cNvPr id="13"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5"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6"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957060339"/>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 id="2147484002" r:id="rId13"/>
    <p:sldLayoutId id="2147484003" r:id="rId14"/>
    <p:sldLayoutId id="2147484004" r:id="rId15"/>
    <p:sldLayoutId id="2147484005" r:id="rId16"/>
    <p:sldLayoutId id="2147484006" r:id="rId17"/>
    <p:sldLayoutId id="2147484007" r:id="rId18"/>
    <p:sldLayoutId id="2147484008" r:id="rId19"/>
    <p:sldLayoutId id="2147484009" r:id="rId20"/>
    <p:sldLayoutId id="2147484010" r:id="rId21"/>
    <p:sldLayoutId id="2147484011" r:id="rId22"/>
    <p:sldLayoutId id="2147484012" r:id="rId23"/>
    <p:sldLayoutId id="2147484013" r:id="rId24"/>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2">
          <p15:clr>
            <a:srgbClr val="F26B43"/>
          </p15:clr>
        </p15:guide>
        <p15:guide id="3" pos="7312">
          <p15:clr>
            <a:srgbClr val="F26B43"/>
          </p15:clr>
        </p15:guide>
        <p15:guide id="4" pos="372">
          <p15:clr>
            <a:srgbClr val="F26B43"/>
          </p15:clr>
        </p15:guide>
        <p15:guide id="5" orient="horz" pos="4201">
          <p15:clr>
            <a:srgbClr val="F26B43"/>
          </p15:clr>
        </p15:guide>
        <p15:guide id="6" orient="horz" pos="3884">
          <p15:clr>
            <a:srgbClr val="F26B43"/>
          </p15:clr>
        </p15:guide>
        <p15:guide id="7" orient="horz" pos="572">
          <p15:clr>
            <a:srgbClr val="F26B43"/>
          </p15:clr>
        </p15:guide>
        <p15:guide id="8" orient="horz" pos="70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638E-A83A-4BAD-8DA4-A8AEDDEE13D4}"/>
              </a:ext>
            </a:extLst>
          </p:cNvPr>
          <p:cNvGraphicFramePr>
            <a:graphicFrameLocks noChangeAspect="1"/>
          </p:cNvGraphicFramePr>
          <p:nvPr userDrawn="1">
            <p:custDataLst>
              <p:tags r:id="rId6"/>
            </p:custDataLst>
            <p:extLst>
              <p:ext uri="{D42A27DB-BD31-4B8C-83A1-F6EECF244321}">
                <p14:modId xmlns:p14="http://schemas.microsoft.com/office/powerpoint/2010/main" val="436738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6" progId="TCLayout.ActiveDocument.1">
                  <p:embed/>
                </p:oleObj>
              </mc:Choice>
              <mc:Fallback>
                <p:oleObj name="think-cell Slide" r:id="rId8" imgW="306" imgH="306" progId="TCLayout.ActiveDocument.1">
                  <p:embed/>
                  <p:pic>
                    <p:nvPicPr>
                      <p:cNvPr id="5" name="Object 4" hidden="1">
                        <a:extLst>
                          <a:ext uri="{FF2B5EF4-FFF2-40B4-BE49-F238E27FC236}">
                            <a16:creationId xmlns:a16="http://schemas.microsoft.com/office/drawing/2014/main" id="{60A7638E-A83A-4BAD-8DA4-A8AEDDEE13D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userDrawn="1">
            <p:custDataLst>
              <p:tags r:id="rId7"/>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919" y="2696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18" name="TextBox 17">
            <a:extLst>
              <a:ext uri="{FF2B5EF4-FFF2-40B4-BE49-F238E27FC236}">
                <a16:creationId xmlns:a16="http://schemas.microsoft.com/office/drawing/2014/main" id="{84F0543D-5895-4F15-9AD6-423DC79B212B}"/>
              </a:ext>
            </a:extLst>
          </p:cNvPr>
          <p:cNvSpPr txBox="1"/>
          <p:nvPr userDrawn="1"/>
        </p:nvSpPr>
        <p:spPr>
          <a:xfrm>
            <a:off x="9841222" y="6565114"/>
            <a:ext cx="395942" cy="123111"/>
          </a:xfrm>
          <a:prstGeom prst="rect">
            <a:avLst/>
          </a:prstGeom>
          <a:noFill/>
        </p:spPr>
        <p:txBody>
          <a:bodyPr wrap="none" lIns="0" tIns="0" rIns="0" bIns="0" rtlCol="0" anchor="b">
            <a:spAutoFit/>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GB" sz="800">
                <a:solidFill>
                  <a:schemeClr val="bg1"/>
                </a:solidFill>
                <a:latin typeface="+mn-lt"/>
                <a:sym typeface="Arial" panose="020B0604020202020204" pitchFamily="34" charset="0"/>
              </a:rPr>
              <a:t>Page </a:t>
            </a:r>
            <a:fld id="{9AE4D82F-B047-469B-AC52-A46321747EAF}" type="slidenum">
              <a:rPr lang="en-GB" sz="800" smtClean="0">
                <a:solidFill>
                  <a:schemeClr val="bg1"/>
                </a:solidFill>
                <a:latin typeface="+mn-lt"/>
                <a:sym typeface="Arial" panose="020B0604020202020204" pitchFamily="34" charset="0"/>
              </a:rPr>
              <a:pPr marL="0" marR="0" indent="0" algn="l" defTabSz="913943" rtl="0" eaLnBrk="1" fontAlgn="auto" latinLnBrk="0" hangingPunct="1">
                <a:lnSpc>
                  <a:spcPct val="100000"/>
                </a:lnSpc>
                <a:spcBef>
                  <a:spcPts val="0"/>
                </a:spcBef>
                <a:spcAft>
                  <a:spcPts val="0"/>
                </a:spcAft>
                <a:buClrTx/>
                <a:buSzTx/>
                <a:buFontTx/>
                <a:buNone/>
                <a:tabLst/>
                <a:defRPr/>
              </a:pPr>
              <a:t>‹#›</a:t>
            </a:fld>
            <a:endParaRPr lang="en-GB" sz="800">
              <a:solidFill>
                <a:schemeClr val="bg1"/>
              </a:solidFill>
              <a:latin typeface="+mn-lt"/>
              <a:sym typeface="Arial" panose="020B0604020202020204" pitchFamily="34" charset="0"/>
            </a:endParaRPr>
          </a:p>
        </p:txBody>
      </p:sp>
      <p:grpSp>
        <p:nvGrpSpPr>
          <p:cNvPr id="19" name="Group 18">
            <a:extLst>
              <a:ext uri="{FF2B5EF4-FFF2-40B4-BE49-F238E27FC236}">
                <a16:creationId xmlns:a16="http://schemas.microsoft.com/office/drawing/2014/main" id="{E5FF8F2A-9422-420C-B50E-588E96C8CB1E}"/>
              </a:ext>
            </a:extLst>
          </p:cNvPr>
          <p:cNvGrpSpPr>
            <a:grpSpLocks noChangeAspect="1"/>
          </p:cNvGrpSpPr>
          <p:nvPr userDrawn="1"/>
        </p:nvGrpSpPr>
        <p:grpSpPr>
          <a:xfrm>
            <a:off x="10630248" y="6359354"/>
            <a:ext cx="955612" cy="308551"/>
            <a:chOff x="2703513" y="2332038"/>
            <a:chExt cx="6784975" cy="2190751"/>
          </a:xfrm>
        </p:grpSpPr>
        <p:sp>
          <p:nvSpPr>
            <p:cNvPr id="20" name="Freeform 115">
              <a:extLst>
                <a:ext uri="{FF2B5EF4-FFF2-40B4-BE49-F238E27FC236}">
                  <a16:creationId xmlns:a16="http://schemas.microsoft.com/office/drawing/2014/main" id="{5C20A05E-7CB6-4514-8190-653E999CC8A1}"/>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1" name="Freeform 116">
              <a:extLst>
                <a:ext uri="{FF2B5EF4-FFF2-40B4-BE49-F238E27FC236}">
                  <a16:creationId xmlns:a16="http://schemas.microsoft.com/office/drawing/2014/main" id="{2906F4E8-7C8C-492D-AE92-6123472DE42E}"/>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2" name="Freeform 117">
              <a:extLst>
                <a:ext uri="{FF2B5EF4-FFF2-40B4-BE49-F238E27FC236}">
                  <a16:creationId xmlns:a16="http://schemas.microsoft.com/office/drawing/2014/main" id="{175B30B7-5A53-4168-BFBE-6E4E12C1753D}"/>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3" name="Freeform 118">
              <a:extLst>
                <a:ext uri="{FF2B5EF4-FFF2-40B4-BE49-F238E27FC236}">
                  <a16:creationId xmlns:a16="http://schemas.microsoft.com/office/drawing/2014/main" id="{135215D0-9FE7-4759-B4E4-4F1CF36CDC9E}"/>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4" name="Freeform 119">
              <a:extLst>
                <a:ext uri="{FF2B5EF4-FFF2-40B4-BE49-F238E27FC236}">
                  <a16:creationId xmlns:a16="http://schemas.microsoft.com/office/drawing/2014/main" id="{3901A9A3-4170-4947-A531-DCC49C48A627}"/>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7" name="Freeform 120">
              <a:extLst>
                <a:ext uri="{FF2B5EF4-FFF2-40B4-BE49-F238E27FC236}">
                  <a16:creationId xmlns:a16="http://schemas.microsoft.com/office/drawing/2014/main" id="{392675B7-2FAB-4097-BCB9-AE9398EE666E}"/>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8" name="Freeform 121">
              <a:extLst>
                <a:ext uri="{FF2B5EF4-FFF2-40B4-BE49-F238E27FC236}">
                  <a16:creationId xmlns:a16="http://schemas.microsoft.com/office/drawing/2014/main" id="{12E2F172-F143-4692-B4D7-15077F32B972}"/>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9" name="Freeform 122">
              <a:extLst>
                <a:ext uri="{FF2B5EF4-FFF2-40B4-BE49-F238E27FC236}">
                  <a16:creationId xmlns:a16="http://schemas.microsoft.com/office/drawing/2014/main" id="{9C1166C9-6345-4EA6-96F2-A65CC247626C}"/>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0" name="Freeform 123">
              <a:extLst>
                <a:ext uri="{FF2B5EF4-FFF2-40B4-BE49-F238E27FC236}">
                  <a16:creationId xmlns:a16="http://schemas.microsoft.com/office/drawing/2014/main" id="{F6D0CFF4-3F25-4B8F-ADCB-12637DACA36E}"/>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1" name="Freeform 124">
              <a:extLst>
                <a:ext uri="{FF2B5EF4-FFF2-40B4-BE49-F238E27FC236}">
                  <a16:creationId xmlns:a16="http://schemas.microsoft.com/office/drawing/2014/main" id="{9932F642-1E35-48EC-B6C4-B38B0CA08E95}"/>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2" name="Freeform 125">
              <a:extLst>
                <a:ext uri="{FF2B5EF4-FFF2-40B4-BE49-F238E27FC236}">
                  <a16:creationId xmlns:a16="http://schemas.microsoft.com/office/drawing/2014/main" id="{D5D95FF1-6143-4F5E-A9CE-4E0A96033573}"/>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grpSp>
      <p:sp>
        <p:nvSpPr>
          <p:cNvPr id="3" name="Text Placeholder 2"/>
          <p:cNvSpPr>
            <a:spLocks noGrp="1"/>
          </p:cNvSpPr>
          <p:nvPr>
            <p:ph type="body" idx="1"/>
          </p:nvPr>
        </p:nvSpPr>
        <p:spPr>
          <a:xfrm>
            <a:off x="609919" y="1327149"/>
            <a:ext cx="10978515" cy="981166"/>
          </a:xfrm>
          <a:prstGeom prst="rect">
            <a:avLst/>
          </a:prstGeom>
        </p:spPr>
        <p:txBody>
          <a:bodyPr vert="horz"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OuterGrid" hidden="1">
            <a:extLst>
              <a:ext uri="{FF2B5EF4-FFF2-40B4-BE49-F238E27FC236}">
                <a16:creationId xmlns:a16="http://schemas.microsoft.com/office/drawing/2014/main" id="{497C0834-4F27-4726-9D1B-7289BEDDACB5}"/>
              </a:ext>
            </a:extLst>
          </p:cNvPr>
          <p:cNvSpPr/>
          <p:nvPr userDrawn="1"/>
        </p:nvSpPr>
        <p:spPr>
          <a:xfrm>
            <a:off x="610236" y="1327150"/>
            <a:ext cx="10985719"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100" err="1">
              <a:solidFill>
                <a:schemeClr val="bg1"/>
              </a:solidFill>
            </a:endParaRPr>
          </a:p>
        </p:txBody>
      </p:sp>
    </p:spTree>
    <p:extLst>
      <p:ext uri="{BB962C8B-B14F-4D97-AF65-F5344CB8AC3E}">
        <p14:creationId xmlns:p14="http://schemas.microsoft.com/office/powerpoint/2010/main" val="4043552840"/>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Lst>
  <p:hf hdr="0"/>
  <p:txStyles>
    <p:titleStyle>
      <a:lvl1pPr algn="l" defTabSz="913943" rtl="0" eaLnBrk="1" latinLnBrk="0" hangingPunct="1">
        <a:lnSpc>
          <a:spcPct val="90000"/>
        </a:lnSpc>
        <a:spcBef>
          <a:spcPct val="0"/>
        </a:spcBef>
        <a:buNone/>
        <a:defRPr sz="2199" b="0" kern="1200">
          <a:solidFill>
            <a:schemeClr val="bg1"/>
          </a:solidFill>
          <a:latin typeface="+mn-lt"/>
          <a:ea typeface="+mj-ea"/>
          <a:cs typeface="Arial" pitchFamily="34" charset="0"/>
          <a:sym typeface="Arial" panose="020B0604020202020204" pitchFamily="34" charset="0"/>
        </a:defRPr>
      </a:lvl1pPr>
    </p:titleStyle>
    <p:body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099" kern="1200">
          <a:solidFill>
            <a:schemeClr val="tx1"/>
          </a:solidFill>
          <a:latin typeface="+mn-lt"/>
          <a:ea typeface="+mn-ea"/>
          <a:cs typeface="+mn-cs"/>
        </a:defRPr>
      </a:lvl1pPr>
      <a:lvl2pPr marL="456971" algn="l" defTabSz="913943" rtl="0" eaLnBrk="1" latinLnBrk="0" hangingPunct="1">
        <a:defRPr sz="1099" kern="1200">
          <a:solidFill>
            <a:schemeClr val="tx1"/>
          </a:solidFill>
          <a:latin typeface="+mn-lt"/>
          <a:ea typeface="+mn-ea"/>
          <a:cs typeface="+mn-cs"/>
        </a:defRPr>
      </a:lvl2pPr>
      <a:lvl3pPr marL="913943" algn="l" defTabSz="913943" rtl="0" eaLnBrk="1" latinLnBrk="0" hangingPunct="1">
        <a:defRPr sz="1099" kern="1200">
          <a:solidFill>
            <a:schemeClr val="tx1"/>
          </a:solidFill>
          <a:latin typeface="+mn-lt"/>
          <a:ea typeface="+mn-ea"/>
          <a:cs typeface="+mn-cs"/>
        </a:defRPr>
      </a:lvl3pPr>
      <a:lvl4pPr marL="1370914" algn="l" defTabSz="913943" rtl="0" eaLnBrk="1" latinLnBrk="0" hangingPunct="1">
        <a:defRPr sz="1099" kern="1200">
          <a:solidFill>
            <a:schemeClr val="tx1"/>
          </a:solidFill>
          <a:latin typeface="+mn-lt"/>
          <a:ea typeface="+mn-ea"/>
          <a:cs typeface="+mn-cs"/>
        </a:defRPr>
      </a:lvl4pPr>
      <a:lvl5pPr marL="1827886" algn="l" defTabSz="913943" rtl="0" eaLnBrk="1" latinLnBrk="0" hangingPunct="1">
        <a:defRPr sz="1099" kern="1200">
          <a:solidFill>
            <a:schemeClr val="tx1"/>
          </a:solidFill>
          <a:latin typeface="+mn-lt"/>
          <a:ea typeface="+mn-ea"/>
          <a:cs typeface="+mn-cs"/>
        </a:defRPr>
      </a:lvl5pPr>
      <a:lvl6pPr marL="2284857" algn="l" defTabSz="913943" rtl="0" eaLnBrk="1" latinLnBrk="0" hangingPunct="1">
        <a:defRPr sz="1099" kern="1200">
          <a:solidFill>
            <a:schemeClr val="tx1"/>
          </a:solidFill>
          <a:latin typeface="+mn-lt"/>
          <a:ea typeface="+mn-ea"/>
          <a:cs typeface="+mn-cs"/>
        </a:defRPr>
      </a:lvl6pPr>
      <a:lvl7pPr marL="2741828" algn="l" defTabSz="913943" rtl="0" eaLnBrk="1" latinLnBrk="0" hangingPunct="1">
        <a:defRPr sz="1099" kern="1200">
          <a:solidFill>
            <a:schemeClr val="tx1"/>
          </a:solidFill>
          <a:latin typeface="+mn-lt"/>
          <a:ea typeface="+mn-ea"/>
          <a:cs typeface="+mn-cs"/>
        </a:defRPr>
      </a:lvl7pPr>
      <a:lvl8pPr marL="3198800" algn="l" defTabSz="913943" rtl="0" eaLnBrk="1" latinLnBrk="0" hangingPunct="1">
        <a:defRPr sz="1099" kern="1200">
          <a:solidFill>
            <a:schemeClr val="tx1"/>
          </a:solidFill>
          <a:latin typeface="+mn-lt"/>
          <a:ea typeface="+mn-ea"/>
          <a:cs typeface="+mn-cs"/>
        </a:defRPr>
      </a:lvl8pPr>
      <a:lvl9pPr marL="3655771" algn="l" defTabSz="913943" rtl="0" eaLnBrk="1" latinLnBrk="0" hangingPunct="1">
        <a:defRPr sz="1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6">
          <p15:clr>
            <a:srgbClr val="F26B43"/>
          </p15:clr>
        </p15:guide>
        <p15:guide id="2" pos="7294">
          <p15:clr>
            <a:srgbClr val="F26B43"/>
          </p15:clr>
        </p15:guide>
        <p15:guide id="3" orient="horz" pos="711">
          <p15:clr>
            <a:srgbClr val="F26B43"/>
          </p15:clr>
        </p15:guide>
        <p15:guide id="4" orient="horz" pos="38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chart" Target="../charts/chart1.xml"/><Relationship Id="rId7" Type="http://schemas.openxmlformats.org/officeDocument/2006/relationships/image" Target="../media/image14.svg"/><Relationship Id="rId12" Type="http://schemas.openxmlformats.org/officeDocument/2006/relationships/hyperlink" Target="https://www-pub.iaea.org/MTCD/Publications/PDF/RDS-1-44_web.pdf" TargetMode="External"/><Relationship Id="rId2" Type="http://schemas.openxmlformats.org/officeDocument/2006/relationships/slideLayout" Target="../slideLayouts/slideLayout51.xml"/><Relationship Id="rId1" Type="http://schemas.openxmlformats.org/officeDocument/2006/relationships/tags" Target="../tags/tag10.xml"/><Relationship Id="rId6" Type="http://schemas.openxmlformats.org/officeDocument/2006/relationships/image" Target="../media/image13.png"/><Relationship Id="rId11" Type="http://schemas.openxmlformats.org/officeDocument/2006/relationships/hyperlink" Target="https://www-pub.iaea.org/MTCD/Publications/PDF/p15664-PAT_006_G20_web.pdf" TargetMode="External"/><Relationship Id="rId5" Type="http://schemas.openxmlformats.org/officeDocument/2006/relationships/image" Target="../media/image12.svg"/><Relationship Id="rId10" Type="http://schemas.openxmlformats.org/officeDocument/2006/relationships/chart" Target="../charts/chart2.xml"/><Relationship Id="rId4" Type="http://schemas.openxmlformats.org/officeDocument/2006/relationships/image" Target="../media/image11.png"/><Relationship Id="rId9" Type="http://schemas.openxmlformats.org/officeDocument/2006/relationships/image" Target="../media/image16.svg"/></Relationships>
</file>

<file path=ppt/slides/_rels/slide3.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slideLayout" Target="../slideLayouts/slideLayout51.xml"/><Relationship Id="rId18" Type="http://schemas.openxmlformats.org/officeDocument/2006/relationships/hyperlink" Target="https://www.oecd-nea.org/jcms/pl_90816/the-nea-small-modular-reactor-dashboard-second-edition?details=true" TargetMode="Externa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image" Target="../media/image19.png"/><Relationship Id="rId2" Type="http://schemas.openxmlformats.org/officeDocument/2006/relationships/tags" Target="../tags/tag12.xml"/><Relationship Id="rId16" Type="http://schemas.openxmlformats.org/officeDocument/2006/relationships/image" Target="../media/image18.png"/><Relationship Id="rId20" Type="http://schemas.openxmlformats.org/officeDocument/2006/relationships/hyperlink" Target="https://cnpp.iaea.org/public/countries/GB/profile/preview" TargetMode="Externa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image" Target="../media/image17.png"/><Relationship Id="rId10" Type="http://schemas.openxmlformats.org/officeDocument/2006/relationships/tags" Target="../tags/tag20.xml"/><Relationship Id="rId19" Type="http://schemas.openxmlformats.org/officeDocument/2006/relationships/hyperlink" Target="https://world-nuclear.org/information-library/country-profiles/countries-a-f/france#:~:text=In%20February%202022%20Macron%20announced,by%20the%20deployment%20of%20SMRs." TargetMode="Externa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chart" Target="../charts/chart3.xml"/></Relationships>
</file>

<file path=ppt/slides/_rels/slide4.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tags" Target="../tags/tag25.xml"/><Relationship Id="rId7" Type="http://schemas.openxmlformats.org/officeDocument/2006/relationships/image" Target="../media/image20.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chart" Target="../charts/chart4.xml"/><Relationship Id="rId11" Type="http://schemas.openxmlformats.org/officeDocument/2006/relationships/hyperlink" Target="https://cnpp.iaea.org/public/countries/GB/profile/preview" TargetMode="External"/><Relationship Id="rId5" Type="http://schemas.openxmlformats.org/officeDocument/2006/relationships/slideLayout" Target="../slideLayouts/slideLayout51.xml"/><Relationship Id="rId10" Type="http://schemas.openxmlformats.org/officeDocument/2006/relationships/hyperlink" Target="https://world-nuclear.org/information-library/country-profiles/countries-a-f/france#:~:text=In%20February%202022%20Macron%20announced,by%20the%20deployment%20of%20SMRs." TargetMode="External"/><Relationship Id="rId4" Type="http://schemas.openxmlformats.org/officeDocument/2006/relationships/tags" Target="../tags/tag26.xml"/><Relationship Id="rId9" Type="http://schemas.openxmlformats.org/officeDocument/2006/relationships/hyperlink" Target="https://www.oecd-nea.org/jcms/pl_90816/the-nea-small-modular-reactor-dashboard-second-edition?details=true" TargetMode="External"/></Relationships>
</file>

<file path=ppt/slides/_rels/slide5.xml.rels><?xml version="1.0" encoding="UTF-8" standalone="yes"?>
<Relationships xmlns="http://schemas.openxmlformats.org/package/2006/relationships"><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tags" Target="../tags/tag52.xml"/><Relationship Id="rId39" Type="http://schemas.openxmlformats.org/officeDocument/2006/relationships/tags" Target="../tags/tag65.xml"/><Relationship Id="rId21" Type="http://schemas.openxmlformats.org/officeDocument/2006/relationships/tags" Target="../tags/tag47.xml"/><Relationship Id="rId34" Type="http://schemas.openxmlformats.org/officeDocument/2006/relationships/tags" Target="../tags/tag60.xml"/><Relationship Id="rId42" Type="http://schemas.openxmlformats.org/officeDocument/2006/relationships/tags" Target="../tags/tag68.xml"/><Relationship Id="rId47" Type="http://schemas.openxmlformats.org/officeDocument/2006/relationships/chart" Target="../charts/chart5.xml"/><Relationship Id="rId50" Type="http://schemas.openxmlformats.org/officeDocument/2006/relationships/hyperlink" Target="https://www.oecd-nea.org/jcms/pl_90816/the-nea-small-modular-reactor-dashboard-second-edition?details=true" TargetMode="External"/><Relationship Id="rId7" Type="http://schemas.openxmlformats.org/officeDocument/2006/relationships/tags" Target="../tags/tag33.xml"/><Relationship Id="rId2" Type="http://schemas.openxmlformats.org/officeDocument/2006/relationships/tags" Target="../tags/tag28.xml"/><Relationship Id="rId16" Type="http://schemas.openxmlformats.org/officeDocument/2006/relationships/tags" Target="../tags/tag42.xml"/><Relationship Id="rId29" Type="http://schemas.openxmlformats.org/officeDocument/2006/relationships/tags" Target="../tags/tag55.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tags" Target="../tags/tag58.xml"/><Relationship Id="rId37" Type="http://schemas.openxmlformats.org/officeDocument/2006/relationships/tags" Target="../tags/tag63.xml"/><Relationship Id="rId40" Type="http://schemas.openxmlformats.org/officeDocument/2006/relationships/tags" Target="../tags/tag66.xml"/><Relationship Id="rId45" Type="http://schemas.openxmlformats.org/officeDocument/2006/relationships/tags" Target="../tags/tag71.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tags" Target="../tags/tag54.xml"/><Relationship Id="rId36" Type="http://schemas.openxmlformats.org/officeDocument/2006/relationships/tags" Target="../tags/tag62.xml"/><Relationship Id="rId49" Type="http://schemas.openxmlformats.org/officeDocument/2006/relationships/image" Target="../media/image23.svg"/><Relationship Id="rId10" Type="http://schemas.openxmlformats.org/officeDocument/2006/relationships/tags" Target="../tags/tag36.xml"/><Relationship Id="rId19" Type="http://schemas.openxmlformats.org/officeDocument/2006/relationships/tags" Target="../tags/tag45.xml"/><Relationship Id="rId31" Type="http://schemas.openxmlformats.org/officeDocument/2006/relationships/tags" Target="../tags/tag57.xml"/><Relationship Id="rId44" Type="http://schemas.openxmlformats.org/officeDocument/2006/relationships/tags" Target="../tags/tag70.xml"/><Relationship Id="rId52" Type="http://schemas.openxmlformats.org/officeDocument/2006/relationships/hyperlink" Target="https://cnpp.iaea.org/public/countries/GB/profile/preview" TargetMode="Externa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tags" Target="../tags/tag53.xml"/><Relationship Id="rId30" Type="http://schemas.openxmlformats.org/officeDocument/2006/relationships/tags" Target="../tags/tag56.xml"/><Relationship Id="rId35" Type="http://schemas.openxmlformats.org/officeDocument/2006/relationships/tags" Target="../tags/tag61.xml"/><Relationship Id="rId43" Type="http://schemas.openxmlformats.org/officeDocument/2006/relationships/tags" Target="../tags/tag69.xml"/><Relationship Id="rId48" Type="http://schemas.openxmlformats.org/officeDocument/2006/relationships/image" Target="../media/image22.png"/><Relationship Id="rId8" Type="http://schemas.openxmlformats.org/officeDocument/2006/relationships/tags" Target="../tags/tag34.xml"/><Relationship Id="rId51" Type="http://schemas.openxmlformats.org/officeDocument/2006/relationships/hyperlink" Target="https://world-nuclear.org/information-library/country-profiles/countries-a-f/france#:~:text=In%20February%202022%20Macron%20announced,by%20the%20deployment%20of%20SMRs." TargetMode="External"/><Relationship Id="rId3" Type="http://schemas.openxmlformats.org/officeDocument/2006/relationships/tags" Target="../tags/tag29.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33" Type="http://schemas.openxmlformats.org/officeDocument/2006/relationships/tags" Target="../tags/tag59.xml"/><Relationship Id="rId38" Type="http://schemas.openxmlformats.org/officeDocument/2006/relationships/tags" Target="../tags/tag64.xml"/><Relationship Id="rId46" Type="http://schemas.openxmlformats.org/officeDocument/2006/relationships/slideLayout" Target="../slideLayouts/slideLayout51.xml"/><Relationship Id="rId20" Type="http://schemas.openxmlformats.org/officeDocument/2006/relationships/tags" Target="../tags/tag46.xml"/><Relationship Id="rId41" Type="http://schemas.openxmlformats.org/officeDocument/2006/relationships/tags" Target="../tags/tag67.xml"/><Relationship Id="rId1" Type="http://schemas.openxmlformats.org/officeDocument/2006/relationships/tags" Target="../tags/tag27.xml"/><Relationship Id="rId6" Type="http://schemas.openxmlformats.org/officeDocument/2006/relationships/tags" Target="../tags/tag3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AC293-DE3E-8766-AAE8-039B5BD36469}"/>
              </a:ext>
            </a:extLst>
          </p:cNvPr>
          <p:cNvSpPr>
            <a:spLocks noGrp="1"/>
          </p:cNvSpPr>
          <p:nvPr>
            <p:ph type="ctrTitle"/>
          </p:nvPr>
        </p:nvSpPr>
        <p:spPr/>
        <p:txBody>
          <a:bodyPr/>
          <a:lstStyle/>
          <a:p>
            <a:r>
              <a:rPr lang="en-US" dirty="0"/>
              <a:t>All for Power Conference 2024</a:t>
            </a:r>
            <a:br>
              <a:rPr lang="cs-CZ" dirty="0"/>
            </a:br>
            <a:r>
              <a:rPr lang="cs-CZ" sz="1600" dirty="0"/>
              <a:t>JADERNÁ ENERGETIKA - EVROPA</a:t>
            </a:r>
          </a:p>
        </p:txBody>
      </p:sp>
      <p:sp>
        <p:nvSpPr>
          <p:cNvPr id="3" name="Subtitle 2">
            <a:extLst>
              <a:ext uri="{FF2B5EF4-FFF2-40B4-BE49-F238E27FC236}">
                <a16:creationId xmlns:a16="http://schemas.microsoft.com/office/drawing/2014/main" id="{38BEC8E7-73DC-DDCA-75C1-7B3E5F334C7D}"/>
              </a:ext>
            </a:extLst>
          </p:cNvPr>
          <p:cNvSpPr>
            <a:spLocks noGrp="1"/>
          </p:cNvSpPr>
          <p:nvPr>
            <p:ph type="subTitle" idx="1"/>
          </p:nvPr>
        </p:nvSpPr>
        <p:spPr/>
        <p:txBody>
          <a:bodyPr/>
          <a:lstStyle/>
          <a:p>
            <a:r>
              <a:rPr lang="cs-CZ" dirty="0"/>
              <a:t>Blahoslav Němeček</a:t>
            </a:r>
            <a:br>
              <a:rPr lang="cs-CZ" dirty="0"/>
            </a:br>
            <a:br>
              <a:rPr lang="cs-CZ" dirty="0"/>
            </a:br>
            <a:r>
              <a:rPr lang="cs-CZ" dirty="0"/>
              <a:t>20.11.2024</a:t>
            </a:r>
          </a:p>
        </p:txBody>
      </p:sp>
    </p:spTree>
    <p:extLst>
      <p:ext uri="{BB962C8B-B14F-4D97-AF65-F5344CB8AC3E}">
        <p14:creationId xmlns:p14="http://schemas.microsoft.com/office/powerpoint/2010/main" val="16683827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16136983-FE40-3488-E1B3-45E3B6073CC2}"/>
              </a:ext>
            </a:extLst>
          </p:cNvPr>
          <p:cNvSpPr/>
          <p:nvPr/>
        </p:nvSpPr>
        <p:spPr>
          <a:xfrm>
            <a:off x="1232452" y="1768196"/>
            <a:ext cx="795131" cy="1305520"/>
          </a:xfrm>
          <a:prstGeom prst="rect">
            <a:avLst/>
          </a:prstGeom>
          <a:solidFill>
            <a:schemeClr val="accent3">
              <a:lumMod val="20000"/>
              <a:lumOff val="80000"/>
              <a:alpha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sz="1200" dirty="0">
              <a:solidFill>
                <a:schemeClr val="bg1"/>
              </a:solidFill>
            </a:endParaRPr>
          </a:p>
        </p:txBody>
      </p:sp>
      <p:sp>
        <p:nvSpPr>
          <p:cNvPr id="2" name="Title 1">
            <a:extLst>
              <a:ext uri="{FF2B5EF4-FFF2-40B4-BE49-F238E27FC236}">
                <a16:creationId xmlns:a16="http://schemas.microsoft.com/office/drawing/2014/main" id="{E634D057-D7F5-707B-17D7-F46C465BCA64}"/>
              </a:ext>
            </a:extLst>
          </p:cNvPr>
          <p:cNvSpPr>
            <a:spLocks noGrp="1"/>
          </p:cNvSpPr>
          <p:nvPr>
            <p:ph type="title"/>
          </p:nvPr>
        </p:nvSpPr>
        <p:spPr/>
        <p:txBody>
          <a:bodyPr/>
          <a:lstStyle/>
          <a:p>
            <a:r>
              <a:rPr lang="cs-CZ" dirty="0"/>
              <a:t>Jaderná energie je nezbytná pro splnění cílů uhlíkové neutrality</a:t>
            </a:r>
          </a:p>
        </p:txBody>
      </p:sp>
      <p:sp>
        <p:nvSpPr>
          <p:cNvPr id="3" name="Footer Placeholder 2">
            <a:extLst>
              <a:ext uri="{FF2B5EF4-FFF2-40B4-BE49-F238E27FC236}">
                <a16:creationId xmlns:a16="http://schemas.microsoft.com/office/drawing/2014/main" id="{75F4BFDC-68C3-93AC-90A8-8BA9D53E4A86}"/>
              </a:ext>
            </a:extLst>
          </p:cNvPr>
          <p:cNvSpPr>
            <a:spLocks noGrp="1"/>
          </p:cNvSpPr>
          <p:nvPr>
            <p:ph type="ftr" sz="quarter" idx="10"/>
          </p:nvPr>
        </p:nvSpPr>
        <p:spPr/>
        <p:txBody>
          <a:bodyPr/>
          <a:lstStyle/>
          <a:p>
            <a:r>
              <a:rPr lang="en-US" dirty="0"/>
              <a:t>All for Power Conference</a:t>
            </a:r>
            <a:r>
              <a:rPr lang="cs-CZ" dirty="0"/>
              <a:t>; </a:t>
            </a:r>
            <a:r>
              <a:rPr lang="cs-CZ" sz="800" dirty="0"/>
              <a:t>Jaderná energetika - Evropa</a:t>
            </a:r>
            <a:endParaRPr lang="cs-CZ" dirty="0"/>
          </a:p>
        </p:txBody>
      </p:sp>
      <p:graphicFrame>
        <p:nvGraphicFramePr>
          <p:cNvPr id="30" name="Chart 29">
            <a:extLst>
              <a:ext uri="{FF2B5EF4-FFF2-40B4-BE49-F238E27FC236}">
                <a16:creationId xmlns:a16="http://schemas.microsoft.com/office/drawing/2014/main" id="{1FB08584-6753-6A5F-9080-FF71933747AF}"/>
              </a:ext>
            </a:extLst>
          </p:cNvPr>
          <p:cNvGraphicFramePr/>
          <p:nvPr>
            <p:extLst>
              <p:ext uri="{D42A27DB-BD31-4B8C-83A1-F6EECF244321}">
                <p14:modId xmlns:p14="http://schemas.microsoft.com/office/powerpoint/2010/main" val="262029478"/>
              </p:ext>
            </p:extLst>
          </p:nvPr>
        </p:nvGraphicFramePr>
        <p:xfrm>
          <a:off x="609917" y="1019083"/>
          <a:ext cx="1656206" cy="2348948"/>
        </p:xfrm>
        <a:graphic>
          <a:graphicData uri="http://schemas.openxmlformats.org/drawingml/2006/chart">
            <c:chart xmlns:c="http://schemas.openxmlformats.org/drawingml/2006/chart" xmlns:r="http://schemas.openxmlformats.org/officeDocument/2006/relationships" r:id="rId3"/>
          </a:graphicData>
        </a:graphic>
      </p:graphicFrame>
      <p:sp>
        <p:nvSpPr>
          <p:cNvPr id="31" name="TextBox 30">
            <a:extLst>
              <a:ext uri="{FF2B5EF4-FFF2-40B4-BE49-F238E27FC236}">
                <a16:creationId xmlns:a16="http://schemas.microsoft.com/office/drawing/2014/main" id="{AB7A5878-4BD6-BE05-4373-A848A9ACBE2A}"/>
              </a:ext>
            </a:extLst>
          </p:cNvPr>
          <p:cNvSpPr txBox="1"/>
          <p:nvPr/>
        </p:nvSpPr>
        <p:spPr>
          <a:xfrm rot="16200000">
            <a:off x="-434748" y="2168481"/>
            <a:ext cx="2005329" cy="144655"/>
          </a:xfrm>
          <a:prstGeom prst="rect">
            <a:avLst/>
          </a:prstGeom>
          <a:noFill/>
        </p:spPr>
        <p:txBody>
          <a:bodyPr wrap="square" lIns="0" tIns="36576" rIns="0" bIns="0" rtlCol="0">
            <a:spAutoFit/>
          </a:bodyPr>
          <a:lstStyle/>
          <a:p>
            <a:pPr algn="l">
              <a:spcAft>
                <a:spcPts val="600"/>
              </a:spcAft>
              <a:buClr>
                <a:schemeClr val="tx2"/>
              </a:buClr>
              <a:buSzPct val="80000"/>
            </a:pPr>
            <a:r>
              <a:rPr lang="cs-CZ" sz="700" dirty="0">
                <a:solidFill>
                  <a:schemeClr val="bg1"/>
                </a:solidFill>
              </a:rPr>
              <a:t>Globální emise skleníkových plynů (</a:t>
            </a:r>
            <a:r>
              <a:rPr lang="cs-CZ" sz="700" dirty="0" err="1">
                <a:solidFill>
                  <a:schemeClr val="bg1"/>
                </a:solidFill>
              </a:rPr>
              <a:t>Gt</a:t>
            </a:r>
            <a:r>
              <a:rPr lang="cs-CZ" sz="700" dirty="0">
                <a:solidFill>
                  <a:schemeClr val="bg1"/>
                </a:solidFill>
              </a:rPr>
              <a:t> CO2-eq.)</a:t>
            </a:r>
          </a:p>
        </p:txBody>
      </p:sp>
      <p:sp>
        <p:nvSpPr>
          <p:cNvPr id="32" name="TextBox 31">
            <a:extLst>
              <a:ext uri="{FF2B5EF4-FFF2-40B4-BE49-F238E27FC236}">
                <a16:creationId xmlns:a16="http://schemas.microsoft.com/office/drawing/2014/main" id="{B6B0B696-6C9F-0C7C-7709-ED07274BBE90}"/>
              </a:ext>
            </a:extLst>
          </p:cNvPr>
          <p:cNvSpPr txBox="1"/>
          <p:nvPr/>
        </p:nvSpPr>
        <p:spPr>
          <a:xfrm>
            <a:off x="849341" y="3073716"/>
            <a:ext cx="383111" cy="221599"/>
          </a:xfrm>
          <a:prstGeom prst="rect">
            <a:avLst/>
          </a:prstGeom>
          <a:noFill/>
        </p:spPr>
        <p:txBody>
          <a:bodyPr wrap="square" lIns="0" tIns="36576" rIns="0" bIns="0" rtlCol="0">
            <a:spAutoFit/>
          </a:bodyPr>
          <a:lstStyle/>
          <a:p>
            <a:pPr algn="l">
              <a:spcAft>
                <a:spcPts val="600"/>
              </a:spcAft>
              <a:buClr>
                <a:schemeClr val="tx2"/>
              </a:buClr>
              <a:buSzPct val="80000"/>
            </a:pPr>
            <a:r>
              <a:rPr lang="cs-CZ" sz="1200" b="1" dirty="0">
                <a:solidFill>
                  <a:schemeClr val="accent3"/>
                </a:solidFill>
              </a:rPr>
              <a:t>2019</a:t>
            </a:r>
          </a:p>
        </p:txBody>
      </p:sp>
      <p:sp>
        <p:nvSpPr>
          <p:cNvPr id="33" name="TextBox 32">
            <a:extLst>
              <a:ext uri="{FF2B5EF4-FFF2-40B4-BE49-F238E27FC236}">
                <a16:creationId xmlns:a16="http://schemas.microsoft.com/office/drawing/2014/main" id="{5D3B464C-5EF6-C5F7-2094-4B8967FB8F7B}"/>
              </a:ext>
            </a:extLst>
          </p:cNvPr>
          <p:cNvSpPr txBox="1"/>
          <p:nvPr/>
        </p:nvSpPr>
        <p:spPr>
          <a:xfrm>
            <a:off x="1466010" y="3073716"/>
            <a:ext cx="383111" cy="221599"/>
          </a:xfrm>
          <a:prstGeom prst="rect">
            <a:avLst/>
          </a:prstGeom>
          <a:noFill/>
        </p:spPr>
        <p:txBody>
          <a:bodyPr wrap="square" lIns="0" tIns="36576" rIns="0" bIns="0" rtlCol="0">
            <a:spAutoFit/>
          </a:bodyPr>
          <a:lstStyle/>
          <a:p>
            <a:pPr algn="l">
              <a:spcAft>
                <a:spcPts val="600"/>
              </a:spcAft>
              <a:buClr>
                <a:schemeClr val="tx2"/>
              </a:buClr>
              <a:buSzPct val="80000"/>
            </a:pPr>
            <a:r>
              <a:rPr lang="cs-CZ" sz="1200" b="1" dirty="0">
                <a:solidFill>
                  <a:schemeClr val="accent3"/>
                </a:solidFill>
              </a:rPr>
              <a:t>2050</a:t>
            </a:r>
          </a:p>
        </p:txBody>
      </p:sp>
      <p:sp>
        <p:nvSpPr>
          <p:cNvPr id="35" name="Oval 34">
            <a:extLst>
              <a:ext uri="{FF2B5EF4-FFF2-40B4-BE49-F238E27FC236}">
                <a16:creationId xmlns:a16="http://schemas.microsoft.com/office/drawing/2014/main" id="{D51BE4FD-0810-F3E3-66A3-07E8768DE7AF}"/>
              </a:ext>
            </a:extLst>
          </p:cNvPr>
          <p:cNvSpPr/>
          <p:nvPr/>
        </p:nvSpPr>
        <p:spPr>
          <a:xfrm>
            <a:off x="1292087" y="1635675"/>
            <a:ext cx="324000" cy="324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cs-CZ" sz="900" b="1" dirty="0">
                <a:solidFill>
                  <a:schemeClr val="tx1"/>
                </a:solidFill>
              </a:rPr>
              <a:t>2ºC</a:t>
            </a:r>
          </a:p>
        </p:txBody>
      </p:sp>
      <p:sp>
        <p:nvSpPr>
          <p:cNvPr id="36" name="Oval 35">
            <a:extLst>
              <a:ext uri="{FF2B5EF4-FFF2-40B4-BE49-F238E27FC236}">
                <a16:creationId xmlns:a16="http://schemas.microsoft.com/office/drawing/2014/main" id="{1F864426-0675-EB23-F5B3-EA8B6F31F1F7}"/>
              </a:ext>
            </a:extLst>
          </p:cNvPr>
          <p:cNvSpPr/>
          <p:nvPr/>
        </p:nvSpPr>
        <p:spPr>
          <a:xfrm>
            <a:off x="1663513" y="1635675"/>
            <a:ext cx="324000" cy="324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cs-CZ" sz="900" b="1" dirty="0">
              <a:solidFill>
                <a:schemeClr val="tx1"/>
              </a:solidFill>
            </a:endParaRPr>
          </a:p>
        </p:txBody>
      </p:sp>
      <p:sp>
        <p:nvSpPr>
          <p:cNvPr id="37" name="TextBox 36">
            <a:extLst>
              <a:ext uri="{FF2B5EF4-FFF2-40B4-BE49-F238E27FC236}">
                <a16:creationId xmlns:a16="http://schemas.microsoft.com/office/drawing/2014/main" id="{6FB1A742-14F8-2918-A3C9-6273AF5AD406}"/>
              </a:ext>
            </a:extLst>
          </p:cNvPr>
          <p:cNvSpPr txBox="1"/>
          <p:nvPr/>
        </p:nvSpPr>
        <p:spPr>
          <a:xfrm>
            <a:off x="1669096" y="1694786"/>
            <a:ext cx="320139" cy="175433"/>
          </a:xfrm>
          <a:prstGeom prst="rect">
            <a:avLst/>
          </a:prstGeom>
          <a:noFill/>
        </p:spPr>
        <p:txBody>
          <a:bodyPr wrap="square" lIns="0" tIns="36576" rIns="0" bIns="0" rtlCol="0">
            <a:spAutoFit/>
          </a:bodyPr>
          <a:lstStyle/>
          <a:p>
            <a:pPr algn="ctr"/>
            <a:r>
              <a:rPr lang="cs-CZ" sz="900" b="1" dirty="0"/>
              <a:t>1,5ºC</a:t>
            </a:r>
          </a:p>
        </p:txBody>
      </p:sp>
      <p:sp>
        <p:nvSpPr>
          <p:cNvPr id="38" name="TextBox 37">
            <a:extLst>
              <a:ext uri="{FF2B5EF4-FFF2-40B4-BE49-F238E27FC236}">
                <a16:creationId xmlns:a16="http://schemas.microsoft.com/office/drawing/2014/main" id="{FDC90F09-8DFE-83EF-2726-D2ABA2BC2CC2}"/>
              </a:ext>
            </a:extLst>
          </p:cNvPr>
          <p:cNvSpPr txBox="1"/>
          <p:nvPr/>
        </p:nvSpPr>
        <p:spPr>
          <a:xfrm>
            <a:off x="655682" y="1050512"/>
            <a:ext cx="1596809" cy="313932"/>
          </a:xfrm>
          <a:prstGeom prst="rect">
            <a:avLst/>
          </a:prstGeom>
          <a:noFill/>
        </p:spPr>
        <p:txBody>
          <a:bodyPr wrap="square" lIns="0" tIns="36576" rIns="0" bIns="0" rtlCol="0">
            <a:spAutoFit/>
          </a:bodyPr>
          <a:lstStyle/>
          <a:p>
            <a:pPr algn="ctr">
              <a:spcAft>
                <a:spcPts val="600"/>
              </a:spcAft>
              <a:buClr>
                <a:schemeClr val="tx2"/>
              </a:buClr>
              <a:buSzPct val="80000"/>
            </a:pPr>
            <a:r>
              <a:rPr lang="cs-CZ" sz="900" b="1" dirty="0">
                <a:solidFill>
                  <a:schemeClr val="bg1"/>
                </a:solidFill>
              </a:rPr>
              <a:t>Produkce skleníkových plynů k dosažní uhlíkové neutrality</a:t>
            </a:r>
          </a:p>
        </p:txBody>
      </p:sp>
      <p:grpSp>
        <p:nvGrpSpPr>
          <p:cNvPr id="45" name="Group 44">
            <a:extLst>
              <a:ext uri="{FF2B5EF4-FFF2-40B4-BE49-F238E27FC236}">
                <a16:creationId xmlns:a16="http://schemas.microsoft.com/office/drawing/2014/main" id="{9E8E4454-9A19-A774-3C8B-59CE3B82D52D}"/>
              </a:ext>
            </a:extLst>
          </p:cNvPr>
          <p:cNvGrpSpPr/>
          <p:nvPr/>
        </p:nvGrpSpPr>
        <p:grpSpPr>
          <a:xfrm>
            <a:off x="915180" y="1586043"/>
            <a:ext cx="54000" cy="254249"/>
            <a:chOff x="909331" y="1502710"/>
            <a:chExt cx="54000" cy="254249"/>
          </a:xfrm>
        </p:grpSpPr>
        <p:cxnSp>
          <p:nvCxnSpPr>
            <p:cNvPr id="40" name="Straight Connector 39">
              <a:extLst>
                <a:ext uri="{FF2B5EF4-FFF2-40B4-BE49-F238E27FC236}">
                  <a16:creationId xmlns:a16="http://schemas.microsoft.com/office/drawing/2014/main" id="{D814C0D3-DE1C-865A-D9F5-02859A8EAE81}"/>
                </a:ext>
              </a:extLst>
            </p:cNvPr>
            <p:cNvCxnSpPr>
              <a:cxnSpLocks/>
            </p:cNvCxnSpPr>
            <p:nvPr/>
          </p:nvCxnSpPr>
          <p:spPr>
            <a:xfrm>
              <a:off x="936331" y="1502710"/>
              <a:ext cx="0" cy="254249"/>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691FE1D-929E-69D7-B47F-CAD80BF88DE1}"/>
                </a:ext>
              </a:extLst>
            </p:cNvPr>
            <p:cNvCxnSpPr>
              <a:cxnSpLocks/>
            </p:cNvCxnSpPr>
            <p:nvPr/>
          </p:nvCxnSpPr>
          <p:spPr>
            <a:xfrm>
              <a:off x="909331" y="1502710"/>
              <a:ext cx="54000"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4915D2D-AE39-29B5-1233-9684BF52DBAF}"/>
                </a:ext>
              </a:extLst>
            </p:cNvPr>
            <p:cNvCxnSpPr>
              <a:cxnSpLocks/>
            </p:cNvCxnSpPr>
            <p:nvPr/>
          </p:nvCxnSpPr>
          <p:spPr>
            <a:xfrm>
              <a:off x="909331" y="1756959"/>
              <a:ext cx="54000"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4FC3D4E9-EBBB-450C-BEA1-FAA925CBCE92}"/>
              </a:ext>
            </a:extLst>
          </p:cNvPr>
          <p:cNvGrpSpPr/>
          <p:nvPr/>
        </p:nvGrpSpPr>
        <p:grpSpPr>
          <a:xfrm>
            <a:off x="1063785" y="1935692"/>
            <a:ext cx="54000" cy="254249"/>
            <a:chOff x="909331" y="1502710"/>
            <a:chExt cx="54000" cy="254249"/>
          </a:xfrm>
        </p:grpSpPr>
        <p:cxnSp>
          <p:nvCxnSpPr>
            <p:cNvPr id="47" name="Straight Connector 46">
              <a:extLst>
                <a:ext uri="{FF2B5EF4-FFF2-40B4-BE49-F238E27FC236}">
                  <a16:creationId xmlns:a16="http://schemas.microsoft.com/office/drawing/2014/main" id="{0D5CC208-5C1D-EC0B-C30D-E84C41AA6252}"/>
                </a:ext>
              </a:extLst>
            </p:cNvPr>
            <p:cNvCxnSpPr>
              <a:cxnSpLocks/>
            </p:cNvCxnSpPr>
            <p:nvPr/>
          </p:nvCxnSpPr>
          <p:spPr>
            <a:xfrm>
              <a:off x="936331" y="1502710"/>
              <a:ext cx="0" cy="254249"/>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B85533D-20D3-E243-A8EC-660934AB23B3}"/>
                </a:ext>
              </a:extLst>
            </p:cNvPr>
            <p:cNvCxnSpPr>
              <a:cxnSpLocks/>
            </p:cNvCxnSpPr>
            <p:nvPr/>
          </p:nvCxnSpPr>
          <p:spPr>
            <a:xfrm>
              <a:off x="909331" y="1502710"/>
              <a:ext cx="54000"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C532AF1-8DB0-1D92-0E95-C03F04E0BF7F}"/>
                </a:ext>
              </a:extLst>
            </p:cNvPr>
            <p:cNvCxnSpPr>
              <a:cxnSpLocks/>
            </p:cNvCxnSpPr>
            <p:nvPr/>
          </p:nvCxnSpPr>
          <p:spPr>
            <a:xfrm>
              <a:off x="909331" y="1756959"/>
              <a:ext cx="54000"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2E97E2B9-3D25-1982-9F62-3E5059BA1AC7}"/>
              </a:ext>
            </a:extLst>
          </p:cNvPr>
          <p:cNvGrpSpPr/>
          <p:nvPr/>
        </p:nvGrpSpPr>
        <p:grpSpPr>
          <a:xfrm>
            <a:off x="1325309" y="2482645"/>
            <a:ext cx="54000" cy="254249"/>
            <a:chOff x="909331" y="1502710"/>
            <a:chExt cx="54000" cy="254249"/>
          </a:xfrm>
        </p:grpSpPr>
        <p:cxnSp>
          <p:nvCxnSpPr>
            <p:cNvPr id="51" name="Straight Connector 50">
              <a:extLst>
                <a:ext uri="{FF2B5EF4-FFF2-40B4-BE49-F238E27FC236}">
                  <a16:creationId xmlns:a16="http://schemas.microsoft.com/office/drawing/2014/main" id="{A953351D-09B4-DD01-81FF-8310031AE56C}"/>
                </a:ext>
              </a:extLst>
            </p:cNvPr>
            <p:cNvCxnSpPr>
              <a:cxnSpLocks/>
            </p:cNvCxnSpPr>
            <p:nvPr/>
          </p:nvCxnSpPr>
          <p:spPr>
            <a:xfrm>
              <a:off x="936331" y="1502710"/>
              <a:ext cx="0" cy="254249"/>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5FD9053-2C6B-F044-873B-A924EB939CF0}"/>
                </a:ext>
              </a:extLst>
            </p:cNvPr>
            <p:cNvCxnSpPr>
              <a:cxnSpLocks/>
            </p:cNvCxnSpPr>
            <p:nvPr/>
          </p:nvCxnSpPr>
          <p:spPr>
            <a:xfrm>
              <a:off x="909331" y="1502710"/>
              <a:ext cx="54000"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3416836-4333-2076-BA49-BDB98893D197}"/>
                </a:ext>
              </a:extLst>
            </p:cNvPr>
            <p:cNvCxnSpPr>
              <a:cxnSpLocks/>
            </p:cNvCxnSpPr>
            <p:nvPr/>
          </p:nvCxnSpPr>
          <p:spPr>
            <a:xfrm>
              <a:off x="909331" y="1756959"/>
              <a:ext cx="54000"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8D0D7D1C-083D-7D86-A8CA-447920016FAB}"/>
              </a:ext>
            </a:extLst>
          </p:cNvPr>
          <p:cNvGrpSpPr/>
          <p:nvPr/>
        </p:nvGrpSpPr>
        <p:grpSpPr>
          <a:xfrm>
            <a:off x="1477709" y="2568532"/>
            <a:ext cx="54000" cy="254249"/>
            <a:chOff x="909331" y="1502710"/>
            <a:chExt cx="54000" cy="254249"/>
          </a:xfrm>
        </p:grpSpPr>
        <p:cxnSp>
          <p:nvCxnSpPr>
            <p:cNvPr id="55" name="Straight Connector 54">
              <a:extLst>
                <a:ext uri="{FF2B5EF4-FFF2-40B4-BE49-F238E27FC236}">
                  <a16:creationId xmlns:a16="http://schemas.microsoft.com/office/drawing/2014/main" id="{6FC839A6-E1FE-6659-16B9-32742DDE3D37}"/>
                </a:ext>
              </a:extLst>
            </p:cNvPr>
            <p:cNvCxnSpPr>
              <a:cxnSpLocks/>
            </p:cNvCxnSpPr>
            <p:nvPr/>
          </p:nvCxnSpPr>
          <p:spPr>
            <a:xfrm>
              <a:off x="936331" y="1502710"/>
              <a:ext cx="0" cy="254249"/>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A4BDD23-7D6F-517F-7BCF-9FFF782EB838}"/>
                </a:ext>
              </a:extLst>
            </p:cNvPr>
            <p:cNvCxnSpPr>
              <a:cxnSpLocks/>
            </p:cNvCxnSpPr>
            <p:nvPr/>
          </p:nvCxnSpPr>
          <p:spPr>
            <a:xfrm>
              <a:off x="909331" y="1502710"/>
              <a:ext cx="54000"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33DC78E-90DB-3977-BBDD-6E63CEF652D2}"/>
                </a:ext>
              </a:extLst>
            </p:cNvPr>
            <p:cNvCxnSpPr>
              <a:cxnSpLocks/>
            </p:cNvCxnSpPr>
            <p:nvPr/>
          </p:nvCxnSpPr>
          <p:spPr>
            <a:xfrm>
              <a:off x="909331" y="1756959"/>
              <a:ext cx="54000"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15D8FCD3-BBA5-68D8-5007-FEA86A9A9198}"/>
              </a:ext>
            </a:extLst>
          </p:cNvPr>
          <p:cNvGrpSpPr/>
          <p:nvPr/>
        </p:nvGrpSpPr>
        <p:grpSpPr>
          <a:xfrm>
            <a:off x="1737276" y="2669311"/>
            <a:ext cx="54000" cy="288000"/>
            <a:chOff x="909331" y="1502710"/>
            <a:chExt cx="54000" cy="254249"/>
          </a:xfrm>
        </p:grpSpPr>
        <p:cxnSp>
          <p:nvCxnSpPr>
            <p:cNvPr id="59" name="Straight Connector 58">
              <a:extLst>
                <a:ext uri="{FF2B5EF4-FFF2-40B4-BE49-F238E27FC236}">
                  <a16:creationId xmlns:a16="http://schemas.microsoft.com/office/drawing/2014/main" id="{C345C6E4-30C7-7C91-7C42-7AEDC2D55DF8}"/>
                </a:ext>
              </a:extLst>
            </p:cNvPr>
            <p:cNvCxnSpPr>
              <a:cxnSpLocks/>
            </p:cNvCxnSpPr>
            <p:nvPr/>
          </p:nvCxnSpPr>
          <p:spPr>
            <a:xfrm>
              <a:off x="936331" y="1502710"/>
              <a:ext cx="0" cy="254249"/>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26DF1D2-2F16-E8F6-7F19-AFFD82F446BE}"/>
                </a:ext>
              </a:extLst>
            </p:cNvPr>
            <p:cNvCxnSpPr>
              <a:cxnSpLocks/>
            </p:cNvCxnSpPr>
            <p:nvPr/>
          </p:nvCxnSpPr>
          <p:spPr>
            <a:xfrm>
              <a:off x="909331" y="1502710"/>
              <a:ext cx="54000"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3E114C6-C574-4071-4009-979B5EE8456A}"/>
                </a:ext>
              </a:extLst>
            </p:cNvPr>
            <p:cNvCxnSpPr>
              <a:cxnSpLocks/>
            </p:cNvCxnSpPr>
            <p:nvPr/>
          </p:nvCxnSpPr>
          <p:spPr>
            <a:xfrm>
              <a:off x="909331" y="1756959"/>
              <a:ext cx="54000"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3098730F-DD18-450B-C386-1743E27577F9}"/>
              </a:ext>
            </a:extLst>
          </p:cNvPr>
          <p:cNvGrpSpPr/>
          <p:nvPr/>
        </p:nvGrpSpPr>
        <p:grpSpPr>
          <a:xfrm>
            <a:off x="1880393" y="2882032"/>
            <a:ext cx="54000" cy="254249"/>
            <a:chOff x="909331" y="1502710"/>
            <a:chExt cx="54000" cy="254249"/>
          </a:xfrm>
        </p:grpSpPr>
        <p:cxnSp>
          <p:nvCxnSpPr>
            <p:cNvPr id="63" name="Straight Connector 62">
              <a:extLst>
                <a:ext uri="{FF2B5EF4-FFF2-40B4-BE49-F238E27FC236}">
                  <a16:creationId xmlns:a16="http://schemas.microsoft.com/office/drawing/2014/main" id="{23703D10-D934-D019-791F-871A2088B5AB}"/>
                </a:ext>
              </a:extLst>
            </p:cNvPr>
            <p:cNvCxnSpPr>
              <a:cxnSpLocks/>
            </p:cNvCxnSpPr>
            <p:nvPr/>
          </p:nvCxnSpPr>
          <p:spPr>
            <a:xfrm>
              <a:off x="936331" y="1502710"/>
              <a:ext cx="0" cy="254249"/>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529A5CA-91A2-84A2-584F-17C69601572E}"/>
                </a:ext>
              </a:extLst>
            </p:cNvPr>
            <p:cNvCxnSpPr>
              <a:cxnSpLocks/>
            </p:cNvCxnSpPr>
            <p:nvPr/>
          </p:nvCxnSpPr>
          <p:spPr>
            <a:xfrm>
              <a:off x="909331" y="1502710"/>
              <a:ext cx="54000"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AF504CD-8736-5D43-727E-7F0C63DD40DB}"/>
                </a:ext>
              </a:extLst>
            </p:cNvPr>
            <p:cNvCxnSpPr>
              <a:cxnSpLocks/>
            </p:cNvCxnSpPr>
            <p:nvPr/>
          </p:nvCxnSpPr>
          <p:spPr>
            <a:xfrm>
              <a:off x="909331" y="1756959"/>
              <a:ext cx="54000"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grpSp>
      <p:sp>
        <p:nvSpPr>
          <p:cNvPr id="67" name="TextBox 66">
            <a:extLst>
              <a:ext uri="{FF2B5EF4-FFF2-40B4-BE49-F238E27FC236}">
                <a16:creationId xmlns:a16="http://schemas.microsoft.com/office/drawing/2014/main" id="{66A74256-1724-6B23-DA49-45CE227B5A72}"/>
              </a:ext>
            </a:extLst>
          </p:cNvPr>
          <p:cNvSpPr txBox="1"/>
          <p:nvPr/>
        </p:nvSpPr>
        <p:spPr>
          <a:xfrm>
            <a:off x="2394156" y="1050512"/>
            <a:ext cx="9452745" cy="461665"/>
          </a:xfrm>
          <a:prstGeom prst="rect">
            <a:avLst/>
          </a:prstGeom>
          <a:noFill/>
        </p:spPr>
        <p:txBody>
          <a:bodyPr wrap="square" lIns="0">
            <a:spAutoFit/>
          </a:bodyPr>
          <a:lstStyle/>
          <a:p>
            <a:r>
              <a:rPr lang="cs-CZ" sz="1200" b="1" dirty="0">
                <a:solidFill>
                  <a:srgbClr val="188CE5"/>
                </a:solidFill>
              </a:rPr>
              <a:t>Globální scénáře pro dosažení uhlíkové neutrality ukazují, že pro dosažení klimatických cílů omezení globálního oteplování na 1,5°C nebo 2°C bude potřeba větší využívání jaderné energetiky.</a:t>
            </a:r>
            <a:endParaRPr lang="cs-CZ" sz="1000" b="1" dirty="0">
              <a:solidFill>
                <a:srgbClr val="188CE5"/>
              </a:solidFill>
            </a:endParaRPr>
          </a:p>
        </p:txBody>
      </p:sp>
      <p:sp>
        <p:nvSpPr>
          <p:cNvPr id="68" name="TextBox 67">
            <a:extLst>
              <a:ext uri="{FF2B5EF4-FFF2-40B4-BE49-F238E27FC236}">
                <a16:creationId xmlns:a16="http://schemas.microsoft.com/office/drawing/2014/main" id="{07D58AE3-115E-D8B0-89A1-9CC38AB4F926}"/>
              </a:ext>
            </a:extLst>
          </p:cNvPr>
          <p:cNvSpPr txBox="1"/>
          <p:nvPr/>
        </p:nvSpPr>
        <p:spPr>
          <a:xfrm>
            <a:off x="2394157" y="1491197"/>
            <a:ext cx="9180644" cy="553998"/>
          </a:xfrm>
          <a:prstGeom prst="rect">
            <a:avLst/>
          </a:prstGeom>
          <a:noFill/>
        </p:spPr>
        <p:txBody>
          <a:bodyPr wrap="square" lIns="0">
            <a:spAutoFit/>
          </a:bodyPr>
          <a:lstStyle/>
          <a:p>
            <a:r>
              <a:rPr lang="cs-CZ" sz="1000" dirty="0">
                <a:solidFill>
                  <a:schemeClr val="bg1"/>
                </a:solidFill>
              </a:rPr>
              <a:t>Šestá hodnotící zpráva Mezivládního panelu pro změnu klimatu (IPCC) a Světový energetický výhled Mezinárodní energetické agentury (IEA) zdůrazňují významnou roli jaderné energie — ve spojení s dalšími nízkouhlíkovými zdroji energie — v přechodových scénářích, které jsou v souladu s cíli Pařížské dohody. </a:t>
            </a:r>
            <a:r>
              <a:rPr lang="cs-CZ" sz="1000" b="1" dirty="0">
                <a:solidFill>
                  <a:schemeClr val="bg1"/>
                </a:solidFill>
              </a:rPr>
              <a:t>Většina nízkouhlíkových scénářů předpokládá zdvojnásobení nebo vyšší růst globální výroby jaderné elektřiny do roku 2050</a:t>
            </a:r>
            <a:r>
              <a:rPr lang="cs-CZ" sz="1000" dirty="0">
                <a:solidFill>
                  <a:schemeClr val="bg1"/>
                </a:solidFill>
              </a:rPr>
              <a:t>.</a:t>
            </a:r>
            <a:endParaRPr lang="cs-CZ" sz="1000" b="1" dirty="0">
              <a:solidFill>
                <a:schemeClr val="bg1"/>
              </a:solidFill>
            </a:endParaRPr>
          </a:p>
        </p:txBody>
      </p:sp>
      <p:sp>
        <p:nvSpPr>
          <p:cNvPr id="70" name="TextBox 69">
            <a:extLst>
              <a:ext uri="{FF2B5EF4-FFF2-40B4-BE49-F238E27FC236}">
                <a16:creationId xmlns:a16="http://schemas.microsoft.com/office/drawing/2014/main" id="{F8CD2ABA-E7A7-B598-A828-CA02074E7C4C}"/>
              </a:ext>
            </a:extLst>
          </p:cNvPr>
          <p:cNvSpPr txBox="1"/>
          <p:nvPr/>
        </p:nvSpPr>
        <p:spPr>
          <a:xfrm>
            <a:off x="2394157" y="2117413"/>
            <a:ext cx="9194276" cy="461665"/>
          </a:xfrm>
          <a:prstGeom prst="rect">
            <a:avLst/>
          </a:prstGeom>
          <a:noFill/>
        </p:spPr>
        <p:txBody>
          <a:bodyPr wrap="square" lIns="0">
            <a:spAutoFit/>
          </a:bodyPr>
          <a:lstStyle/>
          <a:p>
            <a:r>
              <a:rPr lang="cs-CZ" sz="1200" b="1" dirty="0">
                <a:solidFill>
                  <a:srgbClr val="188CE5"/>
                </a:solidFill>
              </a:rPr>
              <a:t>Podle projekcí Mezinárodní agentury pro atomovou energii (IAEA), bude do roku 2050 potřeba 7000 </a:t>
            </a:r>
            <a:r>
              <a:rPr lang="cs-CZ" sz="1200" b="1" dirty="0" err="1">
                <a:solidFill>
                  <a:srgbClr val="188CE5"/>
                </a:solidFill>
              </a:rPr>
              <a:t>TWh</a:t>
            </a:r>
            <a:r>
              <a:rPr lang="cs-CZ" sz="1200" b="1" dirty="0">
                <a:solidFill>
                  <a:srgbClr val="188CE5"/>
                </a:solidFill>
              </a:rPr>
              <a:t> z výroby jaderné elektřiny (což odpovídá 890 GW instalovaného výkonu).</a:t>
            </a:r>
          </a:p>
        </p:txBody>
      </p:sp>
      <p:sp>
        <p:nvSpPr>
          <p:cNvPr id="71" name="Rectangle 70">
            <a:extLst>
              <a:ext uri="{FF2B5EF4-FFF2-40B4-BE49-F238E27FC236}">
                <a16:creationId xmlns:a16="http://schemas.microsoft.com/office/drawing/2014/main" id="{FF184F4C-4751-82DB-CF6E-7C5F6244262D}"/>
              </a:ext>
            </a:extLst>
          </p:cNvPr>
          <p:cNvSpPr/>
          <p:nvPr/>
        </p:nvSpPr>
        <p:spPr>
          <a:xfrm>
            <a:off x="706286" y="3323091"/>
            <a:ext cx="80819" cy="80819"/>
          </a:xfrm>
          <a:prstGeom prst="rect">
            <a:avLst/>
          </a:prstGeom>
          <a:solidFill>
            <a:srgbClr val="27ACAA"/>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sz="1200" dirty="0" err="1">
              <a:solidFill>
                <a:schemeClr val="bg1"/>
              </a:solidFill>
            </a:endParaRPr>
          </a:p>
        </p:txBody>
      </p:sp>
      <p:sp>
        <p:nvSpPr>
          <p:cNvPr id="72" name="Rectangle 71">
            <a:extLst>
              <a:ext uri="{FF2B5EF4-FFF2-40B4-BE49-F238E27FC236}">
                <a16:creationId xmlns:a16="http://schemas.microsoft.com/office/drawing/2014/main" id="{80B28232-50D2-5ABD-19FD-8A882EEA7995}"/>
              </a:ext>
            </a:extLst>
          </p:cNvPr>
          <p:cNvSpPr/>
          <p:nvPr/>
        </p:nvSpPr>
        <p:spPr>
          <a:xfrm>
            <a:off x="1762408" y="3323091"/>
            <a:ext cx="80819" cy="80819"/>
          </a:xfrm>
          <a:prstGeom prst="rect">
            <a:avLst/>
          </a:prstGeom>
          <a:solidFill>
            <a:srgbClr val="188C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sz="1200" dirty="0" err="1">
              <a:solidFill>
                <a:schemeClr val="bg1"/>
              </a:solidFill>
            </a:endParaRPr>
          </a:p>
        </p:txBody>
      </p:sp>
      <p:sp>
        <p:nvSpPr>
          <p:cNvPr id="73" name="TextBox 72">
            <a:extLst>
              <a:ext uri="{FF2B5EF4-FFF2-40B4-BE49-F238E27FC236}">
                <a16:creationId xmlns:a16="http://schemas.microsoft.com/office/drawing/2014/main" id="{45C16433-880C-B120-4E19-5EA25C1A6726}"/>
              </a:ext>
            </a:extLst>
          </p:cNvPr>
          <p:cNvSpPr txBox="1"/>
          <p:nvPr/>
        </p:nvSpPr>
        <p:spPr>
          <a:xfrm>
            <a:off x="833358" y="3298867"/>
            <a:ext cx="878446" cy="129266"/>
          </a:xfrm>
          <a:prstGeom prst="rect">
            <a:avLst/>
          </a:prstGeom>
          <a:noFill/>
        </p:spPr>
        <p:txBody>
          <a:bodyPr wrap="none" lIns="0" tIns="0" rIns="0" bIns="0" rtlCol="0" anchor="ctr">
            <a:noAutofit/>
          </a:bodyPr>
          <a:lstStyle/>
          <a:p>
            <a:pPr>
              <a:spcAft>
                <a:spcPts val="600"/>
              </a:spcAft>
              <a:buClr>
                <a:schemeClr val="tx2"/>
              </a:buClr>
              <a:buSzPct val="80000"/>
            </a:pPr>
            <a:r>
              <a:rPr lang="cs-CZ" sz="600" dirty="0">
                <a:solidFill>
                  <a:schemeClr val="bg1"/>
                </a:solidFill>
              </a:rPr>
              <a:t>Všechny skleníkové plyny</a:t>
            </a:r>
          </a:p>
        </p:txBody>
      </p:sp>
      <p:sp>
        <p:nvSpPr>
          <p:cNvPr id="74" name="TextBox 73">
            <a:extLst>
              <a:ext uri="{FF2B5EF4-FFF2-40B4-BE49-F238E27FC236}">
                <a16:creationId xmlns:a16="http://schemas.microsoft.com/office/drawing/2014/main" id="{2D108D44-9B90-B0E4-2BE3-CDA9D6629A57}"/>
              </a:ext>
            </a:extLst>
          </p:cNvPr>
          <p:cNvSpPr txBox="1"/>
          <p:nvPr/>
        </p:nvSpPr>
        <p:spPr>
          <a:xfrm>
            <a:off x="1899725" y="3298867"/>
            <a:ext cx="150682" cy="129266"/>
          </a:xfrm>
          <a:prstGeom prst="rect">
            <a:avLst/>
          </a:prstGeom>
          <a:noFill/>
        </p:spPr>
        <p:txBody>
          <a:bodyPr wrap="none" lIns="0" tIns="0" rIns="0" bIns="0" rtlCol="0" anchor="ctr">
            <a:noAutofit/>
          </a:bodyPr>
          <a:lstStyle/>
          <a:p>
            <a:pPr>
              <a:spcAft>
                <a:spcPts val="600"/>
              </a:spcAft>
              <a:buClr>
                <a:schemeClr val="tx2"/>
              </a:buClr>
              <a:buSzPct val="80000"/>
            </a:pPr>
            <a:r>
              <a:rPr lang="cs-CZ" sz="600" dirty="0">
                <a:solidFill>
                  <a:schemeClr val="bg1"/>
                </a:solidFill>
              </a:rPr>
              <a:t>CO2</a:t>
            </a:r>
          </a:p>
        </p:txBody>
      </p:sp>
      <p:sp>
        <p:nvSpPr>
          <p:cNvPr id="75" name="Rectangle: Rounded Corners 74">
            <a:extLst>
              <a:ext uri="{FF2B5EF4-FFF2-40B4-BE49-F238E27FC236}">
                <a16:creationId xmlns:a16="http://schemas.microsoft.com/office/drawing/2014/main" id="{6BBC7FD1-B0C7-78F8-575D-C3EC820F4538}"/>
              </a:ext>
            </a:extLst>
          </p:cNvPr>
          <p:cNvSpPr/>
          <p:nvPr/>
        </p:nvSpPr>
        <p:spPr>
          <a:xfrm>
            <a:off x="609917" y="3562111"/>
            <a:ext cx="10964884" cy="252000"/>
          </a:xfrm>
          <a:prstGeom prst="roundRect">
            <a:avLst/>
          </a:prstGeom>
          <a:solidFill>
            <a:schemeClr val="tx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algn="ctr"/>
            <a:r>
              <a:rPr lang="cs-CZ" sz="1200" b="1" dirty="0">
                <a:solidFill>
                  <a:schemeClr val="bg1"/>
                </a:solidFill>
              </a:rPr>
              <a:t>Severní, západní a jižní Evropa v roce 2023</a:t>
            </a:r>
          </a:p>
        </p:txBody>
      </p:sp>
      <p:sp>
        <p:nvSpPr>
          <p:cNvPr id="77" name="TextBox 76">
            <a:extLst>
              <a:ext uri="{FF2B5EF4-FFF2-40B4-BE49-F238E27FC236}">
                <a16:creationId xmlns:a16="http://schemas.microsoft.com/office/drawing/2014/main" id="{B91663DD-A28B-B040-6B62-E0201FB028BD}"/>
              </a:ext>
            </a:extLst>
          </p:cNvPr>
          <p:cNvSpPr txBox="1"/>
          <p:nvPr/>
        </p:nvSpPr>
        <p:spPr>
          <a:xfrm>
            <a:off x="2391522" y="2553080"/>
            <a:ext cx="9180644" cy="553998"/>
          </a:xfrm>
          <a:prstGeom prst="rect">
            <a:avLst/>
          </a:prstGeom>
          <a:noFill/>
        </p:spPr>
        <p:txBody>
          <a:bodyPr wrap="square" lIns="0">
            <a:spAutoFit/>
          </a:bodyPr>
          <a:lstStyle/>
          <a:p>
            <a:r>
              <a:rPr lang="cs-CZ" sz="1000" dirty="0">
                <a:solidFill>
                  <a:schemeClr val="bg1"/>
                </a:solidFill>
              </a:rPr>
              <a:t>Pro dosažení potenciálu jaderné energie je tedy nutné urychlit globální investice a tempo jejího nasazování ze současných úrovní</a:t>
            </a:r>
            <a:r>
              <a:rPr lang="cs-CZ" sz="1000" dirty="0">
                <a:solidFill>
                  <a:schemeClr val="bg1">
                    <a:lumMod val="60000"/>
                    <a:lumOff val="40000"/>
                  </a:schemeClr>
                </a:solidFill>
              </a:rPr>
              <a:t>.</a:t>
            </a:r>
            <a:r>
              <a:rPr lang="cs-CZ" sz="1000" dirty="0">
                <a:solidFill>
                  <a:schemeClr val="bg1"/>
                </a:solidFill>
              </a:rPr>
              <a:t> IEA identifikovala, že pro dosažení uhlíkové neutrality bude potřeba zvýšit roční investice do jaderné energetiky na </a:t>
            </a:r>
            <a:r>
              <a:rPr lang="cs-CZ" sz="1000" b="1" dirty="0">
                <a:solidFill>
                  <a:schemeClr val="bg1"/>
                </a:solidFill>
              </a:rPr>
              <a:t>více než 100 miliard USD do roku 2030</a:t>
            </a:r>
            <a:r>
              <a:rPr lang="cs-CZ" sz="1000" dirty="0">
                <a:solidFill>
                  <a:schemeClr val="bg1"/>
                </a:solidFill>
              </a:rPr>
              <a:t>, oproti přibližně 40 miliardám USD ročně v letech 2016–2020. </a:t>
            </a:r>
            <a:r>
              <a:rPr lang="cs-CZ" sz="1000" b="1" dirty="0">
                <a:solidFill>
                  <a:schemeClr val="bg1"/>
                </a:solidFill>
              </a:rPr>
              <a:t>Tímto tempem by do roku 2050 činily investice do jaderné energetiky více než 2 biliony USD.</a:t>
            </a:r>
          </a:p>
        </p:txBody>
      </p:sp>
      <p:pic>
        <p:nvPicPr>
          <p:cNvPr id="80" name="Graphic 79" descr="Atom with solid fill">
            <a:extLst>
              <a:ext uri="{FF2B5EF4-FFF2-40B4-BE49-F238E27FC236}">
                <a16:creationId xmlns:a16="http://schemas.microsoft.com/office/drawing/2014/main" id="{815AB12D-0ABC-FEC9-A22A-2214FA9D820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35214" y="5543089"/>
            <a:ext cx="495687" cy="495687"/>
          </a:xfrm>
          <a:prstGeom prst="rect">
            <a:avLst/>
          </a:prstGeom>
        </p:spPr>
      </p:pic>
      <p:pic>
        <p:nvPicPr>
          <p:cNvPr id="82" name="Graphic 81" descr="Lightbulb with solid fill">
            <a:extLst>
              <a:ext uri="{FF2B5EF4-FFF2-40B4-BE49-F238E27FC236}">
                <a16:creationId xmlns:a16="http://schemas.microsoft.com/office/drawing/2014/main" id="{293FD31D-500E-E1DB-09C9-3DF9E2052D2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8214" y="4817173"/>
            <a:ext cx="495687" cy="495687"/>
          </a:xfrm>
          <a:prstGeom prst="rect">
            <a:avLst/>
          </a:prstGeom>
        </p:spPr>
      </p:pic>
      <p:pic>
        <p:nvPicPr>
          <p:cNvPr id="84" name="Graphic 83" descr="Power with solid fill">
            <a:extLst>
              <a:ext uri="{FF2B5EF4-FFF2-40B4-BE49-F238E27FC236}">
                <a16:creationId xmlns:a16="http://schemas.microsoft.com/office/drawing/2014/main" id="{94F86D16-0438-C424-E98D-B35BA4984CE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08214" y="4060901"/>
            <a:ext cx="495687" cy="495687"/>
          </a:xfrm>
          <a:prstGeom prst="rect">
            <a:avLst/>
          </a:prstGeom>
        </p:spPr>
      </p:pic>
      <p:sp>
        <p:nvSpPr>
          <p:cNvPr id="85" name="TextBox 84">
            <a:extLst>
              <a:ext uri="{FF2B5EF4-FFF2-40B4-BE49-F238E27FC236}">
                <a16:creationId xmlns:a16="http://schemas.microsoft.com/office/drawing/2014/main" id="{B4A80249-E5B9-1E40-0E32-48B24F1C93B0}"/>
              </a:ext>
            </a:extLst>
          </p:cNvPr>
          <p:cNvSpPr txBox="1"/>
          <p:nvPr/>
        </p:nvSpPr>
        <p:spPr>
          <a:xfrm>
            <a:off x="1258164" y="4028668"/>
            <a:ext cx="1433803" cy="560153"/>
          </a:xfrm>
          <a:prstGeom prst="rect">
            <a:avLst/>
          </a:prstGeom>
          <a:noFill/>
        </p:spPr>
        <p:txBody>
          <a:bodyPr wrap="square" lIns="0" tIns="36576" rIns="0" bIns="0" rtlCol="0">
            <a:spAutoFit/>
          </a:bodyPr>
          <a:lstStyle/>
          <a:p>
            <a:pPr algn="l">
              <a:spcAft>
                <a:spcPts val="600"/>
              </a:spcAft>
              <a:buClr>
                <a:schemeClr val="tx2"/>
              </a:buClr>
              <a:buSzPct val="80000"/>
            </a:pPr>
            <a:r>
              <a:rPr lang="cs-CZ" sz="1600" b="1" dirty="0">
                <a:solidFill>
                  <a:schemeClr val="accent3"/>
                </a:solidFill>
              </a:rPr>
              <a:t>20,8%</a:t>
            </a:r>
            <a:br>
              <a:rPr lang="cs-CZ" sz="1600" dirty="0">
                <a:solidFill>
                  <a:schemeClr val="bg1"/>
                </a:solidFill>
              </a:rPr>
            </a:br>
            <a:r>
              <a:rPr lang="cs-CZ" sz="900" dirty="0">
                <a:solidFill>
                  <a:schemeClr val="bg1"/>
                </a:solidFill>
              </a:rPr>
              <a:t>finální spotřebované energie byla elektřina</a:t>
            </a:r>
          </a:p>
        </p:txBody>
      </p:sp>
      <p:sp>
        <p:nvSpPr>
          <p:cNvPr id="86" name="TextBox 85">
            <a:extLst>
              <a:ext uri="{FF2B5EF4-FFF2-40B4-BE49-F238E27FC236}">
                <a16:creationId xmlns:a16="http://schemas.microsoft.com/office/drawing/2014/main" id="{76BB121B-6D8F-54EC-46B6-DC4F73EEE167}"/>
              </a:ext>
            </a:extLst>
          </p:cNvPr>
          <p:cNvSpPr txBox="1"/>
          <p:nvPr/>
        </p:nvSpPr>
        <p:spPr>
          <a:xfrm>
            <a:off x="1258164" y="4854189"/>
            <a:ext cx="1433803" cy="421654"/>
          </a:xfrm>
          <a:prstGeom prst="rect">
            <a:avLst/>
          </a:prstGeom>
          <a:noFill/>
        </p:spPr>
        <p:txBody>
          <a:bodyPr wrap="square" lIns="0" tIns="36576" rIns="0" bIns="0" rtlCol="0">
            <a:spAutoFit/>
          </a:bodyPr>
          <a:lstStyle/>
          <a:p>
            <a:pPr algn="l">
              <a:spcAft>
                <a:spcPts val="600"/>
              </a:spcAft>
              <a:buClr>
                <a:schemeClr val="tx2"/>
              </a:buClr>
              <a:buSzPct val="80000"/>
            </a:pPr>
            <a:r>
              <a:rPr lang="cs-CZ" sz="1600" b="1" dirty="0">
                <a:solidFill>
                  <a:schemeClr val="accent3"/>
                </a:solidFill>
              </a:rPr>
              <a:t>2 791 </a:t>
            </a:r>
            <a:r>
              <a:rPr lang="cs-CZ" sz="1600" b="1" dirty="0" err="1">
                <a:solidFill>
                  <a:schemeClr val="accent3"/>
                </a:solidFill>
              </a:rPr>
              <a:t>TWh</a:t>
            </a:r>
            <a:br>
              <a:rPr lang="cs-CZ" sz="1600" dirty="0">
                <a:solidFill>
                  <a:schemeClr val="bg1"/>
                </a:solidFill>
              </a:rPr>
            </a:br>
            <a:r>
              <a:rPr lang="cs-CZ" sz="900" dirty="0">
                <a:solidFill>
                  <a:schemeClr val="bg1"/>
                </a:solidFill>
              </a:rPr>
              <a:t>bylo vyrobeno elektřiny</a:t>
            </a:r>
          </a:p>
        </p:txBody>
      </p:sp>
      <p:sp>
        <p:nvSpPr>
          <p:cNvPr id="87" name="TextBox 86">
            <a:extLst>
              <a:ext uri="{FF2B5EF4-FFF2-40B4-BE49-F238E27FC236}">
                <a16:creationId xmlns:a16="http://schemas.microsoft.com/office/drawing/2014/main" id="{436BDC27-EB6D-1401-915F-5077014B40C0}"/>
              </a:ext>
            </a:extLst>
          </p:cNvPr>
          <p:cNvSpPr txBox="1"/>
          <p:nvPr/>
        </p:nvSpPr>
        <p:spPr>
          <a:xfrm>
            <a:off x="1258164" y="5510856"/>
            <a:ext cx="1399880" cy="560153"/>
          </a:xfrm>
          <a:prstGeom prst="rect">
            <a:avLst/>
          </a:prstGeom>
          <a:noFill/>
        </p:spPr>
        <p:txBody>
          <a:bodyPr wrap="square" lIns="0" tIns="36576" rIns="0" bIns="0" rtlCol="0">
            <a:spAutoFit/>
          </a:bodyPr>
          <a:lstStyle/>
          <a:p>
            <a:pPr algn="l">
              <a:spcAft>
                <a:spcPts val="600"/>
              </a:spcAft>
              <a:buClr>
                <a:schemeClr val="tx2"/>
              </a:buClr>
              <a:buSzPct val="80000"/>
            </a:pPr>
            <a:r>
              <a:rPr lang="cs-CZ" sz="1600" b="1" dirty="0">
                <a:solidFill>
                  <a:schemeClr val="accent3"/>
                </a:solidFill>
              </a:rPr>
              <a:t>20%</a:t>
            </a:r>
            <a:br>
              <a:rPr lang="cs-CZ" sz="1600" dirty="0">
                <a:solidFill>
                  <a:schemeClr val="bg1"/>
                </a:solidFill>
              </a:rPr>
            </a:br>
            <a:r>
              <a:rPr lang="cs-CZ" sz="900" dirty="0">
                <a:solidFill>
                  <a:schemeClr val="bg1"/>
                </a:solidFill>
              </a:rPr>
              <a:t>vyrobené elektřiny bylo z jaderných elektráren</a:t>
            </a:r>
          </a:p>
        </p:txBody>
      </p:sp>
      <p:sp>
        <p:nvSpPr>
          <p:cNvPr id="88" name="TextBox 87">
            <a:extLst>
              <a:ext uri="{FF2B5EF4-FFF2-40B4-BE49-F238E27FC236}">
                <a16:creationId xmlns:a16="http://schemas.microsoft.com/office/drawing/2014/main" id="{766F76ED-B061-066A-F4E0-82B21EB7386C}"/>
              </a:ext>
            </a:extLst>
          </p:cNvPr>
          <p:cNvSpPr txBox="1"/>
          <p:nvPr/>
        </p:nvSpPr>
        <p:spPr>
          <a:xfrm>
            <a:off x="2785307" y="4048721"/>
            <a:ext cx="4716490" cy="553998"/>
          </a:xfrm>
          <a:prstGeom prst="rect">
            <a:avLst/>
          </a:prstGeom>
          <a:noFill/>
        </p:spPr>
        <p:txBody>
          <a:bodyPr wrap="square" lIns="0">
            <a:spAutoFit/>
          </a:bodyPr>
          <a:lstStyle/>
          <a:p>
            <a:r>
              <a:rPr lang="cs-CZ" sz="1000" dirty="0">
                <a:solidFill>
                  <a:schemeClr val="bg1"/>
                </a:solidFill>
              </a:rPr>
              <a:t>Přestože se </a:t>
            </a:r>
            <a:r>
              <a:rPr lang="cs-CZ" sz="1000" b="1" dirty="0">
                <a:solidFill>
                  <a:schemeClr val="bg1"/>
                </a:solidFill>
              </a:rPr>
              <a:t>celková odhadovaná spotřeba energie </a:t>
            </a:r>
            <a:r>
              <a:rPr lang="cs-CZ" sz="1000" dirty="0">
                <a:solidFill>
                  <a:schemeClr val="bg1"/>
                </a:solidFill>
              </a:rPr>
              <a:t>do roku 2050 </a:t>
            </a:r>
            <a:r>
              <a:rPr lang="cs-CZ" sz="1000" b="1" dirty="0">
                <a:solidFill>
                  <a:schemeClr val="bg1"/>
                </a:solidFill>
              </a:rPr>
              <a:t>sníží zhruba o 15%, </a:t>
            </a:r>
            <a:r>
              <a:rPr lang="cs-CZ" sz="1000" dirty="0">
                <a:solidFill>
                  <a:schemeClr val="bg1"/>
                </a:solidFill>
              </a:rPr>
              <a:t>ze současných 41 EJ (</a:t>
            </a:r>
            <a:r>
              <a:rPr lang="cs-CZ" sz="1000" dirty="0" err="1">
                <a:solidFill>
                  <a:schemeClr val="bg1"/>
                </a:solidFill>
              </a:rPr>
              <a:t>Exojoule</a:t>
            </a:r>
            <a:r>
              <a:rPr lang="cs-CZ" sz="1000" dirty="0">
                <a:solidFill>
                  <a:schemeClr val="bg1"/>
                </a:solidFill>
              </a:rPr>
              <a:t>), </a:t>
            </a:r>
            <a:r>
              <a:rPr lang="cs-CZ" sz="1000" b="1" dirty="0">
                <a:solidFill>
                  <a:schemeClr val="bg1"/>
                </a:solidFill>
              </a:rPr>
              <a:t>spotřeba elektřiny </a:t>
            </a:r>
            <a:r>
              <a:rPr lang="cs-CZ" sz="1000" dirty="0">
                <a:solidFill>
                  <a:schemeClr val="bg1"/>
                </a:solidFill>
              </a:rPr>
              <a:t>může </a:t>
            </a:r>
            <a:r>
              <a:rPr lang="cs-CZ" sz="1000" b="1" dirty="0">
                <a:solidFill>
                  <a:schemeClr val="bg1"/>
                </a:solidFill>
              </a:rPr>
              <a:t>vzrůst až o 20% do roku 2030, a o 50% do roku 2050 </a:t>
            </a:r>
            <a:r>
              <a:rPr lang="cs-CZ" sz="1000" dirty="0">
                <a:solidFill>
                  <a:schemeClr val="bg1"/>
                </a:solidFill>
              </a:rPr>
              <a:t>oproti současné spotřebě.</a:t>
            </a:r>
          </a:p>
        </p:txBody>
      </p:sp>
      <p:sp>
        <p:nvSpPr>
          <p:cNvPr id="89" name="TextBox 88">
            <a:extLst>
              <a:ext uri="{FF2B5EF4-FFF2-40B4-BE49-F238E27FC236}">
                <a16:creationId xmlns:a16="http://schemas.microsoft.com/office/drawing/2014/main" id="{5C54E78B-64C2-75D3-F43E-2F0A81B62BFB}"/>
              </a:ext>
            </a:extLst>
          </p:cNvPr>
          <p:cNvSpPr txBox="1"/>
          <p:nvPr/>
        </p:nvSpPr>
        <p:spPr>
          <a:xfrm>
            <a:off x="2785307" y="4758862"/>
            <a:ext cx="4810112" cy="553998"/>
          </a:xfrm>
          <a:prstGeom prst="rect">
            <a:avLst/>
          </a:prstGeom>
          <a:noFill/>
        </p:spPr>
        <p:txBody>
          <a:bodyPr wrap="square" lIns="0">
            <a:spAutoFit/>
          </a:bodyPr>
          <a:lstStyle/>
          <a:p>
            <a:r>
              <a:rPr lang="cs-CZ" sz="1000" b="1" dirty="0">
                <a:solidFill>
                  <a:schemeClr val="bg1"/>
                </a:solidFill>
              </a:rPr>
              <a:t>Jaderná energie </a:t>
            </a:r>
            <a:r>
              <a:rPr lang="cs-CZ" sz="1000" dirty="0">
                <a:solidFill>
                  <a:schemeClr val="bg1"/>
                </a:solidFill>
              </a:rPr>
              <a:t>je ve sledovaném regionu největším přispěvatelem k výrobě nízkouhlíkové elektřiny, </a:t>
            </a:r>
            <a:r>
              <a:rPr lang="cs-CZ" sz="1000" b="1" dirty="0">
                <a:solidFill>
                  <a:schemeClr val="bg1"/>
                </a:solidFill>
              </a:rPr>
              <a:t>přičemž v roce 2023 představovala 20 % celkové výroby</a:t>
            </a:r>
            <a:r>
              <a:rPr lang="cs-CZ" sz="1000" dirty="0">
                <a:solidFill>
                  <a:schemeClr val="bg1"/>
                </a:solidFill>
              </a:rPr>
              <a:t>. Její podíl však mezi lety 2002 až 2023 klesl o přibližně 11 </a:t>
            </a:r>
            <a:r>
              <a:rPr lang="cs-CZ" sz="1000" dirty="0" err="1">
                <a:solidFill>
                  <a:schemeClr val="bg1"/>
                </a:solidFill>
              </a:rPr>
              <a:t>proc</a:t>
            </a:r>
            <a:r>
              <a:rPr lang="cs-CZ" sz="1000" dirty="0">
                <a:solidFill>
                  <a:schemeClr val="bg1"/>
                </a:solidFill>
              </a:rPr>
              <a:t>. bodů.</a:t>
            </a:r>
          </a:p>
        </p:txBody>
      </p:sp>
      <p:sp>
        <p:nvSpPr>
          <p:cNvPr id="90" name="TextBox 89">
            <a:extLst>
              <a:ext uri="{FF2B5EF4-FFF2-40B4-BE49-F238E27FC236}">
                <a16:creationId xmlns:a16="http://schemas.microsoft.com/office/drawing/2014/main" id="{84F69253-EF44-45FA-4C1B-FD539C5965E4}"/>
              </a:ext>
            </a:extLst>
          </p:cNvPr>
          <p:cNvSpPr txBox="1"/>
          <p:nvPr/>
        </p:nvSpPr>
        <p:spPr>
          <a:xfrm>
            <a:off x="2785307" y="5463634"/>
            <a:ext cx="4716490" cy="707886"/>
          </a:xfrm>
          <a:prstGeom prst="rect">
            <a:avLst/>
          </a:prstGeom>
          <a:noFill/>
        </p:spPr>
        <p:txBody>
          <a:bodyPr wrap="square" lIns="0">
            <a:spAutoFit/>
          </a:bodyPr>
          <a:lstStyle/>
          <a:p>
            <a:r>
              <a:rPr lang="cs-CZ" sz="1000" b="1" dirty="0">
                <a:solidFill>
                  <a:schemeClr val="bg1"/>
                </a:solidFill>
              </a:rPr>
              <a:t>V rozvojovém </a:t>
            </a:r>
            <a:r>
              <a:rPr lang="cs-CZ" sz="1000" dirty="0">
                <a:solidFill>
                  <a:schemeClr val="bg1"/>
                </a:solidFill>
              </a:rPr>
              <a:t>scénáři IAEA očekává, že </a:t>
            </a:r>
            <a:r>
              <a:rPr lang="cs-CZ" sz="1000" b="1" dirty="0">
                <a:solidFill>
                  <a:schemeClr val="bg1"/>
                </a:solidFill>
              </a:rPr>
              <a:t>instalovaný výkon </a:t>
            </a:r>
            <a:r>
              <a:rPr lang="cs-CZ" sz="1000" dirty="0">
                <a:solidFill>
                  <a:schemeClr val="bg1"/>
                </a:solidFill>
              </a:rPr>
              <a:t>jaderných elektráren mírně </a:t>
            </a:r>
            <a:r>
              <a:rPr lang="cs-CZ" sz="1000" b="1" dirty="0">
                <a:solidFill>
                  <a:schemeClr val="bg1"/>
                </a:solidFill>
              </a:rPr>
              <a:t>klesne, a to přibližně o 6 GW do roku 2030</a:t>
            </a:r>
            <a:r>
              <a:rPr lang="cs-CZ" sz="1000" dirty="0">
                <a:solidFill>
                  <a:schemeClr val="bg1"/>
                </a:solidFill>
              </a:rPr>
              <a:t>, a poté vzroste přibližně </a:t>
            </a:r>
            <a:r>
              <a:rPr lang="cs-CZ" sz="1000" b="1" dirty="0">
                <a:solidFill>
                  <a:schemeClr val="bg1"/>
                </a:solidFill>
              </a:rPr>
              <a:t>o 40 % do roku 2050</a:t>
            </a:r>
            <a:r>
              <a:rPr lang="cs-CZ" sz="1000" dirty="0">
                <a:solidFill>
                  <a:schemeClr val="bg1"/>
                </a:solidFill>
              </a:rPr>
              <a:t> ve srovnání s výkonem v roce 2023, který činil 94 GW. </a:t>
            </a:r>
            <a:r>
              <a:rPr lang="cs-CZ" sz="1000" b="1" dirty="0">
                <a:solidFill>
                  <a:schemeClr val="bg1"/>
                </a:solidFill>
              </a:rPr>
              <a:t>Podíl elektřiny z jádra vzroste </a:t>
            </a:r>
            <a:r>
              <a:rPr lang="cs-CZ" sz="1000" dirty="0">
                <a:solidFill>
                  <a:schemeClr val="bg1"/>
                </a:solidFill>
              </a:rPr>
              <a:t>přibližně o </a:t>
            </a:r>
            <a:r>
              <a:rPr lang="cs-CZ" sz="1000" b="1" dirty="0">
                <a:solidFill>
                  <a:schemeClr val="bg1"/>
                </a:solidFill>
              </a:rPr>
              <a:t>2 procentní body do roku 2050</a:t>
            </a:r>
            <a:r>
              <a:rPr lang="cs-CZ" sz="1000" dirty="0">
                <a:solidFill>
                  <a:schemeClr val="bg1"/>
                </a:solidFill>
              </a:rPr>
              <a:t>.</a:t>
            </a:r>
          </a:p>
        </p:txBody>
      </p:sp>
      <p:graphicFrame>
        <p:nvGraphicFramePr>
          <p:cNvPr id="91" name="Chart 90">
            <a:extLst>
              <a:ext uri="{FF2B5EF4-FFF2-40B4-BE49-F238E27FC236}">
                <a16:creationId xmlns:a16="http://schemas.microsoft.com/office/drawing/2014/main" id="{CFD6D7E8-4BA9-E82F-1AC3-1CFC42F45687}"/>
              </a:ext>
            </a:extLst>
          </p:cNvPr>
          <p:cNvGraphicFramePr>
            <a:graphicFrameLocks/>
          </p:cNvGraphicFramePr>
          <p:nvPr>
            <p:custDataLst>
              <p:tags r:id="rId1"/>
            </p:custDataLst>
            <p:extLst>
              <p:ext uri="{D42A27DB-BD31-4B8C-83A1-F6EECF244321}">
                <p14:modId xmlns:p14="http://schemas.microsoft.com/office/powerpoint/2010/main" val="1663375819"/>
              </p:ext>
            </p:extLst>
          </p:nvPr>
        </p:nvGraphicFramePr>
        <p:xfrm>
          <a:off x="7768189" y="4164445"/>
          <a:ext cx="2888417" cy="1923602"/>
        </p:xfrm>
        <a:graphic>
          <a:graphicData uri="http://schemas.openxmlformats.org/drawingml/2006/chart">
            <c:chart xmlns:c="http://schemas.openxmlformats.org/drawingml/2006/chart" xmlns:r="http://schemas.openxmlformats.org/officeDocument/2006/relationships" r:id="rId10"/>
          </a:graphicData>
        </a:graphic>
      </p:graphicFrame>
      <p:sp>
        <p:nvSpPr>
          <p:cNvPr id="92" name="Rectangle 91">
            <a:extLst>
              <a:ext uri="{FF2B5EF4-FFF2-40B4-BE49-F238E27FC236}">
                <a16:creationId xmlns:a16="http://schemas.microsoft.com/office/drawing/2014/main" id="{722B90BC-547F-AA5C-0F05-BDC4505DE4A8}"/>
              </a:ext>
            </a:extLst>
          </p:cNvPr>
          <p:cNvSpPr/>
          <p:nvPr/>
        </p:nvSpPr>
        <p:spPr>
          <a:xfrm>
            <a:off x="8367104" y="6070186"/>
            <a:ext cx="80819" cy="80819"/>
          </a:xfrm>
          <a:prstGeom prst="rect">
            <a:avLst/>
          </a:prstGeom>
          <a:solidFill>
            <a:srgbClr val="27ACAA"/>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sz="1200" dirty="0" err="1">
              <a:solidFill>
                <a:schemeClr val="bg1"/>
              </a:solidFill>
            </a:endParaRPr>
          </a:p>
        </p:txBody>
      </p:sp>
      <p:sp>
        <p:nvSpPr>
          <p:cNvPr id="93" name="Rectangle 92">
            <a:extLst>
              <a:ext uri="{FF2B5EF4-FFF2-40B4-BE49-F238E27FC236}">
                <a16:creationId xmlns:a16="http://schemas.microsoft.com/office/drawing/2014/main" id="{A05CD064-15E6-C53F-BAE1-AB47851DD934}"/>
              </a:ext>
            </a:extLst>
          </p:cNvPr>
          <p:cNvSpPr/>
          <p:nvPr/>
        </p:nvSpPr>
        <p:spPr>
          <a:xfrm>
            <a:off x="9293216" y="6070186"/>
            <a:ext cx="80819" cy="80819"/>
          </a:xfrm>
          <a:prstGeom prst="rect">
            <a:avLst/>
          </a:prstGeom>
          <a:solidFill>
            <a:srgbClr val="188C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sz="1200" dirty="0" err="1">
              <a:solidFill>
                <a:schemeClr val="bg1"/>
              </a:solidFill>
            </a:endParaRPr>
          </a:p>
        </p:txBody>
      </p:sp>
      <p:sp>
        <p:nvSpPr>
          <p:cNvPr id="94" name="TextBox 93">
            <a:extLst>
              <a:ext uri="{FF2B5EF4-FFF2-40B4-BE49-F238E27FC236}">
                <a16:creationId xmlns:a16="http://schemas.microsoft.com/office/drawing/2014/main" id="{BEC65363-711F-1BE3-540D-E4D8078E1E75}"/>
              </a:ext>
            </a:extLst>
          </p:cNvPr>
          <p:cNvSpPr txBox="1"/>
          <p:nvPr/>
        </p:nvSpPr>
        <p:spPr>
          <a:xfrm>
            <a:off x="8494176" y="6045962"/>
            <a:ext cx="741129" cy="129266"/>
          </a:xfrm>
          <a:prstGeom prst="rect">
            <a:avLst/>
          </a:prstGeom>
          <a:noFill/>
        </p:spPr>
        <p:txBody>
          <a:bodyPr wrap="none" lIns="0" tIns="0" rIns="0" bIns="0" rtlCol="0" anchor="ctr">
            <a:noAutofit/>
          </a:bodyPr>
          <a:lstStyle/>
          <a:p>
            <a:pPr>
              <a:spcAft>
                <a:spcPts val="600"/>
              </a:spcAft>
              <a:buClr>
                <a:schemeClr val="tx2"/>
              </a:buClr>
              <a:buSzPct val="80000"/>
            </a:pPr>
            <a:r>
              <a:rPr lang="cs-CZ" sz="600" dirty="0">
                <a:solidFill>
                  <a:schemeClr val="bg1"/>
                </a:solidFill>
              </a:rPr>
              <a:t>Rozvojový scénář</a:t>
            </a:r>
          </a:p>
        </p:txBody>
      </p:sp>
      <p:sp>
        <p:nvSpPr>
          <p:cNvPr id="95" name="TextBox 94">
            <a:extLst>
              <a:ext uri="{FF2B5EF4-FFF2-40B4-BE49-F238E27FC236}">
                <a16:creationId xmlns:a16="http://schemas.microsoft.com/office/drawing/2014/main" id="{7D20BE05-616A-6C9A-159C-8ADAE8893CA1}"/>
              </a:ext>
            </a:extLst>
          </p:cNvPr>
          <p:cNvSpPr txBox="1"/>
          <p:nvPr/>
        </p:nvSpPr>
        <p:spPr>
          <a:xfrm>
            <a:off x="9430532" y="6045962"/>
            <a:ext cx="741129" cy="129266"/>
          </a:xfrm>
          <a:prstGeom prst="rect">
            <a:avLst/>
          </a:prstGeom>
          <a:noFill/>
        </p:spPr>
        <p:txBody>
          <a:bodyPr wrap="none" lIns="0" tIns="0" rIns="0" bIns="0" rtlCol="0" anchor="ctr">
            <a:noAutofit/>
          </a:bodyPr>
          <a:lstStyle/>
          <a:p>
            <a:pPr>
              <a:spcAft>
                <a:spcPts val="600"/>
              </a:spcAft>
              <a:buClr>
                <a:schemeClr val="tx2"/>
              </a:buClr>
              <a:buSzPct val="80000"/>
            </a:pPr>
            <a:r>
              <a:rPr lang="cs-CZ" sz="600" dirty="0">
                <a:solidFill>
                  <a:schemeClr val="bg1"/>
                </a:solidFill>
              </a:rPr>
              <a:t>Referenční scénář</a:t>
            </a:r>
          </a:p>
        </p:txBody>
      </p:sp>
      <p:sp>
        <p:nvSpPr>
          <p:cNvPr id="96" name="TextBox 95">
            <a:extLst>
              <a:ext uri="{FF2B5EF4-FFF2-40B4-BE49-F238E27FC236}">
                <a16:creationId xmlns:a16="http://schemas.microsoft.com/office/drawing/2014/main" id="{74520E8A-1508-149C-5E43-325CDE24A4C9}"/>
              </a:ext>
            </a:extLst>
          </p:cNvPr>
          <p:cNvSpPr txBox="1"/>
          <p:nvPr/>
        </p:nvSpPr>
        <p:spPr>
          <a:xfrm rot="16200000">
            <a:off x="6755974" y="4926293"/>
            <a:ext cx="1875439" cy="144655"/>
          </a:xfrm>
          <a:prstGeom prst="rect">
            <a:avLst/>
          </a:prstGeom>
          <a:noFill/>
        </p:spPr>
        <p:txBody>
          <a:bodyPr wrap="square" lIns="0" tIns="36576" rIns="0" bIns="0" rtlCol="0">
            <a:spAutoFit/>
          </a:bodyPr>
          <a:lstStyle/>
          <a:p>
            <a:pPr algn="l">
              <a:spcAft>
                <a:spcPts val="600"/>
              </a:spcAft>
              <a:buClr>
                <a:schemeClr val="tx2"/>
              </a:buClr>
              <a:buSzPct val="80000"/>
            </a:pPr>
            <a:r>
              <a:rPr lang="cs-CZ" sz="700" dirty="0">
                <a:solidFill>
                  <a:schemeClr val="bg1"/>
                </a:solidFill>
              </a:rPr>
              <a:t>Instalovaný výkon v jaderných elektráren (GW)</a:t>
            </a:r>
          </a:p>
        </p:txBody>
      </p:sp>
      <p:sp>
        <p:nvSpPr>
          <p:cNvPr id="97" name="TextBox 96">
            <a:extLst>
              <a:ext uri="{FF2B5EF4-FFF2-40B4-BE49-F238E27FC236}">
                <a16:creationId xmlns:a16="http://schemas.microsoft.com/office/drawing/2014/main" id="{0FC6EF9B-7FE8-0879-BF95-2971E68113F4}"/>
              </a:ext>
            </a:extLst>
          </p:cNvPr>
          <p:cNvSpPr txBox="1"/>
          <p:nvPr/>
        </p:nvSpPr>
        <p:spPr>
          <a:xfrm>
            <a:off x="7862397" y="4030467"/>
            <a:ext cx="2700000" cy="175433"/>
          </a:xfrm>
          <a:prstGeom prst="rect">
            <a:avLst/>
          </a:prstGeom>
          <a:noFill/>
        </p:spPr>
        <p:txBody>
          <a:bodyPr wrap="square" lIns="0" tIns="36576" rIns="0" bIns="0" rtlCol="0">
            <a:spAutoFit/>
          </a:bodyPr>
          <a:lstStyle/>
          <a:p>
            <a:pPr algn="ctr">
              <a:spcAft>
                <a:spcPts val="600"/>
              </a:spcAft>
              <a:buClr>
                <a:schemeClr val="tx2"/>
              </a:buClr>
              <a:buSzPct val="80000"/>
            </a:pPr>
            <a:r>
              <a:rPr lang="cs-CZ" sz="900" b="1" dirty="0">
                <a:solidFill>
                  <a:schemeClr val="bg1"/>
                </a:solidFill>
              </a:rPr>
              <a:t>Scénáře vývoje jaderné výrobní kapacity</a:t>
            </a:r>
          </a:p>
        </p:txBody>
      </p:sp>
      <p:sp>
        <p:nvSpPr>
          <p:cNvPr id="99" name="TextBox 98">
            <a:extLst>
              <a:ext uri="{FF2B5EF4-FFF2-40B4-BE49-F238E27FC236}">
                <a16:creationId xmlns:a16="http://schemas.microsoft.com/office/drawing/2014/main" id="{BAA6288C-3B35-714D-9514-449F13A1DC18}"/>
              </a:ext>
            </a:extLst>
          </p:cNvPr>
          <p:cNvSpPr txBox="1"/>
          <p:nvPr/>
        </p:nvSpPr>
        <p:spPr>
          <a:xfrm>
            <a:off x="10567915" y="5100436"/>
            <a:ext cx="1019647" cy="846386"/>
          </a:xfrm>
          <a:prstGeom prst="rect">
            <a:avLst/>
          </a:prstGeom>
          <a:noFill/>
        </p:spPr>
        <p:txBody>
          <a:bodyPr wrap="square">
            <a:spAutoFit/>
          </a:bodyPr>
          <a:lstStyle/>
          <a:p>
            <a:r>
              <a:rPr lang="cs-CZ" sz="700" dirty="0">
                <a:solidFill>
                  <a:schemeClr val="bg1"/>
                </a:solidFill>
              </a:rPr>
              <a:t>*Předpoklady referenčního scénáře vycházejí z pokračujících trendů trhu, technologií a politiky, bez významných změn.</a:t>
            </a:r>
          </a:p>
        </p:txBody>
      </p:sp>
      <p:sp>
        <p:nvSpPr>
          <p:cNvPr id="101" name="TextBox 100">
            <a:extLst>
              <a:ext uri="{FF2B5EF4-FFF2-40B4-BE49-F238E27FC236}">
                <a16:creationId xmlns:a16="http://schemas.microsoft.com/office/drawing/2014/main" id="{6BBD01FC-AFB4-A409-BDCB-C8B8E3CC0C57}"/>
              </a:ext>
            </a:extLst>
          </p:cNvPr>
          <p:cNvSpPr txBox="1"/>
          <p:nvPr/>
        </p:nvSpPr>
        <p:spPr>
          <a:xfrm>
            <a:off x="10567915" y="4273350"/>
            <a:ext cx="1019647" cy="738664"/>
          </a:xfrm>
          <a:prstGeom prst="rect">
            <a:avLst/>
          </a:prstGeom>
          <a:noFill/>
        </p:spPr>
        <p:txBody>
          <a:bodyPr wrap="square">
            <a:spAutoFit/>
          </a:bodyPr>
          <a:lstStyle/>
          <a:p>
            <a:r>
              <a:rPr lang="cs-CZ" sz="700" dirty="0">
                <a:solidFill>
                  <a:schemeClr val="bg1"/>
                </a:solidFill>
              </a:rPr>
              <a:t>*Rozvojový scénář zohledňuje politiky, investice a inovace (SMR) pro rozvoj jaderné energetiky a její kapacity.</a:t>
            </a:r>
          </a:p>
        </p:txBody>
      </p:sp>
      <p:cxnSp>
        <p:nvCxnSpPr>
          <p:cNvPr id="103" name="Straight Connector 102">
            <a:extLst>
              <a:ext uri="{FF2B5EF4-FFF2-40B4-BE49-F238E27FC236}">
                <a16:creationId xmlns:a16="http://schemas.microsoft.com/office/drawing/2014/main" id="{1726492B-43F1-03C0-4D21-DAA5A9D33AC2}"/>
              </a:ext>
            </a:extLst>
          </p:cNvPr>
          <p:cNvCxnSpPr>
            <a:cxnSpLocks/>
          </p:cNvCxnSpPr>
          <p:nvPr/>
        </p:nvCxnSpPr>
        <p:spPr>
          <a:xfrm flipV="1">
            <a:off x="2501648" y="4325720"/>
            <a:ext cx="144000" cy="0"/>
          </a:xfrm>
          <a:prstGeom prst="line">
            <a:avLst/>
          </a:prstGeom>
          <a:ln w="2857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C686208-19B9-C6E8-760B-BC4959D3D45A}"/>
              </a:ext>
            </a:extLst>
          </p:cNvPr>
          <p:cNvCxnSpPr>
            <a:cxnSpLocks/>
          </p:cNvCxnSpPr>
          <p:nvPr/>
        </p:nvCxnSpPr>
        <p:spPr>
          <a:xfrm flipV="1">
            <a:off x="2501648" y="5038784"/>
            <a:ext cx="144000" cy="0"/>
          </a:xfrm>
          <a:prstGeom prst="line">
            <a:avLst/>
          </a:prstGeom>
          <a:ln w="2857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6E16857-9051-C2E2-C196-2AC962F22E0C}"/>
              </a:ext>
            </a:extLst>
          </p:cNvPr>
          <p:cNvCxnSpPr>
            <a:cxnSpLocks/>
          </p:cNvCxnSpPr>
          <p:nvPr/>
        </p:nvCxnSpPr>
        <p:spPr>
          <a:xfrm flipV="1">
            <a:off x="2501648" y="5716370"/>
            <a:ext cx="144000" cy="0"/>
          </a:xfrm>
          <a:prstGeom prst="line">
            <a:avLst/>
          </a:prstGeom>
          <a:ln w="2857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544744CF-DD19-E162-93E7-4F04E7B7DCF4}"/>
              </a:ext>
            </a:extLst>
          </p:cNvPr>
          <p:cNvSpPr txBox="1"/>
          <p:nvPr/>
        </p:nvSpPr>
        <p:spPr>
          <a:xfrm>
            <a:off x="608214" y="6241080"/>
            <a:ext cx="1783308" cy="160044"/>
          </a:xfrm>
          <a:prstGeom prst="rect">
            <a:avLst/>
          </a:prstGeom>
          <a:noFill/>
        </p:spPr>
        <p:txBody>
          <a:bodyPr wrap="square" lIns="0" tIns="36576" rIns="0" bIns="0" rtlCol="0">
            <a:spAutoFit/>
          </a:bodyPr>
          <a:lstStyle/>
          <a:p>
            <a:pPr algn="l">
              <a:spcAft>
                <a:spcPts val="600"/>
              </a:spcAft>
              <a:buClr>
                <a:schemeClr val="tx2"/>
              </a:buClr>
              <a:buSzPct val="80000"/>
            </a:pPr>
            <a:r>
              <a:rPr lang="cs-CZ" sz="800" dirty="0">
                <a:solidFill>
                  <a:schemeClr val="bg2"/>
                </a:solidFill>
              </a:rPr>
              <a:t>Zdroje: </a:t>
            </a:r>
            <a:r>
              <a:rPr lang="cs-CZ" sz="800" dirty="0">
                <a:solidFill>
                  <a:schemeClr val="bg2"/>
                </a:solidFill>
                <a:hlinkClick r:id="rId11">
                  <a:extLst>
                    <a:ext uri="{A12FA001-AC4F-418D-AE19-62706E023703}">
                      <ahyp:hlinkClr xmlns:ahyp="http://schemas.microsoft.com/office/drawing/2018/hyperlinkcolor" val="tx"/>
                    </a:ext>
                  </a:extLst>
                </a:hlinkClick>
              </a:rPr>
              <a:t>IAEA</a:t>
            </a:r>
            <a:r>
              <a:rPr lang="cs-CZ" sz="800" dirty="0">
                <a:solidFill>
                  <a:schemeClr val="bg2"/>
                </a:solidFill>
              </a:rPr>
              <a:t>; </a:t>
            </a:r>
            <a:r>
              <a:rPr lang="cs-CZ" sz="800" dirty="0">
                <a:solidFill>
                  <a:schemeClr val="bg2"/>
                </a:solidFill>
                <a:hlinkClick r:id="rId12">
                  <a:extLst>
                    <a:ext uri="{A12FA001-AC4F-418D-AE19-62706E023703}">
                      <ahyp:hlinkClr xmlns:ahyp="http://schemas.microsoft.com/office/drawing/2018/hyperlinkcolor" val="tx"/>
                    </a:ext>
                  </a:extLst>
                </a:hlinkClick>
              </a:rPr>
              <a:t>IAEA</a:t>
            </a:r>
            <a:endParaRPr lang="cs-CZ" sz="800" dirty="0">
              <a:solidFill>
                <a:schemeClr val="bg2"/>
              </a:solidFill>
            </a:endParaRPr>
          </a:p>
        </p:txBody>
      </p:sp>
    </p:spTree>
    <p:extLst>
      <p:ext uri="{BB962C8B-B14F-4D97-AF65-F5344CB8AC3E}">
        <p14:creationId xmlns:p14="http://schemas.microsoft.com/office/powerpoint/2010/main" val="7530740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Rectangle: Rounded Corners 145">
            <a:extLst>
              <a:ext uri="{FF2B5EF4-FFF2-40B4-BE49-F238E27FC236}">
                <a16:creationId xmlns:a16="http://schemas.microsoft.com/office/drawing/2014/main" id="{8A2A6F7B-DE3E-EAC6-9573-DFA9AFE25949}"/>
              </a:ext>
            </a:extLst>
          </p:cNvPr>
          <p:cNvSpPr/>
          <p:nvPr/>
        </p:nvSpPr>
        <p:spPr>
          <a:xfrm>
            <a:off x="671949" y="3794078"/>
            <a:ext cx="8218385" cy="414011"/>
          </a:xfrm>
          <a:prstGeom prst="roundRect">
            <a:avLst/>
          </a:prstGeom>
          <a:solidFill>
            <a:schemeClr val="tx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cs-CZ" sz="1200" b="1" dirty="0">
                <a:solidFill>
                  <a:schemeClr val="accent3"/>
                </a:solidFill>
              </a:rPr>
              <a:t>Francie přehodnotila své dřívější plány částečného odklonu od jaderné energie a od roku 2023 naopak zintenzivňuje jejich podporu a vývoj:</a:t>
            </a:r>
          </a:p>
        </p:txBody>
      </p:sp>
      <p:sp>
        <p:nvSpPr>
          <p:cNvPr id="2" name="Title 1">
            <a:extLst>
              <a:ext uri="{FF2B5EF4-FFF2-40B4-BE49-F238E27FC236}">
                <a16:creationId xmlns:a16="http://schemas.microsoft.com/office/drawing/2014/main" id="{E634D057-D7F5-707B-17D7-F46C465BCA64}"/>
              </a:ext>
            </a:extLst>
          </p:cNvPr>
          <p:cNvSpPr>
            <a:spLocks noGrp="1"/>
          </p:cNvSpPr>
          <p:nvPr>
            <p:ph type="title"/>
          </p:nvPr>
        </p:nvSpPr>
        <p:spPr/>
        <p:txBody>
          <a:bodyPr/>
          <a:lstStyle/>
          <a:p>
            <a:r>
              <a:rPr lang="cs-CZ" dirty="0"/>
              <a:t>Přístup a vývoj jaderné energetiky </a:t>
            </a:r>
            <a:r>
              <a:rPr lang="cs-CZ" b="0" i="0" dirty="0">
                <a:solidFill>
                  <a:srgbClr val="4D5156"/>
                </a:solidFill>
                <a:effectLst/>
                <a:highlight>
                  <a:srgbClr val="FFFFFF"/>
                </a:highlight>
                <a:latin typeface="Arial" panose="020B0604020202020204"/>
              </a:rPr>
              <a:t>–</a:t>
            </a:r>
            <a:r>
              <a:rPr lang="cs-CZ" dirty="0"/>
              <a:t> Francie</a:t>
            </a:r>
          </a:p>
        </p:txBody>
      </p:sp>
      <p:grpSp>
        <p:nvGrpSpPr>
          <p:cNvPr id="61" name="POWER_USER_DATA_MAP" descr="{&quot;IsGrandientColor&quot;:true,&quot;GradientColor&quot;:&quot;#74BAEF&quot;,&quot;IsRangesColor&quot;:false,&quot;RangesSettings&quot;:[{&quot;RangeColorHexa&quot;:&quot;#2DB757&quot;,&quot;ComparisonValue&quot;:1.0,&quot;RangeOperator&quot;:1,&quot;RangeComparison&quot;:0},{&quot;RangeColorHexa&quot;:&quot;#27ACAA&quot;,&quot;ComparisonValue&quot;:1.0,&quot;RangeOperator&quot;:1,&quot;RangeComparison&quot;:0}],&quot;RangeName&quot;:&quot;POWER_USER_EXCEL_MAP_10FCD89A_C376_4426_A294_E29DD72A5412&quot;,&quot;Version&quot;:&quot;1.7.4.60&quot;}">
            <a:extLst>
              <a:ext uri="{FF2B5EF4-FFF2-40B4-BE49-F238E27FC236}">
                <a16:creationId xmlns:a16="http://schemas.microsoft.com/office/drawing/2014/main" id="{9BBF43FF-59F5-EE2B-6A98-85566CFA2E80}"/>
              </a:ext>
            </a:extLst>
          </p:cNvPr>
          <p:cNvGrpSpPr>
            <a:grpSpLocks noChangeAspect="1"/>
          </p:cNvGrpSpPr>
          <p:nvPr/>
        </p:nvGrpSpPr>
        <p:grpSpPr>
          <a:xfrm>
            <a:off x="53165" y="1044137"/>
            <a:ext cx="2803363" cy="2205644"/>
            <a:chOff x="1815576" y="1980881"/>
            <a:chExt cx="7546263" cy="5115078"/>
          </a:xfrm>
          <a:solidFill>
            <a:schemeClr val="accent3">
              <a:lumMod val="20000"/>
              <a:lumOff val="80000"/>
            </a:schemeClr>
          </a:solidFill>
        </p:grpSpPr>
        <p:grpSp>
          <p:nvGrpSpPr>
            <p:cNvPr id="5" name="France_13_Regions">
              <a:extLst>
                <a:ext uri="{FF2B5EF4-FFF2-40B4-BE49-F238E27FC236}">
                  <a16:creationId xmlns:a16="http://schemas.microsoft.com/office/drawing/2014/main" id="{1C103AB4-3A60-3B6C-53CF-925566110667}"/>
                </a:ext>
              </a:extLst>
            </p:cNvPr>
            <p:cNvGrpSpPr>
              <a:grpSpLocks noChangeAspect="1"/>
            </p:cNvGrpSpPr>
            <p:nvPr/>
          </p:nvGrpSpPr>
          <p:grpSpPr>
            <a:xfrm>
              <a:off x="1815576" y="1980881"/>
              <a:ext cx="7546263" cy="5115078"/>
              <a:chOff x="1815576" y="1345881"/>
              <a:chExt cx="7546263" cy="5115078"/>
            </a:xfrm>
            <a:grpFill/>
          </p:grpSpPr>
          <p:grpSp>
            <p:nvGrpSpPr>
              <p:cNvPr id="6" name="France_13_Regions">
                <a:extLst>
                  <a:ext uri="{FF2B5EF4-FFF2-40B4-BE49-F238E27FC236}">
                    <a16:creationId xmlns:a16="http://schemas.microsoft.com/office/drawing/2014/main" id="{F2C7B0F0-56DA-B946-2214-A36AFC5D0CA3}"/>
                  </a:ext>
                </a:extLst>
              </p:cNvPr>
              <p:cNvGrpSpPr/>
              <p:nvPr/>
            </p:nvGrpSpPr>
            <p:grpSpPr>
              <a:xfrm>
                <a:off x="3131702" y="1345881"/>
                <a:ext cx="5506972" cy="5115078"/>
                <a:chOff x="3131702" y="1345881"/>
                <a:chExt cx="5506972" cy="5115078"/>
              </a:xfrm>
              <a:grpFill/>
            </p:grpSpPr>
            <p:sp>
              <p:nvSpPr>
                <p:cNvPr id="46" name="Centre-Val de Loire" descr="{&quot;Key&quot;:&quot;centre-val de loire&quot;,&quot;Name&quot;:&quot;Centre-Val de Loire&quot;,&quot;Value&quot;:1.0,&quot;Formula&quot;:&quot;&quot;,&quot;Text&quot;:&quot;1&quot;,&quot;OfficeApplication&quot;:0,&quot;HasValue&quot;:true}">
                  <a:extLst>
                    <a:ext uri="{FF2B5EF4-FFF2-40B4-BE49-F238E27FC236}">
                      <a16:creationId xmlns:a16="http://schemas.microsoft.com/office/drawing/2014/main" id="{34170926-A6DA-2382-A6F5-50EAADA30ACC}"/>
                    </a:ext>
                  </a:extLst>
                </p:cNvPr>
                <p:cNvSpPr>
                  <a:spLocks/>
                </p:cNvSpPr>
                <p:nvPr/>
              </p:nvSpPr>
              <p:spPr bwMode="auto">
                <a:xfrm>
                  <a:off x="4958391" y="2540983"/>
                  <a:ext cx="1216963" cy="1440037"/>
                </a:xfrm>
                <a:custGeom>
                  <a:avLst/>
                  <a:gdLst>
                    <a:gd name="T0" fmla="*/ 219 w 237"/>
                    <a:gd name="T1" fmla="*/ 184 h 296"/>
                    <a:gd name="T2" fmla="*/ 229 w 237"/>
                    <a:gd name="T3" fmla="*/ 199 h 296"/>
                    <a:gd name="T4" fmla="*/ 235 w 237"/>
                    <a:gd name="T5" fmla="*/ 218 h 296"/>
                    <a:gd name="T6" fmla="*/ 233 w 237"/>
                    <a:gd name="T7" fmla="*/ 241 h 296"/>
                    <a:gd name="T8" fmla="*/ 219 w 237"/>
                    <a:gd name="T9" fmla="*/ 248 h 296"/>
                    <a:gd name="T10" fmla="*/ 206 w 237"/>
                    <a:gd name="T11" fmla="*/ 254 h 296"/>
                    <a:gd name="T12" fmla="*/ 195 w 237"/>
                    <a:gd name="T13" fmla="*/ 261 h 296"/>
                    <a:gd name="T14" fmla="*/ 193 w 237"/>
                    <a:gd name="T15" fmla="*/ 277 h 296"/>
                    <a:gd name="T16" fmla="*/ 175 w 237"/>
                    <a:gd name="T17" fmla="*/ 283 h 296"/>
                    <a:gd name="T18" fmla="*/ 158 w 237"/>
                    <a:gd name="T19" fmla="*/ 290 h 296"/>
                    <a:gd name="T20" fmla="*/ 141 w 237"/>
                    <a:gd name="T21" fmla="*/ 287 h 296"/>
                    <a:gd name="T22" fmla="*/ 128 w 237"/>
                    <a:gd name="T23" fmla="*/ 292 h 296"/>
                    <a:gd name="T24" fmla="*/ 116 w 237"/>
                    <a:gd name="T25" fmla="*/ 290 h 296"/>
                    <a:gd name="T26" fmla="*/ 104 w 237"/>
                    <a:gd name="T27" fmla="*/ 296 h 296"/>
                    <a:gd name="T28" fmla="*/ 93 w 237"/>
                    <a:gd name="T29" fmla="*/ 293 h 296"/>
                    <a:gd name="T30" fmla="*/ 89 w 237"/>
                    <a:gd name="T31" fmla="*/ 286 h 296"/>
                    <a:gd name="T32" fmla="*/ 74 w 237"/>
                    <a:gd name="T33" fmla="*/ 275 h 296"/>
                    <a:gd name="T34" fmla="*/ 65 w 237"/>
                    <a:gd name="T35" fmla="*/ 259 h 296"/>
                    <a:gd name="T36" fmla="*/ 59 w 237"/>
                    <a:gd name="T37" fmla="*/ 245 h 296"/>
                    <a:gd name="T38" fmla="*/ 51 w 237"/>
                    <a:gd name="T39" fmla="*/ 234 h 296"/>
                    <a:gd name="T40" fmla="*/ 43 w 237"/>
                    <a:gd name="T41" fmla="*/ 220 h 296"/>
                    <a:gd name="T42" fmla="*/ 28 w 237"/>
                    <a:gd name="T43" fmla="*/ 228 h 296"/>
                    <a:gd name="T44" fmla="*/ 18 w 237"/>
                    <a:gd name="T45" fmla="*/ 217 h 296"/>
                    <a:gd name="T46" fmla="*/ 10 w 237"/>
                    <a:gd name="T47" fmla="*/ 208 h 296"/>
                    <a:gd name="T48" fmla="*/ 0 w 237"/>
                    <a:gd name="T49" fmla="*/ 198 h 296"/>
                    <a:gd name="T50" fmla="*/ 10 w 237"/>
                    <a:gd name="T51" fmla="*/ 176 h 296"/>
                    <a:gd name="T52" fmla="*/ 14 w 237"/>
                    <a:gd name="T53" fmla="*/ 154 h 296"/>
                    <a:gd name="T54" fmla="*/ 26 w 237"/>
                    <a:gd name="T55" fmla="*/ 146 h 296"/>
                    <a:gd name="T56" fmla="*/ 43 w 237"/>
                    <a:gd name="T57" fmla="*/ 142 h 296"/>
                    <a:gd name="T58" fmla="*/ 56 w 237"/>
                    <a:gd name="T59" fmla="*/ 125 h 296"/>
                    <a:gd name="T60" fmla="*/ 62 w 237"/>
                    <a:gd name="T61" fmla="*/ 112 h 296"/>
                    <a:gd name="T62" fmla="*/ 62 w 237"/>
                    <a:gd name="T63" fmla="*/ 95 h 296"/>
                    <a:gd name="T64" fmla="*/ 61 w 237"/>
                    <a:gd name="T65" fmla="*/ 82 h 296"/>
                    <a:gd name="T66" fmla="*/ 58 w 237"/>
                    <a:gd name="T67" fmla="*/ 68 h 296"/>
                    <a:gd name="T68" fmla="*/ 72 w 237"/>
                    <a:gd name="T69" fmla="*/ 62 h 296"/>
                    <a:gd name="T70" fmla="*/ 71 w 237"/>
                    <a:gd name="T71" fmla="*/ 44 h 296"/>
                    <a:gd name="T72" fmla="*/ 63 w 237"/>
                    <a:gd name="T73" fmla="*/ 29 h 296"/>
                    <a:gd name="T74" fmla="*/ 82 w 237"/>
                    <a:gd name="T75" fmla="*/ 21 h 296"/>
                    <a:gd name="T76" fmla="*/ 94 w 237"/>
                    <a:gd name="T77" fmla="*/ 20 h 296"/>
                    <a:gd name="T78" fmla="*/ 103 w 237"/>
                    <a:gd name="T79" fmla="*/ 12 h 296"/>
                    <a:gd name="T80" fmla="*/ 111 w 237"/>
                    <a:gd name="T81" fmla="*/ 1 h 296"/>
                    <a:gd name="T82" fmla="*/ 118 w 237"/>
                    <a:gd name="T83" fmla="*/ 7 h 296"/>
                    <a:gd name="T84" fmla="*/ 120 w 237"/>
                    <a:gd name="T85" fmla="*/ 15 h 296"/>
                    <a:gd name="T86" fmla="*/ 120 w 237"/>
                    <a:gd name="T87" fmla="*/ 28 h 296"/>
                    <a:gd name="T88" fmla="*/ 130 w 237"/>
                    <a:gd name="T89" fmla="*/ 38 h 296"/>
                    <a:gd name="T90" fmla="*/ 139 w 237"/>
                    <a:gd name="T91" fmla="*/ 54 h 296"/>
                    <a:gd name="T92" fmla="*/ 149 w 237"/>
                    <a:gd name="T93" fmla="*/ 62 h 296"/>
                    <a:gd name="T94" fmla="*/ 156 w 237"/>
                    <a:gd name="T95" fmla="*/ 76 h 296"/>
                    <a:gd name="T96" fmla="*/ 167 w 237"/>
                    <a:gd name="T97" fmla="*/ 69 h 296"/>
                    <a:gd name="T98" fmla="*/ 179 w 237"/>
                    <a:gd name="T99" fmla="*/ 72 h 296"/>
                    <a:gd name="T100" fmla="*/ 191 w 237"/>
                    <a:gd name="T101" fmla="*/ 85 h 296"/>
                    <a:gd name="T102" fmla="*/ 195 w 237"/>
                    <a:gd name="T103" fmla="*/ 92 h 296"/>
                    <a:gd name="T104" fmla="*/ 212 w 237"/>
                    <a:gd name="T105" fmla="*/ 88 h 296"/>
                    <a:gd name="T106" fmla="*/ 227 w 237"/>
                    <a:gd name="T107" fmla="*/ 90 h 296"/>
                    <a:gd name="T108" fmla="*/ 236 w 237"/>
                    <a:gd name="T109" fmla="*/ 104 h 296"/>
                    <a:gd name="T110" fmla="*/ 233 w 237"/>
                    <a:gd name="T111" fmla="*/ 116 h 296"/>
                    <a:gd name="T112" fmla="*/ 231 w 237"/>
                    <a:gd name="T113" fmla="*/ 125 h 296"/>
                    <a:gd name="T114" fmla="*/ 217 w 237"/>
                    <a:gd name="T115" fmla="*/ 141 h 296"/>
                    <a:gd name="T116" fmla="*/ 223 w 237"/>
                    <a:gd name="T117" fmla="*/ 149 h 296"/>
                    <a:gd name="T118" fmla="*/ 218 w 237"/>
                    <a:gd name="T119" fmla="*/ 16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7" h="296">
                      <a:moveTo>
                        <a:pt x="219" y="162"/>
                      </a:moveTo>
                      <a:lnTo>
                        <a:pt x="219" y="164"/>
                      </a:lnTo>
                      <a:lnTo>
                        <a:pt x="220" y="167"/>
                      </a:lnTo>
                      <a:lnTo>
                        <a:pt x="222" y="168"/>
                      </a:lnTo>
                      <a:lnTo>
                        <a:pt x="222" y="169"/>
                      </a:lnTo>
                      <a:lnTo>
                        <a:pt x="223" y="169"/>
                      </a:lnTo>
                      <a:lnTo>
                        <a:pt x="223" y="172"/>
                      </a:lnTo>
                      <a:lnTo>
                        <a:pt x="222" y="175"/>
                      </a:lnTo>
                      <a:lnTo>
                        <a:pt x="220" y="180"/>
                      </a:lnTo>
                      <a:lnTo>
                        <a:pt x="219" y="182"/>
                      </a:lnTo>
                      <a:lnTo>
                        <a:pt x="219" y="184"/>
                      </a:lnTo>
                      <a:lnTo>
                        <a:pt x="219" y="185"/>
                      </a:lnTo>
                      <a:lnTo>
                        <a:pt x="221" y="186"/>
                      </a:lnTo>
                      <a:lnTo>
                        <a:pt x="222" y="186"/>
                      </a:lnTo>
                      <a:lnTo>
                        <a:pt x="223" y="187"/>
                      </a:lnTo>
                      <a:lnTo>
                        <a:pt x="226" y="190"/>
                      </a:lnTo>
                      <a:lnTo>
                        <a:pt x="226" y="191"/>
                      </a:lnTo>
                      <a:lnTo>
                        <a:pt x="226" y="192"/>
                      </a:lnTo>
                      <a:lnTo>
                        <a:pt x="227" y="193"/>
                      </a:lnTo>
                      <a:lnTo>
                        <a:pt x="226" y="195"/>
                      </a:lnTo>
                      <a:lnTo>
                        <a:pt x="228" y="198"/>
                      </a:lnTo>
                      <a:lnTo>
                        <a:pt x="229" y="199"/>
                      </a:lnTo>
                      <a:lnTo>
                        <a:pt x="230" y="203"/>
                      </a:lnTo>
                      <a:lnTo>
                        <a:pt x="230" y="206"/>
                      </a:lnTo>
                      <a:lnTo>
                        <a:pt x="231" y="207"/>
                      </a:lnTo>
                      <a:lnTo>
                        <a:pt x="231" y="207"/>
                      </a:lnTo>
                      <a:lnTo>
                        <a:pt x="231" y="210"/>
                      </a:lnTo>
                      <a:lnTo>
                        <a:pt x="231" y="212"/>
                      </a:lnTo>
                      <a:lnTo>
                        <a:pt x="231" y="213"/>
                      </a:lnTo>
                      <a:lnTo>
                        <a:pt x="231" y="214"/>
                      </a:lnTo>
                      <a:lnTo>
                        <a:pt x="233" y="216"/>
                      </a:lnTo>
                      <a:lnTo>
                        <a:pt x="234" y="216"/>
                      </a:lnTo>
                      <a:lnTo>
                        <a:pt x="235" y="218"/>
                      </a:lnTo>
                      <a:lnTo>
                        <a:pt x="235" y="220"/>
                      </a:lnTo>
                      <a:lnTo>
                        <a:pt x="234" y="221"/>
                      </a:lnTo>
                      <a:lnTo>
                        <a:pt x="233" y="224"/>
                      </a:lnTo>
                      <a:lnTo>
                        <a:pt x="236" y="226"/>
                      </a:lnTo>
                      <a:lnTo>
                        <a:pt x="234" y="229"/>
                      </a:lnTo>
                      <a:lnTo>
                        <a:pt x="234" y="229"/>
                      </a:lnTo>
                      <a:lnTo>
                        <a:pt x="233" y="231"/>
                      </a:lnTo>
                      <a:lnTo>
                        <a:pt x="233" y="234"/>
                      </a:lnTo>
                      <a:lnTo>
                        <a:pt x="234" y="234"/>
                      </a:lnTo>
                      <a:lnTo>
                        <a:pt x="234" y="238"/>
                      </a:lnTo>
                      <a:lnTo>
                        <a:pt x="233" y="241"/>
                      </a:lnTo>
                      <a:lnTo>
                        <a:pt x="233" y="242"/>
                      </a:lnTo>
                      <a:lnTo>
                        <a:pt x="232" y="243"/>
                      </a:lnTo>
                      <a:lnTo>
                        <a:pt x="231" y="245"/>
                      </a:lnTo>
                      <a:lnTo>
                        <a:pt x="226" y="245"/>
                      </a:lnTo>
                      <a:lnTo>
                        <a:pt x="226" y="245"/>
                      </a:lnTo>
                      <a:lnTo>
                        <a:pt x="224" y="245"/>
                      </a:lnTo>
                      <a:lnTo>
                        <a:pt x="223" y="245"/>
                      </a:lnTo>
                      <a:lnTo>
                        <a:pt x="222" y="245"/>
                      </a:lnTo>
                      <a:lnTo>
                        <a:pt x="222" y="247"/>
                      </a:lnTo>
                      <a:lnTo>
                        <a:pt x="221" y="247"/>
                      </a:lnTo>
                      <a:lnTo>
                        <a:pt x="219" y="248"/>
                      </a:lnTo>
                      <a:lnTo>
                        <a:pt x="219" y="249"/>
                      </a:lnTo>
                      <a:lnTo>
                        <a:pt x="218" y="252"/>
                      </a:lnTo>
                      <a:lnTo>
                        <a:pt x="218" y="253"/>
                      </a:lnTo>
                      <a:lnTo>
                        <a:pt x="216" y="253"/>
                      </a:lnTo>
                      <a:lnTo>
                        <a:pt x="216" y="252"/>
                      </a:lnTo>
                      <a:lnTo>
                        <a:pt x="213" y="252"/>
                      </a:lnTo>
                      <a:lnTo>
                        <a:pt x="212" y="254"/>
                      </a:lnTo>
                      <a:lnTo>
                        <a:pt x="210" y="254"/>
                      </a:lnTo>
                      <a:lnTo>
                        <a:pt x="208" y="252"/>
                      </a:lnTo>
                      <a:lnTo>
                        <a:pt x="206" y="252"/>
                      </a:lnTo>
                      <a:lnTo>
                        <a:pt x="206" y="254"/>
                      </a:lnTo>
                      <a:lnTo>
                        <a:pt x="204" y="254"/>
                      </a:lnTo>
                      <a:lnTo>
                        <a:pt x="204" y="254"/>
                      </a:lnTo>
                      <a:lnTo>
                        <a:pt x="204" y="255"/>
                      </a:lnTo>
                      <a:lnTo>
                        <a:pt x="202" y="257"/>
                      </a:lnTo>
                      <a:lnTo>
                        <a:pt x="200" y="257"/>
                      </a:lnTo>
                      <a:lnTo>
                        <a:pt x="199" y="259"/>
                      </a:lnTo>
                      <a:lnTo>
                        <a:pt x="200" y="260"/>
                      </a:lnTo>
                      <a:lnTo>
                        <a:pt x="200" y="261"/>
                      </a:lnTo>
                      <a:lnTo>
                        <a:pt x="199" y="261"/>
                      </a:lnTo>
                      <a:lnTo>
                        <a:pt x="199" y="260"/>
                      </a:lnTo>
                      <a:lnTo>
                        <a:pt x="195" y="261"/>
                      </a:lnTo>
                      <a:lnTo>
                        <a:pt x="195" y="262"/>
                      </a:lnTo>
                      <a:lnTo>
                        <a:pt x="198" y="262"/>
                      </a:lnTo>
                      <a:lnTo>
                        <a:pt x="198" y="266"/>
                      </a:lnTo>
                      <a:lnTo>
                        <a:pt x="195" y="267"/>
                      </a:lnTo>
                      <a:lnTo>
                        <a:pt x="197" y="269"/>
                      </a:lnTo>
                      <a:lnTo>
                        <a:pt x="198" y="269"/>
                      </a:lnTo>
                      <a:lnTo>
                        <a:pt x="199" y="270"/>
                      </a:lnTo>
                      <a:lnTo>
                        <a:pt x="199" y="272"/>
                      </a:lnTo>
                      <a:lnTo>
                        <a:pt x="195" y="275"/>
                      </a:lnTo>
                      <a:lnTo>
                        <a:pt x="193" y="277"/>
                      </a:lnTo>
                      <a:lnTo>
                        <a:pt x="193" y="277"/>
                      </a:lnTo>
                      <a:lnTo>
                        <a:pt x="193" y="276"/>
                      </a:lnTo>
                      <a:lnTo>
                        <a:pt x="191" y="276"/>
                      </a:lnTo>
                      <a:lnTo>
                        <a:pt x="191" y="276"/>
                      </a:lnTo>
                      <a:lnTo>
                        <a:pt x="190" y="277"/>
                      </a:lnTo>
                      <a:lnTo>
                        <a:pt x="189" y="275"/>
                      </a:lnTo>
                      <a:lnTo>
                        <a:pt x="185" y="276"/>
                      </a:lnTo>
                      <a:lnTo>
                        <a:pt x="180" y="277"/>
                      </a:lnTo>
                      <a:lnTo>
                        <a:pt x="180" y="277"/>
                      </a:lnTo>
                      <a:lnTo>
                        <a:pt x="177" y="280"/>
                      </a:lnTo>
                      <a:lnTo>
                        <a:pt x="177" y="281"/>
                      </a:lnTo>
                      <a:lnTo>
                        <a:pt x="175" y="283"/>
                      </a:lnTo>
                      <a:lnTo>
                        <a:pt x="175" y="282"/>
                      </a:lnTo>
                      <a:lnTo>
                        <a:pt x="172" y="288"/>
                      </a:lnTo>
                      <a:lnTo>
                        <a:pt x="171" y="288"/>
                      </a:lnTo>
                      <a:lnTo>
                        <a:pt x="170" y="288"/>
                      </a:lnTo>
                      <a:lnTo>
                        <a:pt x="168" y="289"/>
                      </a:lnTo>
                      <a:lnTo>
                        <a:pt x="166" y="288"/>
                      </a:lnTo>
                      <a:lnTo>
                        <a:pt x="164" y="288"/>
                      </a:lnTo>
                      <a:lnTo>
                        <a:pt x="164" y="288"/>
                      </a:lnTo>
                      <a:lnTo>
                        <a:pt x="161" y="289"/>
                      </a:lnTo>
                      <a:lnTo>
                        <a:pt x="159" y="288"/>
                      </a:lnTo>
                      <a:lnTo>
                        <a:pt x="158" y="290"/>
                      </a:lnTo>
                      <a:lnTo>
                        <a:pt x="157" y="290"/>
                      </a:lnTo>
                      <a:lnTo>
                        <a:pt x="156" y="289"/>
                      </a:lnTo>
                      <a:lnTo>
                        <a:pt x="153" y="288"/>
                      </a:lnTo>
                      <a:lnTo>
                        <a:pt x="151" y="288"/>
                      </a:lnTo>
                      <a:lnTo>
                        <a:pt x="150" y="287"/>
                      </a:lnTo>
                      <a:lnTo>
                        <a:pt x="149" y="286"/>
                      </a:lnTo>
                      <a:lnTo>
                        <a:pt x="147" y="286"/>
                      </a:lnTo>
                      <a:lnTo>
                        <a:pt x="144" y="287"/>
                      </a:lnTo>
                      <a:lnTo>
                        <a:pt x="143" y="286"/>
                      </a:lnTo>
                      <a:lnTo>
                        <a:pt x="141" y="286"/>
                      </a:lnTo>
                      <a:lnTo>
                        <a:pt x="141" y="287"/>
                      </a:lnTo>
                      <a:lnTo>
                        <a:pt x="138" y="287"/>
                      </a:lnTo>
                      <a:lnTo>
                        <a:pt x="138" y="288"/>
                      </a:lnTo>
                      <a:lnTo>
                        <a:pt x="136" y="287"/>
                      </a:lnTo>
                      <a:lnTo>
                        <a:pt x="134" y="285"/>
                      </a:lnTo>
                      <a:lnTo>
                        <a:pt x="130" y="285"/>
                      </a:lnTo>
                      <a:lnTo>
                        <a:pt x="130" y="285"/>
                      </a:lnTo>
                      <a:lnTo>
                        <a:pt x="131" y="286"/>
                      </a:lnTo>
                      <a:lnTo>
                        <a:pt x="131" y="287"/>
                      </a:lnTo>
                      <a:lnTo>
                        <a:pt x="130" y="290"/>
                      </a:lnTo>
                      <a:lnTo>
                        <a:pt x="129" y="292"/>
                      </a:lnTo>
                      <a:lnTo>
                        <a:pt x="128" y="292"/>
                      </a:lnTo>
                      <a:lnTo>
                        <a:pt x="126" y="289"/>
                      </a:lnTo>
                      <a:lnTo>
                        <a:pt x="125" y="289"/>
                      </a:lnTo>
                      <a:lnTo>
                        <a:pt x="124" y="290"/>
                      </a:lnTo>
                      <a:lnTo>
                        <a:pt x="123" y="292"/>
                      </a:lnTo>
                      <a:lnTo>
                        <a:pt x="122" y="292"/>
                      </a:lnTo>
                      <a:lnTo>
                        <a:pt x="121" y="292"/>
                      </a:lnTo>
                      <a:lnTo>
                        <a:pt x="120" y="290"/>
                      </a:lnTo>
                      <a:lnTo>
                        <a:pt x="121" y="289"/>
                      </a:lnTo>
                      <a:lnTo>
                        <a:pt x="120" y="288"/>
                      </a:lnTo>
                      <a:lnTo>
                        <a:pt x="118" y="290"/>
                      </a:lnTo>
                      <a:lnTo>
                        <a:pt x="116" y="290"/>
                      </a:lnTo>
                      <a:lnTo>
                        <a:pt x="114" y="290"/>
                      </a:lnTo>
                      <a:lnTo>
                        <a:pt x="114" y="288"/>
                      </a:lnTo>
                      <a:lnTo>
                        <a:pt x="113" y="288"/>
                      </a:lnTo>
                      <a:lnTo>
                        <a:pt x="111" y="290"/>
                      </a:lnTo>
                      <a:lnTo>
                        <a:pt x="110" y="290"/>
                      </a:lnTo>
                      <a:lnTo>
                        <a:pt x="110" y="290"/>
                      </a:lnTo>
                      <a:lnTo>
                        <a:pt x="109" y="290"/>
                      </a:lnTo>
                      <a:lnTo>
                        <a:pt x="108" y="293"/>
                      </a:lnTo>
                      <a:lnTo>
                        <a:pt x="106" y="293"/>
                      </a:lnTo>
                      <a:lnTo>
                        <a:pt x="106" y="295"/>
                      </a:lnTo>
                      <a:lnTo>
                        <a:pt x="104" y="296"/>
                      </a:lnTo>
                      <a:lnTo>
                        <a:pt x="103" y="293"/>
                      </a:lnTo>
                      <a:lnTo>
                        <a:pt x="102" y="292"/>
                      </a:lnTo>
                      <a:lnTo>
                        <a:pt x="101" y="290"/>
                      </a:lnTo>
                      <a:lnTo>
                        <a:pt x="100" y="290"/>
                      </a:lnTo>
                      <a:lnTo>
                        <a:pt x="100" y="290"/>
                      </a:lnTo>
                      <a:lnTo>
                        <a:pt x="100" y="290"/>
                      </a:lnTo>
                      <a:lnTo>
                        <a:pt x="97" y="290"/>
                      </a:lnTo>
                      <a:lnTo>
                        <a:pt x="97" y="292"/>
                      </a:lnTo>
                      <a:lnTo>
                        <a:pt x="96" y="293"/>
                      </a:lnTo>
                      <a:lnTo>
                        <a:pt x="94" y="293"/>
                      </a:lnTo>
                      <a:lnTo>
                        <a:pt x="93" y="293"/>
                      </a:lnTo>
                      <a:lnTo>
                        <a:pt x="92" y="293"/>
                      </a:lnTo>
                      <a:lnTo>
                        <a:pt x="90" y="293"/>
                      </a:lnTo>
                      <a:lnTo>
                        <a:pt x="89" y="293"/>
                      </a:lnTo>
                      <a:lnTo>
                        <a:pt x="89" y="292"/>
                      </a:lnTo>
                      <a:lnTo>
                        <a:pt x="89" y="290"/>
                      </a:lnTo>
                      <a:lnTo>
                        <a:pt x="87" y="293"/>
                      </a:lnTo>
                      <a:lnTo>
                        <a:pt x="85" y="292"/>
                      </a:lnTo>
                      <a:lnTo>
                        <a:pt x="88" y="290"/>
                      </a:lnTo>
                      <a:lnTo>
                        <a:pt x="87" y="289"/>
                      </a:lnTo>
                      <a:lnTo>
                        <a:pt x="89" y="286"/>
                      </a:lnTo>
                      <a:lnTo>
                        <a:pt x="89" y="286"/>
                      </a:lnTo>
                      <a:lnTo>
                        <a:pt x="86" y="287"/>
                      </a:lnTo>
                      <a:lnTo>
                        <a:pt x="86" y="285"/>
                      </a:lnTo>
                      <a:lnTo>
                        <a:pt x="85" y="285"/>
                      </a:lnTo>
                      <a:lnTo>
                        <a:pt x="84" y="285"/>
                      </a:lnTo>
                      <a:lnTo>
                        <a:pt x="83" y="282"/>
                      </a:lnTo>
                      <a:lnTo>
                        <a:pt x="84" y="282"/>
                      </a:lnTo>
                      <a:lnTo>
                        <a:pt x="83" y="279"/>
                      </a:lnTo>
                      <a:lnTo>
                        <a:pt x="84" y="278"/>
                      </a:lnTo>
                      <a:lnTo>
                        <a:pt x="82" y="276"/>
                      </a:lnTo>
                      <a:lnTo>
                        <a:pt x="79" y="275"/>
                      </a:lnTo>
                      <a:lnTo>
                        <a:pt x="74" y="275"/>
                      </a:lnTo>
                      <a:lnTo>
                        <a:pt x="74" y="272"/>
                      </a:lnTo>
                      <a:lnTo>
                        <a:pt x="73" y="270"/>
                      </a:lnTo>
                      <a:lnTo>
                        <a:pt x="71" y="270"/>
                      </a:lnTo>
                      <a:lnTo>
                        <a:pt x="71" y="270"/>
                      </a:lnTo>
                      <a:lnTo>
                        <a:pt x="67" y="269"/>
                      </a:lnTo>
                      <a:lnTo>
                        <a:pt x="67" y="267"/>
                      </a:lnTo>
                      <a:lnTo>
                        <a:pt x="65" y="267"/>
                      </a:lnTo>
                      <a:lnTo>
                        <a:pt x="65" y="265"/>
                      </a:lnTo>
                      <a:lnTo>
                        <a:pt x="64" y="262"/>
                      </a:lnTo>
                      <a:lnTo>
                        <a:pt x="65" y="262"/>
                      </a:lnTo>
                      <a:lnTo>
                        <a:pt x="65" y="259"/>
                      </a:lnTo>
                      <a:lnTo>
                        <a:pt x="65" y="258"/>
                      </a:lnTo>
                      <a:lnTo>
                        <a:pt x="66" y="256"/>
                      </a:lnTo>
                      <a:lnTo>
                        <a:pt x="66" y="255"/>
                      </a:lnTo>
                      <a:lnTo>
                        <a:pt x="65" y="252"/>
                      </a:lnTo>
                      <a:lnTo>
                        <a:pt x="64" y="252"/>
                      </a:lnTo>
                      <a:lnTo>
                        <a:pt x="62" y="252"/>
                      </a:lnTo>
                      <a:lnTo>
                        <a:pt x="62" y="249"/>
                      </a:lnTo>
                      <a:lnTo>
                        <a:pt x="61" y="249"/>
                      </a:lnTo>
                      <a:lnTo>
                        <a:pt x="61" y="248"/>
                      </a:lnTo>
                      <a:lnTo>
                        <a:pt x="61" y="248"/>
                      </a:lnTo>
                      <a:lnTo>
                        <a:pt x="59" y="245"/>
                      </a:lnTo>
                      <a:lnTo>
                        <a:pt x="58" y="245"/>
                      </a:lnTo>
                      <a:lnTo>
                        <a:pt x="58" y="242"/>
                      </a:lnTo>
                      <a:lnTo>
                        <a:pt x="58" y="241"/>
                      </a:lnTo>
                      <a:lnTo>
                        <a:pt x="56" y="239"/>
                      </a:lnTo>
                      <a:lnTo>
                        <a:pt x="57" y="238"/>
                      </a:lnTo>
                      <a:lnTo>
                        <a:pt x="55" y="238"/>
                      </a:lnTo>
                      <a:lnTo>
                        <a:pt x="55" y="237"/>
                      </a:lnTo>
                      <a:lnTo>
                        <a:pt x="54" y="236"/>
                      </a:lnTo>
                      <a:lnTo>
                        <a:pt x="53" y="236"/>
                      </a:lnTo>
                      <a:lnTo>
                        <a:pt x="51" y="235"/>
                      </a:lnTo>
                      <a:lnTo>
                        <a:pt x="51" y="234"/>
                      </a:lnTo>
                      <a:lnTo>
                        <a:pt x="49" y="231"/>
                      </a:lnTo>
                      <a:lnTo>
                        <a:pt x="49" y="231"/>
                      </a:lnTo>
                      <a:lnTo>
                        <a:pt x="49" y="229"/>
                      </a:lnTo>
                      <a:lnTo>
                        <a:pt x="49" y="226"/>
                      </a:lnTo>
                      <a:lnTo>
                        <a:pt x="49" y="224"/>
                      </a:lnTo>
                      <a:lnTo>
                        <a:pt x="49" y="224"/>
                      </a:lnTo>
                      <a:lnTo>
                        <a:pt x="46" y="224"/>
                      </a:lnTo>
                      <a:lnTo>
                        <a:pt x="46" y="223"/>
                      </a:lnTo>
                      <a:lnTo>
                        <a:pt x="44" y="223"/>
                      </a:lnTo>
                      <a:lnTo>
                        <a:pt x="43" y="221"/>
                      </a:lnTo>
                      <a:lnTo>
                        <a:pt x="43" y="220"/>
                      </a:lnTo>
                      <a:lnTo>
                        <a:pt x="41" y="220"/>
                      </a:lnTo>
                      <a:lnTo>
                        <a:pt x="38" y="220"/>
                      </a:lnTo>
                      <a:lnTo>
                        <a:pt x="38" y="221"/>
                      </a:lnTo>
                      <a:lnTo>
                        <a:pt x="38" y="223"/>
                      </a:lnTo>
                      <a:lnTo>
                        <a:pt x="41" y="224"/>
                      </a:lnTo>
                      <a:lnTo>
                        <a:pt x="41" y="224"/>
                      </a:lnTo>
                      <a:lnTo>
                        <a:pt x="41" y="225"/>
                      </a:lnTo>
                      <a:lnTo>
                        <a:pt x="37" y="225"/>
                      </a:lnTo>
                      <a:lnTo>
                        <a:pt x="34" y="225"/>
                      </a:lnTo>
                      <a:lnTo>
                        <a:pt x="33" y="226"/>
                      </a:lnTo>
                      <a:lnTo>
                        <a:pt x="28" y="228"/>
                      </a:lnTo>
                      <a:lnTo>
                        <a:pt x="28" y="228"/>
                      </a:lnTo>
                      <a:lnTo>
                        <a:pt x="26" y="228"/>
                      </a:lnTo>
                      <a:lnTo>
                        <a:pt x="24" y="226"/>
                      </a:lnTo>
                      <a:lnTo>
                        <a:pt x="23" y="226"/>
                      </a:lnTo>
                      <a:lnTo>
                        <a:pt x="22" y="228"/>
                      </a:lnTo>
                      <a:lnTo>
                        <a:pt x="19" y="228"/>
                      </a:lnTo>
                      <a:lnTo>
                        <a:pt x="18" y="225"/>
                      </a:lnTo>
                      <a:lnTo>
                        <a:pt x="18" y="224"/>
                      </a:lnTo>
                      <a:lnTo>
                        <a:pt x="17" y="221"/>
                      </a:lnTo>
                      <a:lnTo>
                        <a:pt x="18" y="220"/>
                      </a:lnTo>
                      <a:lnTo>
                        <a:pt x="18" y="217"/>
                      </a:lnTo>
                      <a:lnTo>
                        <a:pt x="19" y="217"/>
                      </a:lnTo>
                      <a:lnTo>
                        <a:pt x="18" y="214"/>
                      </a:lnTo>
                      <a:lnTo>
                        <a:pt x="15" y="214"/>
                      </a:lnTo>
                      <a:lnTo>
                        <a:pt x="15" y="213"/>
                      </a:lnTo>
                      <a:lnTo>
                        <a:pt x="13" y="212"/>
                      </a:lnTo>
                      <a:lnTo>
                        <a:pt x="10" y="214"/>
                      </a:lnTo>
                      <a:lnTo>
                        <a:pt x="10" y="213"/>
                      </a:lnTo>
                      <a:lnTo>
                        <a:pt x="8" y="213"/>
                      </a:lnTo>
                      <a:lnTo>
                        <a:pt x="8" y="212"/>
                      </a:lnTo>
                      <a:lnTo>
                        <a:pt x="10" y="210"/>
                      </a:lnTo>
                      <a:lnTo>
                        <a:pt x="10" y="208"/>
                      </a:lnTo>
                      <a:lnTo>
                        <a:pt x="10" y="207"/>
                      </a:lnTo>
                      <a:lnTo>
                        <a:pt x="7" y="208"/>
                      </a:lnTo>
                      <a:lnTo>
                        <a:pt x="6" y="207"/>
                      </a:lnTo>
                      <a:lnTo>
                        <a:pt x="6" y="206"/>
                      </a:lnTo>
                      <a:lnTo>
                        <a:pt x="4" y="205"/>
                      </a:lnTo>
                      <a:lnTo>
                        <a:pt x="3" y="206"/>
                      </a:lnTo>
                      <a:lnTo>
                        <a:pt x="2" y="206"/>
                      </a:lnTo>
                      <a:lnTo>
                        <a:pt x="1" y="203"/>
                      </a:lnTo>
                      <a:lnTo>
                        <a:pt x="0" y="203"/>
                      </a:lnTo>
                      <a:lnTo>
                        <a:pt x="0" y="200"/>
                      </a:lnTo>
                      <a:lnTo>
                        <a:pt x="0" y="198"/>
                      </a:lnTo>
                      <a:lnTo>
                        <a:pt x="0" y="197"/>
                      </a:lnTo>
                      <a:lnTo>
                        <a:pt x="0" y="195"/>
                      </a:lnTo>
                      <a:lnTo>
                        <a:pt x="1" y="193"/>
                      </a:lnTo>
                      <a:lnTo>
                        <a:pt x="1" y="189"/>
                      </a:lnTo>
                      <a:lnTo>
                        <a:pt x="2" y="188"/>
                      </a:lnTo>
                      <a:lnTo>
                        <a:pt x="3" y="185"/>
                      </a:lnTo>
                      <a:lnTo>
                        <a:pt x="5" y="182"/>
                      </a:lnTo>
                      <a:lnTo>
                        <a:pt x="6" y="181"/>
                      </a:lnTo>
                      <a:lnTo>
                        <a:pt x="6" y="178"/>
                      </a:lnTo>
                      <a:lnTo>
                        <a:pt x="8" y="178"/>
                      </a:lnTo>
                      <a:lnTo>
                        <a:pt x="10" y="176"/>
                      </a:lnTo>
                      <a:lnTo>
                        <a:pt x="8" y="175"/>
                      </a:lnTo>
                      <a:lnTo>
                        <a:pt x="8" y="174"/>
                      </a:lnTo>
                      <a:lnTo>
                        <a:pt x="10" y="172"/>
                      </a:lnTo>
                      <a:lnTo>
                        <a:pt x="10" y="168"/>
                      </a:lnTo>
                      <a:lnTo>
                        <a:pt x="11" y="166"/>
                      </a:lnTo>
                      <a:lnTo>
                        <a:pt x="11" y="164"/>
                      </a:lnTo>
                      <a:lnTo>
                        <a:pt x="13" y="162"/>
                      </a:lnTo>
                      <a:lnTo>
                        <a:pt x="13" y="160"/>
                      </a:lnTo>
                      <a:lnTo>
                        <a:pt x="11" y="159"/>
                      </a:lnTo>
                      <a:lnTo>
                        <a:pt x="13" y="155"/>
                      </a:lnTo>
                      <a:lnTo>
                        <a:pt x="14" y="154"/>
                      </a:lnTo>
                      <a:lnTo>
                        <a:pt x="14" y="150"/>
                      </a:lnTo>
                      <a:lnTo>
                        <a:pt x="16" y="150"/>
                      </a:lnTo>
                      <a:lnTo>
                        <a:pt x="18" y="152"/>
                      </a:lnTo>
                      <a:lnTo>
                        <a:pt x="21" y="152"/>
                      </a:lnTo>
                      <a:lnTo>
                        <a:pt x="23" y="153"/>
                      </a:lnTo>
                      <a:lnTo>
                        <a:pt x="23" y="154"/>
                      </a:lnTo>
                      <a:lnTo>
                        <a:pt x="26" y="155"/>
                      </a:lnTo>
                      <a:lnTo>
                        <a:pt x="27" y="154"/>
                      </a:lnTo>
                      <a:lnTo>
                        <a:pt x="27" y="152"/>
                      </a:lnTo>
                      <a:lnTo>
                        <a:pt x="25" y="148"/>
                      </a:lnTo>
                      <a:lnTo>
                        <a:pt x="26" y="146"/>
                      </a:lnTo>
                      <a:lnTo>
                        <a:pt x="28" y="146"/>
                      </a:lnTo>
                      <a:lnTo>
                        <a:pt x="30" y="150"/>
                      </a:lnTo>
                      <a:lnTo>
                        <a:pt x="32" y="149"/>
                      </a:lnTo>
                      <a:lnTo>
                        <a:pt x="33" y="146"/>
                      </a:lnTo>
                      <a:lnTo>
                        <a:pt x="36" y="146"/>
                      </a:lnTo>
                      <a:lnTo>
                        <a:pt x="41" y="145"/>
                      </a:lnTo>
                      <a:lnTo>
                        <a:pt x="41" y="144"/>
                      </a:lnTo>
                      <a:lnTo>
                        <a:pt x="43" y="145"/>
                      </a:lnTo>
                      <a:lnTo>
                        <a:pt x="44" y="142"/>
                      </a:lnTo>
                      <a:lnTo>
                        <a:pt x="44" y="141"/>
                      </a:lnTo>
                      <a:lnTo>
                        <a:pt x="43" y="142"/>
                      </a:lnTo>
                      <a:lnTo>
                        <a:pt x="41" y="139"/>
                      </a:lnTo>
                      <a:lnTo>
                        <a:pt x="44" y="138"/>
                      </a:lnTo>
                      <a:lnTo>
                        <a:pt x="45" y="135"/>
                      </a:lnTo>
                      <a:lnTo>
                        <a:pt x="47" y="135"/>
                      </a:lnTo>
                      <a:lnTo>
                        <a:pt x="49" y="133"/>
                      </a:lnTo>
                      <a:lnTo>
                        <a:pt x="51" y="133"/>
                      </a:lnTo>
                      <a:lnTo>
                        <a:pt x="51" y="131"/>
                      </a:lnTo>
                      <a:lnTo>
                        <a:pt x="51" y="131"/>
                      </a:lnTo>
                      <a:lnTo>
                        <a:pt x="54" y="129"/>
                      </a:lnTo>
                      <a:lnTo>
                        <a:pt x="56" y="125"/>
                      </a:lnTo>
                      <a:lnTo>
                        <a:pt x="56" y="125"/>
                      </a:lnTo>
                      <a:lnTo>
                        <a:pt x="57" y="124"/>
                      </a:lnTo>
                      <a:lnTo>
                        <a:pt x="56" y="123"/>
                      </a:lnTo>
                      <a:lnTo>
                        <a:pt x="56" y="118"/>
                      </a:lnTo>
                      <a:lnTo>
                        <a:pt x="56" y="117"/>
                      </a:lnTo>
                      <a:lnTo>
                        <a:pt x="58" y="117"/>
                      </a:lnTo>
                      <a:lnTo>
                        <a:pt x="60" y="118"/>
                      </a:lnTo>
                      <a:lnTo>
                        <a:pt x="61" y="118"/>
                      </a:lnTo>
                      <a:lnTo>
                        <a:pt x="61" y="117"/>
                      </a:lnTo>
                      <a:lnTo>
                        <a:pt x="61" y="114"/>
                      </a:lnTo>
                      <a:lnTo>
                        <a:pt x="62" y="113"/>
                      </a:lnTo>
                      <a:lnTo>
                        <a:pt x="62" y="112"/>
                      </a:lnTo>
                      <a:lnTo>
                        <a:pt x="61" y="110"/>
                      </a:lnTo>
                      <a:lnTo>
                        <a:pt x="61" y="109"/>
                      </a:lnTo>
                      <a:lnTo>
                        <a:pt x="62" y="105"/>
                      </a:lnTo>
                      <a:lnTo>
                        <a:pt x="62" y="104"/>
                      </a:lnTo>
                      <a:lnTo>
                        <a:pt x="59" y="103"/>
                      </a:lnTo>
                      <a:lnTo>
                        <a:pt x="58" y="99"/>
                      </a:lnTo>
                      <a:lnTo>
                        <a:pt x="62" y="98"/>
                      </a:lnTo>
                      <a:lnTo>
                        <a:pt x="62" y="97"/>
                      </a:lnTo>
                      <a:lnTo>
                        <a:pt x="61" y="97"/>
                      </a:lnTo>
                      <a:lnTo>
                        <a:pt x="61" y="95"/>
                      </a:lnTo>
                      <a:lnTo>
                        <a:pt x="62" y="95"/>
                      </a:lnTo>
                      <a:lnTo>
                        <a:pt x="63" y="93"/>
                      </a:lnTo>
                      <a:lnTo>
                        <a:pt x="64" y="92"/>
                      </a:lnTo>
                      <a:lnTo>
                        <a:pt x="68" y="90"/>
                      </a:lnTo>
                      <a:lnTo>
                        <a:pt x="68" y="90"/>
                      </a:lnTo>
                      <a:lnTo>
                        <a:pt x="68" y="90"/>
                      </a:lnTo>
                      <a:lnTo>
                        <a:pt x="66" y="88"/>
                      </a:lnTo>
                      <a:lnTo>
                        <a:pt x="62" y="88"/>
                      </a:lnTo>
                      <a:lnTo>
                        <a:pt x="61" y="87"/>
                      </a:lnTo>
                      <a:lnTo>
                        <a:pt x="59" y="85"/>
                      </a:lnTo>
                      <a:lnTo>
                        <a:pt x="61" y="84"/>
                      </a:lnTo>
                      <a:lnTo>
                        <a:pt x="61" y="82"/>
                      </a:lnTo>
                      <a:lnTo>
                        <a:pt x="61" y="81"/>
                      </a:lnTo>
                      <a:lnTo>
                        <a:pt x="61" y="80"/>
                      </a:lnTo>
                      <a:lnTo>
                        <a:pt x="59" y="76"/>
                      </a:lnTo>
                      <a:lnTo>
                        <a:pt x="59" y="76"/>
                      </a:lnTo>
                      <a:lnTo>
                        <a:pt x="61" y="73"/>
                      </a:lnTo>
                      <a:lnTo>
                        <a:pt x="58" y="72"/>
                      </a:lnTo>
                      <a:lnTo>
                        <a:pt x="58" y="73"/>
                      </a:lnTo>
                      <a:lnTo>
                        <a:pt x="57" y="73"/>
                      </a:lnTo>
                      <a:lnTo>
                        <a:pt x="58" y="69"/>
                      </a:lnTo>
                      <a:lnTo>
                        <a:pt x="58" y="69"/>
                      </a:lnTo>
                      <a:lnTo>
                        <a:pt x="58" y="68"/>
                      </a:lnTo>
                      <a:lnTo>
                        <a:pt x="60" y="67"/>
                      </a:lnTo>
                      <a:lnTo>
                        <a:pt x="61" y="66"/>
                      </a:lnTo>
                      <a:lnTo>
                        <a:pt x="62" y="67"/>
                      </a:lnTo>
                      <a:lnTo>
                        <a:pt x="64" y="66"/>
                      </a:lnTo>
                      <a:lnTo>
                        <a:pt x="65" y="66"/>
                      </a:lnTo>
                      <a:lnTo>
                        <a:pt x="65" y="66"/>
                      </a:lnTo>
                      <a:lnTo>
                        <a:pt x="66" y="66"/>
                      </a:lnTo>
                      <a:lnTo>
                        <a:pt x="67" y="65"/>
                      </a:lnTo>
                      <a:lnTo>
                        <a:pt x="68" y="65"/>
                      </a:lnTo>
                      <a:lnTo>
                        <a:pt x="70" y="63"/>
                      </a:lnTo>
                      <a:lnTo>
                        <a:pt x="72" y="62"/>
                      </a:lnTo>
                      <a:lnTo>
                        <a:pt x="72" y="59"/>
                      </a:lnTo>
                      <a:lnTo>
                        <a:pt x="74" y="56"/>
                      </a:lnTo>
                      <a:lnTo>
                        <a:pt x="72" y="55"/>
                      </a:lnTo>
                      <a:lnTo>
                        <a:pt x="71" y="52"/>
                      </a:lnTo>
                      <a:lnTo>
                        <a:pt x="72" y="52"/>
                      </a:lnTo>
                      <a:lnTo>
                        <a:pt x="72" y="51"/>
                      </a:lnTo>
                      <a:lnTo>
                        <a:pt x="72" y="49"/>
                      </a:lnTo>
                      <a:lnTo>
                        <a:pt x="73" y="48"/>
                      </a:lnTo>
                      <a:lnTo>
                        <a:pt x="72" y="46"/>
                      </a:lnTo>
                      <a:lnTo>
                        <a:pt x="70" y="45"/>
                      </a:lnTo>
                      <a:lnTo>
                        <a:pt x="71" y="44"/>
                      </a:lnTo>
                      <a:lnTo>
                        <a:pt x="70" y="43"/>
                      </a:lnTo>
                      <a:lnTo>
                        <a:pt x="68" y="43"/>
                      </a:lnTo>
                      <a:lnTo>
                        <a:pt x="68" y="41"/>
                      </a:lnTo>
                      <a:lnTo>
                        <a:pt x="65" y="41"/>
                      </a:lnTo>
                      <a:lnTo>
                        <a:pt x="64" y="40"/>
                      </a:lnTo>
                      <a:lnTo>
                        <a:pt x="64" y="37"/>
                      </a:lnTo>
                      <a:lnTo>
                        <a:pt x="62" y="37"/>
                      </a:lnTo>
                      <a:lnTo>
                        <a:pt x="63" y="34"/>
                      </a:lnTo>
                      <a:lnTo>
                        <a:pt x="62" y="32"/>
                      </a:lnTo>
                      <a:lnTo>
                        <a:pt x="62" y="31"/>
                      </a:lnTo>
                      <a:lnTo>
                        <a:pt x="63" y="29"/>
                      </a:lnTo>
                      <a:lnTo>
                        <a:pt x="65" y="29"/>
                      </a:lnTo>
                      <a:lnTo>
                        <a:pt x="66" y="28"/>
                      </a:lnTo>
                      <a:lnTo>
                        <a:pt x="66" y="25"/>
                      </a:lnTo>
                      <a:lnTo>
                        <a:pt x="68" y="25"/>
                      </a:lnTo>
                      <a:lnTo>
                        <a:pt x="70" y="25"/>
                      </a:lnTo>
                      <a:lnTo>
                        <a:pt x="75" y="24"/>
                      </a:lnTo>
                      <a:lnTo>
                        <a:pt x="75" y="24"/>
                      </a:lnTo>
                      <a:lnTo>
                        <a:pt x="78" y="24"/>
                      </a:lnTo>
                      <a:lnTo>
                        <a:pt x="79" y="24"/>
                      </a:lnTo>
                      <a:lnTo>
                        <a:pt x="80" y="21"/>
                      </a:lnTo>
                      <a:lnTo>
                        <a:pt x="82" y="21"/>
                      </a:lnTo>
                      <a:lnTo>
                        <a:pt x="82" y="21"/>
                      </a:lnTo>
                      <a:lnTo>
                        <a:pt x="83" y="21"/>
                      </a:lnTo>
                      <a:lnTo>
                        <a:pt x="85" y="21"/>
                      </a:lnTo>
                      <a:lnTo>
                        <a:pt x="85" y="20"/>
                      </a:lnTo>
                      <a:lnTo>
                        <a:pt x="85" y="17"/>
                      </a:lnTo>
                      <a:lnTo>
                        <a:pt x="88" y="17"/>
                      </a:lnTo>
                      <a:lnTo>
                        <a:pt x="89" y="20"/>
                      </a:lnTo>
                      <a:lnTo>
                        <a:pt x="91" y="20"/>
                      </a:lnTo>
                      <a:lnTo>
                        <a:pt x="93" y="21"/>
                      </a:lnTo>
                      <a:lnTo>
                        <a:pt x="93" y="20"/>
                      </a:lnTo>
                      <a:lnTo>
                        <a:pt x="94" y="20"/>
                      </a:lnTo>
                      <a:lnTo>
                        <a:pt x="96" y="21"/>
                      </a:lnTo>
                      <a:lnTo>
                        <a:pt x="97" y="20"/>
                      </a:lnTo>
                      <a:lnTo>
                        <a:pt x="100" y="20"/>
                      </a:lnTo>
                      <a:lnTo>
                        <a:pt x="100" y="21"/>
                      </a:lnTo>
                      <a:lnTo>
                        <a:pt x="102" y="21"/>
                      </a:lnTo>
                      <a:lnTo>
                        <a:pt x="103" y="19"/>
                      </a:lnTo>
                      <a:lnTo>
                        <a:pt x="104" y="18"/>
                      </a:lnTo>
                      <a:lnTo>
                        <a:pt x="104" y="16"/>
                      </a:lnTo>
                      <a:lnTo>
                        <a:pt x="103" y="15"/>
                      </a:lnTo>
                      <a:lnTo>
                        <a:pt x="103" y="14"/>
                      </a:lnTo>
                      <a:lnTo>
                        <a:pt x="103" y="12"/>
                      </a:lnTo>
                      <a:lnTo>
                        <a:pt x="106" y="11"/>
                      </a:lnTo>
                      <a:lnTo>
                        <a:pt x="106" y="9"/>
                      </a:lnTo>
                      <a:lnTo>
                        <a:pt x="108" y="9"/>
                      </a:lnTo>
                      <a:lnTo>
                        <a:pt x="110" y="8"/>
                      </a:lnTo>
                      <a:lnTo>
                        <a:pt x="111" y="8"/>
                      </a:lnTo>
                      <a:lnTo>
                        <a:pt x="111" y="6"/>
                      </a:lnTo>
                      <a:lnTo>
                        <a:pt x="112" y="4"/>
                      </a:lnTo>
                      <a:lnTo>
                        <a:pt x="111" y="4"/>
                      </a:lnTo>
                      <a:lnTo>
                        <a:pt x="111" y="4"/>
                      </a:lnTo>
                      <a:lnTo>
                        <a:pt x="111" y="2"/>
                      </a:lnTo>
                      <a:lnTo>
                        <a:pt x="111" y="1"/>
                      </a:lnTo>
                      <a:lnTo>
                        <a:pt x="111" y="0"/>
                      </a:lnTo>
                      <a:lnTo>
                        <a:pt x="113" y="0"/>
                      </a:lnTo>
                      <a:lnTo>
                        <a:pt x="114" y="0"/>
                      </a:lnTo>
                      <a:lnTo>
                        <a:pt x="116" y="2"/>
                      </a:lnTo>
                      <a:lnTo>
                        <a:pt x="116" y="2"/>
                      </a:lnTo>
                      <a:lnTo>
                        <a:pt x="117" y="2"/>
                      </a:lnTo>
                      <a:lnTo>
                        <a:pt x="118" y="4"/>
                      </a:lnTo>
                      <a:lnTo>
                        <a:pt x="117" y="4"/>
                      </a:lnTo>
                      <a:lnTo>
                        <a:pt x="119" y="6"/>
                      </a:lnTo>
                      <a:lnTo>
                        <a:pt x="118" y="6"/>
                      </a:lnTo>
                      <a:lnTo>
                        <a:pt x="118" y="7"/>
                      </a:lnTo>
                      <a:lnTo>
                        <a:pt x="118" y="9"/>
                      </a:lnTo>
                      <a:lnTo>
                        <a:pt x="120" y="9"/>
                      </a:lnTo>
                      <a:lnTo>
                        <a:pt x="120" y="9"/>
                      </a:lnTo>
                      <a:lnTo>
                        <a:pt x="120" y="11"/>
                      </a:lnTo>
                      <a:lnTo>
                        <a:pt x="121" y="11"/>
                      </a:lnTo>
                      <a:lnTo>
                        <a:pt x="121" y="11"/>
                      </a:lnTo>
                      <a:lnTo>
                        <a:pt x="121" y="12"/>
                      </a:lnTo>
                      <a:lnTo>
                        <a:pt x="120" y="13"/>
                      </a:lnTo>
                      <a:lnTo>
                        <a:pt x="120" y="13"/>
                      </a:lnTo>
                      <a:lnTo>
                        <a:pt x="121" y="14"/>
                      </a:lnTo>
                      <a:lnTo>
                        <a:pt x="120" y="15"/>
                      </a:lnTo>
                      <a:lnTo>
                        <a:pt x="120" y="19"/>
                      </a:lnTo>
                      <a:lnTo>
                        <a:pt x="121" y="19"/>
                      </a:lnTo>
                      <a:lnTo>
                        <a:pt x="121" y="20"/>
                      </a:lnTo>
                      <a:lnTo>
                        <a:pt x="121" y="21"/>
                      </a:lnTo>
                      <a:lnTo>
                        <a:pt x="121" y="21"/>
                      </a:lnTo>
                      <a:lnTo>
                        <a:pt x="123" y="21"/>
                      </a:lnTo>
                      <a:lnTo>
                        <a:pt x="123" y="23"/>
                      </a:lnTo>
                      <a:lnTo>
                        <a:pt x="123" y="24"/>
                      </a:lnTo>
                      <a:lnTo>
                        <a:pt x="121" y="26"/>
                      </a:lnTo>
                      <a:lnTo>
                        <a:pt x="121" y="27"/>
                      </a:lnTo>
                      <a:lnTo>
                        <a:pt x="120" y="28"/>
                      </a:lnTo>
                      <a:lnTo>
                        <a:pt x="122" y="29"/>
                      </a:lnTo>
                      <a:lnTo>
                        <a:pt x="122" y="31"/>
                      </a:lnTo>
                      <a:lnTo>
                        <a:pt x="122" y="31"/>
                      </a:lnTo>
                      <a:lnTo>
                        <a:pt x="122" y="32"/>
                      </a:lnTo>
                      <a:lnTo>
                        <a:pt x="125" y="33"/>
                      </a:lnTo>
                      <a:lnTo>
                        <a:pt x="125" y="35"/>
                      </a:lnTo>
                      <a:lnTo>
                        <a:pt x="125" y="35"/>
                      </a:lnTo>
                      <a:lnTo>
                        <a:pt x="127" y="37"/>
                      </a:lnTo>
                      <a:lnTo>
                        <a:pt x="129" y="37"/>
                      </a:lnTo>
                      <a:lnTo>
                        <a:pt x="129" y="38"/>
                      </a:lnTo>
                      <a:lnTo>
                        <a:pt x="130" y="38"/>
                      </a:lnTo>
                      <a:lnTo>
                        <a:pt x="130" y="38"/>
                      </a:lnTo>
                      <a:lnTo>
                        <a:pt x="130" y="41"/>
                      </a:lnTo>
                      <a:lnTo>
                        <a:pt x="130" y="42"/>
                      </a:lnTo>
                      <a:lnTo>
                        <a:pt x="133" y="42"/>
                      </a:lnTo>
                      <a:lnTo>
                        <a:pt x="134" y="44"/>
                      </a:lnTo>
                      <a:lnTo>
                        <a:pt x="135" y="44"/>
                      </a:lnTo>
                      <a:lnTo>
                        <a:pt x="134" y="49"/>
                      </a:lnTo>
                      <a:lnTo>
                        <a:pt x="135" y="52"/>
                      </a:lnTo>
                      <a:lnTo>
                        <a:pt x="136" y="52"/>
                      </a:lnTo>
                      <a:lnTo>
                        <a:pt x="137" y="54"/>
                      </a:lnTo>
                      <a:lnTo>
                        <a:pt x="139" y="54"/>
                      </a:lnTo>
                      <a:lnTo>
                        <a:pt x="139" y="55"/>
                      </a:lnTo>
                      <a:lnTo>
                        <a:pt x="140" y="56"/>
                      </a:lnTo>
                      <a:lnTo>
                        <a:pt x="141" y="57"/>
                      </a:lnTo>
                      <a:lnTo>
                        <a:pt x="143" y="57"/>
                      </a:lnTo>
                      <a:lnTo>
                        <a:pt x="144" y="57"/>
                      </a:lnTo>
                      <a:lnTo>
                        <a:pt x="146" y="56"/>
                      </a:lnTo>
                      <a:lnTo>
                        <a:pt x="146" y="56"/>
                      </a:lnTo>
                      <a:lnTo>
                        <a:pt x="147" y="57"/>
                      </a:lnTo>
                      <a:lnTo>
                        <a:pt x="146" y="60"/>
                      </a:lnTo>
                      <a:lnTo>
                        <a:pt x="146" y="62"/>
                      </a:lnTo>
                      <a:lnTo>
                        <a:pt x="149" y="62"/>
                      </a:lnTo>
                      <a:lnTo>
                        <a:pt x="150" y="62"/>
                      </a:lnTo>
                      <a:lnTo>
                        <a:pt x="149" y="64"/>
                      </a:lnTo>
                      <a:lnTo>
                        <a:pt x="151" y="66"/>
                      </a:lnTo>
                      <a:lnTo>
                        <a:pt x="150" y="66"/>
                      </a:lnTo>
                      <a:lnTo>
                        <a:pt x="150" y="69"/>
                      </a:lnTo>
                      <a:lnTo>
                        <a:pt x="147" y="73"/>
                      </a:lnTo>
                      <a:lnTo>
                        <a:pt x="149" y="73"/>
                      </a:lnTo>
                      <a:lnTo>
                        <a:pt x="149" y="74"/>
                      </a:lnTo>
                      <a:lnTo>
                        <a:pt x="150" y="76"/>
                      </a:lnTo>
                      <a:lnTo>
                        <a:pt x="151" y="76"/>
                      </a:lnTo>
                      <a:lnTo>
                        <a:pt x="156" y="76"/>
                      </a:lnTo>
                      <a:lnTo>
                        <a:pt x="156" y="74"/>
                      </a:lnTo>
                      <a:lnTo>
                        <a:pt x="158" y="74"/>
                      </a:lnTo>
                      <a:lnTo>
                        <a:pt x="159" y="73"/>
                      </a:lnTo>
                      <a:lnTo>
                        <a:pt x="159" y="73"/>
                      </a:lnTo>
                      <a:lnTo>
                        <a:pt x="160" y="73"/>
                      </a:lnTo>
                      <a:lnTo>
                        <a:pt x="164" y="73"/>
                      </a:lnTo>
                      <a:lnTo>
                        <a:pt x="163" y="72"/>
                      </a:lnTo>
                      <a:lnTo>
                        <a:pt x="164" y="72"/>
                      </a:lnTo>
                      <a:lnTo>
                        <a:pt x="165" y="72"/>
                      </a:lnTo>
                      <a:lnTo>
                        <a:pt x="166" y="69"/>
                      </a:lnTo>
                      <a:lnTo>
                        <a:pt x="167" y="69"/>
                      </a:lnTo>
                      <a:lnTo>
                        <a:pt x="170" y="71"/>
                      </a:lnTo>
                      <a:lnTo>
                        <a:pt x="170" y="72"/>
                      </a:lnTo>
                      <a:lnTo>
                        <a:pt x="170" y="72"/>
                      </a:lnTo>
                      <a:lnTo>
                        <a:pt x="170" y="73"/>
                      </a:lnTo>
                      <a:lnTo>
                        <a:pt x="171" y="73"/>
                      </a:lnTo>
                      <a:lnTo>
                        <a:pt x="172" y="72"/>
                      </a:lnTo>
                      <a:lnTo>
                        <a:pt x="174" y="73"/>
                      </a:lnTo>
                      <a:lnTo>
                        <a:pt x="175" y="71"/>
                      </a:lnTo>
                      <a:lnTo>
                        <a:pt x="177" y="69"/>
                      </a:lnTo>
                      <a:lnTo>
                        <a:pt x="179" y="73"/>
                      </a:lnTo>
                      <a:lnTo>
                        <a:pt x="179" y="72"/>
                      </a:lnTo>
                      <a:lnTo>
                        <a:pt x="182" y="72"/>
                      </a:lnTo>
                      <a:lnTo>
                        <a:pt x="182" y="73"/>
                      </a:lnTo>
                      <a:lnTo>
                        <a:pt x="184" y="73"/>
                      </a:lnTo>
                      <a:lnTo>
                        <a:pt x="184" y="77"/>
                      </a:lnTo>
                      <a:lnTo>
                        <a:pt x="184" y="77"/>
                      </a:lnTo>
                      <a:lnTo>
                        <a:pt x="185" y="78"/>
                      </a:lnTo>
                      <a:lnTo>
                        <a:pt x="187" y="78"/>
                      </a:lnTo>
                      <a:lnTo>
                        <a:pt x="188" y="80"/>
                      </a:lnTo>
                      <a:lnTo>
                        <a:pt x="190" y="80"/>
                      </a:lnTo>
                      <a:lnTo>
                        <a:pt x="191" y="83"/>
                      </a:lnTo>
                      <a:lnTo>
                        <a:pt x="191" y="85"/>
                      </a:lnTo>
                      <a:lnTo>
                        <a:pt x="191" y="86"/>
                      </a:lnTo>
                      <a:lnTo>
                        <a:pt x="190" y="87"/>
                      </a:lnTo>
                      <a:lnTo>
                        <a:pt x="191" y="88"/>
                      </a:lnTo>
                      <a:lnTo>
                        <a:pt x="190" y="90"/>
                      </a:lnTo>
                      <a:lnTo>
                        <a:pt x="188" y="89"/>
                      </a:lnTo>
                      <a:lnTo>
                        <a:pt x="188" y="90"/>
                      </a:lnTo>
                      <a:lnTo>
                        <a:pt x="186" y="93"/>
                      </a:lnTo>
                      <a:lnTo>
                        <a:pt x="187" y="93"/>
                      </a:lnTo>
                      <a:lnTo>
                        <a:pt x="191" y="93"/>
                      </a:lnTo>
                      <a:lnTo>
                        <a:pt x="193" y="92"/>
                      </a:lnTo>
                      <a:lnTo>
                        <a:pt x="195" y="92"/>
                      </a:lnTo>
                      <a:lnTo>
                        <a:pt x="195" y="93"/>
                      </a:lnTo>
                      <a:lnTo>
                        <a:pt x="200" y="92"/>
                      </a:lnTo>
                      <a:lnTo>
                        <a:pt x="202" y="94"/>
                      </a:lnTo>
                      <a:lnTo>
                        <a:pt x="203" y="94"/>
                      </a:lnTo>
                      <a:lnTo>
                        <a:pt x="205" y="93"/>
                      </a:lnTo>
                      <a:lnTo>
                        <a:pt x="206" y="93"/>
                      </a:lnTo>
                      <a:lnTo>
                        <a:pt x="209" y="90"/>
                      </a:lnTo>
                      <a:lnTo>
                        <a:pt x="208" y="89"/>
                      </a:lnTo>
                      <a:lnTo>
                        <a:pt x="209" y="88"/>
                      </a:lnTo>
                      <a:lnTo>
                        <a:pt x="209" y="90"/>
                      </a:lnTo>
                      <a:lnTo>
                        <a:pt x="212" y="88"/>
                      </a:lnTo>
                      <a:lnTo>
                        <a:pt x="213" y="90"/>
                      </a:lnTo>
                      <a:lnTo>
                        <a:pt x="212" y="92"/>
                      </a:lnTo>
                      <a:lnTo>
                        <a:pt x="215" y="93"/>
                      </a:lnTo>
                      <a:lnTo>
                        <a:pt x="218" y="90"/>
                      </a:lnTo>
                      <a:lnTo>
                        <a:pt x="218" y="90"/>
                      </a:lnTo>
                      <a:lnTo>
                        <a:pt x="221" y="90"/>
                      </a:lnTo>
                      <a:lnTo>
                        <a:pt x="222" y="89"/>
                      </a:lnTo>
                      <a:lnTo>
                        <a:pt x="223" y="89"/>
                      </a:lnTo>
                      <a:lnTo>
                        <a:pt x="224" y="89"/>
                      </a:lnTo>
                      <a:lnTo>
                        <a:pt x="225" y="90"/>
                      </a:lnTo>
                      <a:lnTo>
                        <a:pt x="227" y="90"/>
                      </a:lnTo>
                      <a:lnTo>
                        <a:pt x="228" y="90"/>
                      </a:lnTo>
                      <a:lnTo>
                        <a:pt x="229" y="90"/>
                      </a:lnTo>
                      <a:lnTo>
                        <a:pt x="230" y="92"/>
                      </a:lnTo>
                      <a:lnTo>
                        <a:pt x="230" y="94"/>
                      </a:lnTo>
                      <a:lnTo>
                        <a:pt x="231" y="95"/>
                      </a:lnTo>
                      <a:lnTo>
                        <a:pt x="231" y="97"/>
                      </a:lnTo>
                      <a:lnTo>
                        <a:pt x="232" y="97"/>
                      </a:lnTo>
                      <a:lnTo>
                        <a:pt x="232" y="100"/>
                      </a:lnTo>
                      <a:lnTo>
                        <a:pt x="236" y="101"/>
                      </a:lnTo>
                      <a:lnTo>
                        <a:pt x="235" y="103"/>
                      </a:lnTo>
                      <a:lnTo>
                        <a:pt x="236" y="104"/>
                      </a:lnTo>
                      <a:lnTo>
                        <a:pt x="236" y="105"/>
                      </a:lnTo>
                      <a:lnTo>
                        <a:pt x="236" y="106"/>
                      </a:lnTo>
                      <a:lnTo>
                        <a:pt x="236" y="105"/>
                      </a:lnTo>
                      <a:lnTo>
                        <a:pt x="237" y="106"/>
                      </a:lnTo>
                      <a:lnTo>
                        <a:pt x="236" y="108"/>
                      </a:lnTo>
                      <a:lnTo>
                        <a:pt x="237" y="109"/>
                      </a:lnTo>
                      <a:lnTo>
                        <a:pt x="237" y="111"/>
                      </a:lnTo>
                      <a:lnTo>
                        <a:pt x="236" y="112"/>
                      </a:lnTo>
                      <a:lnTo>
                        <a:pt x="236" y="114"/>
                      </a:lnTo>
                      <a:lnTo>
                        <a:pt x="235" y="114"/>
                      </a:lnTo>
                      <a:lnTo>
                        <a:pt x="233" y="116"/>
                      </a:lnTo>
                      <a:lnTo>
                        <a:pt x="232" y="116"/>
                      </a:lnTo>
                      <a:lnTo>
                        <a:pt x="232" y="117"/>
                      </a:lnTo>
                      <a:lnTo>
                        <a:pt x="231" y="117"/>
                      </a:lnTo>
                      <a:lnTo>
                        <a:pt x="230" y="117"/>
                      </a:lnTo>
                      <a:lnTo>
                        <a:pt x="229" y="118"/>
                      </a:lnTo>
                      <a:lnTo>
                        <a:pt x="229" y="118"/>
                      </a:lnTo>
                      <a:lnTo>
                        <a:pt x="229" y="119"/>
                      </a:lnTo>
                      <a:lnTo>
                        <a:pt x="229" y="121"/>
                      </a:lnTo>
                      <a:lnTo>
                        <a:pt x="228" y="123"/>
                      </a:lnTo>
                      <a:lnTo>
                        <a:pt x="230" y="124"/>
                      </a:lnTo>
                      <a:lnTo>
                        <a:pt x="231" y="125"/>
                      </a:lnTo>
                      <a:lnTo>
                        <a:pt x="230" y="126"/>
                      </a:lnTo>
                      <a:lnTo>
                        <a:pt x="229" y="127"/>
                      </a:lnTo>
                      <a:lnTo>
                        <a:pt x="230" y="129"/>
                      </a:lnTo>
                      <a:lnTo>
                        <a:pt x="230" y="129"/>
                      </a:lnTo>
                      <a:lnTo>
                        <a:pt x="230" y="132"/>
                      </a:lnTo>
                      <a:lnTo>
                        <a:pt x="226" y="132"/>
                      </a:lnTo>
                      <a:lnTo>
                        <a:pt x="223" y="135"/>
                      </a:lnTo>
                      <a:lnTo>
                        <a:pt x="222" y="134"/>
                      </a:lnTo>
                      <a:lnTo>
                        <a:pt x="218" y="135"/>
                      </a:lnTo>
                      <a:lnTo>
                        <a:pt x="217" y="138"/>
                      </a:lnTo>
                      <a:lnTo>
                        <a:pt x="217" y="141"/>
                      </a:lnTo>
                      <a:lnTo>
                        <a:pt x="218" y="141"/>
                      </a:lnTo>
                      <a:lnTo>
                        <a:pt x="218" y="139"/>
                      </a:lnTo>
                      <a:lnTo>
                        <a:pt x="219" y="140"/>
                      </a:lnTo>
                      <a:lnTo>
                        <a:pt x="219" y="141"/>
                      </a:lnTo>
                      <a:lnTo>
                        <a:pt x="220" y="141"/>
                      </a:lnTo>
                      <a:lnTo>
                        <a:pt x="223" y="144"/>
                      </a:lnTo>
                      <a:lnTo>
                        <a:pt x="222" y="145"/>
                      </a:lnTo>
                      <a:lnTo>
                        <a:pt x="223" y="146"/>
                      </a:lnTo>
                      <a:lnTo>
                        <a:pt x="223" y="146"/>
                      </a:lnTo>
                      <a:lnTo>
                        <a:pt x="224" y="148"/>
                      </a:lnTo>
                      <a:lnTo>
                        <a:pt x="223" y="149"/>
                      </a:lnTo>
                      <a:lnTo>
                        <a:pt x="223" y="151"/>
                      </a:lnTo>
                      <a:lnTo>
                        <a:pt x="224" y="152"/>
                      </a:lnTo>
                      <a:lnTo>
                        <a:pt x="223" y="153"/>
                      </a:lnTo>
                      <a:lnTo>
                        <a:pt x="226" y="157"/>
                      </a:lnTo>
                      <a:lnTo>
                        <a:pt x="226" y="158"/>
                      </a:lnTo>
                      <a:lnTo>
                        <a:pt x="222" y="157"/>
                      </a:lnTo>
                      <a:lnTo>
                        <a:pt x="222" y="158"/>
                      </a:lnTo>
                      <a:lnTo>
                        <a:pt x="219" y="159"/>
                      </a:lnTo>
                      <a:lnTo>
                        <a:pt x="219" y="159"/>
                      </a:lnTo>
                      <a:lnTo>
                        <a:pt x="219" y="159"/>
                      </a:lnTo>
                      <a:lnTo>
                        <a:pt x="218" y="160"/>
                      </a:lnTo>
                      <a:lnTo>
                        <a:pt x="218" y="159"/>
                      </a:lnTo>
                      <a:lnTo>
                        <a:pt x="218" y="159"/>
                      </a:lnTo>
                      <a:lnTo>
                        <a:pt x="217" y="160"/>
                      </a:lnTo>
                      <a:lnTo>
                        <a:pt x="218" y="161"/>
                      </a:lnTo>
                      <a:lnTo>
                        <a:pt x="219" y="162"/>
                      </a:lnTo>
                      <a:lnTo>
                        <a:pt x="219" y="162"/>
                      </a:lnTo>
                      <a:lnTo>
                        <a:pt x="219" y="162"/>
                      </a:lnTo>
                      <a:lnTo>
                        <a:pt x="219" y="162"/>
                      </a:lnTo>
                      <a:lnTo>
                        <a:pt x="219" y="162"/>
                      </a:lnTo>
                      <a:close/>
                    </a:path>
                  </a:pathLst>
                </a:custGeom>
                <a:solidFill>
                  <a:srgbClr val="74BAEF"/>
                </a:solidFill>
                <a:ln w="3175">
                  <a:solidFill>
                    <a:schemeClr val="dk1"/>
                  </a:solidFill>
                  <a:round/>
                  <a:headEnd/>
                  <a:tailEnd/>
                </a:ln>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z="800" dirty="0">
                    <a:solidFill>
                      <a:srgbClr val="000000"/>
                    </a:solidFill>
                  </a:endParaRPr>
                </a:p>
              </p:txBody>
            </p:sp>
            <p:sp>
              <p:nvSpPr>
                <p:cNvPr id="47" name="Bretagne" descr="{&quot;Key&quot;:&quot;bretagne&quot;,&quot;Name&quot;:&quot;Bretagne&quot;,&quot;Value&quot;:1.0,&quot;Formula&quot;:&quot;&quot;,&quot;Text&quot;:&quot;1&quot;,&quot;OfficeApplication&quot;:0,&quot;HasValue&quot;:true}">
                  <a:extLst>
                    <a:ext uri="{FF2B5EF4-FFF2-40B4-BE49-F238E27FC236}">
                      <a16:creationId xmlns:a16="http://schemas.microsoft.com/office/drawing/2014/main" id="{1A9C5C72-E70D-29F7-07E8-961CB1CCB77A}"/>
                    </a:ext>
                  </a:extLst>
                </p:cNvPr>
                <p:cNvSpPr>
                  <a:spLocks/>
                </p:cNvSpPr>
                <p:nvPr/>
              </p:nvSpPr>
              <p:spPr bwMode="auto">
                <a:xfrm>
                  <a:off x="3131702" y="2506929"/>
                  <a:ext cx="1439447" cy="812455"/>
                </a:xfrm>
                <a:custGeom>
                  <a:avLst/>
                  <a:gdLst>
                    <a:gd name="T0" fmla="*/ 193 w 286"/>
                    <a:gd name="T1" fmla="*/ 32 h 167"/>
                    <a:gd name="T2" fmla="*/ 200 w 286"/>
                    <a:gd name="T3" fmla="*/ 36 h 167"/>
                    <a:gd name="T4" fmla="*/ 206 w 286"/>
                    <a:gd name="T5" fmla="*/ 32 h 167"/>
                    <a:gd name="T6" fmla="*/ 217 w 286"/>
                    <a:gd name="T7" fmla="*/ 27 h 167"/>
                    <a:gd name="T8" fmla="*/ 229 w 286"/>
                    <a:gd name="T9" fmla="*/ 38 h 167"/>
                    <a:gd name="T10" fmla="*/ 249 w 286"/>
                    <a:gd name="T11" fmla="*/ 41 h 167"/>
                    <a:gd name="T12" fmla="*/ 255 w 286"/>
                    <a:gd name="T13" fmla="*/ 53 h 167"/>
                    <a:gd name="T14" fmla="*/ 267 w 286"/>
                    <a:gd name="T15" fmla="*/ 50 h 167"/>
                    <a:gd name="T16" fmla="*/ 279 w 286"/>
                    <a:gd name="T17" fmla="*/ 50 h 167"/>
                    <a:gd name="T18" fmla="*/ 282 w 286"/>
                    <a:gd name="T19" fmla="*/ 62 h 167"/>
                    <a:gd name="T20" fmla="*/ 281 w 286"/>
                    <a:gd name="T21" fmla="*/ 78 h 167"/>
                    <a:gd name="T22" fmla="*/ 282 w 286"/>
                    <a:gd name="T23" fmla="*/ 97 h 167"/>
                    <a:gd name="T24" fmla="*/ 276 w 286"/>
                    <a:gd name="T25" fmla="*/ 112 h 167"/>
                    <a:gd name="T26" fmla="*/ 269 w 286"/>
                    <a:gd name="T27" fmla="*/ 124 h 167"/>
                    <a:gd name="T28" fmla="*/ 255 w 286"/>
                    <a:gd name="T29" fmla="*/ 128 h 167"/>
                    <a:gd name="T30" fmla="*/ 235 w 286"/>
                    <a:gd name="T31" fmla="*/ 139 h 167"/>
                    <a:gd name="T32" fmla="*/ 220 w 286"/>
                    <a:gd name="T33" fmla="*/ 140 h 167"/>
                    <a:gd name="T34" fmla="*/ 202 w 286"/>
                    <a:gd name="T35" fmla="*/ 145 h 167"/>
                    <a:gd name="T36" fmla="*/ 193 w 286"/>
                    <a:gd name="T37" fmla="*/ 163 h 167"/>
                    <a:gd name="T38" fmla="*/ 174 w 286"/>
                    <a:gd name="T39" fmla="*/ 166 h 167"/>
                    <a:gd name="T40" fmla="*/ 174 w 286"/>
                    <a:gd name="T41" fmla="*/ 162 h 167"/>
                    <a:gd name="T42" fmla="*/ 158 w 286"/>
                    <a:gd name="T43" fmla="*/ 159 h 167"/>
                    <a:gd name="T44" fmla="*/ 137 w 286"/>
                    <a:gd name="T45" fmla="*/ 154 h 167"/>
                    <a:gd name="T46" fmla="*/ 155 w 286"/>
                    <a:gd name="T47" fmla="*/ 146 h 167"/>
                    <a:gd name="T48" fmla="*/ 136 w 286"/>
                    <a:gd name="T49" fmla="*/ 148 h 167"/>
                    <a:gd name="T50" fmla="*/ 122 w 286"/>
                    <a:gd name="T51" fmla="*/ 150 h 167"/>
                    <a:gd name="T52" fmla="*/ 118 w 286"/>
                    <a:gd name="T53" fmla="*/ 158 h 167"/>
                    <a:gd name="T54" fmla="*/ 104 w 286"/>
                    <a:gd name="T55" fmla="*/ 135 h 167"/>
                    <a:gd name="T56" fmla="*/ 97 w 286"/>
                    <a:gd name="T57" fmla="*/ 133 h 167"/>
                    <a:gd name="T58" fmla="*/ 73 w 286"/>
                    <a:gd name="T59" fmla="*/ 121 h 167"/>
                    <a:gd name="T60" fmla="*/ 56 w 286"/>
                    <a:gd name="T61" fmla="*/ 107 h 167"/>
                    <a:gd name="T62" fmla="*/ 39 w 286"/>
                    <a:gd name="T63" fmla="*/ 118 h 167"/>
                    <a:gd name="T64" fmla="*/ 26 w 286"/>
                    <a:gd name="T65" fmla="*/ 104 h 167"/>
                    <a:gd name="T66" fmla="*/ 8 w 286"/>
                    <a:gd name="T67" fmla="*/ 88 h 167"/>
                    <a:gd name="T68" fmla="*/ 28 w 286"/>
                    <a:gd name="T69" fmla="*/ 81 h 167"/>
                    <a:gd name="T70" fmla="*/ 28 w 286"/>
                    <a:gd name="T71" fmla="*/ 68 h 167"/>
                    <a:gd name="T72" fmla="*/ 17 w 286"/>
                    <a:gd name="T73" fmla="*/ 62 h 167"/>
                    <a:gd name="T74" fmla="*/ 18 w 286"/>
                    <a:gd name="T75" fmla="*/ 53 h 167"/>
                    <a:gd name="T76" fmla="*/ 28 w 286"/>
                    <a:gd name="T77" fmla="*/ 59 h 167"/>
                    <a:gd name="T78" fmla="*/ 35 w 286"/>
                    <a:gd name="T79" fmla="*/ 55 h 167"/>
                    <a:gd name="T80" fmla="*/ 29 w 286"/>
                    <a:gd name="T81" fmla="*/ 49 h 167"/>
                    <a:gd name="T82" fmla="*/ 6 w 286"/>
                    <a:gd name="T83" fmla="*/ 53 h 167"/>
                    <a:gd name="T84" fmla="*/ 2 w 286"/>
                    <a:gd name="T85" fmla="*/ 40 h 167"/>
                    <a:gd name="T86" fmla="*/ 14 w 286"/>
                    <a:gd name="T87" fmla="*/ 26 h 167"/>
                    <a:gd name="T88" fmla="*/ 30 w 286"/>
                    <a:gd name="T89" fmla="*/ 18 h 167"/>
                    <a:gd name="T90" fmla="*/ 42 w 286"/>
                    <a:gd name="T91" fmla="*/ 19 h 167"/>
                    <a:gd name="T92" fmla="*/ 63 w 286"/>
                    <a:gd name="T93" fmla="*/ 12 h 167"/>
                    <a:gd name="T94" fmla="*/ 69 w 286"/>
                    <a:gd name="T95" fmla="*/ 19 h 167"/>
                    <a:gd name="T96" fmla="*/ 76 w 286"/>
                    <a:gd name="T97" fmla="*/ 16 h 167"/>
                    <a:gd name="T98" fmla="*/ 89 w 286"/>
                    <a:gd name="T99" fmla="*/ 19 h 167"/>
                    <a:gd name="T100" fmla="*/ 97 w 286"/>
                    <a:gd name="T101" fmla="*/ 13 h 167"/>
                    <a:gd name="T102" fmla="*/ 107 w 286"/>
                    <a:gd name="T103" fmla="*/ 4 h 167"/>
                    <a:gd name="T104" fmla="*/ 124 w 286"/>
                    <a:gd name="T105" fmla="*/ 5 h 167"/>
                    <a:gd name="T106" fmla="*/ 138 w 286"/>
                    <a:gd name="T107" fmla="*/ 8 h 167"/>
                    <a:gd name="T108" fmla="*/ 147 w 286"/>
                    <a:gd name="T109" fmla="*/ 22 h 167"/>
                    <a:gd name="T110" fmla="*/ 152 w 286"/>
                    <a:gd name="T111" fmla="*/ 33 h 167"/>
                    <a:gd name="T112" fmla="*/ 162 w 286"/>
                    <a:gd name="T113" fmla="*/ 42 h 167"/>
                    <a:gd name="T114" fmla="*/ 177 w 286"/>
                    <a:gd name="T115" fmla="*/ 3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6" h="167">
                      <a:moveTo>
                        <a:pt x="183" y="31"/>
                      </a:moveTo>
                      <a:lnTo>
                        <a:pt x="190" y="28"/>
                      </a:lnTo>
                      <a:lnTo>
                        <a:pt x="190" y="26"/>
                      </a:lnTo>
                      <a:lnTo>
                        <a:pt x="190" y="27"/>
                      </a:lnTo>
                      <a:lnTo>
                        <a:pt x="190" y="28"/>
                      </a:lnTo>
                      <a:lnTo>
                        <a:pt x="193" y="28"/>
                      </a:lnTo>
                      <a:lnTo>
                        <a:pt x="189" y="33"/>
                      </a:lnTo>
                      <a:lnTo>
                        <a:pt x="190" y="35"/>
                      </a:lnTo>
                      <a:lnTo>
                        <a:pt x="192" y="33"/>
                      </a:lnTo>
                      <a:lnTo>
                        <a:pt x="193" y="32"/>
                      </a:lnTo>
                      <a:lnTo>
                        <a:pt x="194" y="31"/>
                      </a:lnTo>
                      <a:lnTo>
                        <a:pt x="195" y="31"/>
                      </a:lnTo>
                      <a:lnTo>
                        <a:pt x="195" y="32"/>
                      </a:lnTo>
                      <a:lnTo>
                        <a:pt x="194" y="32"/>
                      </a:lnTo>
                      <a:lnTo>
                        <a:pt x="197" y="36"/>
                      </a:lnTo>
                      <a:lnTo>
                        <a:pt x="197" y="39"/>
                      </a:lnTo>
                      <a:lnTo>
                        <a:pt x="198" y="39"/>
                      </a:lnTo>
                      <a:lnTo>
                        <a:pt x="198" y="36"/>
                      </a:lnTo>
                      <a:lnTo>
                        <a:pt x="199" y="35"/>
                      </a:lnTo>
                      <a:lnTo>
                        <a:pt x="200" y="36"/>
                      </a:lnTo>
                      <a:lnTo>
                        <a:pt x="200" y="38"/>
                      </a:lnTo>
                      <a:lnTo>
                        <a:pt x="200" y="39"/>
                      </a:lnTo>
                      <a:lnTo>
                        <a:pt x="202" y="38"/>
                      </a:lnTo>
                      <a:lnTo>
                        <a:pt x="200" y="36"/>
                      </a:lnTo>
                      <a:lnTo>
                        <a:pt x="202" y="35"/>
                      </a:lnTo>
                      <a:lnTo>
                        <a:pt x="203" y="35"/>
                      </a:lnTo>
                      <a:lnTo>
                        <a:pt x="204" y="36"/>
                      </a:lnTo>
                      <a:lnTo>
                        <a:pt x="203" y="33"/>
                      </a:lnTo>
                      <a:lnTo>
                        <a:pt x="204" y="32"/>
                      </a:lnTo>
                      <a:lnTo>
                        <a:pt x="206" y="32"/>
                      </a:lnTo>
                      <a:lnTo>
                        <a:pt x="207" y="32"/>
                      </a:lnTo>
                      <a:lnTo>
                        <a:pt x="207" y="32"/>
                      </a:lnTo>
                      <a:lnTo>
                        <a:pt x="209" y="32"/>
                      </a:lnTo>
                      <a:lnTo>
                        <a:pt x="210" y="32"/>
                      </a:lnTo>
                      <a:lnTo>
                        <a:pt x="215" y="30"/>
                      </a:lnTo>
                      <a:lnTo>
                        <a:pt x="215" y="28"/>
                      </a:lnTo>
                      <a:lnTo>
                        <a:pt x="216" y="28"/>
                      </a:lnTo>
                      <a:lnTo>
                        <a:pt x="217" y="28"/>
                      </a:lnTo>
                      <a:lnTo>
                        <a:pt x="217" y="28"/>
                      </a:lnTo>
                      <a:lnTo>
                        <a:pt x="217" y="27"/>
                      </a:lnTo>
                      <a:lnTo>
                        <a:pt x="220" y="27"/>
                      </a:lnTo>
                      <a:lnTo>
                        <a:pt x="222" y="27"/>
                      </a:lnTo>
                      <a:lnTo>
                        <a:pt x="226" y="25"/>
                      </a:lnTo>
                      <a:lnTo>
                        <a:pt x="227" y="26"/>
                      </a:lnTo>
                      <a:lnTo>
                        <a:pt x="227" y="28"/>
                      </a:lnTo>
                      <a:lnTo>
                        <a:pt x="224" y="31"/>
                      </a:lnTo>
                      <a:lnTo>
                        <a:pt x="224" y="32"/>
                      </a:lnTo>
                      <a:lnTo>
                        <a:pt x="224" y="35"/>
                      </a:lnTo>
                      <a:lnTo>
                        <a:pt x="225" y="36"/>
                      </a:lnTo>
                      <a:lnTo>
                        <a:pt x="229" y="38"/>
                      </a:lnTo>
                      <a:lnTo>
                        <a:pt x="231" y="38"/>
                      </a:lnTo>
                      <a:lnTo>
                        <a:pt x="238" y="38"/>
                      </a:lnTo>
                      <a:lnTo>
                        <a:pt x="242" y="37"/>
                      </a:lnTo>
                      <a:lnTo>
                        <a:pt x="244" y="35"/>
                      </a:lnTo>
                      <a:lnTo>
                        <a:pt x="246" y="35"/>
                      </a:lnTo>
                      <a:lnTo>
                        <a:pt x="246" y="37"/>
                      </a:lnTo>
                      <a:lnTo>
                        <a:pt x="248" y="38"/>
                      </a:lnTo>
                      <a:lnTo>
                        <a:pt x="248" y="39"/>
                      </a:lnTo>
                      <a:lnTo>
                        <a:pt x="248" y="41"/>
                      </a:lnTo>
                      <a:lnTo>
                        <a:pt x="249" y="41"/>
                      </a:lnTo>
                      <a:lnTo>
                        <a:pt x="250" y="43"/>
                      </a:lnTo>
                      <a:lnTo>
                        <a:pt x="249" y="44"/>
                      </a:lnTo>
                      <a:lnTo>
                        <a:pt x="249" y="45"/>
                      </a:lnTo>
                      <a:lnTo>
                        <a:pt x="250" y="47"/>
                      </a:lnTo>
                      <a:lnTo>
                        <a:pt x="250" y="47"/>
                      </a:lnTo>
                      <a:lnTo>
                        <a:pt x="251" y="50"/>
                      </a:lnTo>
                      <a:lnTo>
                        <a:pt x="252" y="52"/>
                      </a:lnTo>
                      <a:lnTo>
                        <a:pt x="253" y="52"/>
                      </a:lnTo>
                      <a:lnTo>
                        <a:pt x="255" y="52"/>
                      </a:lnTo>
                      <a:lnTo>
                        <a:pt x="255" y="53"/>
                      </a:lnTo>
                      <a:lnTo>
                        <a:pt x="256" y="56"/>
                      </a:lnTo>
                      <a:lnTo>
                        <a:pt x="258" y="56"/>
                      </a:lnTo>
                      <a:lnTo>
                        <a:pt x="260" y="56"/>
                      </a:lnTo>
                      <a:lnTo>
                        <a:pt x="262" y="55"/>
                      </a:lnTo>
                      <a:lnTo>
                        <a:pt x="262" y="53"/>
                      </a:lnTo>
                      <a:lnTo>
                        <a:pt x="262" y="52"/>
                      </a:lnTo>
                      <a:lnTo>
                        <a:pt x="265" y="52"/>
                      </a:lnTo>
                      <a:lnTo>
                        <a:pt x="265" y="51"/>
                      </a:lnTo>
                      <a:lnTo>
                        <a:pt x="266" y="51"/>
                      </a:lnTo>
                      <a:lnTo>
                        <a:pt x="267" y="50"/>
                      </a:lnTo>
                      <a:lnTo>
                        <a:pt x="268" y="50"/>
                      </a:lnTo>
                      <a:lnTo>
                        <a:pt x="269" y="49"/>
                      </a:lnTo>
                      <a:lnTo>
                        <a:pt x="269" y="47"/>
                      </a:lnTo>
                      <a:lnTo>
                        <a:pt x="271" y="46"/>
                      </a:lnTo>
                      <a:lnTo>
                        <a:pt x="272" y="48"/>
                      </a:lnTo>
                      <a:lnTo>
                        <a:pt x="274" y="47"/>
                      </a:lnTo>
                      <a:lnTo>
                        <a:pt x="275" y="49"/>
                      </a:lnTo>
                      <a:lnTo>
                        <a:pt x="276" y="49"/>
                      </a:lnTo>
                      <a:lnTo>
                        <a:pt x="277" y="50"/>
                      </a:lnTo>
                      <a:lnTo>
                        <a:pt x="279" y="50"/>
                      </a:lnTo>
                      <a:lnTo>
                        <a:pt x="280" y="50"/>
                      </a:lnTo>
                      <a:lnTo>
                        <a:pt x="282" y="51"/>
                      </a:lnTo>
                      <a:lnTo>
                        <a:pt x="284" y="51"/>
                      </a:lnTo>
                      <a:lnTo>
                        <a:pt x="283" y="53"/>
                      </a:lnTo>
                      <a:lnTo>
                        <a:pt x="284" y="55"/>
                      </a:lnTo>
                      <a:lnTo>
                        <a:pt x="284" y="56"/>
                      </a:lnTo>
                      <a:lnTo>
                        <a:pt x="284" y="58"/>
                      </a:lnTo>
                      <a:lnTo>
                        <a:pt x="282" y="59"/>
                      </a:lnTo>
                      <a:lnTo>
                        <a:pt x="282" y="61"/>
                      </a:lnTo>
                      <a:lnTo>
                        <a:pt x="282" y="62"/>
                      </a:lnTo>
                      <a:lnTo>
                        <a:pt x="284" y="63"/>
                      </a:lnTo>
                      <a:lnTo>
                        <a:pt x="284" y="66"/>
                      </a:lnTo>
                      <a:lnTo>
                        <a:pt x="283" y="68"/>
                      </a:lnTo>
                      <a:lnTo>
                        <a:pt x="285" y="68"/>
                      </a:lnTo>
                      <a:lnTo>
                        <a:pt x="284" y="70"/>
                      </a:lnTo>
                      <a:lnTo>
                        <a:pt x="285" y="73"/>
                      </a:lnTo>
                      <a:lnTo>
                        <a:pt x="283" y="73"/>
                      </a:lnTo>
                      <a:lnTo>
                        <a:pt x="282" y="73"/>
                      </a:lnTo>
                      <a:lnTo>
                        <a:pt x="281" y="76"/>
                      </a:lnTo>
                      <a:lnTo>
                        <a:pt x="281" y="78"/>
                      </a:lnTo>
                      <a:lnTo>
                        <a:pt x="280" y="79"/>
                      </a:lnTo>
                      <a:lnTo>
                        <a:pt x="280" y="83"/>
                      </a:lnTo>
                      <a:lnTo>
                        <a:pt x="281" y="84"/>
                      </a:lnTo>
                      <a:lnTo>
                        <a:pt x="280" y="85"/>
                      </a:lnTo>
                      <a:lnTo>
                        <a:pt x="281" y="86"/>
                      </a:lnTo>
                      <a:lnTo>
                        <a:pt x="282" y="87"/>
                      </a:lnTo>
                      <a:lnTo>
                        <a:pt x="281" y="88"/>
                      </a:lnTo>
                      <a:lnTo>
                        <a:pt x="282" y="91"/>
                      </a:lnTo>
                      <a:lnTo>
                        <a:pt x="282" y="95"/>
                      </a:lnTo>
                      <a:lnTo>
                        <a:pt x="282" y="97"/>
                      </a:lnTo>
                      <a:lnTo>
                        <a:pt x="283" y="100"/>
                      </a:lnTo>
                      <a:lnTo>
                        <a:pt x="285" y="102"/>
                      </a:lnTo>
                      <a:lnTo>
                        <a:pt x="284" y="105"/>
                      </a:lnTo>
                      <a:lnTo>
                        <a:pt x="286" y="108"/>
                      </a:lnTo>
                      <a:lnTo>
                        <a:pt x="284" y="110"/>
                      </a:lnTo>
                      <a:lnTo>
                        <a:pt x="281" y="111"/>
                      </a:lnTo>
                      <a:lnTo>
                        <a:pt x="280" y="111"/>
                      </a:lnTo>
                      <a:lnTo>
                        <a:pt x="279" y="111"/>
                      </a:lnTo>
                      <a:lnTo>
                        <a:pt x="277" y="111"/>
                      </a:lnTo>
                      <a:lnTo>
                        <a:pt x="276" y="112"/>
                      </a:lnTo>
                      <a:lnTo>
                        <a:pt x="275" y="113"/>
                      </a:lnTo>
                      <a:lnTo>
                        <a:pt x="274" y="114"/>
                      </a:lnTo>
                      <a:lnTo>
                        <a:pt x="274" y="116"/>
                      </a:lnTo>
                      <a:lnTo>
                        <a:pt x="272" y="116"/>
                      </a:lnTo>
                      <a:lnTo>
                        <a:pt x="272" y="120"/>
                      </a:lnTo>
                      <a:lnTo>
                        <a:pt x="271" y="122"/>
                      </a:lnTo>
                      <a:lnTo>
                        <a:pt x="271" y="124"/>
                      </a:lnTo>
                      <a:lnTo>
                        <a:pt x="270" y="124"/>
                      </a:lnTo>
                      <a:lnTo>
                        <a:pt x="269" y="124"/>
                      </a:lnTo>
                      <a:lnTo>
                        <a:pt x="269" y="124"/>
                      </a:lnTo>
                      <a:lnTo>
                        <a:pt x="269" y="128"/>
                      </a:lnTo>
                      <a:lnTo>
                        <a:pt x="268" y="129"/>
                      </a:lnTo>
                      <a:lnTo>
                        <a:pt x="267" y="131"/>
                      </a:lnTo>
                      <a:lnTo>
                        <a:pt x="267" y="131"/>
                      </a:lnTo>
                      <a:lnTo>
                        <a:pt x="266" y="131"/>
                      </a:lnTo>
                      <a:lnTo>
                        <a:pt x="265" y="135"/>
                      </a:lnTo>
                      <a:lnTo>
                        <a:pt x="259" y="132"/>
                      </a:lnTo>
                      <a:lnTo>
                        <a:pt x="258" y="132"/>
                      </a:lnTo>
                      <a:lnTo>
                        <a:pt x="256" y="128"/>
                      </a:lnTo>
                      <a:lnTo>
                        <a:pt x="255" y="128"/>
                      </a:lnTo>
                      <a:lnTo>
                        <a:pt x="254" y="128"/>
                      </a:lnTo>
                      <a:lnTo>
                        <a:pt x="249" y="126"/>
                      </a:lnTo>
                      <a:lnTo>
                        <a:pt x="250" y="130"/>
                      </a:lnTo>
                      <a:lnTo>
                        <a:pt x="246" y="131"/>
                      </a:lnTo>
                      <a:lnTo>
                        <a:pt x="244" y="132"/>
                      </a:lnTo>
                      <a:lnTo>
                        <a:pt x="241" y="133"/>
                      </a:lnTo>
                      <a:lnTo>
                        <a:pt x="239" y="133"/>
                      </a:lnTo>
                      <a:lnTo>
                        <a:pt x="239" y="135"/>
                      </a:lnTo>
                      <a:lnTo>
                        <a:pt x="237" y="135"/>
                      </a:lnTo>
                      <a:lnTo>
                        <a:pt x="235" y="139"/>
                      </a:lnTo>
                      <a:lnTo>
                        <a:pt x="235" y="139"/>
                      </a:lnTo>
                      <a:lnTo>
                        <a:pt x="234" y="140"/>
                      </a:lnTo>
                      <a:lnTo>
                        <a:pt x="230" y="140"/>
                      </a:lnTo>
                      <a:lnTo>
                        <a:pt x="230" y="142"/>
                      </a:lnTo>
                      <a:lnTo>
                        <a:pt x="229" y="142"/>
                      </a:lnTo>
                      <a:lnTo>
                        <a:pt x="227" y="141"/>
                      </a:lnTo>
                      <a:lnTo>
                        <a:pt x="226" y="142"/>
                      </a:lnTo>
                      <a:lnTo>
                        <a:pt x="224" y="141"/>
                      </a:lnTo>
                      <a:lnTo>
                        <a:pt x="220" y="139"/>
                      </a:lnTo>
                      <a:lnTo>
                        <a:pt x="220" y="140"/>
                      </a:lnTo>
                      <a:lnTo>
                        <a:pt x="217" y="142"/>
                      </a:lnTo>
                      <a:lnTo>
                        <a:pt x="214" y="142"/>
                      </a:lnTo>
                      <a:lnTo>
                        <a:pt x="212" y="143"/>
                      </a:lnTo>
                      <a:lnTo>
                        <a:pt x="210" y="143"/>
                      </a:lnTo>
                      <a:lnTo>
                        <a:pt x="210" y="141"/>
                      </a:lnTo>
                      <a:lnTo>
                        <a:pt x="207" y="142"/>
                      </a:lnTo>
                      <a:lnTo>
                        <a:pt x="207" y="144"/>
                      </a:lnTo>
                      <a:lnTo>
                        <a:pt x="204" y="144"/>
                      </a:lnTo>
                      <a:lnTo>
                        <a:pt x="203" y="145"/>
                      </a:lnTo>
                      <a:lnTo>
                        <a:pt x="202" y="145"/>
                      </a:lnTo>
                      <a:lnTo>
                        <a:pt x="200" y="148"/>
                      </a:lnTo>
                      <a:lnTo>
                        <a:pt x="202" y="148"/>
                      </a:lnTo>
                      <a:lnTo>
                        <a:pt x="200" y="151"/>
                      </a:lnTo>
                      <a:lnTo>
                        <a:pt x="199" y="153"/>
                      </a:lnTo>
                      <a:lnTo>
                        <a:pt x="200" y="154"/>
                      </a:lnTo>
                      <a:lnTo>
                        <a:pt x="199" y="159"/>
                      </a:lnTo>
                      <a:lnTo>
                        <a:pt x="196" y="159"/>
                      </a:lnTo>
                      <a:lnTo>
                        <a:pt x="195" y="160"/>
                      </a:lnTo>
                      <a:lnTo>
                        <a:pt x="194" y="162"/>
                      </a:lnTo>
                      <a:lnTo>
                        <a:pt x="193" y="163"/>
                      </a:lnTo>
                      <a:lnTo>
                        <a:pt x="192" y="161"/>
                      </a:lnTo>
                      <a:lnTo>
                        <a:pt x="192" y="160"/>
                      </a:lnTo>
                      <a:lnTo>
                        <a:pt x="187" y="162"/>
                      </a:lnTo>
                      <a:lnTo>
                        <a:pt x="187" y="162"/>
                      </a:lnTo>
                      <a:lnTo>
                        <a:pt x="187" y="160"/>
                      </a:lnTo>
                      <a:lnTo>
                        <a:pt x="184" y="160"/>
                      </a:lnTo>
                      <a:lnTo>
                        <a:pt x="183" y="166"/>
                      </a:lnTo>
                      <a:lnTo>
                        <a:pt x="179" y="166"/>
                      </a:lnTo>
                      <a:lnTo>
                        <a:pt x="177" y="166"/>
                      </a:lnTo>
                      <a:lnTo>
                        <a:pt x="174" y="166"/>
                      </a:lnTo>
                      <a:lnTo>
                        <a:pt x="174" y="165"/>
                      </a:lnTo>
                      <a:lnTo>
                        <a:pt x="174" y="164"/>
                      </a:lnTo>
                      <a:lnTo>
                        <a:pt x="172" y="166"/>
                      </a:lnTo>
                      <a:lnTo>
                        <a:pt x="170" y="167"/>
                      </a:lnTo>
                      <a:lnTo>
                        <a:pt x="169" y="167"/>
                      </a:lnTo>
                      <a:lnTo>
                        <a:pt x="168" y="162"/>
                      </a:lnTo>
                      <a:lnTo>
                        <a:pt x="167" y="162"/>
                      </a:lnTo>
                      <a:lnTo>
                        <a:pt x="169" y="161"/>
                      </a:lnTo>
                      <a:lnTo>
                        <a:pt x="170" y="162"/>
                      </a:lnTo>
                      <a:lnTo>
                        <a:pt x="174" y="162"/>
                      </a:lnTo>
                      <a:lnTo>
                        <a:pt x="174" y="161"/>
                      </a:lnTo>
                      <a:lnTo>
                        <a:pt x="172" y="160"/>
                      </a:lnTo>
                      <a:lnTo>
                        <a:pt x="170" y="160"/>
                      </a:lnTo>
                      <a:lnTo>
                        <a:pt x="169" y="159"/>
                      </a:lnTo>
                      <a:lnTo>
                        <a:pt x="168" y="159"/>
                      </a:lnTo>
                      <a:lnTo>
                        <a:pt x="165" y="159"/>
                      </a:lnTo>
                      <a:lnTo>
                        <a:pt x="164" y="159"/>
                      </a:lnTo>
                      <a:lnTo>
                        <a:pt x="160" y="159"/>
                      </a:lnTo>
                      <a:lnTo>
                        <a:pt x="159" y="160"/>
                      </a:lnTo>
                      <a:lnTo>
                        <a:pt x="158" y="159"/>
                      </a:lnTo>
                      <a:lnTo>
                        <a:pt x="158" y="159"/>
                      </a:lnTo>
                      <a:lnTo>
                        <a:pt x="155" y="159"/>
                      </a:lnTo>
                      <a:lnTo>
                        <a:pt x="154" y="160"/>
                      </a:lnTo>
                      <a:lnTo>
                        <a:pt x="151" y="159"/>
                      </a:lnTo>
                      <a:lnTo>
                        <a:pt x="145" y="161"/>
                      </a:lnTo>
                      <a:lnTo>
                        <a:pt x="145" y="160"/>
                      </a:lnTo>
                      <a:lnTo>
                        <a:pt x="141" y="159"/>
                      </a:lnTo>
                      <a:lnTo>
                        <a:pt x="141" y="158"/>
                      </a:lnTo>
                      <a:lnTo>
                        <a:pt x="140" y="155"/>
                      </a:lnTo>
                      <a:lnTo>
                        <a:pt x="137" y="154"/>
                      </a:lnTo>
                      <a:lnTo>
                        <a:pt x="136" y="153"/>
                      </a:lnTo>
                      <a:lnTo>
                        <a:pt x="136" y="152"/>
                      </a:lnTo>
                      <a:lnTo>
                        <a:pt x="138" y="152"/>
                      </a:lnTo>
                      <a:lnTo>
                        <a:pt x="141" y="153"/>
                      </a:lnTo>
                      <a:lnTo>
                        <a:pt x="151" y="154"/>
                      </a:lnTo>
                      <a:lnTo>
                        <a:pt x="151" y="154"/>
                      </a:lnTo>
                      <a:lnTo>
                        <a:pt x="152" y="152"/>
                      </a:lnTo>
                      <a:lnTo>
                        <a:pt x="154" y="150"/>
                      </a:lnTo>
                      <a:lnTo>
                        <a:pt x="155" y="148"/>
                      </a:lnTo>
                      <a:lnTo>
                        <a:pt x="155" y="146"/>
                      </a:lnTo>
                      <a:lnTo>
                        <a:pt x="154" y="145"/>
                      </a:lnTo>
                      <a:lnTo>
                        <a:pt x="153" y="144"/>
                      </a:lnTo>
                      <a:lnTo>
                        <a:pt x="152" y="148"/>
                      </a:lnTo>
                      <a:lnTo>
                        <a:pt x="148" y="145"/>
                      </a:lnTo>
                      <a:lnTo>
                        <a:pt x="147" y="145"/>
                      </a:lnTo>
                      <a:lnTo>
                        <a:pt x="141" y="145"/>
                      </a:lnTo>
                      <a:lnTo>
                        <a:pt x="138" y="147"/>
                      </a:lnTo>
                      <a:lnTo>
                        <a:pt x="137" y="148"/>
                      </a:lnTo>
                      <a:lnTo>
                        <a:pt x="136" y="148"/>
                      </a:lnTo>
                      <a:lnTo>
                        <a:pt x="136" y="148"/>
                      </a:lnTo>
                      <a:lnTo>
                        <a:pt x="135" y="144"/>
                      </a:lnTo>
                      <a:lnTo>
                        <a:pt x="135" y="143"/>
                      </a:lnTo>
                      <a:lnTo>
                        <a:pt x="134" y="143"/>
                      </a:lnTo>
                      <a:lnTo>
                        <a:pt x="133" y="146"/>
                      </a:lnTo>
                      <a:lnTo>
                        <a:pt x="135" y="152"/>
                      </a:lnTo>
                      <a:lnTo>
                        <a:pt x="135" y="152"/>
                      </a:lnTo>
                      <a:lnTo>
                        <a:pt x="131" y="152"/>
                      </a:lnTo>
                      <a:lnTo>
                        <a:pt x="128" y="151"/>
                      </a:lnTo>
                      <a:lnTo>
                        <a:pt x="126" y="150"/>
                      </a:lnTo>
                      <a:lnTo>
                        <a:pt x="122" y="150"/>
                      </a:lnTo>
                      <a:lnTo>
                        <a:pt x="122" y="148"/>
                      </a:lnTo>
                      <a:lnTo>
                        <a:pt x="121" y="147"/>
                      </a:lnTo>
                      <a:lnTo>
                        <a:pt x="120" y="147"/>
                      </a:lnTo>
                      <a:lnTo>
                        <a:pt x="119" y="151"/>
                      </a:lnTo>
                      <a:lnTo>
                        <a:pt x="119" y="155"/>
                      </a:lnTo>
                      <a:lnTo>
                        <a:pt x="120" y="158"/>
                      </a:lnTo>
                      <a:lnTo>
                        <a:pt x="122" y="159"/>
                      </a:lnTo>
                      <a:lnTo>
                        <a:pt x="123" y="161"/>
                      </a:lnTo>
                      <a:lnTo>
                        <a:pt x="119" y="160"/>
                      </a:lnTo>
                      <a:lnTo>
                        <a:pt x="118" y="158"/>
                      </a:lnTo>
                      <a:lnTo>
                        <a:pt x="117" y="154"/>
                      </a:lnTo>
                      <a:lnTo>
                        <a:pt x="118" y="153"/>
                      </a:lnTo>
                      <a:lnTo>
                        <a:pt x="119" y="151"/>
                      </a:lnTo>
                      <a:lnTo>
                        <a:pt x="119" y="148"/>
                      </a:lnTo>
                      <a:lnTo>
                        <a:pt x="118" y="145"/>
                      </a:lnTo>
                      <a:lnTo>
                        <a:pt x="114" y="141"/>
                      </a:lnTo>
                      <a:lnTo>
                        <a:pt x="110" y="136"/>
                      </a:lnTo>
                      <a:lnTo>
                        <a:pt x="108" y="135"/>
                      </a:lnTo>
                      <a:lnTo>
                        <a:pt x="104" y="135"/>
                      </a:lnTo>
                      <a:lnTo>
                        <a:pt x="104" y="135"/>
                      </a:lnTo>
                      <a:lnTo>
                        <a:pt x="104" y="135"/>
                      </a:lnTo>
                      <a:lnTo>
                        <a:pt x="104" y="134"/>
                      </a:lnTo>
                      <a:lnTo>
                        <a:pt x="108" y="135"/>
                      </a:lnTo>
                      <a:lnTo>
                        <a:pt x="109" y="135"/>
                      </a:lnTo>
                      <a:lnTo>
                        <a:pt x="109" y="134"/>
                      </a:lnTo>
                      <a:lnTo>
                        <a:pt x="104" y="133"/>
                      </a:lnTo>
                      <a:lnTo>
                        <a:pt x="104" y="133"/>
                      </a:lnTo>
                      <a:lnTo>
                        <a:pt x="103" y="133"/>
                      </a:lnTo>
                      <a:lnTo>
                        <a:pt x="99" y="133"/>
                      </a:lnTo>
                      <a:lnTo>
                        <a:pt x="97" y="133"/>
                      </a:lnTo>
                      <a:lnTo>
                        <a:pt x="96" y="133"/>
                      </a:lnTo>
                      <a:lnTo>
                        <a:pt x="93" y="128"/>
                      </a:lnTo>
                      <a:lnTo>
                        <a:pt x="90" y="124"/>
                      </a:lnTo>
                      <a:lnTo>
                        <a:pt x="84" y="124"/>
                      </a:lnTo>
                      <a:lnTo>
                        <a:pt x="80" y="123"/>
                      </a:lnTo>
                      <a:lnTo>
                        <a:pt x="80" y="123"/>
                      </a:lnTo>
                      <a:lnTo>
                        <a:pt x="80" y="124"/>
                      </a:lnTo>
                      <a:lnTo>
                        <a:pt x="76" y="120"/>
                      </a:lnTo>
                      <a:lnTo>
                        <a:pt x="75" y="120"/>
                      </a:lnTo>
                      <a:lnTo>
                        <a:pt x="73" y="121"/>
                      </a:lnTo>
                      <a:lnTo>
                        <a:pt x="69" y="120"/>
                      </a:lnTo>
                      <a:lnTo>
                        <a:pt x="66" y="120"/>
                      </a:lnTo>
                      <a:lnTo>
                        <a:pt x="63" y="114"/>
                      </a:lnTo>
                      <a:lnTo>
                        <a:pt x="63" y="112"/>
                      </a:lnTo>
                      <a:lnTo>
                        <a:pt x="63" y="111"/>
                      </a:lnTo>
                      <a:lnTo>
                        <a:pt x="63" y="111"/>
                      </a:lnTo>
                      <a:lnTo>
                        <a:pt x="61" y="111"/>
                      </a:lnTo>
                      <a:lnTo>
                        <a:pt x="59" y="107"/>
                      </a:lnTo>
                      <a:lnTo>
                        <a:pt x="58" y="107"/>
                      </a:lnTo>
                      <a:lnTo>
                        <a:pt x="56" y="107"/>
                      </a:lnTo>
                      <a:lnTo>
                        <a:pt x="56" y="112"/>
                      </a:lnTo>
                      <a:lnTo>
                        <a:pt x="52" y="112"/>
                      </a:lnTo>
                      <a:lnTo>
                        <a:pt x="52" y="113"/>
                      </a:lnTo>
                      <a:lnTo>
                        <a:pt x="49" y="111"/>
                      </a:lnTo>
                      <a:lnTo>
                        <a:pt x="49" y="111"/>
                      </a:lnTo>
                      <a:lnTo>
                        <a:pt x="47" y="111"/>
                      </a:lnTo>
                      <a:lnTo>
                        <a:pt x="43" y="111"/>
                      </a:lnTo>
                      <a:lnTo>
                        <a:pt x="42" y="113"/>
                      </a:lnTo>
                      <a:lnTo>
                        <a:pt x="42" y="117"/>
                      </a:lnTo>
                      <a:lnTo>
                        <a:pt x="39" y="118"/>
                      </a:lnTo>
                      <a:lnTo>
                        <a:pt x="36" y="118"/>
                      </a:lnTo>
                      <a:lnTo>
                        <a:pt x="33" y="118"/>
                      </a:lnTo>
                      <a:lnTo>
                        <a:pt x="32" y="117"/>
                      </a:lnTo>
                      <a:lnTo>
                        <a:pt x="26" y="116"/>
                      </a:lnTo>
                      <a:lnTo>
                        <a:pt x="26" y="114"/>
                      </a:lnTo>
                      <a:lnTo>
                        <a:pt x="28" y="113"/>
                      </a:lnTo>
                      <a:lnTo>
                        <a:pt x="28" y="111"/>
                      </a:lnTo>
                      <a:lnTo>
                        <a:pt x="28" y="109"/>
                      </a:lnTo>
                      <a:lnTo>
                        <a:pt x="27" y="106"/>
                      </a:lnTo>
                      <a:lnTo>
                        <a:pt x="26" y="104"/>
                      </a:lnTo>
                      <a:lnTo>
                        <a:pt x="25" y="100"/>
                      </a:lnTo>
                      <a:lnTo>
                        <a:pt x="24" y="99"/>
                      </a:lnTo>
                      <a:lnTo>
                        <a:pt x="21" y="94"/>
                      </a:lnTo>
                      <a:lnTo>
                        <a:pt x="15" y="91"/>
                      </a:lnTo>
                      <a:lnTo>
                        <a:pt x="14" y="91"/>
                      </a:lnTo>
                      <a:lnTo>
                        <a:pt x="13" y="92"/>
                      </a:lnTo>
                      <a:lnTo>
                        <a:pt x="11" y="90"/>
                      </a:lnTo>
                      <a:lnTo>
                        <a:pt x="9" y="89"/>
                      </a:lnTo>
                      <a:lnTo>
                        <a:pt x="8" y="88"/>
                      </a:lnTo>
                      <a:lnTo>
                        <a:pt x="8" y="88"/>
                      </a:lnTo>
                      <a:lnTo>
                        <a:pt x="7" y="89"/>
                      </a:lnTo>
                      <a:lnTo>
                        <a:pt x="0" y="87"/>
                      </a:lnTo>
                      <a:lnTo>
                        <a:pt x="1" y="86"/>
                      </a:lnTo>
                      <a:lnTo>
                        <a:pt x="3" y="87"/>
                      </a:lnTo>
                      <a:lnTo>
                        <a:pt x="3" y="86"/>
                      </a:lnTo>
                      <a:lnTo>
                        <a:pt x="2" y="83"/>
                      </a:lnTo>
                      <a:lnTo>
                        <a:pt x="10" y="83"/>
                      </a:lnTo>
                      <a:lnTo>
                        <a:pt x="13" y="83"/>
                      </a:lnTo>
                      <a:lnTo>
                        <a:pt x="22" y="81"/>
                      </a:lnTo>
                      <a:lnTo>
                        <a:pt x="28" y="81"/>
                      </a:lnTo>
                      <a:lnTo>
                        <a:pt x="35" y="83"/>
                      </a:lnTo>
                      <a:lnTo>
                        <a:pt x="35" y="81"/>
                      </a:lnTo>
                      <a:lnTo>
                        <a:pt x="37" y="76"/>
                      </a:lnTo>
                      <a:lnTo>
                        <a:pt x="37" y="76"/>
                      </a:lnTo>
                      <a:lnTo>
                        <a:pt x="35" y="76"/>
                      </a:lnTo>
                      <a:lnTo>
                        <a:pt x="35" y="73"/>
                      </a:lnTo>
                      <a:lnTo>
                        <a:pt x="35" y="70"/>
                      </a:lnTo>
                      <a:lnTo>
                        <a:pt x="33" y="69"/>
                      </a:lnTo>
                      <a:lnTo>
                        <a:pt x="30" y="69"/>
                      </a:lnTo>
                      <a:lnTo>
                        <a:pt x="28" y="68"/>
                      </a:lnTo>
                      <a:lnTo>
                        <a:pt x="25" y="67"/>
                      </a:lnTo>
                      <a:lnTo>
                        <a:pt x="25" y="66"/>
                      </a:lnTo>
                      <a:lnTo>
                        <a:pt x="21" y="66"/>
                      </a:lnTo>
                      <a:lnTo>
                        <a:pt x="17" y="73"/>
                      </a:lnTo>
                      <a:lnTo>
                        <a:pt x="15" y="73"/>
                      </a:lnTo>
                      <a:lnTo>
                        <a:pt x="16" y="67"/>
                      </a:lnTo>
                      <a:lnTo>
                        <a:pt x="15" y="66"/>
                      </a:lnTo>
                      <a:lnTo>
                        <a:pt x="15" y="66"/>
                      </a:lnTo>
                      <a:lnTo>
                        <a:pt x="18" y="64"/>
                      </a:lnTo>
                      <a:lnTo>
                        <a:pt x="17" y="62"/>
                      </a:lnTo>
                      <a:lnTo>
                        <a:pt x="14" y="63"/>
                      </a:lnTo>
                      <a:lnTo>
                        <a:pt x="11" y="62"/>
                      </a:lnTo>
                      <a:lnTo>
                        <a:pt x="12" y="60"/>
                      </a:lnTo>
                      <a:lnTo>
                        <a:pt x="11" y="59"/>
                      </a:lnTo>
                      <a:lnTo>
                        <a:pt x="14" y="59"/>
                      </a:lnTo>
                      <a:lnTo>
                        <a:pt x="14" y="59"/>
                      </a:lnTo>
                      <a:lnTo>
                        <a:pt x="16" y="59"/>
                      </a:lnTo>
                      <a:lnTo>
                        <a:pt x="16" y="59"/>
                      </a:lnTo>
                      <a:lnTo>
                        <a:pt x="15" y="55"/>
                      </a:lnTo>
                      <a:lnTo>
                        <a:pt x="18" y="53"/>
                      </a:lnTo>
                      <a:lnTo>
                        <a:pt x="19" y="53"/>
                      </a:lnTo>
                      <a:lnTo>
                        <a:pt x="18" y="59"/>
                      </a:lnTo>
                      <a:lnTo>
                        <a:pt x="18" y="59"/>
                      </a:lnTo>
                      <a:lnTo>
                        <a:pt x="21" y="56"/>
                      </a:lnTo>
                      <a:lnTo>
                        <a:pt x="21" y="57"/>
                      </a:lnTo>
                      <a:lnTo>
                        <a:pt x="21" y="58"/>
                      </a:lnTo>
                      <a:lnTo>
                        <a:pt x="21" y="59"/>
                      </a:lnTo>
                      <a:lnTo>
                        <a:pt x="21" y="59"/>
                      </a:lnTo>
                      <a:lnTo>
                        <a:pt x="24" y="59"/>
                      </a:lnTo>
                      <a:lnTo>
                        <a:pt x="28" y="59"/>
                      </a:lnTo>
                      <a:lnTo>
                        <a:pt x="28" y="60"/>
                      </a:lnTo>
                      <a:lnTo>
                        <a:pt x="30" y="61"/>
                      </a:lnTo>
                      <a:lnTo>
                        <a:pt x="31" y="61"/>
                      </a:lnTo>
                      <a:lnTo>
                        <a:pt x="33" y="60"/>
                      </a:lnTo>
                      <a:lnTo>
                        <a:pt x="35" y="60"/>
                      </a:lnTo>
                      <a:lnTo>
                        <a:pt x="35" y="59"/>
                      </a:lnTo>
                      <a:lnTo>
                        <a:pt x="35" y="59"/>
                      </a:lnTo>
                      <a:lnTo>
                        <a:pt x="35" y="57"/>
                      </a:lnTo>
                      <a:lnTo>
                        <a:pt x="35" y="56"/>
                      </a:lnTo>
                      <a:lnTo>
                        <a:pt x="35" y="55"/>
                      </a:lnTo>
                      <a:lnTo>
                        <a:pt x="32" y="55"/>
                      </a:lnTo>
                      <a:lnTo>
                        <a:pt x="31" y="56"/>
                      </a:lnTo>
                      <a:lnTo>
                        <a:pt x="28" y="56"/>
                      </a:lnTo>
                      <a:lnTo>
                        <a:pt x="28" y="56"/>
                      </a:lnTo>
                      <a:lnTo>
                        <a:pt x="29" y="55"/>
                      </a:lnTo>
                      <a:lnTo>
                        <a:pt x="28" y="55"/>
                      </a:lnTo>
                      <a:lnTo>
                        <a:pt x="26" y="56"/>
                      </a:lnTo>
                      <a:lnTo>
                        <a:pt x="25" y="55"/>
                      </a:lnTo>
                      <a:lnTo>
                        <a:pt x="28" y="51"/>
                      </a:lnTo>
                      <a:lnTo>
                        <a:pt x="29" y="49"/>
                      </a:lnTo>
                      <a:lnTo>
                        <a:pt x="28" y="48"/>
                      </a:lnTo>
                      <a:lnTo>
                        <a:pt x="27" y="48"/>
                      </a:lnTo>
                      <a:lnTo>
                        <a:pt x="23" y="50"/>
                      </a:lnTo>
                      <a:lnTo>
                        <a:pt x="18" y="51"/>
                      </a:lnTo>
                      <a:lnTo>
                        <a:pt x="14" y="53"/>
                      </a:lnTo>
                      <a:lnTo>
                        <a:pt x="12" y="52"/>
                      </a:lnTo>
                      <a:lnTo>
                        <a:pt x="9" y="51"/>
                      </a:lnTo>
                      <a:lnTo>
                        <a:pt x="7" y="51"/>
                      </a:lnTo>
                      <a:lnTo>
                        <a:pt x="7" y="52"/>
                      </a:lnTo>
                      <a:lnTo>
                        <a:pt x="6" y="53"/>
                      </a:lnTo>
                      <a:lnTo>
                        <a:pt x="1" y="53"/>
                      </a:lnTo>
                      <a:lnTo>
                        <a:pt x="1" y="52"/>
                      </a:lnTo>
                      <a:lnTo>
                        <a:pt x="1" y="50"/>
                      </a:lnTo>
                      <a:lnTo>
                        <a:pt x="1" y="49"/>
                      </a:lnTo>
                      <a:lnTo>
                        <a:pt x="1" y="48"/>
                      </a:lnTo>
                      <a:lnTo>
                        <a:pt x="2" y="49"/>
                      </a:lnTo>
                      <a:lnTo>
                        <a:pt x="2" y="47"/>
                      </a:lnTo>
                      <a:lnTo>
                        <a:pt x="2" y="45"/>
                      </a:lnTo>
                      <a:lnTo>
                        <a:pt x="0" y="42"/>
                      </a:lnTo>
                      <a:lnTo>
                        <a:pt x="2" y="40"/>
                      </a:lnTo>
                      <a:lnTo>
                        <a:pt x="3" y="37"/>
                      </a:lnTo>
                      <a:lnTo>
                        <a:pt x="3" y="35"/>
                      </a:lnTo>
                      <a:lnTo>
                        <a:pt x="2" y="32"/>
                      </a:lnTo>
                      <a:lnTo>
                        <a:pt x="4" y="31"/>
                      </a:lnTo>
                      <a:lnTo>
                        <a:pt x="4" y="30"/>
                      </a:lnTo>
                      <a:lnTo>
                        <a:pt x="7" y="27"/>
                      </a:lnTo>
                      <a:lnTo>
                        <a:pt x="9" y="28"/>
                      </a:lnTo>
                      <a:lnTo>
                        <a:pt x="9" y="26"/>
                      </a:lnTo>
                      <a:lnTo>
                        <a:pt x="11" y="26"/>
                      </a:lnTo>
                      <a:lnTo>
                        <a:pt x="14" y="26"/>
                      </a:lnTo>
                      <a:lnTo>
                        <a:pt x="15" y="26"/>
                      </a:lnTo>
                      <a:lnTo>
                        <a:pt x="17" y="25"/>
                      </a:lnTo>
                      <a:lnTo>
                        <a:pt x="16" y="23"/>
                      </a:lnTo>
                      <a:lnTo>
                        <a:pt x="18" y="22"/>
                      </a:lnTo>
                      <a:lnTo>
                        <a:pt x="22" y="19"/>
                      </a:lnTo>
                      <a:lnTo>
                        <a:pt x="22" y="20"/>
                      </a:lnTo>
                      <a:lnTo>
                        <a:pt x="25" y="21"/>
                      </a:lnTo>
                      <a:lnTo>
                        <a:pt x="28" y="21"/>
                      </a:lnTo>
                      <a:lnTo>
                        <a:pt x="30" y="19"/>
                      </a:lnTo>
                      <a:lnTo>
                        <a:pt x="30" y="18"/>
                      </a:lnTo>
                      <a:lnTo>
                        <a:pt x="33" y="18"/>
                      </a:lnTo>
                      <a:lnTo>
                        <a:pt x="36" y="16"/>
                      </a:lnTo>
                      <a:lnTo>
                        <a:pt x="38" y="16"/>
                      </a:lnTo>
                      <a:lnTo>
                        <a:pt x="39" y="17"/>
                      </a:lnTo>
                      <a:lnTo>
                        <a:pt x="39" y="18"/>
                      </a:lnTo>
                      <a:lnTo>
                        <a:pt x="41" y="18"/>
                      </a:lnTo>
                      <a:lnTo>
                        <a:pt x="39" y="20"/>
                      </a:lnTo>
                      <a:lnTo>
                        <a:pt x="39" y="21"/>
                      </a:lnTo>
                      <a:lnTo>
                        <a:pt x="40" y="21"/>
                      </a:lnTo>
                      <a:lnTo>
                        <a:pt x="42" y="19"/>
                      </a:lnTo>
                      <a:lnTo>
                        <a:pt x="44" y="20"/>
                      </a:lnTo>
                      <a:lnTo>
                        <a:pt x="45" y="19"/>
                      </a:lnTo>
                      <a:lnTo>
                        <a:pt x="49" y="17"/>
                      </a:lnTo>
                      <a:lnTo>
                        <a:pt x="51" y="16"/>
                      </a:lnTo>
                      <a:lnTo>
                        <a:pt x="56" y="16"/>
                      </a:lnTo>
                      <a:lnTo>
                        <a:pt x="57" y="17"/>
                      </a:lnTo>
                      <a:lnTo>
                        <a:pt x="59" y="17"/>
                      </a:lnTo>
                      <a:lnTo>
                        <a:pt x="59" y="15"/>
                      </a:lnTo>
                      <a:lnTo>
                        <a:pt x="63" y="13"/>
                      </a:lnTo>
                      <a:lnTo>
                        <a:pt x="63" y="12"/>
                      </a:lnTo>
                      <a:lnTo>
                        <a:pt x="63" y="13"/>
                      </a:lnTo>
                      <a:lnTo>
                        <a:pt x="63" y="13"/>
                      </a:lnTo>
                      <a:lnTo>
                        <a:pt x="63" y="13"/>
                      </a:lnTo>
                      <a:lnTo>
                        <a:pt x="63" y="12"/>
                      </a:lnTo>
                      <a:lnTo>
                        <a:pt x="66" y="13"/>
                      </a:lnTo>
                      <a:lnTo>
                        <a:pt x="65" y="15"/>
                      </a:lnTo>
                      <a:lnTo>
                        <a:pt x="67" y="21"/>
                      </a:lnTo>
                      <a:lnTo>
                        <a:pt x="67" y="21"/>
                      </a:lnTo>
                      <a:lnTo>
                        <a:pt x="68" y="21"/>
                      </a:lnTo>
                      <a:lnTo>
                        <a:pt x="69" y="19"/>
                      </a:lnTo>
                      <a:lnTo>
                        <a:pt x="71" y="19"/>
                      </a:lnTo>
                      <a:lnTo>
                        <a:pt x="71" y="20"/>
                      </a:lnTo>
                      <a:lnTo>
                        <a:pt x="70" y="21"/>
                      </a:lnTo>
                      <a:lnTo>
                        <a:pt x="71" y="23"/>
                      </a:lnTo>
                      <a:lnTo>
                        <a:pt x="71" y="23"/>
                      </a:lnTo>
                      <a:lnTo>
                        <a:pt x="73" y="24"/>
                      </a:lnTo>
                      <a:lnTo>
                        <a:pt x="73" y="24"/>
                      </a:lnTo>
                      <a:lnTo>
                        <a:pt x="73" y="21"/>
                      </a:lnTo>
                      <a:lnTo>
                        <a:pt x="76" y="16"/>
                      </a:lnTo>
                      <a:lnTo>
                        <a:pt x="76" y="16"/>
                      </a:lnTo>
                      <a:lnTo>
                        <a:pt x="77" y="14"/>
                      </a:lnTo>
                      <a:lnTo>
                        <a:pt x="78" y="15"/>
                      </a:lnTo>
                      <a:lnTo>
                        <a:pt x="80" y="17"/>
                      </a:lnTo>
                      <a:lnTo>
                        <a:pt x="82" y="17"/>
                      </a:lnTo>
                      <a:lnTo>
                        <a:pt x="85" y="17"/>
                      </a:lnTo>
                      <a:lnTo>
                        <a:pt x="86" y="18"/>
                      </a:lnTo>
                      <a:lnTo>
                        <a:pt x="87" y="18"/>
                      </a:lnTo>
                      <a:lnTo>
                        <a:pt x="89" y="18"/>
                      </a:lnTo>
                      <a:lnTo>
                        <a:pt x="90" y="18"/>
                      </a:lnTo>
                      <a:lnTo>
                        <a:pt x="89" y="19"/>
                      </a:lnTo>
                      <a:lnTo>
                        <a:pt x="90" y="20"/>
                      </a:lnTo>
                      <a:lnTo>
                        <a:pt x="93" y="20"/>
                      </a:lnTo>
                      <a:lnTo>
                        <a:pt x="93" y="21"/>
                      </a:lnTo>
                      <a:lnTo>
                        <a:pt x="94" y="21"/>
                      </a:lnTo>
                      <a:lnTo>
                        <a:pt x="95" y="21"/>
                      </a:lnTo>
                      <a:lnTo>
                        <a:pt x="96" y="19"/>
                      </a:lnTo>
                      <a:lnTo>
                        <a:pt x="95" y="19"/>
                      </a:lnTo>
                      <a:lnTo>
                        <a:pt x="95" y="15"/>
                      </a:lnTo>
                      <a:lnTo>
                        <a:pt x="97" y="14"/>
                      </a:lnTo>
                      <a:lnTo>
                        <a:pt x="97" y="13"/>
                      </a:lnTo>
                      <a:lnTo>
                        <a:pt x="96" y="11"/>
                      </a:lnTo>
                      <a:lnTo>
                        <a:pt x="95" y="9"/>
                      </a:lnTo>
                      <a:lnTo>
                        <a:pt x="96" y="8"/>
                      </a:lnTo>
                      <a:lnTo>
                        <a:pt x="97" y="7"/>
                      </a:lnTo>
                      <a:lnTo>
                        <a:pt x="99" y="7"/>
                      </a:lnTo>
                      <a:lnTo>
                        <a:pt x="99" y="4"/>
                      </a:lnTo>
                      <a:lnTo>
                        <a:pt x="100" y="4"/>
                      </a:lnTo>
                      <a:lnTo>
                        <a:pt x="104" y="3"/>
                      </a:lnTo>
                      <a:lnTo>
                        <a:pt x="104" y="3"/>
                      </a:lnTo>
                      <a:lnTo>
                        <a:pt x="107" y="4"/>
                      </a:lnTo>
                      <a:lnTo>
                        <a:pt x="108" y="5"/>
                      </a:lnTo>
                      <a:lnTo>
                        <a:pt x="110" y="5"/>
                      </a:lnTo>
                      <a:lnTo>
                        <a:pt x="112" y="5"/>
                      </a:lnTo>
                      <a:lnTo>
                        <a:pt x="114" y="4"/>
                      </a:lnTo>
                      <a:lnTo>
                        <a:pt x="117" y="2"/>
                      </a:lnTo>
                      <a:lnTo>
                        <a:pt x="119" y="2"/>
                      </a:lnTo>
                      <a:lnTo>
                        <a:pt x="124" y="0"/>
                      </a:lnTo>
                      <a:lnTo>
                        <a:pt x="124" y="2"/>
                      </a:lnTo>
                      <a:lnTo>
                        <a:pt x="124" y="4"/>
                      </a:lnTo>
                      <a:lnTo>
                        <a:pt x="124" y="5"/>
                      </a:lnTo>
                      <a:lnTo>
                        <a:pt x="127" y="4"/>
                      </a:lnTo>
                      <a:lnTo>
                        <a:pt x="127" y="4"/>
                      </a:lnTo>
                      <a:lnTo>
                        <a:pt x="131" y="1"/>
                      </a:lnTo>
                      <a:lnTo>
                        <a:pt x="134" y="0"/>
                      </a:lnTo>
                      <a:lnTo>
                        <a:pt x="134" y="0"/>
                      </a:lnTo>
                      <a:lnTo>
                        <a:pt x="135" y="0"/>
                      </a:lnTo>
                      <a:lnTo>
                        <a:pt x="134" y="3"/>
                      </a:lnTo>
                      <a:lnTo>
                        <a:pt x="134" y="5"/>
                      </a:lnTo>
                      <a:lnTo>
                        <a:pt x="134" y="7"/>
                      </a:lnTo>
                      <a:lnTo>
                        <a:pt x="138" y="8"/>
                      </a:lnTo>
                      <a:lnTo>
                        <a:pt x="138" y="9"/>
                      </a:lnTo>
                      <a:lnTo>
                        <a:pt x="137" y="11"/>
                      </a:lnTo>
                      <a:lnTo>
                        <a:pt x="141" y="13"/>
                      </a:lnTo>
                      <a:lnTo>
                        <a:pt x="141" y="13"/>
                      </a:lnTo>
                      <a:lnTo>
                        <a:pt x="142" y="14"/>
                      </a:lnTo>
                      <a:lnTo>
                        <a:pt x="142" y="13"/>
                      </a:lnTo>
                      <a:lnTo>
                        <a:pt x="143" y="13"/>
                      </a:lnTo>
                      <a:lnTo>
                        <a:pt x="145" y="15"/>
                      </a:lnTo>
                      <a:lnTo>
                        <a:pt x="144" y="18"/>
                      </a:lnTo>
                      <a:lnTo>
                        <a:pt x="147" y="22"/>
                      </a:lnTo>
                      <a:lnTo>
                        <a:pt x="148" y="22"/>
                      </a:lnTo>
                      <a:lnTo>
                        <a:pt x="149" y="23"/>
                      </a:lnTo>
                      <a:lnTo>
                        <a:pt x="148" y="25"/>
                      </a:lnTo>
                      <a:lnTo>
                        <a:pt x="149" y="25"/>
                      </a:lnTo>
                      <a:lnTo>
                        <a:pt x="150" y="25"/>
                      </a:lnTo>
                      <a:lnTo>
                        <a:pt x="152" y="28"/>
                      </a:lnTo>
                      <a:lnTo>
                        <a:pt x="152" y="28"/>
                      </a:lnTo>
                      <a:lnTo>
                        <a:pt x="152" y="31"/>
                      </a:lnTo>
                      <a:lnTo>
                        <a:pt x="152" y="32"/>
                      </a:lnTo>
                      <a:lnTo>
                        <a:pt x="152" y="33"/>
                      </a:lnTo>
                      <a:lnTo>
                        <a:pt x="152" y="35"/>
                      </a:lnTo>
                      <a:lnTo>
                        <a:pt x="155" y="35"/>
                      </a:lnTo>
                      <a:lnTo>
                        <a:pt x="155" y="38"/>
                      </a:lnTo>
                      <a:lnTo>
                        <a:pt x="159" y="39"/>
                      </a:lnTo>
                      <a:lnTo>
                        <a:pt x="159" y="42"/>
                      </a:lnTo>
                      <a:lnTo>
                        <a:pt x="159" y="43"/>
                      </a:lnTo>
                      <a:lnTo>
                        <a:pt x="159" y="44"/>
                      </a:lnTo>
                      <a:lnTo>
                        <a:pt x="161" y="45"/>
                      </a:lnTo>
                      <a:lnTo>
                        <a:pt x="162" y="44"/>
                      </a:lnTo>
                      <a:lnTo>
                        <a:pt x="162" y="42"/>
                      </a:lnTo>
                      <a:lnTo>
                        <a:pt x="163" y="41"/>
                      </a:lnTo>
                      <a:lnTo>
                        <a:pt x="164" y="42"/>
                      </a:lnTo>
                      <a:lnTo>
                        <a:pt x="165" y="42"/>
                      </a:lnTo>
                      <a:lnTo>
                        <a:pt x="166" y="41"/>
                      </a:lnTo>
                      <a:lnTo>
                        <a:pt x="166" y="41"/>
                      </a:lnTo>
                      <a:lnTo>
                        <a:pt x="170" y="38"/>
                      </a:lnTo>
                      <a:lnTo>
                        <a:pt x="172" y="35"/>
                      </a:lnTo>
                      <a:lnTo>
                        <a:pt x="176" y="35"/>
                      </a:lnTo>
                      <a:lnTo>
                        <a:pt x="179" y="31"/>
                      </a:lnTo>
                      <a:lnTo>
                        <a:pt x="177" y="31"/>
                      </a:lnTo>
                      <a:lnTo>
                        <a:pt x="179" y="29"/>
                      </a:lnTo>
                      <a:lnTo>
                        <a:pt x="182" y="30"/>
                      </a:lnTo>
                      <a:lnTo>
                        <a:pt x="183" y="31"/>
                      </a:lnTo>
                      <a:lnTo>
                        <a:pt x="183" y="31"/>
                      </a:lnTo>
                      <a:lnTo>
                        <a:pt x="183" y="31"/>
                      </a:lnTo>
                      <a:lnTo>
                        <a:pt x="183" y="31"/>
                      </a:lnTo>
                      <a:lnTo>
                        <a:pt x="183" y="31"/>
                      </a:lnTo>
                      <a:lnTo>
                        <a:pt x="183" y="31"/>
                      </a:lnTo>
                      <a:close/>
                    </a:path>
                  </a:pathLst>
                </a:custGeom>
                <a:solidFill>
                  <a:srgbClr val="74BAEF"/>
                </a:solidFill>
                <a:ln w="3175">
                  <a:solidFill>
                    <a:schemeClr val="dk1"/>
                  </a:solidFill>
                  <a:round/>
                  <a:headEnd/>
                  <a:tailEnd/>
                </a:ln>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z="800" dirty="0">
                    <a:solidFill>
                      <a:srgbClr val="000000"/>
                    </a:solidFill>
                  </a:endParaRPr>
                </a:p>
              </p:txBody>
            </p:sp>
            <p:sp>
              <p:nvSpPr>
                <p:cNvPr id="48" name="Normandie" descr="{&quot;Key&quot;:&quot;normandie&quot;,&quot;Name&quot;:&quot;Normandie&quot;,&quot;Value&quot;:1.0,&quot;Formula&quot;:&quot;&quot;,&quot;Text&quot;:&quot;1&quot;,&quot;OfficeApplication&quot;:0,&quot;HasValue&quot;:true}">
                  <a:extLst>
                    <a:ext uri="{FF2B5EF4-FFF2-40B4-BE49-F238E27FC236}">
                      <a16:creationId xmlns:a16="http://schemas.microsoft.com/office/drawing/2014/main" id="{CE9465AA-A033-A271-F42B-402A87577CD5}"/>
                    </a:ext>
                  </a:extLst>
                </p:cNvPr>
                <p:cNvSpPr>
                  <a:spLocks/>
                </p:cNvSpPr>
                <p:nvPr/>
              </p:nvSpPr>
              <p:spPr bwMode="auto">
                <a:xfrm>
                  <a:off x="4259101" y="1913400"/>
                  <a:ext cx="1399183" cy="1045974"/>
                </a:xfrm>
                <a:custGeom>
                  <a:avLst/>
                  <a:gdLst>
                    <a:gd name="T0" fmla="*/ 274 w 278"/>
                    <a:gd name="T1" fmla="*/ 71 h 215"/>
                    <a:gd name="T2" fmla="*/ 272 w 278"/>
                    <a:gd name="T3" fmla="*/ 65 h 215"/>
                    <a:gd name="T4" fmla="*/ 272 w 278"/>
                    <a:gd name="T5" fmla="*/ 55 h 215"/>
                    <a:gd name="T6" fmla="*/ 274 w 278"/>
                    <a:gd name="T7" fmla="*/ 43 h 215"/>
                    <a:gd name="T8" fmla="*/ 275 w 278"/>
                    <a:gd name="T9" fmla="*/ 33 h 215"/>
                    <a:gd name="T10" fmla="*/ 270 w 278"/>
                    <a:gd name="T11" fmla="*/ 17 h 215"/>
                    <a:gd name="T12" fmla="*/ 254 w 278"/>
                    <a:gd name="T13" fmla="*/ 2 h 215"/>
                    <a:gd name="T14" fmla="*/ 239 w 278"/>
                    <a:gd name="T15" fmla="*/ 7 h 215"/>
                    <a:gd name="T16" fmla="*/ 216 w 278"/>
                    <a:gd name="T17" fmla="*/ 16 h 215"/>
                    <a:gd name="T18" fmla="*/ 194 w 278"/>
                    <a:gd name="T19" fmla="*/ 22 h 215"/>
                    <a:gd name="T20" fmla="*/ 171 w 278"/>
                    <a:gd name="T21" fmla="*/ 33 h 215"/>
                    <a:gd name="T22" fmla="*/ 158 w 278"/>
                    <a:gd name="T23" fmla="*/ 40 h 215"/>
                    <a:gd name="T24" fmla="*/ 151 w 278"/>
                    <a:gd name="T25" fmla="*/ 65 h 215"/>
                    <a:gd name="T26" fmla="*/ 167 w 278"/>
                    <a:gd name="T27" fmla="*/ 71 h 215"/>
                    <a:gd name="T28" fmla="*/ 152 w 278"/>
                    <a:gd name="T29" fmla="*/ 75 h 215"/>
                    <a:gd name="T30" fmla="*/ 133 w 278"/>
                    <a:gd name="T31" fmla="*/ 87 h 215"/>
                    <a:gd name="T32" fmla="*/ 108 w 278"/>
                    <a:gd name="T33" fmla="*/ 80 h 215"/>
                    <a:gd name="T34" fmla="*/ 82 w 278"/>
                    <a:gd name="T35" fmla="*/ 77 h 215"/>
                    <a:gd name="T36" fmla="*/ 61 w 278"/>
                    <a:gd name="T37" fmla="*/ 75 h 215"/>
                    <a:gd name="T38" fmla="*/ 57 w 278"/>
                    <a:gd name="T39" fmla="*/ 71 h 215"/>
                    <a:gd name="T40" fmla="*/ 48 w 278"/>
                    <a:gd name="T41" fmla="*/ 55 h 215"/>
                    <a:gd name="T42" fmla="*/ 51 w 278"/>
                    <a:gd name="T43" fmla="*/ 40 h 215"/>
                    <a:gd name="T44" fmla="*/ 34 w 278"/>
                    <a:gd name="T45" fmla="*/ 39 h 215"/>
                    <a:gd name="T46" fmla="*/ 18 w 278"/>
                    <a:gd name="T47" fmla="*/ 38 h 215"/>
                    <a:gd name="T48" fmla="*/ 1 w 278"/>
                    <a:gd name="T49" fmla="*/ 30 h 215"/>
                    <a:gd name="T50" fmla="*/ 7 w 278"/>
                    <a:gd name="T51" fmla="*/ 49 h 215"/>
                    <a:gd name="T52" fmla="*/ 7 w 278"/>
                    <a:gd name="T53" fmla="*/ 68 h 215"/>
                    <a:gd name="T54" fmla="*/ 17 w 278"/>
                    <a:gd name="T55" fmla="*/ 81 h 215"/>
                    <a:gd name="T56" fmla="*/ 22 w 278"/>
                    <a:gd name="T57" fmla="*/ 109 h 215"/>
                    <a:gd name="T58" fmla="*/ 24 w 278"/>
                    <a:gd name="T59" fmla="*/ 123 h 215"/>
                    <a:gd name="T60" fmla="*/ 24 w 278"/>
                    <a:gd name="T61" fmla="*/ 145 h 215"/>
                    <a:gd name="T62" fmla="*/ 34 w 278"/>
                    <a:gd name="T63" fmla="*/ 155 h 215"/>
                    <a:gd name="T64" fmla="*/ 26 w 278"/>
                    <a:gd name="T65" fmla="*/ 157 h 215"/>
                    <a:gd name="T66" fmla="*/ 26 w 278"/>
                    <a:gd name="T67" fmla="*/ 169 h 215"/>
                    <a:gd name="T68" fmla="*/ 40 w 278"/>
                    <a:gd name="T69" fmla="*/ 174 h 215"/>
                    <a:gd name="T70" fmla="*/ 53 w 278"/>
                    <a:gd name="T71" fmla="*/ 172 h 215"/>
                    <a:gd name="T72" fmla="*/ 72 w 278"/>
                    <a:gd name="T73" fmla="*/ 175 h 215"/>
                    <a:gd name="T74" fmla="*/ 85 w 278"/>
                    <a:gd name="T75" fmla="*/ 178 h 215"/>
                    <a:gd name="T76" fmla="*/ 100 w 278"/>
                    <a:gd name="T77" fmla="*/ 176 h 215"/>
                    <a:gd name="T78" fmla="*/ 115 w 278"/>
                    <a:gd name="T79" fmla="*/ 176 h 215"/>
                    <a:gd name="T80" fmla="*/ 127 w 278"/>
                    <a:gd name="T81" fmla="*/ 176 h 215"/>
                    <a:gd name="T82" fmla="*/ 139 w 278"/>
                    <a:gd name="T83" fmla="*/ 191 h 215"/>
                    <a:gd name="T84" fmla="*/ 152 w 278"/>
                    <a:gd name="T85" fmla="*/ 184 h 215"/>
                    <a:gd name="T86" fmla="*/ 163 w 278"/>
                    <a:gd name="T87" fmla="*/ 180 h 215"/>
                    <a:gd name="T88" fmla="*/ 169 w 278"/>
                    <a:gd name="T89" fmla="*/ 193 h 215"/>
                    <a:gd name="T90" fmla="*/ 178 w 278"/>
                    <a:gd name="T91" fmla="*/ 202 h 215"/>
                    <a:gd name="T92" fmla="*/ 192 w 278"/>
                    <a:gd name="T93" fmla="*/ 209 h 215"/>
                    <a:gd name="T94" fmla="*/ 202 w 278"/>
                    <a:gd name="T95" fmla="*/ 210 h 215"/>
                    <a:gd name="T96" fmla="*/ 202 w 278"/>
                    <a:gd name="T97" fmla="*/ 195 h 215"/>
                    <a:gd name="T98" fmla="*/ 213 w 278"/>
                    <a:gd name="T99" fmla="*/ 184 h 215"/>
                    <a:gd name="T100" fmla="*/ 206 w 278"/>
                    <a:gd name="T101" fmla="*/ 170 h 215"/>
                    <a:gd name="T102" fmla="*/ 209 w 278"/>
                    <a:gd name="T103" fmla="*/ 154 h 215"/>
                    <a:gd name="T104" fmla="*/ 226 w 278"/>
                    <a:gd name="T105" fmla="*/ 146 h 215"/>
                    <a:gd name="T106" fmla="*/ 244 w 278"/>
                    <a:gd name="T107" fmla="*/ 148 h 215"/>
                    <a:gd name="T108" fmla="*/ 253 w 278"/>
                    <a:gd name="T109" fmla="*/ 133 h 215"/>
                    <a:gd name="T110" fmla="*/ 256 w 278"/>
                    <a:gd name="T111" fmla="*/ 123 h 215"/>
                    <a:gd name="T112" fmla="*/ 256 w 278"/>
                    <a:gd name="T113" fmla="*/ 116 h 215"/>
                    <a:gd name="T114" fmla="*/ 268 w 278"/>
                    <a:gd name="T115" fmla="*/ 107 h 215"/>
                    <a:gd name="T116" fmla="*/ 274 w 278"/>
                    <a:gd name="T117" fmla="*/ 9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8" h="215">
                      <a:moveTo>
                        <a:pt x="277" y="89"/>
                      </a:moveTo>
                      <a:lnTo>
                        <a:pt x="276" y="88"/>
                      </a:lnTo>
                      <a:lnTo>
                        <a:pt x="276" y="85"/>
                      </a:lnTo>
                      <a:lnTo>
                        <a:pt x="276" y="84"/>
                      </a:lnTo>
                      <a:lnTo>
                        <a:pt x="275" y="81"/>
                      </a:lnTo>
                      <a:lnTo>
                        <a:pt x="275" y="81"/>
                      </a:lnTo>
                      <a:lnTo>
                        <a:pt x="275" y="81"/>
                      </a:lnTo>
                      <a:lnTo>
                        <a:pt x="271" y="78"/>
                      </a:lnTo>
                      <a:lnTo>
                        <a:pt x="274" y="76"/>
                      </a:lnTo>
                      <a:lnTo>
                        <a:pt x="271" y="75"/>
                      </a:lnTo>
                      <a:lnTo>
                        <a:pt x="272" y="71"/>
                      </a:lnTo>
                      <a:lnTo>
                        <a:pt x="274" y="71"/>
                      </a:lnTo>
                      <a:lnTo>
                        <a:pt x="274" y="71"/>
                      </a:lnTo>
                      <a:lnTo>
                        <a:pt x="274" y="70"/>
                      </a:lnTo>
                      <a:lnTo>
                        <a:pt x="276" y="69"/>
                      </a:lnTo>
                      <a:lnTo>
                        <a:pt x="276" y="66"/>
                      </a:lnTo>
                      <a:lnTo>
                        <a:pt x="277" y="66"/>
                      </a:lnTo>
                      <a:lnTo>
                        <a:pt x="277" y="64"/>
                      </a:lnTo>
                      <a:lnTo>
                        <a:pt x="276" y="64"/>
                      </a:lnTo>
                      <a:lnTo>
                        <a:pt x="275" y="64"/>
                      </a:lnTo>
                      <a:lnTo>
                        <a:pt x="275" y="65"/>
                      </a:lnTo>
                      <a:lnTo>
                        <a:pt x="274" y="66"/>
                      </a:lnTo>
                      <a:lnTo>
                        <a:pt x="274" y="65"/>
                      </a:lnTo>
                      <a:lnTo>
                        <a:pt x="272" y="65"/>
                      </a:lnTo>
                      <a:lnTo>
                        <a:pt x="271" y="64"/>
                      </a:lnTo>
                      <a:lnTo>
                        <a:pt x="271" y="64"/>
                      </a:lnTo>
                      <a:lnTo>
                        <a:pt x="274" y="64"/>
                      </a:lnTo>
                      <a:lnTo>
                        <a:pt x="274" y="60"/>
                      </a:lnTo>
                      <a:lnTo>
                        <a:pt x="274" y="60"/>
                      </a:lnTo>
                      <a:lnTo>
                        <a:pt x="272" y="59"/>
                      </a:lnTo>
                      <a:lnTo>
                        <a:pt x="273" y="58"/>
                      </a:lnTo>
                      <a:lnTo>
                        <a:pt x="271" y="57"/>
                      </a:lnTo>
                      <a:lnTo>
                        <a:pt x="271" y="57"/>
                      </a:lnTo>
                      <a:lnTo>
                        <a:pt x="271" y="57"/>
                      </a:lnTo>
                      <a:lnTo>
                        <a:pt x="271" y="56"/>
                      </a:lnTo>
                      <a:lnTo>
                        <a:pt x="272" y="55"/>
                      </a:lnTo>
                      <a:lnTo>
                        <a:pt x="272" y="54"/>
                      </a:lnTo>
                      <a:lnTo>
                        <a:pt x="271" y="54"/>
                      </a:lnTo>
                      <a:lnTo>
                        <a:pt x="271" y="54"/>
                      </a:lnTo>
                      <a:lnTo>
                        <a:pt x="271" y="52"/>
                      </a:lnTo>
                      <a:lnTo>
                        <a:pt x="271" y="50"/>
                      </a:lnTo>
                      <a:lnTo>
                        <a:pt x="271" y="49"/>
                      </a:lnTo>
                      <a:lnTo>
                        <a:pt x="271" y="48"/>
                      </a:lnTo>
                      <a:lnTo>
                        <a:pt x="272" y="47"/>
                      </a:lnTo>
                      <a:lnTo>
                        <a:pt x="272" y="46"/>
                      </a:lnTo>
                      <a:lnTo>
                        <a:pt x="272" y="45"/>
                      </a:lnTo>
                      <a:lnTo>
                        <a:pt x="275" y="44"/>
                      </a:lnTo>
                      <a:lnTo>
                        <a:pt x="274" y="43"/>
                      </a:lnTo>
                      <a:lnTo>
                        <a:pt x="271" y="43"/>
                      </a:lnTo>
                      <a:lnTo>
                        <a:pt x="271" y="43"/>
                      </a:lnTo>
                      <a:lnTo>
                        <a:pt x="271" y="41"/>
                      </a:lnTo>
                      <a:lnTo>
                        <a:pt x="271" y="40"/>
                      </a:lnTo>
                      <a:lnTo>
                        <a:pt x="271" y="38"/>
                      </a:lnTo>
                      <a:lnTo>
                        <a:pt x="274" y="38"/>
                      </a:lnTo>
                      <a:lnTo>
                        <a:pt x="274" y="36"/>
                      </a:lnTo>
                      <a:lnTo>
                        <a:pt x="275" y="35"/>
                      </a:lnTo>
                      <a:lnTo>
                        <a:pt x="275" y="36"/>
                      </a:lnTo>
                      <a:lnTo>
                        <a:pt x="277" y="36"/>
                      </a:lnTo>
                      <a:lnTo>
                        <a:pt x="277" y="34"/>
                      </a:lnTo>
                      <a:lnTo>
                        <a:pt x="275" y="33"/>
                      </a:lnTo>
                      <a:lnTo>
                        <a:pt x="275" y="32"/>
                      </a:lnTo>
                      <a:lnTo>
                        <a:pt x="274" y="30"/>
                      </a:lnTo>
                      <a:lnTo>
                        <a:pt x="274" y="29"/>
                      </a:lnTo>
                      <a:lnTo>
                        <a:pt x="273" y="26"/>
                      </a:lnTo>
                      <a:lnTo>
                        <a:pt x="272" y="25"/>
                      </a:lnTo>
                      <a:lnTo>
                        <a:pt x="272" y="23"/>
                      </a:lnTo>
                      <a:lnTo>
                        <a:pt x="271" y="22"/>
                      </a:lnTo>
                      <a:lnTo>
                        <a:pt x="271" y="20"/>
                      </a:lnTo>
                      <a:lnTo>
                        <a:pt x="271" y="20"/>
                      </a:lnTo>
                      <a:lnTo>
                        <a:pt x="271" y="19"/>
                      </a:lnTo>
                      <a:lnTo>
                        <a:pt x="270" y="17"/>
                      </a:lnTo>
                      <a:lnTo>
                        <a:pt x="270" y="17"/>
                      </a:lnTo>
                      <a:lnTo>
                        <a:pt x="268" y="16"/>
                      </a:lnTo>
                      <a:lnTo>
                        <a:pt x="264" y="15"/>
                      </a:lnTo>
                      <a:lnTo>
                        <a:pt x="262" y="10"/>
                      </a:lnTo>
                      <a:lnTo>
                        <a:pt x="261" y="10"/>
                      </a:lnTo>
                      <a:lnTo>
                        <a:pt x="261" y="10"/>
                      </a:lnTo>
                      <a:lnTo>
                        <a:pt x="259" y="9"/>
                      </a:lnTo>
                      <a:lnTo>
                        <a:pt x="259" y="8"/>
                      </a:lnTo>
                      <a:lnTo>
                        <a:pt x="258" y="6"/>
                      </a:lnTo>
                      <a:lnTo>
                        <a:pt x="257" y="5"/>
                      </a:lnTo>
                      <a:lnTo>
                        <a:pt x="256" y="5"/>
                      </a:lnTo>
                      <a:lnTo>
                        <a:pt x="254" y="3"/>
                      </a:lnTo>
                      <a:lnTo>
                        <a:pt x="254" y="2"/>
                      </a:lnTo>
                      <a:lnTo>
                        <a:pt x="254" y="1"/>
                      </a:lnTo>
                      <a:lnTo>
                        <a:pt x="254" y="0"/>
                      </a:lnTo>
                      <a:lnTo>
                        <a:pt x="253" y="0"/>
                      </a:lnTo>
                      <a:lnTo>
                        <a:pt x="250" y="0"/>
                      </a:lnTo>
                      <a:lnTo>
                        <a:pt x="250" y="1"/>
                      </a:lnTo>
                      <a:lnTo>
                        <a:pt x="247" y="0"/>
                      </a:lnTo>
                      <a:lnTo>
                        <a:pt x="247" y="0"/>
                      </a:lnTo>
                      <a:lnTo>
                        <a:pt x="244" y="2"/>
                      </a:lnTo>
                      <a:lnTo>
                        <a:pt x="241" y="5"/>
                      </a:lnTo>
                      <a:lnTo>
                        <a:pt x="240" y="5"/>
                      </a:lnTo>
                      <a:lnTo>
                        <a:pt x="239" y="6"/>
                      </a:lnTo>
                      <a:lnTo>
                        <a:pt x="239" y="7"/>
                      </a:lnTo>
                      <a:lnTo>
                        <a:pt x="237" y="9"/>
                      </a:lnTo>
                      <a:lnTo>
                        <a:pt x="235" y="10"/>
                      </a:lnTo>
                      <a:lnTo>
                        <a:pt x="234" y="11"/>
                      </a:lnTo>
                      <a:lnTo>
                        <a:pt x="232" y="12"/>
                      </a:lnTo>
                      <a:lnTo>
                        <a:pt x="231" y="12"/>
                      </a:lnTo>
                      <a:lnTo>
                        <a:pt x="230" y="12"/>
                      </a:lnTo>
                      <a:lnTo>
                        <a:pt x="230" y="13"/>
                      </a:lnTo>
                      <a:lnTo>
                        <a:pt x="229" y="14"/>
                      </a:lnTo>
                      <a:lnTo>
                        <a:pt x="224" y="16"/>
                      </a:lnTo>
                      <a:lnTo>
                        <a:pt x="220" y="16"/>
                      </a:lnTo>
                      <a:lnTo>
                        <a:pt x="218" y="16"/>
                      </a:lnTo>
                      <a:lnTo>
                        <a:pt x="216" y="16"/>
                      </a:lnTo>
                      <a:lnTo>
                        <a:pt x="215" y="17"/>
                      </a:lnTo>
                      <a:lnTo>
                        <a:pt x="215" y="17"/>
                      </a:lnTo>
                      <a:lnTo>
                        <a:pt x="213" y="18"/>
                      </a:lnTo>
                      <a:lnTo>
                        <a:pt x="207" y="19"/>
                      </a:lnTo>
                      <a:lnTo>
                        <a:pt x="207" y="19"/>
                      </a:lnTo>
                      <a:lnTo>
                        <a:pt x="205" y="20"/>
                      </a:lnTo>
                      <a:lnTo>
                        <a:pt x="205" y="21"/>
                      </a:lnTo>
                      <a:lnTo>
                        <a:pt x="202" y="21"/>
                      </a:lnTo>
                      <a:lnTo>
                        <a:pt x="201" y="21"/>
                      </a:lnTo>
                      <a:lnTo>
                        <a:pt x="199" y="21"/>
                      </a:lnTo>
                      <a:lnTo>
                        <a:pt x="196" y="21"/>
                      </a:lnTo>
                      <a:lnTo>
                        <a:pt x="194" y="22"/>
                      </a:lnTo>
                      <a:lnTo>
                        <a:pt x="192" y="22"/>
                      </a:lnTo>
                      <a:lnTo>
                        <a:pt x="190" y="23"/>
                      </a:lnTo>
                      <a:lnTo>
                        <a:pt x="187" y="24"/>
                      </a:lnTo>
                      <a:lnTo>
                        <a:pt x="184" y="26"/>
                      </a:lnTo>
                      <a:lnTo>
                        <a:pt x="184" y="26"/>
                      </a:lnTo>
                      <a:lnTo>
                        <a:pt x="184" y="26"/>
                      </a:lnTo>
                      <a:lnTo>
                        <a:pt x="182" y="29"/>
                      </a:lnTo>
                      <a:lnTo>
                        <a:pt x="177" y="30"/>
                      </a:lnTo>
                      <a:lnTo>
                        <a:pt x="175" y="32"/>
                      </a:lnTo>
                      <a:lnTo>
                        <a:pt x="174" y="33"/>
                      </a:lnTo>
                      <a:lnTo>
                        <a:pt x="173" y="33"/>
                      </a:lnTo>
                      <a:lnTo>
                        <a:pt x="171" y="33"/>
                      </a:lnTo>
                      <a:lnTo>
                        <a:pt x="171" y="34"/>
                      </a:lnTo>
                      <a:lnTo>
                        <a:pt x="169" y="35"/>
                      </a:lnTo>
                      <a:lnTo>
                        <a:pt x="169" y="36"/>
                      </a:lnTo>
                      <a:lnTo>
                        <a:pt x="167" y="36"/>
                      </a:lnTo>
                      <a:lnTo>
                        <a:pt x="167" y="36"/>
                      </a:lnTo>
                      <a:lnTo>
                        <a:pt x="165" y="36"/>
                      </a:lnTo>
                      <a:lnTo>
                        <a:pt x="165" y="36"/>
                      </a:lnTo>
                      <a:lnTo>
                        <a:pt x="164" y="37"/>
                      </a:lnTo>
                      <a:lnTo>
                        <a:pt x="162" y="38"/>
                      </a:lnTo>
                      <a:lnTo>
                        <a:pt x="160" y="38"/>
                      </a:lnTo>
                      <a:lnTo>
                        <a:pt x="158" y="40"/>
                      </a:lnTo>
                      <a:lnTo>
                        <a:pt x="158" y="40"/>
                      </a:lnTo>
                      <a:lnTo>
                        <a:pt x="158" y="40"/>
                      </a:lnTo>
                      <a:lnTo>
                        <a:pt x="157" y="41"/>
                      </a:lnTo>
                      <a:lnTo>
                        <a:pt x="156" y="43"/>
                      </a:lnTo>
                      <a:lnTo>
                        <a:pt x="155" y="48"/>
                      </a:lnTo>
                      <a:lnTo>
                        <a:pt x="154" y="50"/>
                      </a:lnTo>
                      <a:lnTo>
                        <a:pt x="154" y="53"/>
                      </a:lnTo>
                      <a:lnTo>
                        <a:pt x="151" y="58"/>
                      </a:lnTo>
                      <a:lnTo>
                        <a:pt x="149" y="60"/>
                      </a:lnTo>
                      <a:lnTo>
                        <a:pt x="149" y="61"/>
                      </a:lnTo>
                      <a:lnTo>
                        <a:pt x="151" y="64"/>
                      </a:lnTo>
                      <a:lnTo>
                        <a:pt x="151" y="64"/>
                      </a:lnTo>
                      <a:lnTo>
                        <a:pt x="151" y="65"/>
                      </a:lnTo>
                      <a:lnTo>
                        <a:pt x="154" y="67"/>
                      </a:lnTo>
                      <a:lnTo>
                        <a:pt x="159" y="67"/>
                      </a:lnTo>
                      <a:lnTo>
                        <a:pt x="162" y="67"/>
                      </a:lnTo>
                      <a:lnTo>
                        <a:pt x="163" y="69"/>
                      </a:lnTo>
                      <a:lnTo>
                        <a:pt x="165" y="69"/>
                      </a:lnTo>
                      <a:lnTo>
                        <a:pt x="167" y="69"/>
                      </a:lnTo>
                      <a:lnTo>
                        <a:pt x="173" y="69"/>
                      </a:lnTo>
                      <a:lnTo>
                        <a:pt x="173" y="69"/>
                      </a:lnTo>
                      <a:lnTo>
                        <a:pt x="171" y="70"/>
                      </a:lnTo>
                      <a:lnTo>
                        <a:pt x="169" y="71"/>
                      </a:lnTo>
                      <a:lnTo>
                        <a:pt x="167" y="71"/>
                      </a:lnTo>
                      <a:lnTo>
                        <a:pt x="167" y="71"/>
                      </a:lnTo>
                      <a:lnTo>
                        <a:pt x="167" y="71"/>
                      </a:lnTo>
                      <a:lnTo>
                        <a:pt x="167" y="71"/>
                      </a:lnTo>
                      <a:lnTo>
                        <a:pt x="167" y="71"/>
                      </a:lnTo>
                      <a:lnTo>
                        <a:pt x="167" y="71"/>
                      </a:lnTo>
                      <a:lnTo>
                        <a:pt x="165" y="71"/>
                      </a:lnTo>
                      <a:lnTo>
                        <a:pt x="163" y="71"/>
                      </a:lnTo>
                      <a:lnTo>
                        <a:pt x="160" y="71"/>
                      </a:lnTo>
                      <a:lnTo>
                        <a:pt x="158" y="73"/>
                      </a:lnTo>
                      <a:lnTo>
                        <a:pt x="155" y="73"/>
                      </a:lnTo>
                      <a:lnTo>
                        <a:pt x="154" y="73"/>
                      </a:lnTo>
                      <a:lnTo>
                        <a:pt x="154" y="74"/>
                      </a:lnTo>
                      <a:lnTo>
                        <a:pt x="152" y="75"/>
                      </a:lnTo>
                      <a:lnTo>
                        <a:pt x="152" y="75"/>
                      </a:lnTo>
                      <a:lnTo>
                        <a:pt x="151" y="78"/>
                      </a:lnTo>
                      <a:lnTo>
                        <a:pt x="149" y="78"/>
                      </a:lnTo>
                      <a:lnTo>
                        <a:pt x="147" y="80"/>
                      </a:lnTo>
                      <a:lnTo>
                        <a:pt x="146" y="81"/>
                      </a:lnTo>
                      <a:lnTo>
                        <a:pt x="145" y="81"/>
                      </a:lnTo>
                      <a:lnTo>
                        <a:pt x="142" y="83"/>
                      </a:lnTo>
                      <a:lnTo>
                        <a:pt x="141" y="84"/>
                      </a:lnTo>
                      <a:lnTo>
                        <a:pt x="139" y="85"/>
                      </a:lnTo>
                      <a:lnTo>
                        <a:pt x="139" y="85"/>
                      </a:lnTo>
                      <a:lnTo>
                        <a:pt x="137" y="85"/>
                      </a:lnTo>
                      <a:lnTo>
                        <a:pt x="133" y="87"/>
                      </a:lnTo>
                      <a:lnTo>
                        <a:pt x="130" y="87"/>
                      </a:lnTo>
                      <a:lnTo>
                        <a:pt x="127" y="88"/>
                      </a:lnTo>
                      <a:lnTo>
                        <a:pt x="123" y="85"/>
                      </a:lnTo>
                      <a:lnTo>
                        <a:pt x="122" y="85"/>
                      </a:lnTo>
                      <a:lnTo>
                        <a:pt x="120" y="85"/>
                      </a:lnTo>
                      <a:lnTo>
                        <a:pt x="118" y="83"/>
                      </a:lnTo>
                      <a:lnTo>
                        <a:pt x="117" y="81"/>
                      </a:lnTo>
                      <a:lnTo>
                        <a:pt x="115" y="81"/>
                      </a:lnTo>
                      <a:lnTo>
                        <a:pt x="113" y="81"/>
                      </a:lnTo>
                      <a:lnTo>
                        <a:pt x="111" y="81"/>
                      </a:lnTo>
                      <a:lnTo>
                        <a:pt x="109" y="81"/>
                      </a:lnTo>
                      <a:lnTo>
                        <a:pt x="108" y="80"/>
                      </a:lnTo>
                      <a:lnTo>
                        <a:pt x="106" y="79"/>
                      </a:lnTo>
                      <a:lnTo>
                        <a:pt x="103" y="78"/>
                      </a:lnTo>
                      <a:lnTo>
                        <a:pt x="101" y="79"/>
                      </a:lnTo>
                      <a:lnTo>
                        <a:pt x="99" y="79"/>
                      </a:lnTo>
                      <a:lnTo>
                        <a:pt x="98" y="80"/>
                      </a:lnTo>
                      <a:lnTo>
                        <a:pt x="97" y="79"/>
                      </a:lnTo>
                      <a:lnTo>
                        <a:pt x="96" y="79"/>
                      </a:lnTo>
                      <a:lnTo>
                        <a:pt x="94" y="78"/>
                      </a:lnTo>
                      <a:lnTo>
                        <a:pt x="90" y="78"/>
                      </a:lnTo>
                      <a:lnTo>
                        <a:pt x="89" y="78"/>
                      </a:lnTo>
                      <a:lnTo>
                        <a:pt x="85" y="78"/>
                      </a:lnTo>
                      <a:lnTo>
                        <a:pt x="82" y="77"/>
                      </a:lnTo>
                      <a:lnTo>
                        <a:pt x="79" y="76"/>
                      </a:lnTo>
                      <a:lnTo>
                        <a:pt x="79" y="75"/>
                      </a:lnTo>
                      <a:lnTo>
                        <a:pt x="75" y="73"/>
                      </a:lnTo>
                      <a:lnTo>
                        <a:pt x="75" y="73"/>
                      </a:lnTo>
                      <a:lnTo>
                        <a:pt x="72" y="72"/>
                      </a:lnTo>
                      <a:lnTo>
                        <a:pt x="70" y="72"/>
                      </a:lnTo>
                      <a:lnTo>
                        <a:pt x="68" y="72"/>
                      </a:lnTo>
                      <a:lnTo>
                        <a:pt x="67" y="73"/>
                      </a:lnTo>
                      <a:lnTo>
                        <a:pt x="65" y="72"/>
                      </a:lnTo>
                      <a:lnTo>
                        <a:pt x="62" y="73"/>
                      </a:lnTo>
                      <a:lnTo>
                        <a:pt x="62" y="73"/>
                      </a:lnTo>
                      <a:lnTo>
                        <a:pt x="61" y="75"/>
                      </a:lnTo>
                      <a:lnTo>
                        <a:pt x="61" y="77"/>
                      </a:lnTo>
                      <a:lnTo>
                        <a:pt x="61" y="78"/>
                      </a:lnTo>
                      <a:lnTo>
                        <a:pt x="58" y="78"/>
                      </a:lnTo>
                      <a:lnTo>
                        <a:pt x="58" y="78"/>
                      </a:lnTo>
                      <a:lnTo>
                        <a:pt x="58" y="77"/>
                      </a:lnTo>
                      <a:lnTo>
                        <a:pt x="58" y="76"/>
                      </a:lnTo>
                      <a:lnTo>
                        <a:pt x="58" y="75"/>
                      </a:lnTo>
                      <a:lnTo>
                        <a:pt x="56" y="75"/>
                      </a:lnTo>
                      <a:lnTo>
                        <a:pt x="55" y="75"/>
                      </a:lnTo>
                      <a:lnTo>
                        <a:pt x="55" y="75"/>
                      </a:lnTo>
                      <a:lnTo>
                        <a:pt x="55" y="75"/>
                      </a:lnTo>
                      <a:lnTo>
                        <a:pt x="57" y="71"/>
                      </a:lnTo>
                      <a:lnTo>
                        <a:pt x="56" y="68"/>
                      </a:lnTo>
                      <a:lnTo>
                        <a:pt x="55" y="67"/>
                      </a:lnTo>
                      <a:lnTo>
                        <a:pt x="55" y="67"/>
                      </a:lnTo>
                      <a:lnTo>
                        <a:pt x="54" y="66"/>
                      </a:lnTo>
                      <a:lnTo>
                        <a:pt x="53" y="64"/>
                      </a:lnTo>
                      <a:lnTo>
                        <a:pt x="52" y="64"/>
                      </a:lnTo>
                      <a:lnTo>
                        <a:pt x="52" y="63"/>
                      </a:lnTo>
                      <a:lnTo>
                        <a:pt x="51" y="61"/>
                      </a:lnTo>
                      <a:lnTo>
                        <a:pt x="50" y="59"/>
                      </a:lnTo>
                      <a:lnTo>
                        <a:pt x="49" y="58"/>
                      </a:lnTo>
                      <a:lnTo>
                        <a:pt x="48" y="57"/>
                      </a:lnTo>
                      <a:lnTo>
                        <a:pt x="48" y="55"/>
                      </a:lnTo>
                      <a:lnTo>
                        <a:pt x="47" y="54"/>
                      </a:lnTo>
                      <a:lnTo>
                        <a:pt x="47" y="52"/>
                      </a:lnTo>
                      <a:lnTo>
                        <a:pt x="48" y="50"/>
                      </a:lnTo>
                      <a:lnTo>
                        <a:pt x="48" y="49"/>
                      </a:lnTo>
                      <a:lnTo>
                        <a:pt x="50" y="49"/>
                      </a:lnTo>
                      <a:lnTo>
                        <a:pt x="50" y="48"/>
                      </a:lnTo>
                      <a:lnTo>
                        <a:pt x="51" y="46"/>
                      </a:lnTo>
                      <a:lnTo>
                        <a:pt x="53" y="47"/>
                      </a:lnTo>
                      <a:lnTo>
                        <a:pt x="53" y="44"/>
                      </a:lnTo>
                      <a:lnTo>
                        <a:pt x="52" y="43"/>
                      </a:lnTo>
                      <a:lnTo>
                        <a:pt x="53" y="42"/>
                      </a:lnTo>
                      <a:lnTo>
                        <a:pt x="51" y="40"/>
                      </a:lnTo>
                      <a:lnTo>
                        <a:pt x="51" y="39"/>
                      </a:lnTo>
                      <a:lnTo>
                        <a:pt x="50" y="39"/>
                      </a:lnTo>
                      <a:lnTo>
                        <a:pt x="51" y="36"/>
                      </a:lnTo>
                      <a:lnTo>
                        <a:pt x="48" y="36"/>
                      </a:lnTo>
                      <a:lnTo>
                        <a:pt x="46" y="36"/>
                      </a:lnTo>
                      <a:lnTo>
                        <a:pt x="45" y="36"/>
                      </a:lnTo>
                      <a:lnTo>
                        <a:pt x="44" y="35"/>
                      </a:lnTo>
                      <a:lnTo>
                        <a:pt x="40" y="36"/>
                      </a:lnTo>
                      <a:lnTo>
                        <a:pt x="39" y="36"/>
                      </a:lnTo>
                      <a:lnTo>
                        <a:pt x="37" y="36"/>
                      </a:lnTo>
                      <a:lnTo>
                        <a:pt x="35" y="36"/>
                      </a:lnTo>
                      <a:lnTo>
                        <a:pt x="34" y="39"/>
                      </a:lnTo>
                      <a:lnTo>
                        <a:pt x="33" y="39"/>
                      </a:lnTo>
                      <a:lnTo>
                        <a:pt x="31" y="40"/>
                      </a:lnTo>
                      <a:lnTo>
                        <a:pt x="30" y="40"/>
                      </a:lnTo>
                      <a:lnTo>
                        <a:pt x="28" y="40"/>
                      </a:lnTo>
                      <a:lnTo>
                        <a:pt x="25" y="41"/>
                      </a:lnTo>
                      <a:lnTo>
                        <a:pt x="24" y="41"/>
                      </a:lnTo>
                      <a:lnTo>
                        <a:pt x="24" y="39"/>
                      </a:lnTo>
                      <a:lnTo>
                        <a:pt x="22" y="39"/>
                      </a:lnTo>
                      <a:lnTo>
                        <a:pt x="20" y="39"/>
                      </a:lnTo>
                      <a:lnTo>
                        <a:pt x="20" y="39"/>
                      </a:lnTo>
                      <a:lnTo>
                        <a:pt x="20" y="38"/>
                      </a:lnTo>
                      <a:lnTo>
                        <a:pt x="18" y="38"/>
                      </a:lnTo>
                      <a:lnTo>
                        <a:pt x="17" y="36"/>
                      </a:lnTo>
                      <a:lnTo>
                        <a:pt x="13" y="36"/>
                      </a:lnTo>
                      <a:lnTo>
                        <a:pt x="10" y="36"/>
                      </a:lnTo>
                      <a:lnTo>
                        <a:pt x="9" y="35"/>
                      </a:lnTo>
                      <a:lnTo>
                        <a:pt x="8" y="33"/>
                      </a:lnTo>
                      <a:lnTo>
                        <a:pt x="7" y="33"/>
                      </a:lnTo>
                      <a:lnTo>
                        <a:pt x="7" y="32"/>
                      </a:lnTo>
                      <a:lnTo>
                        <a:pt x="6" y="33"/>
                      </a:lnTo>
                      <a:lnTo>
                        <a:pt x="4" y="33"/>
                      </a:lnTo>
                      <a:lnTo>
                        <a:pt x="3" y="30"/>
                      </a:lnTo>
                      <a:lnTo>
                        <a:pt x="2" y="30"/>
                      </a:lnTo>
                      <a:lnTo>
                        <a:pt x="1" y="30"/>
                      </a:lnTo>
                      <a:lnTo>
                        <a:pt x="0" y="33"/>
                      </a:lnTo>
                      <a:lnTo>
                        <a:pt x="1" y="34"/>
                      </a:lnTo>
                      <a:lnTo>
                        <a:pt x="0" y="36"/>
                      </a:lnTo>
                      <a:lnTo>
                        <a:pt x="4" y="37"/>
                      </a:lnTo>
                      <a:lnTo>
                        <a:pt x="5" y="38"/>
                      </a:lnTo>
                      <a:lnTo>
                        <a:pt x="6" y="39"/>
                      </a:lnTo>
                      <a:lnTo>
                        <a:pt x="7" y="39"/>
                      </a:lnTo>
                      <a:lnTo>
                        <a:pt x="7" y="40"/>
                      </a:lnTo>
                      <a:lnTo>
                        <a:pt x="7" y="43"/>
                      </a:lnTo>
                      <a:lnTo>
                        <a:pt x="7" y="45"/>
                      </a:lnTo>
                      <a:lnTo>
                        <a:pt x="7" y="47"/>
                      </a:lnTo>
                      <a:lnTo>
                        <a:pt x="7" y="49"/>
                      </a:lnTo>
                      <a:lnTo>
                        <a:pt x="6" y="50"/>
                      </a:lnTo>
                      <a:lnTo>
                        <a:pt x="5" y="51"/>
                      </a:lnTo>
                      <a:lnTo>
                        <a:pt x="4" y="53"/>
                      </a:lnTo>
                      <a:lnTo>
                        <a:pt x="5" y="54"/>
                      </a:lnTo>
                      <a:lnTo>
                        <a:pt x="6" y="55"/>
                      </a:lnTo>
                      <a:lnTo>
                        <a:pt x="7" y="56"/>
                      </a:lnTo>
                      <a:lnTo>
                        <a:pt x="7" y="57"/>
                      </a:lnTo>
                      <a:lnTo>
                        <a:pt x="7" y="60"/>
                      </a:lnTo>
                      <a:lnTo>
                        <a:pt x="7" y="60"/>
                      </a:lnTo>
                      <a:lnTo>
                        <a:pt x="7" y="64"/>
                      </a:lnTo>
                      <a:lnTo>
                        <a:pt x="7" y="67"/>
                      </a:lnTo>
                      <a:lnTo>
                        <a:pt x="7" y="68"/>
                      </a:lnTo>
                      <a:lnTo>
                        <a:pt x="8" y="71"/>
                      </a:lnTo>
                      <a:lnTo>
                        <a:pt x="8" y="71"/>
                      </a:lnTo>
                      <a:lnTo>
                        <a:pt x="11" y="71"/>
                      </a:lnTo>
                      <a:lnTo>
                        <a:pt x="12" y="73"/>
                      </a:lnTo>
                      <a:lnTo>
                        <a:pt x="13" y="74"/>
                      </a:lnTo>
                      <a:lnTo>
                        <a:pt x="13" y="74"/>
                      </a:lnTo>
                      <a:lnTo>
                        <a:pt x="15" y="77"/>
                      </a:lnTo>
                      <a:lnTo>
                        <a:pt x="16" y="78"/>
                      </a:lnTo>
                      <a:lnTo>
                        <a:pt x="16" y="78"/>
                      </a:lnTo>
                      <a:lnTo>
                        <a:pt x="17" y="79"/>
                      </a:lnTo>
                      <a:lnTo>
                        <a:pt x="17" y="81"/>
                      </a:lnTo>
                      <a:lnTo>
                        <a:pt x="17" y="81"/>
                      </a:lnTo>
                      <a:lnTo>
                        <a:pt x="18" y="84"/>
                      </a:lnTo>
                      <a:lnTo>
                        <a:pt x="19" y="85"/>
                      </a:lnTo>
                      <a:lnTo>
                        <a:pt x="20" y="88"/>
                      </a:lnTo>
                      <a:lnTo>
                        <a:pt x="21" y="90"/>
                      </a:lnTo>
                      <a:lnTo>
                        <a:pt x="22" y="90"/>
                      </a:lnTo>
                      <a:lnTo>
                        <a:pt x="22" y="92"/>
                      </a:lnTo>
                      <a:lnTo>
                        <a:pt x="23" y="94"/>
                      </a:lnTo>
                      <a:lnTo>
                        <a:pt x="23" y="98"/>
                      </a:lnTo>
                      <a:lnTo>
                        <a:pt x="23" y="99"/>
                      </a:lnTo>
                      <a:lnTo>
                        <a:pt x="22" y="102"/>
                      </a:lnTo>
                      <a:lnTo>
                        <a:pt x="22" y="105"/>
                      </a:lnTo>
                      <a:lnTo>
                        <a:pt x="22" y="109"/>
                      </a:lnTo>
                      <a:lnTo>
                        <a:pt x="22" y="109"/>
                      </a:lnTo>
                      <a:lnTo>
                        <a:pt x="24" y="116"/>
                      </a:lnTo>
                      <a:lnTo>
                        <a:pt x="24" y="114"/>
                      </a:lnTo>
                      <a:lnTo>
                        <a:pt x="25" y="114"/>
                      </a:lnTo>
                      <a:lnTo>
                        <a:pt x="25" y="114"/>
                      </a:lnTo>
                      <a:lnTo>
                        <a:pt x="25" y="116"/>
                      </a:lnTo>
                      <a:lnTo>
                        <a:pt x="25" y="117"/>
                      </a:lnTo>
                      <a:lnTo>
                        <a:pt x="25" y="119"/>
                      </a:lnTo>
                      <a:lnTo>
                        <a:pt x="25" y="121"/>
                      </a:lnTo>
                      <a:lnTo>
                        <a:pt x="24" y="122"/>
                      </a:lnTo>
                      <a:lnTo>
                        <a:pt x="25" y="122"/>
                      </a:lnTo>
                      <a:lnTo>
                        <a:pt x="24" y="123"/>
                      </a:lnTo>
                      <a:lnTo>
                        <a:pt x="24" y="126"/>
                      </a:lnTo>
                      <a:lnTo>
                        <a:pt x="24" y="127"/>
                      </a:lnTo>
                      <a:lnTo>
                        <a:pt x="24" y="129"/>
                      </a:lnTo>
                      <a:lnTo>
                        <a:pt x="23" y="131"/>
                      </a:lnTo>
                      <a:lnTo>
                        <a:pt x="22" y="133"/>
                      </a:lnTo>
                      <a:lnTo>
                        <a:pt x="20" y="133"/>
                      </a:lnTo>
                      <a:lnTo>
                        <a:pt x="21" y="134"/>
                      </a:lnTo>
                      <a:lnTo>
                        <a:pt x="22" y="134"/>
                      </a:lnTo>
                      <a:lnTo>
                        <a:pt x="23" y="136"/>
                      </a:lnTo>
                      <a:lnTo>
                        <a:pt x="23" y="140"/>
                      </a:lnTo>
                      <a:lnTo>
                        <a:pt x="22" y="144"/>
                      </a:lnTo>
                      <a:lnTo>
                        <a:pt x="24" y="145"/>
                      </a:lnTo>
                      <a:lnTo>
                        <a:pt x="26" y="146"/>
                      </a:lnTo>
                      <a:lnTo>
                        <a:pt x="27" y="148"/>
                      </a:lnTo>
                      <a:lnTo>
                        <a:pt x="27" y="150"/>
                      </a:lnTo>
                      <a:lnTo>
                        <a:pt x="27" y="152"/>
                      </a:lnTo>
                      <a:lnTo>
                        <a:pt x="28" y="153"/>
                      </a:lnTo>
                      <a:lnTo>
                        <a:pt x="31" y="153"/>
                      </a:lnTo>
                      <a:lnTo>
                        <a:pt x="31" y="153"/>
                      </a:lnTo>
                      <a:lnTo>
                        <a:pt x="31" y="154"/>
                      </a:lnTo>
                      <a:lnTo>
                        <a:pt x="33" y="155"/>
                      </a:lnTo>
                      <a:lnTo>
                        <a:pt x="33" y="154"/>
                      </a:lnTo>
                      <a:lnTo>
                        <a:pt x="34" y="153"/>
                      </a:lnTo>
                      <a:lnTo>
                        <a:pt x="34" y="155"/>
                      </a:lnTo>
                      <a:lnTo>
                        <a:pt x="38" y="157"/>
                      </a:lnTo>
                      <a:lnTo>
                        <a:pt x="38" y="158"/>
                      </a:lnTo>
                      <a:lnTo>
                        <a:pt x="36" y="157"/>
                      </a:lnTo>
                      <a:lnTo>
                        <a:pt x="33" y="157"/>
                      </a:lnTo>
                      <a:lnTo>
                        <a:pt x="31" y="157"/>
                      </a:lnTo>
                      <a:lnTo>
                        <a:pt x="31" y="158"/>
                      </a:lnTo>
                      <a:lnTo>
                        <a:pt x="30" y="157"/>
                      </a:lnTo>
                      <a:lnTo>
                        <a:pt x="28" y="158"/>
                      </a:lnTo>
                      <a:lnTo>
                        <a:pt x="27" y="158"/>
                      </a:lnTo>
                      <a:lnTo>
                        <a:pt x="27" y="157"/>
                      </a:lnTo>
                      <a:lnTo>
                        <a:pt x="26" y="157"/>
                      </a:lnTo>
                      <a:lnTo>
                        <a:pt x="26" y="157"/>
                      </a:lnTo>
                      <a:lnTo>
                        <a:pt x="24" y="157"/>
                      </a:lnTo>
                      <a:lnTo>
                        <a:pt x="22" y="157"/>
                      </a:lnTo>
                      <a:lnTo>
                        <a:pt x="22" y="159"/>
                      </a:lnTo>
                      <a:lnTo>
                        <a:pt x="23" y="160"/>
                      </a:lnTo>
                      <a:lnTo>
                        <a:pt x="24" y="161"/>
                      </a:lnTo>
                      <a:lnTo>
                        <a:pt x="24" y="163"/>
                      </a:lnTo>
                      <a:lnTo>
                        <a:pt x="25" y="163"/>
                      </a:lnTo>
                      <a:lnTo>
                        <a:pt x="25" y="165"/>
                      </a:lnTo>
                      <a:lnTo>
                        <a:pt x="25" y="165"/>
                      </a:lnTo>
                      <a:lnTo>
                        <a:pt x="25" y="167"/>
                      </a:lnTo>
                      <a:lnTo>
                        <a:pt x="25" y="169"/>
                      </a:lnTo>
                      <a:lnTo>
                        <a:pt x="26" y="169"/>
                      </a:lnTo>
                      <a:lnTo>
                        <a:pt x="27" y="172"/>
                      </a:lnTo>
                      <a:lnTo>
                        <a:pt x="27" y="174"/>
                      </a:lnTo>
                      <a:lnTo>
                        <a:pt x="28" y="174"/>
                      </a:lnTo>
                      <a:lnTo>
                        <a:pt x="31" y="174"/>
                      </a:lnTo>
                      <a:lnTo>
                        <a:pt x="31" y="175"/>
                      </a:lnTo>
                      <a:lnTo>
                        <a:pt x="32" y="178"/>
                      </a:lnTo>
                      <a:lnTo>
                        <a:pt x="34" y="178"/>
                      </a:lnTo>
                      <a:lnTo>
                        <a:pt x="35" y="178"/>
                      </a:lnTo>
                      <a:lnTo>
                        <a:pt x="38" y="176"/>
                      </a:lnTo>
                      <a:lnTo>
                        <a:pt x="38" y="175"/>
                      </a:lnTo>
                      <a:lnTo>
                        <a:pt x="38" y="174"/>
                      </a:lnTo>
                      <a:lnTo>
                        <a:pt x="40" y="174"/>
                      </a:lnTo>
                      <a:lnTo>
                        <a:pt x="40" y="173"/>
                      </a:lnTo>
                      <a:lnTo>
                        <a:pt x="42" y="173"/>
                      </a:lnTo>
                      <a:lnTo>
                        <a:pt x="43" y="172"/>
                      </a:lnTo>
                      <a:lnTo>
                        <a:pt x="44" y="172"/>
                      </a:lnTo>
                      <a:lnTo>
                        <a:pt x="44" y="170"/>
                      </a:lnTo>
                      <a:lnTo>
                        <a:pt x="44" y="169"/>
                      </a:lnTo>
                      <a:lnTo>
                        <a:pt x="46" y="168"/>
                      </a:lnTo>
                      <a:lnTo>
                        <a:pt x="48" y="170"/>
                      </a:lnTo>
                      <a:lnTo>
                        <a:pt x="50" y="169"/>
                      </a:lnTo>
                      <a:lnTo>
                        <a:pt x="51" y="170"/>
                      </a:lnTo>
                      <a:lnTo>
                        <a:pt x="52" y="170"/>
                      </a:lnTo>
                      <a:lnTo>
                        <a:pt x="53" y="172"/>
                      </a:lnTo>
                      <a:lnTo>
                        <a:pt x="55" y="172"/>
                      </a:lnTo>
                      <a:lnTo>
                        <a:pt x="56" y="172"/>
                      </a:lnTo>
                      <a:lnTo>
                        <a:pt x="58" y="173"/>
                      </a:lnTo>
                      <a:lnTo>
                        <a:pt x="59" y="173"/>
                      </a:lnTo>
                      <a:lnTo>
                        <a:pt x="61" y="173"/>
                      </a:lnTo>
                      <a:lnTo>
                        <a:pt x="63" y="174"/>
                      </a:lnTo>
                      <a:lnTo>
                        <a:pt x="64" y="175"/>
                      </a:lnTo>
                      <a:lnTo>
                        <a:pt x="67" y="174"/>
                      </a:lnTo>
                      <a:lnTo>
                        <a:pt x="69" y="173"/>
                      </a:lnTo>
                      <a:lnTo>
                        <a:pt x="69" y="173"/>
                      </a:lnTo>
                      <a:lnTo>
                        <a:pt x="71" y="174"/>
                      </a:lnTo>
                      <a:lnTo>
                        <a:pt x="72" y="175"/>
                      </a:lnTo>
                      <a:lnTo>
                        <a:pt x="75" y="174"/>
                      </a:lnTo>
                      <a:lnTo>
                        <a:pt x="78" y="176"/>
                      </a:lnTo>
                      <a:lnTo>
                        <a:pt x="79" y="178"/>
                      </a:lnTo>
                      <a:lnTo>
                        <a:pt x="79" y="178"/>
                      </a:lnTo>
                      <a:lnTo>
                        <a:pt x="79" y="181"/>
                      </a:lnTo>
                      <a:lnTo>
                        <a:pt x="81" y="178"/>
                      </a:lnTo>
                      <a:lnTo>
                        <a:pt x="81" y="181"/>
                      </a:lnTo>
                      <a:lnTo>
                        <a:pt x="82" y="182"/>
                      </a:lnTo>
                      <a:lnTo>
                        <a:pt x="86" y="181"/>
                      </a:lnTo>
                      <a:lnTo>
                        <a:pt x="86" y="181"/>
                      </a:lnTo>
                      <a:lnTo>
                        <a:pt x="85" y="180"/>
                      </a:lnTo>
                      <a:lnTo>
                        <a:pt x="85" y="178"/>
                      </a:lnTo>
                      <a:lnTo>
                        <a:pt x="86" y="178"/>
                      </a:lnTo>
                      <a:lnTo>
                        <a:pt x="89" y="178"/>
                      </a:lnTo>
                      <a:lnTo>
                        <a:pt x="90" y="178"/>
                      </a:lnTo>
                      <a:lnTo>
                        <a:pt x="90" y="178"/>
                      </a:lnTo>
                      <a:lnTo>
                        <a:pt x="91" y="181"/>
                      </a:lnTo>
                      <a:lnTo>
                        <a:pt x="91" y="182"/>
                      </a:lnTo>
                      <a:lnTo>
                        <a:pt x="96" y="178"/>
                      </a:lnTo>
                      <a:lnTo>
                        <a:pt x="98" y="178"/>
                      </a:lnTo>
                      <a:lnTo>
                        <a:pt x="98" y="178"/>
                      </a:lnTo>
                      <a:lnTo>
                        <a:pt x="99" y="178"/>
                      </a:lnTo>
                      <a:lnTo>
                        <a:pt x="100" y="177"/>
                      </a:lnTo>
                      <a:lnTo>
                        <a:pt x="100" y="176"/>
                      </a:lnTo>
                      <a:lnTo>
                        <a:pt x="103" y="175"/>
                      </a:lnTo>
                      <a:lnTo>
                        <a:pt x="103" y="175"/>
                      </a:lnTo>
                      <a:lnTo>
                        <a:pt x="106" y="174"/>
                      </a:lnTo>
                      <a:lnTo>
                        <a:pt x="108" y="174"/>
                      </a:lnTo>
                      <a:lnTo>
                        <a:pt x="111" y="174"/>
                      </a:lnTo>
                      <a:lnTo>
                        <a:pt x="111" y="176"/>
                      </a:lnTo>
                      <a:lnTo>
                        <a:pt x="113" y="176"/>
                      </a:lnTo>
                      <a:lnTo>
                        <a:pt x="113" y="178"/>
                      </a:lnTo>
                      <a:lnTo>
                        <a:pt x="114" y="178"/>
                      </a:lnTo>
                      <a:lnTo>
                        <a:pt x="113" y="177"/>
                      </a:lnTo>
                      <a:lnTo>
                        <a:pt x="113" y="176"/>
                      </a:lnTo>
                      <a:lnTo>
                        <a:pt x="115" y="176"/>
                      </a:lnTo>
                      <a:lnTo>
                        <a:pt x="117" y="174"/>
                      </a:lnTo>
                      <a:lnTo>
                        <a:pt x="117" y="174"/>
                      </a:lnTo>
                      <a:lnTo>
                        <a:pt x="119" y="174"/>
                      </a:lnTo>
                      <a:lnTo>
                        <a:pt x="120" y="174"/>
                      </a:lnTo>
                      <a:lnTo>
                        <a:pt x="120" y="174"/>
                      </a:lnTo>
                      <a:lnTo>
                        <a:pt x="123" y="172"/>
                      </a:lnTo>
                      <a:lnTo>
                        <a:pt x="122" y="171"/>
                      </a:lnTo>
                      <a:lnTo>
                        <a:pt x="123" y="169"/>
                      </a:lnTo>
                      <a:lnTo>
                        <a:pt x="127" y="170"/>
                      </a:lnTo>
                      <a:lnTo>
                        <a:pt x="130" y="174"/>
                      </a:lnTo>
                      <a:lnTo>
                        <a:pt x="127" y="175"/>
                      </a:lnTo>
                      <a:lnTo>
                        <a:pt x="127" y="176"/>
                      </a:lnTo>
                      <a:lnTo>
                        <a:pt x="128" y="178"/>
                      </a:lnTo>
                      <a:lnTo>
                        <a:pt x="128" y="180"/>
                      </a:lnTo>
                      <a:lnTo>
                        <a:pt x="130" y="182"/>
                      </a:lnTo>
                      <a:lnTo>
                        <a:pt x="132" y="182"/>
                      </a:lnTo>
                      <a:lnTo>
                        <a:pt x="134" y="182"/>
                      </a:lnTo>
                      <a:lnTo>
                        <a:pt x="136" y="182"/>
                      </a:lnTo>
                      <a:lnTo>
                        <a:pt x="137" y="182"/>
                      </a:lnTo>
                      <a:lnTo>
                        <a:pt x="136" y="184"/>
                      </a:lnTo>
                      <a:lnTo>
                        <a:pt x="136" y="185"/>
                      </a:lnTo>
                      <a:lnTo>
                        <a:pt x="136" y="189"/>
                      </a:lnTo>
                      <a:lnTo>
                        <a:pt x="136" y="191"/>
                      </a:lnTo>
                      <a:lnTo>
                        <a:pt x="139" y="191"/>
                      </a:lnTo>
                      <a:lnTo>
                        <a:pt x="139" y="189"/>
                      </a:lnTo>
                      <a:lnTo>
                        <a:pt x="141" y="189"/>
                      </a:lnTo>
                      <a:lnTo>
                        <a:pt x="142" y="191"/>
                      </a:lnTo>
                      <a:lnTo>
                        <a:pt x="144" y="191"/>
                      </a:lnTo>
                      <a:lnTo>
                        <a:pt x="145" y="191"/>
                      </a:lnTo>
                      <a:lnTo>
                        <a:pt x="146" y="188"/>
                      </a:lnTo>
                      <a:lnTo>
                        <a:pt x="147" y="188"/>
                      </a:lnTo>
                      <a:lnTo>
                        <a:pt x="147" y="188"/>
                      </a:lnTo>
                      <a:lnTo>
                        <a:pt x="149" y="185"/>
                      </a:lnTo>
                      <a:lnTo>
                        <a:pt x="149" y="184"/>
                      </a:lnTo>
                      <a:lnTo>
                        <a:pt x="152" y="184"/>
                      </a:lnTo>
                      <a:lnTo>
                        <a:pt x="152" y="184"/>
                      </a:lnTo>
                      <a:lnTo>
                        <a:pt x="152" y="183"/>
                      </a:lnTo>
                      <a:lnTo>
                        <a:pt x="152" y="182"/>
                      </a:lnTo>
                      <a:lnTo>
                        <a:pt x="152" y="182"/>
                      </a:lnTo>
                      <a:lnTo>
                        <a:pt x="154" y="183"/>
                      </a:lnTo>
                      <a:lnTo>
                        <a:pt x="154" y="182"/>
                      </a:lnTo>
                      <a:lnTo>
                        <a:pt x="154" y="181"/>
                      </a:lnTo>
                      <a:lnTo>
                        <a:pt x="155" y="181"/>
                      </a:lnTo>
                      <a:lnTo>
                        <a:pt x="157" y="181"/>
                      </a:lnTo>
                      <a:lnTo>
                        <a:pt x="158" y="181"/>
                      </a:lnTo>
                      <a:lnTo>
                        <a:pt x="161" y="181"/>
                      </a:lnTo>
                      <a:lnTo>
                        <a:pt x="161" y="180"/>
                      </a:lnTo>
                      <a:lnTo>
                        <a:pt x="163" y="180"/>
                      </a:lnTo>
                      <a:lnTo>
                        <a:pt x="165" y="181"/>
                      </a:lnTo>
                      <a:lnTo>
                        <a:pt x="167" y="182"/>
                      </a:lnTo>
                      <a:lnTo>
                        <a:pt x="168" y="182"/>
                      </a:lnTo>
                      <a:lnTo>
                        <a:pt x="168" y="183"/>
                      </a:lnTo>
                      <a:lnTo>
                        <a:pt x="169" y="184"/>
                      </a:lnTo>
                      <a:lnTo>
                        <a:pt x="169" y="186"/>
                      </a:lnTo>
                      <a:lnTo>
                        <a:pt x="169" y="188"/>
                      </a:lnTo>
                      <a:lnTo>
                        <a:pt x="169" y="188"/>
                      </a:lnTo>
                      <a:lnTo>
                        <a:pt x="169" y="189"/>
                      </a:lnTo>
                      <a:lnTo>
                        <a:pt x="169" y="191"/>
                      </a:lnTo>
                      <a:lnTo>
                        <a:pt x="169" y="191"/>
                      </a:lnTo>
                      <a:lnTo>
                        <a:pt x="169" y="193"/>
                      </a:lnTo>
                      <a:lnTo>
                        <a:pt x="169" y="195"/>
                      </a:lnTo>
                      <a:lnTo>
                        <a:pt x="169" y="196"/>
                      </a:lnTo>
                      <a:lnTo>
                        <a:pt x="171" y="198"/>
                      </a:lnTo>
                      <a:lnTo>
                        <a:pt x="171" y="198"/>
                      </a:lnTo>
                      <a:lnTo>
                        <a:pt x="173" y="198"/>
                      </a:lnTo>
                      <a:lnTo>
                        <a:pt x="174" y="201"/>
                      </a:lnTo>
                      <a:lnTo>
                        <a:pt x="176" y="201"/>
                      </a:lnTo>
                      <a:lnTo>
                        <a:pt x="177" y="201"/>
                      </a:lnTo>
                      <a:lnTo>
                        <a:pt x="177" y="201"/>
                      </a:lnTo>
                      <a:lnTo>
                        <a:pt x="178" y="201"/>
                      </a:lnTo>
                      <a:lnTo>
                        <a:pt x="178" y="202"/>
                      </a:lnTo>
                      <a:lnTo>
                        <a:pt x="178" y="202"/>
                      </a:lnTo>
                      <a:lnTo>
                        <a:pt x="179" y="205"/>
                      </a:lnTo>
                      <a:lnTo>
                        <a:pt x="180" y="205"/>
                      </a:lnTo>
                      <a:lnTo>
                        <a:pt x="182" y="207"/>
                      </a:lnTo>
                      <a:lnTo>
                        <a:pt x="184" y="207"/>
                      </a:lnTo>
                      <a:lnTo>
                        <a:pt x="185" y="207"/>
                      </a:lnTo>
                      <a:lnTo>
                        <a:pt x="187" y="209"/>
                      </a:lnTo>
                      <a:lnTo>
                        <a:pt x="187" y="209"/>
                      </a:lnTo>
                      <a:lnTo>
                        <a:pt x="189" y="209"/>
                      </a:lnTo>
                      <a:lnTo>
                        <a:pt x="188" y="206"/>
                      </a:lnTo>
                      <a:lnTo>
                        <a:pt x="191" y="205"/>
                      </a:lnTo>
                      <a:lnTo>
                        <a:pt x="192" y="206"/>
                      </a:lnTo>
                      <a:lnTo>
                        <a:pt x="192" y="209"/>
                      </a:lnTo>
                      <a:lnTo>
                        <a:pt x="193" y="209"/>
                      </a:lnTo>
                      <a:lnTo>
                        <a:pt x="194" y="211"/>
                      </a:lnTo>
                      <a:lnTo>
                        <a:pt x="195" y="212"/>
                      </a:lnTo>
                      <a:lnTo>
                        <a:pt x="196" y="213"/>
                      </a:lnTo>
                      <a:lnTo>
                        <a:pt x="196" y="213"/>
                      </a:lnTo>
                      <a:lnTo>
                        <a:pt x="196" y="214"/>
                      </a:lnTo>
                      <a:lnTo>
                        <a:pt x="198" y="215"/>
                      </a:lnTo>
                      <a:lnTo>
                        <a:pt x="199" y="214"/>
                      </a:lnTo>
                      <a:lnTo>
                        <a:pt x="200" y="214"/>
                      </a:lnTo>
                      <a:lnTo>
                        <a:pt x="202" y="213"/>
                      </a:lnTo>
                      <a:lnTo>
                        <a:pt x="202" y="211"/>
                      </a:lnTo>
                      <a:lnTo>
                        <a:pt x="202" y="210"/>
                      </a:lnTo>
                      <a:lnTo>
                        <a:pt x="202" y="209"/>
                      </a:lnTo>
                      <a:lnTo>
                        <a:pt x="200" y="205"/>
                      </a:lnTo>
                      <a:lnTo>
                        <a:pt x="200" y="204"/>
                      </a:lnTo>
                      <a:lnTo>
                        <a:pt x="202" y="202"/>
                      </a:lnTo>
                      <a:lnTo>
                        <a:pt x="199" y="201"/>
                      </a:lnTo>
                      <a:lnTo>
                        <a:pt x="199" y="202"/>
                      </a:lnTo>
                      <a:lnTo>
                        <a:pt x="198" y="202"/>
                      </a:lnTo>
                      <a:lnTo>
                        <a:pt x="199" y="198"/>
                      </a:lnTo>
                      <a:lnTo>
                        <a:pt x="199" y="198"/>
                      </a:lnTo>
                      <a:lnTo>
                        <a:pt x="199" y="197"/>
                      </a:lnTo>
                      <a:lnTo>
                        <a:pt x="201" y="196"/>
                      </a:lnTo>
                      <a:lnTo>
                        <a:pt x="202" y="195"/>
                      </a:lnTo>
                      <a:lnTo>
                        <a:pt x="203" y="196"/>
                      </a:lnTo>
                      <a:lnTo>
                        <a:pt x="205" y="195"/>
                      </a:lnTo>
                      <a:lnTo>
                        <a:pt x="206" y="195"/>
                      </a:lnTo>
                      <a:lnTo>
                        <a:pt x="206" y="195"/>
                      </a:lnTo>
                      <a:lnTo>
                        <a:pt x="208" y="195"/>
                      </a:lnTo>
                      <a:lnTo>
                        <a:pt x="209" y="194"/>
                      </a:lnTo>
                      <a:lnTo>
                        <a:pt x="209" y="194"/>
                      </a:lnTo>
                      <a:lnTo>
                        <a:pt x="211" y="192"/>
                      </a:lnTo>
                      <a:lnTo>
                        <a:pt x="213" y="191"/>
                      </a:lnTo>
                      <a:lnTo>
                        <a:pt x="213" y="188"/>
                      </a:lnTo>
                      <a:lnTo>
                        <a:pt x="215" y="185"/>
                      </a:lnTo>
                      <a:lnTo>
                        <a:pt x="213" y="184"/>
                      </a:lnTo>
                      <a:lnTo>
                        <a:pt x="213" y="181"/>
                      </a:lnTo>
                      <a:lnTo>
                        <a:pt x="213" y="181"/>
                      </a:lnTo>
                      <a:lnTo>
                        <a:pt x="213" y="180"/>
                      </a:lnTo>
                      <a:lnTo>
                        <a:pt x="213" y="178"/>
                      </a:lnTo>
                      <a:lnTo>
                        <a:pt x="214" y="176"/>
                      </a:lnTo>
                      <a:lnTo>
                        <a:pt x="213" y="175"/>
                      </a:lnTo>
                      <a:lnTo>
                        <a:pt x="211" y="174"/>
                      </a:lnTo>
                      <a:lnTo>
                        <a:pt x="213" y="173"/>
                      </a:lnTo>
                      <a:lnTo>
                        <a:pt x="211" y="172"/>
                      </a:lnTo>
                      <a:lnTo>
                        <a:pt x="209" y="172"/>
                      </a:lnTo>
                      <a:lnTo>
                        <a:pt x="209" y="170"/>
                      </a:lnTo>
                      <a:lnTo>
                        <a:pt x="206" y="170"/>
                      </a:lnTo>
                      <a:lnTo>
                        <a:pt x="205" y="169"/>
                      </a:lnTo>
                      <a:lnTo>
                        <a:pt x="205" y="166"/>
                      </a:lnTo>
                      <a:lnTo>
                        <a:pt x="204" y="166"/>
                      </a:lnTo>
                      <a:lnTo>
                        <a:pt x="204" y="163"/>
                      </a:lnTo>
                      <a:lnTo>
                        <a:pt x="204" y="161"/>
                      </a:lnTo>
                      <a:lnTo>
                        <a:pt x="203" y="160"/>
                      </a:lnTo>
                      <a:lnTo>
                        <a:pt x="203" y="160"/>
                      </a:lnTo>
                      <a:lnTo>
                        <a:pt x="204" y="158"/>
                      </a:lnTo>
                      <a:lnTo>
                        <a:pt x="206" y="158"/>
                      </a:lnTo>
                      <a:lnTo>
                        <a:pt x="207" y="157"/>
                      </a:lnTo>
                      <a:lnTo>
                        <a:pt x="207" y="154"/>
                      </a:lnTo>
                      <a:lnTo>
                        <a:pt x="209" y="154"/>
                      </a:lnTo>
                      <a:lnTo>
                        <a:pt x="211" y="154"/>
                      </a:lnTo>
                      <a:lnTo>
                        <a:pt x="216" y="153"/>
                      </a:lnTo>
                      <a:lnTo>
                        <a:pt x="216" y="153"/>
                      </a:lnTo>
                      <a:lnTo>
                        <a:pt x="219" y="153"/>
                      </a:lnTo>
                      <a:lnTo>
                        <a:pt x="220" y="153"/>
                      </a:lnTo>
                      <a:lnTo>
                        <a:pt x="221" y="150"/>
                      </a:lnTo>
                      <a:lnTo>
                        <a:pt x="223" y="150"/>
                      </a:lnTo>
                      <a:lnTo>
                        <a:pt x="223" y="150"/>
                      </a:lnTo>
                      <a:lnTo>
                        <a:pt x="224" y="150"/>
                      </a:lnTo>
                      <a:lnTo>
                        <a:pt x="226" y="150"/>
                      </a:lnTo>
                      <a:lnTo>
                        <a:pt x="226" y="148"/>
                      </a:lnTo>
                      <a:lnTo>
                        <a:pt x="226" y="146"/>
                      </a:lnTo>
                      <a:lnTo>
                        <a:pt x="229" y="146"/>
                      </a:lnTo>
                      <a:lnTo>
                        <a:pt x="230" y="148"/>
                      </a:lnTo>
                      <a:lnTo>
                        <a:pt x="232" y="148"/>
                      </a:lnTo>
                      <a:lnTo>
                        <a:pt x="234" y="150"/>
                      </a:lnTo>
                      <a:lnTo>
                        <a:pt x="234" y="148"/>
                      </a:lnTo>
                      <a:lnTo>
                        <a:pt x="235" y="148"/>
                      </a:lnTo>
                      <a:lnTo>
                        <a:pt x="237" y="150"/>
                      </a:lnTo>
                      <a:lnTo>
                        <a:pt x="238" y="149"/>
                      </a:lnTo>
                      <a:lnTo>
                        <a:pt x="241" y="149"/>
                      </a:lnTo>
                      <a:lnTo>
                        <a:pt x="241" y="150"/>
                      </a:lnTo>
                      <a:lnTo>
                        <a:pt x="243" y="150"/>
                      </a:lnTo>
                      <a:lnTo>
                        <a:pt x="244" y="148"/>
                      </a:lnTo>
                      <a:lnTo>
                        <a:pt x="245" y="147"/>
                      </a:lnTo>
                      <a:lnTo>
                        <a:pt x="245" y="145"/>
                      </a:lnTo>
                      <a:lnTo>
                        <a:pt x="244" y="144"/>
                      </a:lnTo>
                      <a:lnTo>
                        <a:pt x="244" y="143"/>
                      </a:lnTo>
                      <a:lnTo>
                        <a:pt x="244" y="141"/>
                      </a:lnTo>
                      <a:lnTo>
                        <a:pt x="247" y="140"/>
                      </a:lnTo>
                      <a:lnTo>
                        <a:pt x="247" y="138"/>
                      </a:lnTo>
                      <a:lnTo>
                        <a:pt x="249" y="138"/>
                      </a:lnTo>
                      <a:lnTo>
                        <a:pt x="251" y="137"/>
                      </a:lnTo>
                      <a:lnTo>
                        <a:pt x="252" y="137"/>
                      </a:lnTo>
                      <a:lnTo>
                        <a:pt x="252" y="135"/>
                      </a:lnTo>
                      <a:lnTo>
                        <a:pt x="253" y="133"/>
                      </a:lnTo>
                      <a:lnTo>
                        <a:pt x="252" y="133"/>
                      </a:lnTo>
                      <a:lnTo>
                        <a:pt x="252" y="133"/>
                      </a:lnTo>
                      <a:lnTo>
                        <a:pt x="252" y="131"/>
                      </a:lnTo>
                      <a:lnTo>
                        <a:pt x="252" y="130"/>
                      </a:lnTo>
                      <a:lnTo>
                        <a:pt x="252" y="129"/>
                      </a:lnTo>
                      <a:lnTo>
                        <a:pt x="254" y="129"/>
                      </a:lnTo>
                      <a:lnTo>
                        <a:pt x="255" y="129"/>
                      </a:lnTo>
                      <a:lnTo>
                        <a:pt x="256" y="129"/>
                      </a:lnTo>
                      <a:lnTo>
                        <a:pt x="256" y="127"/>
                      </a:lnTo>
                      <a:lnTo>
                        <a:pt x="254" y="126"/>
                      </a:lnTo>
                      <a:lnTo>
                        <a:pt x="257" y="124"/>
                      </a:lnTo>
                      <a:lnTo>
                        <a:pt x="256" y="123"/>
                      </a:lnTo>
                      <a:lnTo>
                        <a:pt x="253" y="125"/>
                      </a:lnTo>
                      <a:lnTo>
                        <a:pt x="252" y="123"/>
                      </a:lnTo>
                      <a:lnTo>
                        <a:pt x="254" y="122"/>
                      </a:lnTo>
                      <a:lnTo>
                        <a:pt x="254" y="121"/>
                      </a:lnTo>
                      <a:lnTo>
                        <a:pt x="254" y="120"/>
                      </a:lnTo>
                      <a:lnTo>
                        <a:pt x="252" y="119"/>
                      </a:lnTo>
                      <a:lnTo>
                        <a:pt x="251" y="117"/>
                      </a:lnTo>
                      <a:lnTo>
                        <a:pt x="252" y="116"/>
                      </a:lnTo>
                      <a:lnTo>
                        <a:pt x="252" y="116"/>
                      </a:lnTo>
                      <a:lnTo>
                        <a:pt x="254" y="116"/>
                      </a:lnTo>
                      <a:lnTo>
                        <a:pt x="254" y="116"/>
                      </a:lnTo>
                      <a:lnTo>
                        <a:pt x="256" y="116"/>
                      </a:lnTo>
                      <a:lnTo>
                        <a:pt x="257" y="112"/>
                      </a:lnTo>
                      <a:lnTo>
                        <a:pt x="257" y="114"/>
                      </a:lnTo>
                      <a:lnTo>
                        <a:pt x="259" y="114"/>
                      </a:lnTo>
                      <a:lnTo>
                        <a:pt x="259" y="114"/>
                      </a:lnTo>
                      <a:lnTo>
                        <a:pt x="261" y="113"/>
                      </a:lnTo>
                      <a:lnTo>
                        <a:pt x="262" y="112"/>
                      </a:lnTo>
                      <a:lnTo>
                        <a:pt x="264" y="112"/>
                      </a:lnTo>
                      <a:lnTo>
                        <a:pt x="264" y="112"/>
                      </a:lnTo>
                      <a:lnTo>
                        <a:pt x="264" y="112"/>
                      </a:lnTo>
                      <a:lnTo>
                        <a:pt x="265" y="109"/>
                      </a:lnTo>
                      <a:lnTo>
                        <a:pt x="267" y="107"/>
                      </a:lnTo>
                      <a:lnTo>
                        <a:pt x="268" y="107"/>
                      </a:lnTo>
                      <a:lnTo>
                        <a:pt x="268" y="106"/>
                      </a:lnTo>
                      <a:lnTo>
                        <a:pt x="267" y="106"/>
                      </a:lnTo>
                      <a:lnTo>
                        <a:pt x="268" y="105"/>
                      </a:lnTo>
                      <a:lnTo>
                        <a:pt x="268" y="102"/>
                      </a:lnTo>
                      <a:lnTo>
                        <a:pt x="269" y="102"/>
                      </a:lnTo>
                      <a:lnTo>
                        <a:pt x="268" y="101"/>
                      </a:lnTo>
                      <a:lnTo>
                        <a:pt x="269" y="98"/>
                      </a:lnTo>
                      <a:lnTo>
                        <a:pt x="271" y="96"/>
                      </a:lnTo>
                      <a:lnTo>
                        <a:pt x="271" y="95"/>
                      </a:lnTo>
                      <a:lnTo>
                        <a:pt x="271" y="94"/>
                      </a:lnTo>
                      <a:lnTo>
                        <a:pt x="271" y="92"/>
                      </a:lnTo>
                      <a:lnTo>
                        <a:pt x="274" y="91"/>
                      </a:lnTo>
                      <a:lnTo>
                        <a:pt x="275" y="92"/>
                      </a:lnTo>
                      <a:lnTo>
                        <a:pt x="275" y="94"/>
                      </a:lnTo>
                      <a:lnTo>
                        <a:pt x="277" y="94"/>
                      </a:lnTo>
                      <a:lnTo>
                        <a:pt x="278" y="91"/>
                      </a:lnTo>
                      <a:lnTo>
                        <a:pt x="277" y="89"/>
                      </a:lnTo>
                      <a:close/>
                    </a:path>
                  </a:pathLst>
                </a:custGeom>
                <a:solidFill>
                  <a:srgbClr val="74BAEF"/>
                </a:solidFill>
                <a:ln w="3175">
                  <a:solidFill>
                    <a:schemeClr val="dk1"/>
                  </a:solidFill>
                  <a:round/>
                  <a:headEnd/>
                  <a:tailEnd/>
                </a:ln>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z="800" dirty="0">
                    <a:solidFill>
                      <a:srgbClr val="000000"/>
                    </a:solidFill>
                  </a:endParaRPr>
                </a:p>
              </p:txBody>
            </p:sp>
            <p:sp>
              <p:nvSpPr>
                <p:cNvPr id="49" name="Pays de la Loire" descr="{&quot;Key&quot;:&quot;pays de la loire&quot;,&quot;Name&quot;:&quot;Pays de la Loire&quot;,&quot;Value&quot;:1.0,&quot;Formula&quot;:&quot;&quot;,&quot;Text&quot;:&quot;1&quot;,&quot;OfficeApplication&quot;:0,&quot;HasValue&quot;:true}">
                  <a:extLst>
                    <a:ext uri="{FF2B5EF4-FFF2-40B4-BE49-F238E27FC236}">
                      <a16:creationId xmlns:a16="http://schemas.microsoft.com/office/drawing/2014/main" id="{8C61BDC6-38FE-97F7-06B4-EC6F2E82CD38}"/>
                    </a:ext>
                  </a:extLst>
                </p:cNvPr>
                <p:cNvSpPr>
                  <a:spLocks/>
                </p:cNvSpPr>
                <p:nvPr/>
              </p:nvSpPr>
              <p:spPr bwMode="auto">
                <a:xfrm>
                  <a:off x="3947053" y="2735583"/>
                  <a:ext cx="1363954" cy="1264897"/>
                </a:xfrm>
                <a:custGeom>
                  <a:avLst/>
                  <a:gdLst>
                    <a:gd name="T0" fmla="*/ 96 w 271"/>
                    <a:gd name="T1" fmla="*/ 85 h 260"/>
                    <a:gd name="T2" fmla="*/ 108 w 271"/>
                    <a:gd name="T3" fmla="*/ 77 h 260"/>
                    <a:gd name="T4" fmla="*/ 117 w 271"/>
                    <a:gd name="T5" fmla="*/ 64 h 260"/>
                    <a:gd name="T6" fmla="*/ 120 w 271"/>
                    <a:gd name="T7" fmla="*/ 44 h 260"/>
                    <a:gd name="T8" fmla="*/ 120 w 271"/>
                    <a:gd name="T9" fmla="*/ 26 h 260"/>
                    <a:gd name="T10" fmla="*/ 120 w 271"/>
                    <a:gd name="T11" fmla="*/ 12 h 260"/>
                    <a:gd name="T12" fmla="*/ 131 w 271"/>
                    <a:gd name="T13" fmla="*/ 4 h 260"/>
                    <a:gd name="T14" fmla="*/ 144 w 271"/>
                    <a:gd name="T15" fmla="*/ 12 h 260"/>
                    <a:gd name="T16" fmla="*/ 153 w 271"/>
                    <a:gd name="T17" fmla="*/ 12 h 260"/>
                    <a:gd name="T18" fmla="*/ 169 w 271"/>
                    <a:gd name="T19" fmla="*/ 5 h 260"/>
                    <a:gd name="T20" fmla="*/ 179 w 271"/>
                    <a:gd name="T21" fmla="*/ 5 h 260"/>
                    <a:gd name="T22" fmla="*/ 189 w 271"/>
                    <a:gd name="T23" fmla="*/ 6 h 260"/>
                    <a:gd name="T24" fmla="*/ 198 w 271"/>
                    <a:gd name="T25" fmla="*/ 16 h 260"/>
                    <a:gd name="T26" fmla="*/ 209 w 271"/>
                    <a:gd name="T27" fmla="*/ 19 h 260"/>
                    <a:gd name="T28" fmla="*/ 216 w 271"/>
                    <a:gd name="T29" fmla="*/ 13 h 260"/>
                    <a:gd name="T30" fmla="*/ 230 w 271"/>
                    <a:gd name="T31" fmla="*/ 13 h 260"/>
                    <a:gd name="T32" fmla="*/ 232 w 271"/>
                    <a:gd name="T33" fmla="*/ 26 h 260"/>
                    <a:gd name="T34" fmla="*/ 240 w 271"/>
                    <a:gd name="T35" fmla="*/ 33 h 260"/>
                    <a:gd name="T36" fmla="*/ 250 w 271"/>
                    <a:gd name="T37" fmla="*/ 37 h 260"/>
                    <a:gd name="T38" fmla="*/ 260 w 271"/>
                    <a:gd name="T39" fmla="*/ 46 h 260"/>
                    <a:gd name="T40" fmla="*/ 266 w 271"/>
                    <a:gd name="T41" fmla="*/ 53 h 260"/>
                    <a:gd name="T42" fmla="*/ 264 w 271"/>
                    <a:gd name="T43" fmla="*/ 69 h 260"/>
                    <a:gd name="T44" fmla="*/ 259 w 271"/>
                    <a:gd name="T45" fmla="*/ 78 h 260"/>
                    <a:gd name="T46" fmla="*/ 250 w 271"/>
                    <a:gd name="T47" fmla="*/ 95 h 260"/>
                    <a:gd name="T48" fmla="*/ 239 w 271"/>
                    <a:gd name="T49" fmla="*/ 107 h 260"/>
                    <a:gd name="T50" fmla="*/ 226 w 271"/>
                    <a:gd name="T51" fmla="*/ 114 h 260"/>
                    <a:gd name="T52" fmla="*/ 216 w 271"/>
                    <a:gd name="T53" fmla="*/ 122 h 260"/>
                    <a:gd name="T54" fmla="*/ 209 w 271"/>
                    <a:gd name="T55" fmla="*/ 141 h 260"/>
                    <a:gd name="T56" fmla="*/ 202 w 271"/>
                    <a:gd name="T57" fmla="*/ 161 h 260"/>
                    <a:gd name="T58" fmla="*/ 190 w 271"/>
                    <a:gd name="T59" fmla="*/ 170 h 260"/>
                    <a:gd name="T60" fmla="*/ 182 w 271"/>
                    <a:gd name="T61" fmla="*/ 168 h 260"/>
                    <a:gd name="T62" fmla="*/ 161 w 271"/>
                    <a:gd name="T63" fmla="*/ 172 h 260"/>
                    <a:gd name="T64" fmla="*/ 151 w 271"/>
                    <a:gd name="T65" fmla="*/ 178 h 260"/>
                    <a:gd name="T66" fmla="*/ 137 w 271"/>
                    <a:gd name="T67" fmla="*/ 177 h 260"/>
                    <a:gd name="T68" fmla="*/ 131 w 271"/>
                    <a:gd name="T69" fmla="*/ 184 h 260"/>
                    <a:gd name="T70" fmla="*/ 141 w 271"/>
                    <a:gd name="T71" fmla="*/ 198 h 260"/>
                    <a:gd name="T72" fmla="*/ 144 w 271"/>
                    <a:gd name="T73" fmla="*/ 213 h 260"/>
                    <a:gd name="T74" fmla="*/ 148 w 271"/>
                    <a:gd name="T75" fmla="*/ 225 h 260"/>
                    <a:gd name="T76" fmla="*/ 148 w 271"/>
                    <a:gd name="T77" fmla="*/ 240 h 260"/>
                    <a:gd name="T78" fmla="*/ 151 w 271"/>
                    <a:gd name="T79" fmla="*/ 247 h 260"/>
                    <a:gd name="T80" fmla="*/ 141 w 271"/>
                    <a:gd name="T81" fmla="*/ 255 h 260"/>
                    <a:gd name="T82" fmla="*/ 128 w 271"/>
                    <a:gd name="T83" fmla="*/ 256 h 260"/>
                    <a:gd name="T84" fmla="*/ 120 w 271"/>
                    <a:gd name="T85" fmla="*/ 250 h 260"/>
                    <a:gd name="T86" fmla="*/ 103 w 271"/>
                    <a:gd name="T87" fmla="*/ 255 h 260"/>
                    <a:gd name="T88" fmla="*/ 95 w 271"/>
                    <a:gd name="T89" fmla="*/ 258 h 260"/>
                    <a:gd name="T90" fmla="*/ 77 w 271"/>
                    <a:gd name="T91" fmla="*/ 244 h 260"/>
                    <a:gd name="T92" fmla="*/ 55 w 271"/>
                    <a:gd name="T93" fmla="*/ 231 h 260"/>
                    <a:gd name="T94" fmla="*/ 47 w 271"/>
                    <a:gd name="T95" fmla="*/ 215 h 260"/>
                    <a:gd name="T96" fmla="*/ 30 w 271"/>
                    <a:gd name="T97" fmla="*/ 194 h 260"/>
                    <a:gd name="T98" fmla="*/ 38 w 271"/>
                    <a:gd name="T99" fmla="*/ 173 h 260"/>
                    <a:gd name="T100" fmla="*/ 30 w 271"/>
                    <a:gd name="T101" fmla="*/ 153 h 260"/>
                    <a:gd name="T102" fmla="*/ 53 w 271"/>
                    <a:gd name="T103" fmla="*/ 146 h 260"/>
                    <a:gd name="T104" fmla="*/ 41 w 271"/>
                    <a:gd name="T105" fmla="*/ 137 h 260"/>
                    <a:gd name="T106" fmla="*/ 16 w 271"/>
                    <a:gd name="T107" fmla="*/ 140 h 260"/>
                    <a:gd name="T108" fmla="*/ 3 w 271"/>
                    <a:gd name="T109" fmla="*/ 129 h 260"/>
                    <a:gd name="T110" fmla="*/ 12 w 271"/>
                    <a:gd name="T111" fmla="*/ 117 h 260"/>
                    <a:gd name="T112" fmla="*/ 30 w 271"/>
                    <a:gd name="T113" fmla="*/ 113 h 260"/>
                    <a:gd name="T114" fmla="*/ 40 w 271"/>
                    <a:gd name="T115" fmla="*/ 101 h 260"/>
                    <a:gd name="T116" fmla="*/ 52 w 271"/>
                    <a:gd name="T117" fmla="*/ 95 h 260"/>
                    <a:gd name="T118" fmla="*/ 72 w 271"/>
                    <a:gd name="T119" fmla="*/ 9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1" h="260">
                      <a:moveTo>
                        <a:pt x="77" y="86"/>
                      </a:moveTo>
                      <a:lnTo>
                        <a:pt x="79" y="86"/>
                      </a:lnTo>
                      <a:lnTo>
                        <a:pt x="82" y="85"/>
                      </a:lnTo>
                      <a:lnTo>
                        <a:pt x="84" y="84"/>
                      </a:lnTo>
                      <a:lnTo>
                        <a:pt x="88" y="83"/>
                      </a:lnTo>
                      <a:lnTo>
                        <a:pt x="87" y="79"/>
                      </a:lnTo>
                      <a:lnTo>
                        <a:pt x="92" y="81"/>
                      </a:lnTo>
                      <a:lnTo>
                        <a:pt x="93" y="81"/>
                      </a:lnTo>
                      <a:lnTo>
                        <a:pt x="95" y="81"/>
                      </a:lnTo>
                      <a:lnTo>
                        <a:pt x="96" y="85"/>
                      </a:lnTo>
                      <a:lnTo>
                        <a:pt x="97" y="85"/>
                      </a:lnTo>
                      <a:lnTo>
                        <a:pt x="103" y="88"/>
                      </a:lnTo>
                      <a:lnTo>
                        <a:pt x="104" y="84"/>
                      </a:lnTo>
                      <a:lnTo>
                        <a:pt x="105" y="84"/>
                      </a:lnTo>
                      <a:lnTo>
                        <a:pt x="105" y="84"/>
                      </a:lnTo>
                      <a:lnTo>
                        <a:pt x="106" y="82"/>
                      </a:lnTo>
                      <a:lnTo>
                        <a:pt x="107" y="81"/>
                      </a:lnTo>
                      <a:lnTo>
                        <a:pt x="107" y="77"/>
                      </a:lnTo>
                      <a:lnTo>
                        <a:pt x="107" y="77"/>
                      </a:lnTo>
                      <a:lnTo>
                        <a:pt x="108" y="77"/>
                      </a:lnTo>
                      <a:lnTo>
                        <a:pt x="109" y="77"/>
                      </a:lnTo>
                      <a:lnTo>
                        <a:pt x="109" y="75"/>
                      </a:lnTo>
                      <a:lnTo>
                        <a:pt x="110" y="73"/>
                      </a:lnTo>
                      <a:lnTo>
                        <a:pt x="110" y="69"/>
                      </a:lnTo>
                      <a:lnTo>
                        <a:pt x="112" y="69"/>
                      </a:lnTo>
                      <a:lnTo>
                        <a:pt x="112" y="67"/>
                      </a:lnTo>
                      <a:lnTo>
                        <a:pt x="113" y="66"/>
                      </a:lnTo>
                      <a:lnTo>
                        <a:pt x="114" y="65"/>
                      </a:lnTo>
                      <a:lnTo>
                        <a:pt x="115" y="64"/>
                      </a:lnTo>
                      <a:lnTo>
                        <a:pt x="117" y="64"/>
                      </a:lnTo>
                      <a:lnTo>
                        <a:pt x="118" y="64"/>
                      </a:lnTo>
                      <a:lnTo>
                        <a:pt x="119" y="64"/>
                      </a:lnTo>
                      <a:lnTo>
                        <a:pt x="122" y="63"/>
                      </a:lnTo>
                      <a:lnTo>
                        <a:pt x="124" y="61"/>
                      </a:lnTo>
                      <a:lnTo>
                        <a:pt x="122" y="58"/>
                      </a:lnTo>
                      <a:lnTo>
                        <a:pt x="123" y="55"/>
                      </a:lnTo>
                      <a:lnTo>
                        <a:pt x="121" y="53"/>
                      </a:lnTo>
                      <a:lnTo>
                        <a:pt x="120" y="50"/>
                      </a:lnTo>
                      <a:lnTo>
                        <a:pt x="120" y="48"/>
                      </a:lnTo>
                      <a:lnTo>
                        <a:pt x="120" y="44"/>
                      </a:lnTo>
                      <a:lnTo>
                        <a:pt x="119" y="41"/>
                      </a:lnTo>
                      <a:lnTo>
                        <a:pt x="120" y="40"/>
                      </a:lnTo>
                      <a:lnTo>
                        <a:pt x="119" y="39"/>
                      </a:lnTo>
                      <a:lnTo>
                        <a:pt x="118" y="38"/>
                      </a:lnTo>
                      <a:lnTo>
                        <a:pt x="119" y="37"/>
                      </a:lnTo>
                      <a:lnTo>
                        <a:pt x="118" y="36"/>
                      </a:lnTo>
                      <a:lnTo>
                        <a:pt x="118" y="32"/>
                      </a:lnTo>
                      <a:lnTo>
                        <a:pt x="119" y="31"/>
                      </a:lnTo>
                      <a:lnTo>
                        <a:pt x="119" y="29"/>
                      </a:lnTo>
                      <a:lnTo>
                        <a:pt x="120" y="26"/>
                      </a:lnTo>
                      <a:lnTo>
                        <a:pt x="121" y="26"/>
                      </a:lnTo>
                      <a:lnTo>
                        <a:pt x="123" y="26"/>
                      </a:lnTo>
                      <a:lnTo>
                        <a:pt x="122" y="23"/>
                      </a:lnTo>
                      <a:lnTo>
                        <a:pt x="123" y="21"/>
                      </a:lnTo>
                      <a:lnTo>
                        <a:pt x="121" y="21"/>
                      </a:lnTo>
                      <a:lnTo>
                        <a:pt x="122" y="19"/>
                      </a:lnTo>
                      <a:lnTo>
                        <a:pt x="122" y="16"/>
                      </a:lnTo>
                      <a:lnTo>
                        <a:pt x="120" y="15"/>
                      </a:lnTo>
                      <a:lnTo>
                        <a:pt x="120" y="14"/>
                      </a:lnTo>
                      <a:lnTo>
                        <a:pt x="120" y="12"/>
                      </a:lnTo>
                      <a:lnTo>
                        <a:pt x="122" y="11"/>
                      </a:lnTo>
                      <a:lnTo>
                        <a:pt x="122" y="9"/>
                      </a:lnTo>
                      <a:lnTo>
                        <a:pt x="122" y="8"/>
                      </a:lnTo>
                      <a:lnTo>
                        <a:pt x="121" y="6"/>
                      </a:lnTo>
                      <a:lnTo>
                        <a:pt x="122" y="4"/>
                      </a:lnTo>
                      <a:lnTo>
                        <a:pt x="123" y="4"/>
                      </a:lnTo>
                      <a:lnTo>
                        <a:pt x="126" y="6"/>
                      </a:lnTo>
                      <a:lnTo>
                        <a:pt x="127" y="6"/>
                      </a:lnTo>
                      <a:lnTo>
                        <a:pt x="129" y="6"/>
                      </a:lnTo>
                      <a:lnTo>
                        <a:pt x="131" y="4"/>
                      </a:lnTo>
                      <a:lnTo>
                        <a:pt x="131" y="4"/>
                      </a:lnTo>
                      <a:lnTo>
                        <a:pt x="134" y="5"/>
                      </a:lnTo>
                      <a:lnTo>
                        <a:pt x="134" y="6"/>
                      </a:lnTo>
                      <a:lnTo>
                        <a:pt x="137" y="6"/>
                      </a:lnTo>
                      <a:lnTo>
                        <a:pt x="140" y="8"/>
                      </a:lnTo>
                      <a:lnTo>
                        <a:pt x="141" y="9"/>
                      </a:lnTo>
                      <a:lnTo>
                        <a:pt x="141" y="9"/>
                      </a:lnTo>
                      <a:lnTo>
                        <a:pt x="141" y="12"/>
                      </a:lnTo>
                      <a:lnTo>
                        <a:pt x="144" y="10"/>
                      </a:lnTo>
                      <a:lnTo>
                        <a:pt x="144" y="12"/>
                      </a:lnTo>
                      <a:lnTo>
                        <a:pt x="145" y="13"/>
                      </a:lnTo>
                      <a:lnTo>
                        <a:pt x="148" y="12"/>
                      </a:lnTo>
                      <a:lnTo>
                        <a:pt x="148" y="12"/>
                      </a:lnTo>
                      <a:lnTo>
                        <a:pt x="147" y="11"/>
                      </a:lnTo>
                      <a:lnTo>
                        <a:pt x="147" y="9"/>
                      </a:lnTo>
                      <a:lnTo>
                        <a:pt x="148" y="9"/>
                      </a:lnTo>
                      <a:lnTo>
                        <a:pt x="151" y="10"/>
                      </a:lnTo>
                      <a:lnTo>
                        <a:pt x="152" y="9"/>
                      </a:lnTo>
                      <a:lnTo>
                        <a:pt x="153" y="9"/>
                      </a:lnTo>
                      <a:lnTo>
                        <a:pt x="153" y="12"/>
                      </a:lnTo>
                      <a:lnTo>
                        <a:pt x="153" y="13"/>
                      </a:lnTo>
                      <a:lnTo>
                        <a:pt x="158" y="10"/>
                      </a:lnTo>
                      <a:lnTo>
                        <a:pt x="160" y="10"/>
                      </a:lnTo>
                      <a:lnTo>
                        <a:pt x="160" y="9"/>
                      </a:lnTo>
                      <a:lnTo>
                        <a:pt x="161" y="9"/>
                      </a:lnTo>
                      <a:lnTo>
                        <a:pt x="162" y="8"/>
                      </a:lnTo>
                      <a:lnTo>
                        <a:pt x="162" y="8"/>
                      </a:lnTo>
                      <a:lnTo>
                        <a:pt x="165" y="6"/>
                      </a:lnTo>
                      <a:lnTo>
                        <a:pt x="165" y="6"/>
                      </a:lnTo>
                      <a:lnTo>
                        <a:pt x="169" y="5"/>
                      </a:lnTo>
                      <a:lnTo>
                        <a:pt x="170" y="6"/>
                      </a:lnTo>
                      <a:lnTo>
                        <a:pt x="173" y="6"/>
                      </a:lnTo>
                      <a:lnTo>
                        <a:pt x="173" y="8"/>
                      </a:lnTo>
                      <a:lnTo>
                        <a:pt x="175" y="8"/>
                      </a:lnTo>
                      <a:lnTo>
                        <a:pt x="176" y="9"/>
                      </a:lnTo>
                      <a:lnTo>
                        <a:pt x="176" y="9"/>
                      </a:lnTo>
                      <a:lnTo>
                        <a:pt x="176" y="8"/>
                      </a:lnTo>
                      <a:lnTo>
                        <a:pt x="176" y="8"/>
                      </a:lnTo>
                      <a:lnTo>
                        <a:pt x="177" y="8"/>
                      </a:lnTo>
                      <a:lnTo>
                        <a:pt x="179" y="5"/>
                      </a:lnTo>
                      <a:lnTo>
                        <a:pt x="179" y="5"/>
                      </a:lnTo>
                      <a:lnTo>
                        <a:pt x="181" y="5"/>
                      </a:lnTo>
                      <a:lnTo>
                        <a:pt x="182" y="6"/>
                      </a:lnTo>
                      <a:lnTo>
                        <a:pt x="182" y="6"/>
                      </a:lnTo>
                      <a:lnTo>
                        <a:pt x="185" y="3"/>
                      </a:lnTo>
                      <a:lnTo>
                        <a:pt x="184" y="2"/>
                      </a:lnTo>
                      <a:lnTo>
                        <a:pt x="185" y="0"/>
                      </a:lnTo>
                      <a:lnTo>
                        <a:pt x="189" y="2"/>
                      </a:lnTo>
                      <a:lnTo>
                        <a:pt x="192" y="5"/>
                      </a:lnTo>
                      <a:lnTo>
                        <a:pt x="189" y="6"/>
                      </a:lnTo>
                      <a:lnTo>
                        <a:pt x="189" y="8"/>
                      </a:lnTo>
                      <a:lnTo>
                        <a:pt x="191" y="9"/>
                      </a:lnTo>
                      <a:lnTo>
                        <a:pt x="191" y="11"/>
                      </a:lnTo>
                      <a:lnTo>
                        <a:pt x="192" y="13"/>
                      </a:lnTo>
                      <a:lnTo>
                        <a:pt x="194" y="13"/>
                      </a:lnTo>
                      <a:lnTo>
                        <a:pt x="196" y="13"/>
                      </a:lnTo>
                      <a:lnTo>
                        <a:pt x="198" y="13"/>
                      </a:lnTo>
                      <a:lnTo>
                        <a:pt x="199" y="13"/>
                      </a:lnTo>
                      <a:lnTo>
                        <a:pt x="198" y="16"/>
                      </a:lnTo>
                      <a:lnTo>
                        <a:pt x="198" y="16"/>
                      </a:lnTo>
                      <a:lnTo>
                        <a:pt x="198" y="20"/>
                      </a:lnTo>
                      <a:lnTo>
                        <a:pt x="198" y="22"/>
                      </a:lnTo>
                      <a:lnTo>
                        <a:pt x="201" y="22"/>
                      </a:lnTo>
                      <a:lnTo>
                        <a:pt x="201" y="21"/>
                      </a:lnTo>
                      <a:lnTo>
                        <a:pt x="203" y="20"/>
                      </a:lnTo>
                      <a:lnTo>
                        <a:pt x="204" y="22"/>
                      </a:lnTo>
                      <a:lnTo>
                        <a:pt x="206" y="22"/>
                      </a:lnTo>
                      <a:lnTo>
                        <a:pt x="207" y="22"/>
                      </a:lnTo>
                      <a:lnTo>
                        <a:pt x="208" y="19"/>
                      </a:lnTo>
                      <a:lnTo>
                        <a:pt x="209" y="19"/>
                      </a:lnTo>
                      <a:lnTo>
                        <a:pt x="209" y="19"/>
                      </a:lnTo>
                      <a:lnTo>
                        <a:pt x="211" y="16"/>
                      </a:lnTo>
                      <a:lnTo>
                        <a:pt x="211" y="16"/>
                      </a:lnTo>
                      <a:lnTo>
                        <a:pt x="214" y="16"/>
                      </a:lnTo>
                      <a:lnTo>
                        <a:pt x="214" y="15"/>
                      </a:lnTo>
                      <a:lnTo>
                        <a:pt x="215" y="14"/>
                      </a:lnTo>
                      <a:lnTo>
                        <a:pt x="214" y="13"/>
                      </a:lnTo>
                      <a:lnTo>
                        <a:pt x="215" y="13"/>
                      </a:lnTo>
                      <a:lnTo>
                        <a:pt x="216" y="14"/>
                      </a:lnTo>
                      <a:lnTo>
                        <a:pt x="216" y="13"/>
                      </a:lnTo>
                      <a:lnTo>
                        <a:pt x="216" y="12"/>
                      </a:lnTo>
                      <a:lnTo>
                        <a:pt x="217" y="12"/>
                      </a:lnTo>
                      <a:lnTo>
                        <a:pt x="220" y="12"/>
                      </a:lnTo>
                      <a:lnTo>
                        <a:pt x="220" y="12"/>
                      </a:lnTo>
                      <a:lnTo>
                        <a:pt x="223" y="12"/>
                      </a:lnTo>
                      <a:lnTo>
                        <a:pt x="223" y="11"/>
                      </a:lnTo>
                      <a:lnTo>
                        <a:pt x="225" y="11"/>
                      </a:lnTo>
                      <a:lnTo>
                        <a:pt x="227" y="12"/>
                      </a:lnTo>
                      <a:lnTo>
                        <a:pt x="229" y="13"/>
                      </a:lnTo>
                      <a:lnTo>
                        <a:pt x="230" y="13"/>
                      </a:lnTo>
                      <a:lnTo>
                        <a:pt x="230" y="14"/>
                      </a:lnTo>
                      <a:lnTo>
                        <a:pt x="231" y="16"/>
                      </a:lnTo>
                      <a:lnTo>
                        <a:pt x="232" y="17"/>
                      </a:lnTo>
                      <a:lnTo>
                        <a:pt x="232" y="19"/>
                      </a:lnTo>
                      <a:lnTo>
                        <a:pt x="231" y="19"/>
                      </a:lnTo>
                      <a:lnTo>
                        <a:pt x="232" y="21"/>
                      </a:lnTo>
                      <a:lnTo>
                        <a:pt x="231" y="22"/>
                      </a:lnTo>
                      <a:lnTo>
                        <a:pt x="232" y="22"/>
                      </a:lnTo>
                      <a:lnTo>
                        <a:pt x="232" y="24"/>
                      </a:lnTo>
                      <a:lnTo>
                        <a:pt x="232" y="26"/>
                      </a:lnTo>
                      <a:lnTo>
                        <a:pt x="232" y="27"/>
                      </a:lnTo>
                      <a:lnTo>
                        <a:pt x="233" y="30"/>
                      </a:lnTo>
                      <a:lnTo>
                        <a:pt x="233" y="30"/>
                      </a:lnTo>
                      <a:lnTo>
                        <a:pt x="235" y="30"/>
                      </a:lnTo>
                      <a:lnTo>
                        <a:pt x="237" y="32"/>
                      </a:lnTo>
                      <a:lnTo>
                        <a:pt x="238" y="32"/>
                      </a:lnTo>
                      <a:lnTo>
                        <a:pt x="239" y="32"/>
                      </a:lnTo>
                      <a:lnTo>
                        <a:pt x="239" y="32"/>
                      </a:lnTo>
                      <a:lnTo>
                        <a:pt x="240" y="32"/>
                      </a:lnTo>
                      <a:lnTo>
                        <a:pt x="240" y="33"/>
                      </a:lnTo>
                      <a:lnTo>
                        <a:pt x="240" y="34"/>
                      </a:lnTo>
                      <a:lnTo>
                        <a:pt x="241" y="36"/>
                      </a:lnTo>
                      <a:lnTo>
                        <a:pt x="243" y="36"/>
                      </a:lnTo>
                      <a:lnTo>
                        <a:pt x="244" y="39"/>
                      </a:lnTo>
                      <a:lnTo>
                        <a:pt x="246" y="39"/>
                      </a:lnTo>
                      <a:lnTo>
                        <a:pt x="247" y="39"/>
                      </a:lnTo>
                      <a:lnTo>
                        <a:pt x="249" y="40"/>
                      </a:lnTo>
                      <a:lnTo>
                        <a:pt x="249" y="40"/>
                      </a:lnTo>
                      <a:lnTo>
                        <a:pt x="251" y="40"/>
                      </a:lnTo>
                      <a:lnTo>
                        <a:pt x="250" y="37"/>
                      </a:lnTo>
                      <a:lnTo>
                        <a:pt x="253" y="36"/>
                      </a:lnTo>
                      <a:lnTo>
                        <a:pt x="254" y="37"/>
                      </a:lnTo>
                      <a:lnTo>
                        <a:pt x="254" y="40"/>
                      </a:lnTo>
                      <a:lnTo>
                        <a:pt x="255" y="40"/>
                      </a:lnTo>
                      <a:lnTo>
                        <a:pt x="256" y="42"/>
                      </a:lnTo>
                      <a:lnTo>
                        <a:pt x="257" y="43"/>
                      </a:lnTo>
                      <a:lnTo>
                        <a:pt x="258" y="44"/>
                      </a:lnTo>
                      <a:lnTo>
                        <a:pt x="258" y="44"/>
                      </a:lnTo>
                      <a:lnTo>
                        <a:pt x="258" y="45"/>
                      </a:lnTo>
                      <a:lnTo>
                        <a:pt x="260" y="46"/>
                      </a:lnTo>
                      <a:lnTo>
                        <a:pt x="261" y="45"/>
                      </a:lnTo>
                      <a:lnTo>
                        <a:pt x="262" y="45"/>
                      </a:lnTo>
                      <a:lnTo>
                        <a:pt x="264" y="47"/>
                      </a:lnTo>
                      <a:lnTo>
                        <a:pt x="265" y="48"/>
                      </a:lnTo>
                      <a:lnTo>
                        <a:pt x="269" y="49"/>
                      </a:lnTo>
                      <a:lnTo>
                        <a:pt x="271" y="50"/>
                      </a:lnTo>
                      <a:lnTo>
                        <a:pt x="271" y="50"/>
                      </a:lnTo>
                      <a:lnTo>
                        <a:pt x="271" y="51"/>
                      </a:lnTo>
                      <a:lnTo>
                        <a:pt x="267" y="52"/>
                      </a:lnTo>
                      <a:lnTo>
                        <a:pt x="266" y="53"/>
                      </a:lnTo>
                      <a:lnTo>
                        <a:pt x="266" y="55"/>
                      </a:lnTo>
                      <a:lnTo>
                        <a:pt x="264" y="55"/>
                      </a:lnTo>
                      <a:lnTo>
                        <a:pt x="264" y="57"/>
                      </a:lnTo>
                      <a:lnTo>
                        <a:pt x="266" y="57"/>
                      </a:lnTo>
                      <a:lnTo>
                        <a:pt x="266" y="58"/>
                      </a:lnTo>
                      <a:lnTo>
                        <a:pt x="261" y="59"/>
                      </a:lnTo>
                      <a:lnTo>
                        <a:pt x="262" y="63"/>
                      </a:lnTo>
                      <a:lnTo>
                        <a:pt x="265" y="64"/>
                      </a:lnTo>
                      <a:lnTo>
                        <a:pt x="265" y="66"/>
                      </a:lnTo>
                      <a:lnTo>
                        <a:pt x="264" y="69"/>
                      </a:lnTo>
                      <a:lnTo>
                        <a:pt x="264" y="70"/>
                      </a:lnTo>
                      <a:lnTo>
                        <a:pt x="266" y="72"/>
                      </a:lnTo>
                      <a:lnTo>
                        <a:pt x="266" y="73"/>
                      </a:lnTo>
                      <a:lnTo>
                        <a:pt x="264" y="75"/>
                      </a:lnTo>
                      <a:lnTo>
                        <a:pt x="264" y="77"/>
                      </a:lnTo>
                      <a:lnTo>
                        <a:pt x="264" y="78"/>
                      </a:lnTo>
                      <a:lnTo>
                        <a:pt x="263" y="79"/>
                      </a:lnTo>
                      <a:lnTo>
                        <a:pt x="261" y="77"/>
                      </a:lnTo>
                      <a:lnTo>
                        <a:pt x="260" y="77"/>
                      </a:lnTo>
                      <a:lnTo>
                        <a:pt x="259" y="78"/>
                      </a:lnTo>
                      <a:lnTo>
                        <a:pt x="259" y="83"/>
                      </a:lnTo>
                      <a:lnTo>
                        <a:pt x="260" y="84"/>
                      </a:lnTo>
                      <a:lnTo>
                        <a:pt x="260" y="86"/>
                      </a:lnTo>
                      <a:lnTo>
                        <a:pt x="259" y="86"/>
                      </a:lnTo>
                      <a:lnTo>
                        <a:pt x="258" y="89"/>
                      </a:lnTo>
                      <a:lnTo>
                        <a:pt x="255" y="91"/>
                      </a:lnTo>
                      <a:lnTo>
                        <a:pt x="254" y="91"/>
                      </a:lnTo>
                      <a:lnTo>
                        <a:pt x="254" y="94"/>
                      </a:lnTo>
                      <a:lnTo>
                        <a:pt x="253" y="93"/>
                      </a:lnTo>
                      <a:lnTo>
                        <a:pt x="250" y="95"/>
                      </a:lnTo>
                      <a:lnTo>
                        <a:pt x="248" y="95"/>
                      </a:lnTo>
                      <a:lnTo>
                        <a:pt x="247" y="98"/>
                      </a:lnTo>
                      <a:lnTo>
                        <a:pt x="245" y="99"/>
                      </a:lnTo>
                      <a:lnTo>
                        <a:pt x="246" y="103"/>
                      </a:lnTo>
                      <a:lnTo>
                        <a:pt x="247" y="101"/>
                      </a:lnTo>
                      <a:lnTo>
                        <a:pt x="248" y="103"/>
                      </a:lnTo>
                      <a:lnTo>
                        <a:pt x="246" y="105"/>
                      </a:lnTo>
                      <a:lnTo>
                        <a:pt x="244" y="105"/>
                      </a:lnTo>
                      <a:lnTo>
                        <a:pt x="244" y="105"/>
                      </a:lnTo>
                      <a:lnTo>
                        <a:pt x="239" y="107"/>
                      </a:lnTo>
                      <a:lnTo>
                        <a:pt x="236" y="107"/>
                      </a:lnTo>
                      <a:lnTo>
                        <a:pt x="235" y="109"/>
                      </a:lnTo>
                      <a:lnTo>
                        <a:pt x="233" y="110"/>
                      </a:lnTo>
                      <a:lnTo>
                        <a:pt x="231" y="107"/>
                      </a:lnTo>
                      <a:lnTo>
                        <a:pt x="230" y="107"/>
                      </a:lnTo>
                      <a:lnTo>
                        <a:pt x="228" y="109"/>
                      </a:lnTo>
                      <a:lnTo>
                        <a:pt x="230" y="112"/>
                      </a:lnTo>
                      <a:lnTo>
                        <a:pt x="230" y="114"/>
                      </a:lnTo>
                      <a:lnTo>
                        <a:pt x="230" y="115"/>
                      </a:lnTo>
                      <a:lnTo>
                        <a:pt x="226" y="114"/>
                      </a:lnTo>
                      <a:lnTo>
                        <a:pt x="226" y="113"/>
                      </a:lnTo>
                      <a:lnTo>
                        <a:pt x="225" y="112"/>
                      </a:lnTo>
                      <a:lnTo>
                        <a:pt x="221" y="112"/>
                      </a:lnTo>
                      <a:lnTo>
                        <a:pt x="220" y="110"/>
                      </a:lnTo>
                      <a:lnTo>
                        <a:pt x="217" y="110"/>
                      </a:lnTo>
                      <a:lnTo>
                        <a:pt x="217" y="114"/>
                      </a:lnTo>
                      <a:lnTo>
                        <a:pt x="216" y="115"/>
                      </a:lnTo>
                      <a:lnTo>
                        <a:pt x="215" y="119"/>
                      </a:lnTo>
                      <a:lnTo>
                        <a:pt x="216" y="120"/>
                      </a:lnTo>
                      <a:lnTo>
                        <a:pt x="216" y="122"/>
                      </a:lnTo>
                      <a:lnTo>
                        <a:pt x="215" y="125"/>
                      </a:lnTo>
                      <a:lnTo>
                        <a:pt x="215" y="126"/>
                      </a:lnTo>
                      <a:lnTo>
                        <a:pt x="213" y="128"/>
                      </a:lnTo>
                      <a:lnTo>
                        <a:pt x="213" y="132"/>
                      </a:lnTo>
                      <a:lnTo>
                        <a:pt x="211" y="134"/>
                      </a:lnTo>
                      <a:lnTo>
                        <a:pt x="211" y="136"/>
                      </a:lnTo>
                      <a:lnTo>
                        <a:pt x="213" y="136"/>
                      </a:lnTo>
                      <a:lnTo>
                        <a:pt x="211" y="138"/>
                      </a:lnTo>
                      <a:lnTo>
                        <a:pt x="209" y="138"/>
                      </a:lnTo>
                      <a:lnTo>
                        <a:pt x="209" y="141"/>
                      </a:lnTo>
                      <a:lnTo>
                        <a:pt x="208" y="142"/>
                      </a:lnTo>
                      <a:lnTo>
                        <a:pt x="206" y="146"/>
                      </a:lnTo>
                      <a:lnTo>
                        <a:pt x="206" y="148"/>
                      </a:lnTo>
                      <a:lnTo>
                        <a:pt x="204" y="149"/>
                      </a:lnTo>
                      <a:lnTo>
                        <a:pt x="204" y="153"/>
                      </a:lnTo>
                      <a:lnTo>
                        <a:pt x="203" y="155"/>
                      </a:lnTo>
                      <a:lnTo>
                        <a:pt x="203" y="157"/>
                      </a:lnTo>
                      <a:lnTo>
                        <a:pt x="203" y="158"/>
                      </a:lnTo>
                      <a:lnTo>
                        <a:pt x="203" y="160"/>
                      </a:lnTo>
                      <a:lnTo>
                        <a:pt x="202" y="161"/>
                      </a:lnTo>
                      <a:lnTo>
                        <a:pt x="200" y="160"/>
                      </a:lnTo>
                      <a:lnTo>
                        <a:pt x="200" y="160"/>
                      </a:lnTo>
                      <a:lnTo>
                        <a:pt x="198" y="161"/>
                      </a:lnTo>
                      <a:lnTo>
                        <a:pt x="196" y="165"/>
                      </a:lnTo>
                      <a:lnTo>
                        <a:pt x="196" y="166"/>
                      </a:lnTo>
                      <a:lnTo>
                        <a:pt x="196" y="169"/>
                      </a:lnTo>
                      <a:lnTo>
                        <a:pt x="193" y="169"/>
                      </a:lnTo>
                      <a:lnTo>
                        <a:pt x="192" y="168"/>
                      </a:lnTo>
                      <a:lnTo>
                        <a:pt x="190" y="169"/>
                      </a:lnTo>
                      <a:lnTo>
                        <a:pt x="190" y="170"/>
                      </a:lnTo>
                      <a:lnTo>
                        <a:pt x="189" y="172"/>
                      </a:lnTo>
                      <a:lnTo>
                        <a:pt x="188" y="173"/>
                      </a:lnTo>
                      <a:lnTo>
                        <a:pt x="186" y="172"/>
                      </a:lnTo>
                      <a:lnTo>
                        <a:pt x="185" y="172"/>
                      </a:lnTo>
                      <a:lnTo>
                        <a:pt x="185" y="170"/>
                      </a:lnTo>
                      <a:lnTo>
                        <a:pt x="185" y="169"/>
                      </a:lnTo>
                      <a:lnTo>
                        <a:pt x="187" y="169"/>
                      </a:lnTo>
                      <a:lnTo>
                        <a:pt x="188" y="167"/>
                      </a:lnTo>
                      <a:lnTo>
                        <a:pt x="184" y="167"/>
                      </a:lnTo>
                      <a:lnTo>
                        <a:pt x="182" y="168"/>
                      </a:lnTo>
                      <a:lnTo>
                        <a:pt x="181" y="167"/>
                      </a:lnTo>
                      <a:lnTo>
                        <a:pt x="179" y="167"/>
                      </a:lnTo>
                      <a:lnTo>
                        <a:pt x="175" y="168"/>
                      </a:lnTo>
                      <a:lnTo>
                        <a:pt x="172" y="169"/>
                      </a:lnTo>
                      <a:lnTo>
                        <a:pt x="170" y="168"/>
                      </a:lnTo>
                      <a:lnTo>
                        <a:pt x="169" y="169"/>
                      </a:lnTo>
                      <a:lnTo>
                        <a:pt x="168" y="168"/>
                      </a:lnTo>
                      <a:lnTo>
                        <a:pt x="168" y="170"/>
                      </a:lnTo>
                      <a:lnTo>
                        <a:pt x="162" y="170"/>
                      </a:lnTo>
                      <a:lnTo>
                        <a:pt x="161" y="172"/>
                      </a:lnTo>
                      <a:lnTo>
                        <a:pt x="160" y="170"/>
                      </a:lnTo>
                      <a:lnTo>
                        <a:pt x="161" y="170"/>
                      </a:lnTo>
                      <a:lnTo>
                        <a:pt x="161" y="169"/>
                      </a:lnTo>
                      <a:lnTo>
                        <a:pt x="159" y="169"/>
                      </a:lnTo>
                      <a:lnTo>
                        <a:pt x="155" y="170"/>
                      </a:lnTo>
                      <a:lnTo>
                        <a:pt x="155" y="174"/>
                      </a:lnTo>
                      <a:lnTo>
                        <a:pt x="156" y="174"/>
                      </a:lnTo>
                      <a:lnTo>
                        <a:pt x="155" y="174"/>
                      </a:lnTo>
                      <a:lnTo>
                        <a:pt x="151" y="177"/>
                      </a:lnTo>
                      <a:lnTo>
                        <a:pt x="151" y="178"/>
                      </a:lnTo>
                      <a:lnTo>
                        <a:pt x="149" y="179"/>
                      </a:lnTo>
                      <a:lnTo>
                        <a:pt x="149" y="178"/>
                      </a:lnTo>
                      <a:lnTo>
                        <a:pt x="146" y="178"/>
                      </a:lnTo>
                      <a:lnTo>
                        <a:pt x="145" y="178"/>
                      </a:lnTo>
                      <a:lnTo>
                        <a:pt x="144" y="179"/>
                      </a:lnTo>
                      <a:lnTo>
                        <a:pt x="144" y="178"/>
                      </a:lnTo>
                      <a:lnTo>
                        <a:pt x="142" y="179"/>
                      </a:lnTo>
                      <a:lnTo>
                        <a:pt x="140" y="177"/>
                      </a:lnTo>
                      <a:lnTo>
                        <a:pt x="140" y="178"/>
                      </a:lnTo>
                      <a:lnTo>
                        <a:pt x="137" y="177"/>
                      </a:lnTo>
                      <a:lnTo>
                        <a:pt x="134" y="178"/>
                      </a:lnTo>
                      <a:lnTo>
                        <a:pt x="131" y="178"/>
                      </a:lnTo>
                      <a:lnTo>
                        <a:pt x="131" y="179"/>
                      </a:lnTo>
                      <a:lnTo>
                        <a:pt x="131" y="181"/>
                      </a:lnTo>
                      <a:lnTo>
                        <a:pt x="128" y="179"/>
                      </a:lnTo>
                      <a:lnTo>
                        <a:pt x="127" y="181"/>
                      </a:lnTo>
                      <a:lnTo>
                        <a:pt x="129" y="181"/>
                      </a:lnTo>
                      <a:lnTo>
                        <a:pt x="130" y="182"/>
                      </a:lnTo>
                      <a:lnTo>
                        <a:pt x="129" y="184"/>
                      </a:lnTo>
                      <a:lnTo>
                        <a:pt x="131" y="184"/>
                      </a:lnTo>
                      <a:lnTo>
                        <a:pt x="133" y="185"/>
                      </a:lnTo>
                      <a:lnTo>
                        <a:pt x="133" y="186"/>
                      </a:lnTo>
                      <a:lnTo>
                        <a:pt x="134" y="187"/>
                      </a:lnTo>
                      <a:lnTo>
                        <a:pt x="132" y="190"/>
                      </a:lnTo>
                      <a:lnTo>
                        <a:pt x="134" y="191"/>
                      </a:lnTo>
                      <a:lnTo>
                        <a:pt x="135" y="194"/>
                      </a:lnTo>
                      <a:lnTo>
                        <a:pt x="136" y="194"/>
                      </a:lnTo>
                      <a:lnTo>
                        <a:pt x="137" y="195"/>
                      </a:lnTo>
                      <a:lnTo>
                        <a:pt x="137" y="197"/>
                      </a:lnTo>
                      <a:lnTo>
                        <a:pt x="141" y="198"/>
                      </a:lnTo>
                      <a:lnTo>
                        <a:pt x="142" y="199"/>
                      </a:lnTo>
                      <a:lnTo>
                        <a:pt x="141" y="200"/>
                      </a:lnTo>
                      <a:lnTo>
                        <a:pt x="141" y="201"/>
                      </a:lnTo>
                      <a:lnTo>
                        <a:pt x="141" y="205"/>
                      </a:lnTo>
                      <a:lnTo>
                        <a:pt x="141" y="206"/>
                      </a:lnTo>
                      <a:lnTo>
                        <a:pt x="142" y="206"/>
                      </a:lnTo>
                      <a:lnTo>
                        <a:pt x="142" y="208"/>
                      </a:lnTo>
                      <a:lnTo>
                        <a:pt x="144" y="209"/>
                      </a:lnTo>
                      <a:lnTo>
                        <a:pt x="145" y="212"/>
                      </a:lnTo>
                      <a:lnTo>
                        <a:pt x="144" y="213"/>
                      </a:lnTo>
                      <a:lnTo>
                        <a:pt x="144" y="214"/>
                      </a:lnTo>
                      <a:lnTo>
                        <a:pt x="144" y="215"/>
                      </a:lnTo>
                      <a:lnTo>
                        <a:pt x="146" y="215"/>
                      </a:lnTo>
                      <a:lnTo>
                        <a:pt x="147" y="216"/>
                      </a:lnTo>
                      <a:lnTo>
                        <a:pt x="145" y="218"/>
                      </a:lnTo>
                      <a:lnTo>
                        <a:pt x="145" y="219"/>
                      </a:lnTo>
                      <a:lnTo>
                        <a:pt x="147" y="219"/>
                      </a:lnTo>
                      <a:lnTo>
                        <a:pt x="148" y="222"/>
                      </a:lnTo>
                      <a:lnTo>
                        <a:pt x="147" y="223"/>
                      </a:lnTo>
                      <a:lnTo>
                        <a:pt x="148" y="225"/>
                      </a:lnTo>
                      <a:lnTo>
                        <a:pt x="147" y="226"/>
                      </a:lnTo>
                      <a:lnTo>
                        <a:pt x="148" y="228"/>
                      </a:lnTo>
                      <a:lnTo>
                        <a:pt x="148" y="228"/>
                      </a:lnTo>
                      <a:lnTo>
                        <a:pt x="148" y="230"/>
                      </a:lnTo>
                      <a:lnTo>
                        <a:pt x="148" y="231"/>
                      </a:lnTo>
                      <a:lnTo>
                        <a:pt x="146" y="232"/>
                      </a:lnTo>
                      <a:lnTo>
                        <a:pt x="146" y="235"/>
                      </a:lnTo>
                      <a:lnTo>
                        <a:pt x="146" y="235"/>
                      </a:lnTo>
                      <a:lnTo>
                        <a:pt x="146" y="236"/>
                      </a:lnTo>
                      <a:lnTo>
                        <a:pt x="148" y="240"/>
                      </a:lnTo>
                      <a:lnTo>
                        <a:pt x="147" y="241"/>
                      </a:lnTo>
                      <a:lnTo>
                        <a:pt x="146" y="243"/>
                      </a:lnTo>
                      <a:lnTo>
                        <a:pt x="145" y="244"/>
                      </a:lnTo>
                      <a:lnTo>
                        <a:pt x="146" y="245"/>
                      </a:lnTo>
                      <a:lnTo>
                        <a:pt x="146" y="246"/>
                      </a:lnTo>
                      <a:lnTo>
                        <a:pt x="147" y="247"/>
                      </a:lnTo>
                      <a:lnTo>
                        <a:pt x="148" y="245"/>
                      </a:lnTo>
                      <a:lnTo>
                        <a:pt x="149" y="245"/>
                      </a:lnTo>
                      <a:lnTo>
                        <a:pt x="151" y="246"/>
                      </a:lnTo>
                      <a:lnTo>
                        <a:pt x="151" y="247"/>
                      </a:lnTo>
                      <a:lnTo>
                        <a:pt x="153" y="248"/>
                      </a:lnTo>
                      <a:lnTo>
                        <a:pt x="151" y="251"/>
                      </a:lnTo>
                      <a:lnTo>
                        <a:pt x="151" y="252"/>
                      </a:lnTo>
                      <a:lnTo>
                        <a:pt x="148" y="251"/>
                      </a:lnTo>
                      <a:lnTo>
                        <a:pt x="146" y="253"/>
                      </a:lnTo>
                      <a:lnTo>
                        <a:pt x="145" y="253"/>
                      </a:lnTo>
                      <a:lnTo>
                        <a:pt x="144" y="256"/>
                      </a:lnTo>
                      <a:lnTo>
                        <a:pt x="144" y="256"/>
                      </a:lnTo>
                      <a:lnTo>
                        <a:pt x="141" y="256"/>
                      </a:lnTo>
                      <a:lnTo>
                        <a:pt x="141" y="255"/>
                      </a:lnTo>
                      <a:lnTo>
                        <a:pt x="138" y="256"/>
                      </a:lnTo>
                      <a:lnTo>
                        <a:pt x="137" y="257"/>
                      </a:lnTo>
                      <a:lnTo>
                        <a:pt x="137" y="257"/>
                      </a:lnTo>
                      <a:lnTo>
                        <a:pt x="136" y="256"/>
                      </a:lnTo>
                      <a:lnTo>
                        <a:pt x="134" y="256"/>
                      </a:lnTo>
                      <a:lnTo>
                        <a:pt x="131" y="255"/>
                      </a:lnTo>
                      <a:lnTo>
                        <a:pt x="131" y="253"/>
                      </a:lnTo>
                      <a:lnTo>
                        <a:pt x="131" y="253"/>
                      </a:lnTo>
                      <a:lnTo>
                        <a:pt x="129" y="253"/>
                      </a:lnTo>
                      <a:lnTo>
                        <a:pt x="128" y="256"/>
                      </a:lnTo>
                      <a:lnTo>
                        <a:pt x="127" y="256"/>
                      </a:lnTo>
                      <a:lnTo>
                        <a:pt x="125" y="253"/>
                      </a:lnTo>
                      <a:lnTo>
                        <a:pt x="125" y="255"/>
                      </a:lnTo>
                      <a:lnTo>
                        <a:pt x="124" y="256"/>
                      </a:lnTo>
                      <a:lnTo>
                        <a:pt x="121" y="256"/>
                      </a:lnTo>
                      <a:lnTo>
                        <a:pt x="120" y="253"/>
                      </a:lnTo>
                      <a:lnTo>
                        <a:pt x="120" y="253"/>
                      </a:lnTo>
                      <a:lnTo>
                        <a:pt x="122" y="250"/>
                      </a:lnTo>
                      <a:lnTo>
                        <a:pt x="122" y="249"/>
                      </a:lnTo>
                      <a:lnTo>
                        <a:pt x="120" y="250"/>
                      </a:lnTo>
                      <a:lnTo>
                        <a:pt x="120" y="250"/>
                      </a:lnTo>
                      <a:lnTo>
                        <a:pt x="119" y="250"/>
                      </a:lnTo>
                      <a:lnTo>
                        <a:pt x="119" y="250"/>
                      </a:lnTo>
                      <a:lnTo>
                        <a:pt x="113" y="251"/>
                      </a:lnTo>
                      <a:lnTo>
                        <a:pt x="112" y="253"/>
                      </a:lnTo>
                      <a:lnTo>
                        <a:pt x="110" y="253"/>
                      </a:lnTo>
                      <a:lnTo>
                        <a:pt x="107" y="255"/>
                      </a:lnTo>
                      <a:lnTo>
                        <a:pt x="106" y="256"/>
                      </a:lnTo>
                      <a:lnTo>
                        <a:pt x="103" y="256"/>
                      </a:lnTo>
                      <a:lnTo>
                        <a:pt x="103" y="255"/>
                      </a:lnTo>
                      <a:lnTo>
                        <a:pt x="101" y="256"/>
                      </a:lnTo>
                      <a:lnTo>
                        <a:pt x="101" y="257"/>
                      </a:lnTo>
                      <a:lnTo>
                        <a:pt x="100" y="258"/>
                      </a:lnTo>
                      <a:lnTo>
                        <a:pt x="100" y="259"/>
                      </a:lnTo>
                      <a:lnTo>
                        <a:pt x="100" y="260"/>
                      </a:lnTo>
                      <a:lnTo>
                        <a:pt x="99" y="260"/>
                      </a:lnTo>
                      <a:lnTo>
                        <a:pt x="96" y="258"/>
                      </a:lnTo>
                      <a:lnTo>
                        <a:pt x="96" y="256"/>
                      </a:lnTo>
                      <a:lnTo>
                        <a:pt x="95" y="256"/>
                      </a:lnTo>
                      <a:lnTo>
                        <a:pt x="95" y="258"/>
                      </a:lnTo>
                      <a:lnTo>
                        <a:pt x="95" y="258"/>
                      </a:lnTo>
                      <a:lnTo>
                        <a:pt x="93" y="258"/>
                      </a:lnTo>
                      <a:lnTo>
                        <a:pt x="92" y="257"/>
                      </a:lnTo>
                      <a:lnTo>
                        <a:pt x="90" y="253"/>
                      </a:lnTo>
                      <a:lnTo>
                        <a:pt x="89" y="253"/>
                      </a:lnTo>
                      <a:lnTo>
                        <a:pt x="88" y="251"/>
                      </a:lnTo>
                      <a:lnTo>
                        <a:pt x="81" y="250"/>
                      </a:lnTo>
                      <a:lnTo>
                        <a:pt x="79" y="250"/>
                      </a:lnTo>
                      <a:lnTo>
                        <a:pt x="79" y="247"/>
                      </a:lnTo>
                      <a:lnTo>
                        <a:pt x="77" y="244"/>
                      </a:lnTo>
                      <a:lnTo>
                        <a:pt x="74" y="243"/>
                      </a:lnTo>
                      <a:lnTo>
                        <a:pt x="73" y="243"/>
                      </a:lnTo>
                      <a:lnTo>
                        <a:pt x="72" y="243"/>
                      </a:lnTo>
                      <a:lnTo>
                        <a:pt x="67" y="241"/>
                      </a:lnTo>
                      <a:lnTo>
                        <a:pt x="65" y="240"/>
                      </a:lnTo>
                      <a:lnTo>
                        <a:pt x="66" y="239"/>
                      </a:lnTo>
                      <a:lnTo>
                        <a:pt x="62" y="237"/>
                      </a:lnTo>
                      <a:lnTo>
                        <a:pt x="61" y="236"/>
                      </a:lnTo>
                      <a:lnTo>
                        <a:pt x="57" y="233"/>
                      </a:lnTo>
                      <a:lnTo>
                        <a:pt x="55" y="231"/>
                      </a:lnTo>
                      <a:lnTo>
                        <a:pt x="53" y="232"/>
                      </a:lnTo>
                      <a:lnTo>
                        <a:pt x="53" y="230"/>
                      </a:lnTo>
                      <a:lnTo>
                        <a:pt x="53" y="229"/>
                      </a:lnTo>
                      <a:lnTo>
                        <a:pt x="52" y="225"/>
                      </a:lnTo>
                      <a:lnTo>
                        <a:pt x="52" y="225"/>
                      </a:lnTo>
                      <a:lnTo>
                        <a:pt x="52" y="220"/>
                      </a:lnTo>
                      <a:lnTo>
                        <a:pt x="50" y="217"/>
                      </a:lnTo>
                      <a:lnTo>
                        <a:pt x="48" y="217"/>
                      </a:lnTo>
                      <a:lnTo>
                        <a:pt x="48" y="215"/>
                      </a:lnTo>
                      <a:lnTo>
                        <a:pt x="47" y="215"/>
                      </a:lnTo>
                      <a:lnTo>
                        <a:pt x="46" y="213"/>
                      </a:lnTo>
                      <a:lnTo>
                        <a:pt x="46" y="212"/>
                      </a:lnTo>
                      <a:lnTo>
                        <a:pt x="45" y="210"/>
                      </a:lnTo>
                      <a:lnTo>
                        <a:pt x="45" y="208"/>
                      </a:lnTo>
                      <a:lnTo>
                        <a:pt x="43" y="208"/>
                      </a:lnTo>
                      <a:lnTo>
                        <a:pt x="42" y="208"/>
                      </a:lnTo>
                      <a:lnTo>
                        <a:pt x="41" y="206"/>
                      </a:lnTo>
                      <a:lnTo>
                        <a:pt x="41" y="205"/>
                      </a:lnTo>
                      <a:lnTo>
                        <a:pt x="35" y="198"/>
                      </a:lnTo>
                      <a:lnTo>
                        <a:pt x="30" y="194"/>
                      </a:lnTo>
                      <a:lnTo>
                        <a:pt x="30" y="193"/>
                      </a:lnTo>
                      <a:lnTo>
                        <a:pt x="30" y="188"/>
                      </a:lnTo>
                      <a:lnTo>
                        <a:pt x="29" y="185"/>
                      </a:lnTo>
                      <a:lnTo>
                        <a:pt x="31" y="185"/>
                      </a:lnTo>
                      <a:lnTo>
                        <a:pt x="31" y="184"/>
                      </a:lnTo>
                      <a:lnTo>
                        <a:pt x="31" y="184"/>
                      </a:lnTo>
                      <a:lnTo>
                        <a:pt x="33" y="181"/>
                      </a:lnTo>
                      <a:lnTo>
                        <a:pt x="35" y="179"/>
                      </a:lnTo>
                      <a:lnTo>
                        <a:pt x="38" y="178"/>
                      </a:lnTo>
                      <a:lnTo>
                        <a:pt x="38" y="173"/>
                      </a:lnTo>
                      <a:lnTo>
                        <a:pt x="40" y="172"/>
                      </a:lnTo>
                      <a:lnTo>
                        <a:pt x="44" y="170"/>
                      </a:lnTo>
                      <a:lnTo>
                        <a:pt x="41" y="165"/>
                      </a:lnTo>
                      <a:lnTo>
                        <a:pt x="40" y="163"/>
                      </a:lnTo>
                      <a:lnTo>
                        <a:pt x="38" y="161"/>
                      </a:lnTo>
                      <a:lnTo>
                        <a:pt x="28" y="158"/>
                      </a:lnTo>
                      <a:lnTo>
                        <a:pt x="24" y="157"/>
                      </a:lnTo>
                      <a:lnTo>
                        <a:pt x="25" y="156"/>
                      </a:lnTo>
                      <a:lnTo>
                        <a:pt x="25" y="155"/>
                      </a:lnTo>
                      <a:lnTo>
                        <a:pt x="30" y="153"/>
                      </a:lnTo>
                      <a:lnTo>
                        <a:pt x="30" y="150"/>
                      </a:lnTo>
                      <a:lnTo>
                        <a:pt x="30" y="148"/>
                      </a:lnTo>
                      <a:lnTo>
                        <a:pt x="29" y="146"/>
                      </a:lnTo>
                      <a:lnTo>
                        <a:pt x="30" y="141"/>
                      </a:lnTo>
                      <a:lnTo>
                        <a:pt x="33" y="141"/>
                      </a:lnTo>
                      <a:lnTo>
                        <a:pt x="40" y="139"/>
                      </a:lnTo>
                      <a:lnTo>
                        <a:pt x="41" y="139"/>
                      </a:lnTo>
                      <a:lnTo>
                        <a:pt x="42" y="141"/>
                      </a:lnTo>
                      <a:lnTo>
                        <a:pt x="47" y="143"/>
                      </a:lnTo>
                      <a:lnTo>
                        <a:pt x="53" y="146"/>
                      </a:lnTo>
                      <a:lnTo>
                        <a:pt x="55" y="147"/>
                      </a:lnTo>
                      <a:lnTo>
                        <a:pt x="58" y="150"/>
                      </a:lnTo>
                      <a:lnTo>
                        <a:pt x="59" y="149"/>
                      </a:lnTo>
                      <a:lnTo>
                        <a:pt x="56" y="146"/>
                      </a:lnTo>
                      <a:lnTo>
                        <a:pt x="54" y="143"/>
                      </a:lnTo>
                      <a:lnTo>
                        <a:pt x="52" y="141"/>
                      </a:lnTo>
                      <a:lnTo>
                        <a:pt x="48" y="138"/>
                      </a:lnTo>
                      <a:lnTo>
                        <a:pt x="45" y="138"/>
                      </a:lnTo>
                      <a:lnTo>
                        <a:pt x="43" y="138"/>
                      </a:lnTo>
                      <a:lnTo>
                        <a:pt x="41" y="137"/>
                      </a:lnTo>
                      <a:lnTo>
                        <a:pt x="38" y="138"/>
                      </a:lnTo>
                      <a:lnTo>
                        <a:pt x="35" y="138"/>
                      </a:lnTo>
                      <a:lnTo>
                        <a:pt x="31" y="138"/>
                      </a:lnTo>
                      <a:lnTo>
                        <a:pt x="30" y="139"/>
                      </a:lnTo>
                      <a:lnTo>
                        <a:pt x="30" y="138"/>
                      </a:lnTo>
                      <a:lnTo>
                        <a:pt x="29" y="139"/>
                      </a:lnTo>
                      <a:lnTo>
                        <a:pt x="28" y="141"/>
                      </a:lnTo>
                      <a:lnTo>
                        <a:pt x="21" y="145"/>
                      </a:lnTo>
                      <a:lnTo>
                        <a:pt x="20" y="144"/>
                      </a:lnTo>
                      <a:lnTo>
                        <a:pt x="16" y="140"/>
                      </a:lnTo>
                      <a:lnTo>
                        <a:pt x="12" y="139"/>
                      </a:lnTo>
                      <a:lnTo>
                        <a:pt x="10" y="140"/>
                      </a:lnTo>
                      <a:lnTo>
                        <a:pt x="10" y="141"/>
                      </a:lnTo>
                      <a:lnTo>
                        <a:pt x="8" y="141"/>
                      </a:lnTo>
                      <a:lnTo>
                        <a:pt x="4" y="138"/>
                      </a:lnTo>
                      <a:lnTo>
                        <a:pt x="1" y="137"/>
                      </a:lnTo>
                      <a:lnTo>
                        <a:pt x="1" y="137"/>
                      </a:lnTo>
                      <a:lnTo>
                        <a:pt x="3" y="136"/>
                      </a:lnTo>
                      <a:lnTo>
                        <a:pt x="4" y="132"/>
                      </a:lnTo>
                      <a:lnTo>
                        <a:pt x="3" y="129"/>
                      </a:lnTo>
                      <a:lnTo>
                        <a:pt x="0" y="128"/>
                      </a:lnTo>
                      <a:lnTo>
                        <a:pt x="5" y="125"/>
                      </a:lnTo>
                      <a:lnTo>
                        <a:pt x="7" y="123"/>
                      </a:lnTo>
                      <a:lnTo>
                        <a:pt x="10" y="124"/>
                      </a:lnTo>
                      <a:lnTo>
                        <a:pt x="10" y="122"/>
                      </a:lnTo>
                      <a:lnTo>
                        <a:pt x="10" y="122"/>
                      </a:lnTo>
                      <a:lnTo>
                        <a:pt x="10" y="121"/>
                      </a:lnTo>
                      <a:lnTo>
                        <a:pt x="9" y="120"/>
                      </a:lnTo>
                      <a:lnTo>
                        <a:pt x="10" y="119"/>
                      </a:lnTo>
                      <a:lnTo>
                        <a:pt x="12" y="117"/>
                      </a:lnTo>
                      <a:lnTo>
                        <a:pt x="12" y="118"/>
                      </a:lnTo>
                      <a:lnTo>
                        <a:pt x="12" y="119"/>
                      </a:lnTo>
                      <a:lnTo>
                        <a:pt x="15" y="119"/>
                      </a:lnTo>
                      <a:lnTo>
                        <a:pt x="17" y="119"/>
                      </a:lnTo>
                      <a:lnTo>
                        <a:pt x="21" y="119"/>
                      </a:lnTo>
                      <a:lnTo>
                        <a:pt x="22" y="113"/>
                      </a:lnTo>
                      <a:lnTo>
                        <a:pt x="25" y="113"/>
                      </a:lnTo>
                      <a:lnTo>
                        <a:pt x="25" y="115"/>
                      </a:lnTo>
                      <a:lnTo>
                        <a:pt x="25" y="115"/>
                      </a:lnTo>
                      <a:lnTo>
                        <a:pt x="30" y="113"/>
                      </a:lnTo>
                      <a:lnTo>
                        <a:pt x="30" y="114"/>
                      </a:lnTo>
                      <a:lnTo>
                        <a:pt x="31" y="116"/>
                      </a:lnTo>
                      <a:lnTo>
                        <a:pt x="32" y="116"/>
                      </a:lnTo>
                      <a:lnTo>
                        <a:pt x="33" y="113"/>
                      </a:lnTo>
                      <a:lnTo>
                        <a:pt x="34" y="112"/>
                      </a:lnTo>
                      <a:lnTo>
                        <a:pt x="37" y="112"/>
                      </a:lnTo>
                      <a:lnTo>
                        <a:pt x="38" y="107"/>
                      </a:lnTo>
                      <a:lnTo>
                        <a:pt x="37" y="106"/>
                      </a:lnTo>
                      <a:lnTo>
                        <a:pt x="39" y="104"/>
                      </a:lnTo>
                      <a:lnTo>
                        <a:pt x="40" y="101"/>
                      </a:lnTo>
                      <a:lnTo>
                        <a:pt x="38" y="101"/>
                      </a:lnTo>
                      <a:lnTo>
                        <a:pt x="40" y="98"/>
                      </a:lnTo>
                      <a:lnTo>
                        <a:pt x="41" y="98"/>
                      </a:lnTo>
                      <a:lnTo>
                        <a:pt x="42" y="97"/>
                      </a:lnTo>
                      <a:lnTo>
                        <a:pt x="45" y="97"/>
                      </a:lnTo>
                      <a:lnTo>
                        <a:pt x="45" y="95"/>
                      </a:lnTo>
                      <a:lnTo>
                        <a:pt x="48" y="94"/>
                      </a:lnTo>
                      <a:lnTo>
                        <a:pt x="48" y="96"/>
                      </a:lnTo>
                      <a:lnTo>
                        <a:pt x="50" y="97"/>
                      </a:lnTo>
                      <a:lnTo>
                        <a:pt x="52" y="95"/>
                      </a:lnTo>
                      <a:lnTo>
                        <a:pt x="55" y="95"/>
                      </a:lnTo>
                      <a:lnTo>
                        <a:pt x="58" y="93"/>
                      </a:lnTo>
                      <a:lnTo>
                        <a:pt x="58" y="92"/>
                      </a:lnTo>
                      <a:lnTo>
                        <a:pt x="62" y="94"/>
                      </a:lnTo>
                      <a:lnTo>
                        <a:pt x="64" y="95"/>
                      </a:lnTo>
                      <a:lnTo>
                        <a:pt x="65" y="94"/>
                      </a:lnTo>
                      <a:lnTo>
                        <a:pt x="67" y="95"/>
                      </a:lnTo>
                      <a:lnTo>
                        <a:pt x="68" y="95"/>
                      </a:lnTo>
                      <a:lnTo>
                        <a:pt x="68" y="93"/>
                      </a:lnTo>
                      <a:lnTo>
                        <a:pt x="72" y="93"/>
                      </a:lnTo>
                      <a:lnTo>
                        <a:pt x="73" y="92"/>
                      </a:lnTo>
                      <a:lnTo>
                        <a:pt x="73" y="92"/>
                      </a:lnTo>
                      <a:lnTo>
                        <a:pt x="75" y="88"/>
                      </a:lnTo>
                      <a:lnTo>
                        <a:pt x="77" y="88"/>
                      </a:lnTo>
                      <a:lnTo>
                        <a:pt x="77" y="86"/>
                      </a:lnTo>
                      <a:lnTo>
                        <a:pt x="77" y="86"/>
                      </a:lnTo>
                      <a:lnTo>
                        <a:pt x="77" y="86"/>
                      </a:lnTo>
                      <a:lnTo>
                        <a:pt x="77" y="86"/>
                      </a:lnTo>
                      <a:close/>
                    </a:path>
                  </a:pathLst>
                </a:custGeom>
                <a:solidFill>
                  <a:srgbClr val="74BAEF"/>
                </a:solidFill>
                <a:ln w="3175">
                  <a:solidFill>
                    <a:schemeClr val="dk1"/>
                  </a:solidFill>
                  <a:round/>
                  <a:headEnd/>
                  <a:tailEnd/>
                </a:ln>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z="800" dirty="0">
                    <a:solidFill>
                      <a:srgbClr val="000000"/>
                    </a:solidFill>
                  </a:endParaRPr>
                </a:p>
              </p:txBody>
            </p:sp>
            <p:sp>
              <p:nvSpPr>
                <p:cNvPr id="50" name="Île-de-France" descr="{&quot;Key&quot;:&quot;île-de-france&quot;,&quot;Name&quot;:&quot;Île-de-France&quot;,&quot;Value&quot;:1.0,&quot;Formula&quot;:&quot;&quot;,&quot;Text&quot;:&quot;1&quot;,&quot;OfficeApplication&quot;:0,&quot;HasValue&quot;:true}">
                  <a:extLst>
                    <a:ext uri="{FF2B5EF4-FFF2-40B4-BE49-F238E27FC236}">
                      <a16:creationId xmlns:a16="http://schemas.microsoft.com/office/drawing/2014/main" id="{C196BBD2-6451-83C2-6262-EFA2C79E3184}"/>
                    </a:ext>
                  </a:extLst>
                </p:cNvPr>
                <p:cNvSpPr>
                  <a:spLocks/>
                </p:cNvSpPr>
                <p:nvPr/>
              </p:nvSpPr>
              <p:spPr bwMode="auto">
                <a:xfrm>
                  <a:off x="5522391" y="2375573"/>
                  <a:ext cx="825236" cy="622718"/>
                </a:xfrm>
                <a:custGeom>
                  <a:avLst/>
                  <a:gdLst>
                    <a:gd name="T0" fmla="*/ 115 w 160"/>
                    <a:gd name="T1" fmla="*/ 17 h 128"/>
                    <a:gd name="T2" fmla="*/ 123 w 160"/>
                    <a:gd name="T3" fmla="*/ 14 h 128"/>
                    <a:gd name="T4" fmla="*/ 132 w 160"/>
                    <a:gd name="T5" fmla="*/ 22 h 128"/>
                    <a:gd name="T6" fmla="*/ 134 w 160"/>
                    <a:gd name="T7" fmla="*/ 30 h 128"/>
                    <a:gd name="T8" fmla="*/ 143 w 160"/>
                    <a:gd name="T9" fmla="*/ 38 h 128"/>
                    <a:gd name="T10" fmla="*/ 151 w 160"/>
                    <a:gd name="T11" fmla="*/ 43 h 128"/>
                    <a:gd name="T12" fmla="*/ 154 w 160"/>
                    <a:gd name="T13" fmla="*/ 48 h 128"/>
                    <a:gd name="T14" fmla="*/ 150 w 160"/>
                    <a:gd name="T15" fmla="*/ 50 h 128"/>
                    <a:gd name="T16" fmla="*/ 153 w 160"/>
                    <a:gd name="T17" fmla="*/ 58 h 128"/>
                    <a:gd name="T18" fmla="*/ 153 w 160"/>
                    <a:gd name="T19" fmla="*/ 67 h 128"/>
                    <a:gd name="T20" fmla="*/ 160 w 160"/>
                    <a:gd name="T21" fmla="*/ 71 h 128"/>
                    <a:gd name="T22" fmla="*/ 151 w 160"/>
                    <a:gd name="T23" fmla="*/ 82 h 128"/>
                    <a:gd name="T24" fmla="*/ 149 w 160"/>
                    <a:gd name="T25" fmla="*/ 90 h 128"/>
                    <a:gd name="T26" fmla="*/ 145 w 160"/>
                    <a:gd name="T27" fmla="*/ 98 h 128"/>
                    <a:gd name="T28" fmla="*/ 138 w 160"/>
                    <a:gd name="T29" fmla="*/ 99 h 128"/>
                    <a:gd name="T30" fmla="*/ 129 w 160"/>
                    <a:gd name="T31" fmla="*/ 100 h 128"/>
                    <a:gd name="T32" fmla="*/ 121 w 160"/>
                    <a:gd name="T33" fmla="*/ 100 h 128"/>
                    <a:gd name="T34" fmla="*/ 120 w 160"/>
                    <a:gd name="T35" fmla="*/ 110 h 128"/>
                    <a:gd name="T36" fmla="*/ 116 w 160"/>
                    <a:gd name="T37" fmla="*/ 118 h 128"/>
                    <a:gd name="T38" fmla="*/ 108 w 160"/>
                    <a:gd name="T39" fmla="*/ 124 h 128"/>
                    <a:gd name="T40" fmla="*/ 99 w 160"/>
                    <a:gd name="T41" fmla="*/ 123 h 128"/>
                    <a:gd name="T42" fmla="*/ 91 w 160"/>
                    <a:gd name="T43" fmla="*/ 126 h 128"/>
                    <a:gd name="T44" fmla="*/ 78 w 160"/>
                    <a:gd name="T45" fmla="*/ 124 h 128"/>
                    <a:gd name="T46" fmla="*/ 82 w 160"/>
                    <a:gd name="T47" fmla="*/ 117 h 128"/>
                    <a:gd name="T48" fmla="*/ 74 w 160"/>
                    <a:gd name="T49" fmla="*/ 108 h 128"/>
                    <a:gd name="T50" fmla="*/ 65 w 160"/>
                    <a:gd name="T51" fmla="*/ 107 h 128"/>
                    <a:gd name="T52" fmla="*/ 57 w 160"/>
                    <a:gd name="T53" fmla="*/ 103 h 128"/>
                    <a:gd name="T54" fmla="*/ 50 w 160"/>
                    <a:gd name="T55" fmla="*/ 107 h 128"/>
                    <a:gd name="T56" fmla="*/ 39 w 160"/>
                    <a:gd name="T57" fmla="*/ 108 h 128"/>
                    <a:gd name="T58" fmla="*/ 40 w 160"/>
                    <a:gd name="T59" fmla="*/ 96 h 128"/>
                    <a:gd name="T60" fmla="*/ 34 w 160"/>
                    <a:gd name="T61" fmla="*/ 91 h 128"/>
                    <a:gd name="T62" fmla="*/ 27 w 160"/>
                    <a:gd name="T63" fmla="*/ 86 h 128"/>
                    <a:gd name="T64" fmla="*/ 20 w 160"/>
                    <a:gd name="T65" fmla="*/ 75 h 128"/>
                    <a:gd name="T66" fmla="*/ 16 w 160"/>
                    <a:gd name="T67" fmla="*/ 69 h 128"/>
                    <a:gd name="T68" fmla="*/ 11 w 160"/>
                    <a:gd name="T69" fmla="*/ 61 h 128"/>
                    <a:gd name="T70" fmla="*/ 11 w 160"/>
                    <a:gd name="T71" fmla="*/ 54 h 128"/>
                    <a:gd name="T72" fmla="*/ 11 w 160"/>
                    <a:gd name="T73" fmla="*/ 46 h 128"/>
                    <a:gd name="T74" fmla="*/ 8 w 160"/>
                    <a:gd name="T75" fmla="*/ 41 h 128"/>
                    <a:gd name="T76" fmla="*/ 6 w 160"/>
                    <a:gd name="T77" fmla="*/ 36 h 128"/>
                    <a:gd name="T78" fmla="*/ 3 w 160"/>
                    <a:gd name="T79" fmla="*/ 30 h 128"/>
                    <a:gd name="T80" fmla="*/ 1 w 160"/>
                    <a:gd name="T81" fmla="*/ 21 h 128"/>
                    <a:gd name="T82" fmla="*/ 8 w 160"/>
                    <a:gd name="T83" fmla="*/ 19 h 128"/>
                    <a:gd name="T84" fmla="*/ 14 w 160"/>
                    <a:gd name="T85" fmla="*/ 14 h 128"/>
                    <a:gd name="T86" fmla="*/ 18 w 160"/>
                    <a:gd name="T87" fmla="*/ 7 h 128"/>
                    <a:gd name="T88" fmla="*/ 20 w 160"/>
                    <a:gd name="T89" fmla="*/ 3 h 128"/>
                    <a:gd name="T90" fmla="*/ 27 w 160"/>
                    <a:gd name="T91" fmla="*/ 6 h 128"/>
                    <a:gd name="T92" fmla="*/ 33 w 160"/>
                    <a:gd name="T93" fmla="*/ 7 h 128"/>
                    <a:gd name="T94" fmla="*/ 45 w 160"/>
                    <a:gd name="T95" fmla="*/ 6 h 128"/>
                    <a:gd name="T96" fmla="*/ 54 w 160"/>
                    <a:gd name="T97" fmla="*/ 7 h 128"/>
                    <a:gd name="T98" fmla="*/ 60 w 160"/>
                    <a:gd name="T99" fmla="*/ 8 h 128"/>
                    <a:gd name="T100" fmla="*/ 65 w 160"/>
                    <a:gd name="T101" fmla="*/ 7 h 128"/>
                    <a:gd name="T102" fmla="*/ 75 w 160"/>
                    <a:gd name="T103" fmla="*/ 12 h 128"/>
                    <a:gd name="T104" fmla="*/ 83 w 160"/>
                    <a:gd name="T105" fmla="*/ 14 h 128"/>
                    <a:gd name="T106" fmla="*/ 89 w 160"/>
                    <a:gd name="T107" fmla="*/ 17 h 128"/>
                    <a:gd name="T108" fmla="*/ 97 w 160"/>
                    <a:gd name="T109" fmla="*/ 21 h 128"/>
                    <a:gd name="T110" fmla="*/ 105 w 160"/>
                    <a:gd name="T11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0" h="128">
                      <a:moveTo>
                        <a:pt x="106" y="19"/>
                      </a:moveTo>
                      <a:lnTo>
                        <a:pt x="109" y="18"/>
                      </a:lnTo>
                      <a:lnTo>
                        <a:pt x="109" y="17"/>
                      </a:lnTo>
                      <a:lnTo>
                        <a:pt x="112" y="18"/>
                      </a:lnTo>
                      <a:lnTo>
                        <a:pt x="112" y="18"/>
                      </a:lnTo>
                      <a:lnTo>
                        <a:pt x="113" y="17"/>
                      </a:lnTo>
                      <a:lnTo>
                        <a:pt x="115" y="17"/>
                      </a:lnTo>
                      <a:lnTo>
                        <a:pt x="115" y="18"/>
                      </a:lnTo>
                      <a:lnTo>
                        <a:pt x="116" y="19"/>
                      </a:lnTo>
                      <a:lnTo>
                        <a:pt x="117" y="17"/>
                      </a:lnTo>
                      <a:lnTo>
                        <a:pt x="120" y="17"/>
                      </a:lnTo>
                      <a:lnTo>
                        <a:pt x="121" y="17"/>
                      </a:lnTo>
                      <a:lnTo>
                        <a:pt x="121" y="15"/>
                      </a:lnTo>
                      <a:lnTo>
                        <a:pt x="123" y="14"/>
                      </a:lnTo>
                      <a:lnTo>
                        <a:pt x="126" y="14"/>
                      </a:lnTo>
                      <a:lnTo>
                        <a:pt x="126" y="14"/>
                      </a:lnTo>
                      <a:lnTo>
                        <a:pt x="130" y="16"/>
                      </a:lnTo>
                      <a:lnTo>
                        <a:pt x="130" y="17"/>
                      </a:lnTo>
                      <a:lnTo>
                        <a:pt x="130" y="18"/>
                      </a:lnTo>
                      <a:lnTo>
                        <a:pt x="130" y="21"/>
                      </a:lnTo>
                      <a:lnTo>
                        <a:pt x="132" y="22"/>
                      </a:lnTo>
                      <a:lnTo>
                        <a:pt x="130" y="24"/>
                      </a:lnTo>
                      <a:lnTo>
                        <a:pt x="130" y="25"/>
                      </a:lnTo>
                      <a:lnTo>
                        <a:pt x="132" y="27"/>
                      </a:lnTo>
                      <a:lnTo>
                        <a:pt x="133" y="27"/>
                      </a:lnTo>
                      <a:lnTo>
                        <a:pt x="134" y="28"/>
                      </a:lnTo>
                      <a:lnTo>
                        <a:pt x="134" y="29"/>
                      </a:lnTo>
                      <a:lnTo>
                        <a:pt x="134" y="30"/>
                      </a:lnTo>
                      <a:lnTo>
                        <a:pt x="137" y="30"/>
                      </a:lnTo>
                      <a:lnTo>
                        <a:pt x="137" y="31"/>
                      </a:lnTo>
                      <a:lnTo>
                        <a:pt x="137" y="33"/>
                      </a:lnTo>
                      <a:lnTo>
                        <a:pt x="137" y="34"/>
                      </a:lnTo>
                      <a:lnTo>
                        <a:pt x="140" y="34"/>
                      </a:lnTo>
                      <a:lnTo>
                        <a:pt x="140" y="36"/>
                      </a:lnTo>
                      <a:lnTo>
                        <a:pt x="143" y="38"/>
                      </a:lnTo>
                      <a:lnTo>
                        <a:pt x="145" y="36"/>
                      </a:lnTo>
                      <a:lnTo>
                        <a:pt x="146" y="41"/>
                      </a:lnTo>
                      <a:lnTo>
                        <a:pt x="147" y="41"/>
                      </a:lnTo>
                      <a:lnTo>
                        <a:pt x="147" y="41"/>
                      </a:lnTo>
                      <a:lnTo>
                        <a:pt x="148" y="41"/>
                      </a:lnTo>
                      <a:lnTo>
                        <a:pt x="148" y="42"/>
                      </a:lnTo>
                      <a:lnTo>
                        <a:pt x="151" y="43"/>
                      </a:lnTo>
                      <a:lnTo>
                        <a:pt x="151" y="45"/>
                      </a:lnTo>
                      <a:lnTo>
                        <a:pt x="153" y="45"/>
                      </a:lnTo>
                      <a:lnTo>
                        <a:pt x="153" y="44"/>
                      </a:lnTo>
                      <a:lnTo>
                        <a:pt x="154" y="44"/>
                      </a:lnTo>
                      <a:lnTo>
                        <a:pt x="154" y="46"/>
                      </a:lnTo>
                      <a:lnTo>
                        <a:pt x="154" y="47"/>
                      </a:lnTo>
                      <a:lnTo>
                        <a:pt x="154" y="48"/>
                      </a:lnTo>
                      <a:lnTo>
                        <a:pt x="154" y="49"/>
                      </a:lnTo>
                      <a:lnTo>
                        <a:pt x="153" y="48"/>
                      </a:lnTo>
                      <a:lnTo>
                        <a:pt x="151" y="49"/>
                      </a:lnTo>
                      <a:lnTo>
                        <a:pt x="148" y="48"/>
                      </a:lnTo>
                      <a:lnTo>
                        <a:pt x="148" y="49"/>
                      </a:lnTo>
                      <a:lnTo>
                        <a:pt x="149" y="50"/>
                      </a:lnTo>
                      <a:lnTo>
                        <a:pt x="150" y="50"/>
                      </a:lnTo>
                      <a:lnTo>
                        <a:pt x="150" y="52"/>
                      </a:lnTo>
                      <a:lnTo>
                        <a:pt x="150" y="52"/>
                      </a:lnTo>
                      <a:lnTo>
                        <a:pt x="148" y="52"/>
                      </a:lnTo>
                      <a:lnTo>
                        <a:pt x="148" y="55"/>
                      </a:lnTo>
                      <a:lnTo>
                        <a:pt x="150" y="55"/>
                      </a:lnTo>
                      <a:lnTo>
                        <a:pt x="150" y="57"/>
                      </a:lnTo>
                      <a:lnTo>
                        <a:pt x="153" y="58"/>
                      </a:lnTo>
                      <a:lnTo>
                        <a:pt x="153" y="58"/>
                      </a:lnTo>
                      <a:lnTo>
                        <a:pt x="153" y="59"/>
                      </a:lnTo>
                      <a:lnTo>
                        <a:pt x="154" y="62"/>
                      </a:lnTo>
                      <a:lnTo>
                        <a:pt x="154" y="62"/>
                      </a:lnTo>
                      <a:lnTo>
                        <a:pt x="151" y="65"/>
                      </a:lnTo>
                      <a:lnTo>
                        <a:pt x="151" y="65"/>
                      </a:lnTo>
                      <a:lnTo>
                        <a:pt x="153" y="67"/>
                      </a:lnTo>
                      <a:lnTo>
                        <a:pt x="151" y="69"/>
                      </a:lnTo>
                      <a:lnTo>
                        <a:pt x="154" y="68"/>
                      </a:lnTo>
                      <a:lnTo>
                        <a:pt x="155" y="67"/>
                      </a:lnTo>
                      <a:lnTo>
                        <a:pt x="157" y="67"/>
                      </a:lnTo>
                      <a:lnTo>
                        <a:pt x="157" y="69"/>
                      </a:lnTo>
                      <a:lnTo>
                        <a:pt x="158" y="69"/>
                      </a:lnTo>
                      <a:lnTo>
                        <a:pt x="160" y="71"/>
                      </a:lnTo>
                      <a:lnTo>
                        <a:pt x="156" y="72"/>
                      </a:lnTo>
                      <a:lnTo>
                        <a:pt x="157" y="73"/>
                      </a:lnTo>
                      <a:lnTo>
                        <a:pt x="155" y="73"/>
                      </a:lnTo>
                      <a:lnTo>
                        <a:pt x="155" y="75"/>
                      </a:lnTo>
                      <a:lnTo>
                        <a:pt x="153" y="76"/>
                      </a:lnTo>
                      <a:lnTo>
                        <a:pt x="154" y="79"/>
                      </a:lnTo>
                      <a:lnTo>
                        <a:pt x="151" y="82"/>
                      </a:lnTo>
                      <a:lnTo>
                        <a:pt x="149" y="80"/>
                      </a:lnTo>
                      <a:lnTo>
                        <a:pt x="149" y="82"/>
                      </a:lnTo>
                      <a:lnTo>
                        <a:pt x="150" y="83"/>
                      </a:lnTo>
                      <a:lnTo>
                        <a:pt x="150" y="86"/>
                      </a:lnTo>
                      <a:lnTo>
                        <a:pt x="149" y="86"/>
                      </a:lnTo>
                      <a:lnTo>
                        <a:pt x="147" y="86"/>
                      </a:lnTo>
                      <a:lnTo>
                        <a:pt x="149" y="90"/>
                      </a:lnTo>
                      <a:lnTo>
                        <a:pt x="148" y="91"/>
                      </a:lnTo>
                      <a:lnTo>
                        <a:pt x="148" y="93"/>
                      </a:lnTo>
                      <a:lnTo>
                        <a:pt x="149" y="93"/>
                      </a:lnTo>
                      <a:lnTo>
                        <a:pt x="149" y="95"/>
                      </a:lnTo>
                      <a:lnTo>
                        <a:pt x="149" y="96"/>
                      </a:lnTo>
                      <a:lnTo>
                        <a:pt x="147" y="96"/>
                      </a:lnTo>
                      <a:lnTo>
                        <a:pt x="145" y="98"/>
                      </a:lnTo>
                      <a:lnTo>
                        <a:pt x="145" y="98"/>
                      </a:lnTo>
                      <a:lnTo>
                        <a:pt x="145" y="99"/>
                      </a:lnTo>
                      <a:lnTo>
                        <a:pt x="144" y="99"/>
                      </a:lnTo>
                      <a:lnTo>
                        <a:pt x="143" y="99"/>
                      </a:lnTo>
                      <a:lnTo>
                        <a:pt x="141" y="99"/>
                      </a:lnTo>
                      <a:lnTo>
                        <a:pt x="140" y="98"/>
                      </a:lnTo>
                      <a:lnTo>
                        <a:pt x="138" y="99"/>
                      </a:lnTo>
                      <a:lnTo>
                        <a:pt x="137" y="100"/>
                      </a:lnTo>
                      <a:lnTo>
                        <a:pt x="135" y="100"/>
                      </a:lnTo>
                      <a:lnTo>
                        <a:pt x="134" y="100"/>
                      </a:lnTo>
                      <a:lnTo>
                        <a:pt x="133" y="100"/>
                      </a:lnTo>
                      <a:lnTo>
                        <a:pt x="132" y="100"/>
                      </a:lnTo>
                      <a:lnTo>
                        <a:pt x="130" y="99"/>
                      </a:lnTo>
                      <a:lnTo>
                        <a:pt x="129" y="100"/>
                      </a:lnTo>
                      <a:lnTo>
                        <a:pt x="129" y="100"/>
                      </a:lnTo>
                      <a:lnTo>
                        <a:pt x="126" y="100"/>
                      </a:lnTo>
                      <a:lnTo>
                        <a:pt x="126" y="101"/>
                      </a:lnTo>
                      <a:lnTo>
                        <a:pt x="125" y="101"/>
                      </a:lnTo>
                      <a:lnTo>
                        <a:pt x="125" y="100"/>
                      </a:lnTo>
                      <a:lnTo>
                        <a:pt x="123" y="100"/>
                      </a:lnTo>
                      <a:lnTo>
                        <a:pt x="121" y="100"/>
                      </a:lnTo>
                      <a:lnTo>
                        <a:pt x="120" y="103"/>
                      </a:lnTo>
                      <a:lnTo>
                        <a:pt x="121" y="104"/>
                      </a:lnTo>
                      <a:lnTo>
                        <a:pt x="119" y="107"/>
                      </a:lnTo>
                      <a:lnTo>
                        <a:pt x="120" y="107"/>
                      </a:lnTo>
                      <a:lnTo>
                        <a:pt x="119" y="108"/>
                      </a:lnTo>
                      <a:lnTo>
                        <a:pt x="120" y="110"/>
                      </a:lnTo>
                      <a:lnTo>
                        <a:pt x="120" y="110"/>
                      </a:lnTo>
                      <a:lnTo>
                        <a:pt x="121" y="111"/>
                      </a:lnTo>
                      <a:lnTo>
                        <a:pt x="121" y="113"/>
                      </a:lnTo>
                      <a:lnTo>
                        <a:pt x="121" y="113"/>
                      </a:lnTo>
                      <a:lnTo>
                        <a:pt x="119" y="116"/>
                      </a:lnTo>
                      <a:lnTo>
                        <a:pt x="119" y="118"/>
                      </a:lnTo>
                      <a:lnTo>
                        <a:pt x="117" y="118"/>
                      </a:lnTo>
                      <a:lnTo>
                        <a:pt x="116" y="118"/>
                      </a:lnTo>
                      <a:lnTo>
                        <a:pt x="116" y="120"/>
                      </a:lnTo>
                      <a:lnTo>
                        <a:pt x="115" y="120"/>
                      </a:lnTo>
                      <a:lnTo>
                        <a:pt x="113" y="122"/>
                      </a:lnTo>
                      <a:lnTo>
                        <a:pt x="113" y="123"/>
                      </a:lnTo>
                      <a:lnTo>
                        <a:pt x="112" y="123"/>
                      </a:lnTo>
                      <a:lnTo>
                        <a:pt x="111" y="124"/>
                      </a:lnTo>
                      <a:lnTo>
                        <a:pt x="108" y="124"/>
                      </a:lnTo>
                      <a:lnTo>
                        <a:pt x="108" y="124"/>
                      </a:lnTo>
                      <a:lnTo>
                        <a:pt x="105" y="127"/>
                      </a:lnTo>
                      <a:lnTo>
                        <a:pt x="102" y="126"/>
                      </a:lnTo>
                      <a:lnTo>
                        <a:pt x="104" y="124"/>
                      </a:lnTo>
                      <a:lnTo>
                        <a:pt x="102" y="123"/>
                      </a:lnTo>
                      <a:lnTo>
                        <a:pt x="99" y="124"/>
                      </a:lnTo>
                      <a:lnTo>
                        <a:pt x="99" y="123"/>
                      </a:lnTo>
                      <a:lnTo>
                        <a:pt x="98" y="123"/>
                      </a:lnTo>
                      <a:lnTo>
                        <a:pt x="99" y="125"/>
                      </a:lnTo>
                      <a:lnTo>
                        <a:pt x="97" y="127"/>
                      </a:lnTo>
                      <a:lnTo>
                        <a:pt x="96" y="127"/>
                      </a:lnTo>
                      <a:lnTo>
                        <a:pt x="93" y="128"/>
                      </a:lnTo>
                      <a:lnTo>
                        <a:pt x="92" y="128"/>
                      </a:lnTo>
                      <a:lnTo>
                        <a:pt x="91" y="126"/>
                      </a:lnTo>
                      <a:lnTo>
                        <a:pt x="86" y="127"/>
                      </a:lnTo>
                      <a:lnTo>
                        <a:pt x="85" y="126"/>
                      </a:lnTo>
                      <a:lnTo>
                        <a:pt x="83" y="126"/>
                      </a:lnTo>
                      <a:lnTo>
                        <a:pt x="82" y="127"/>
                      </a:lnTo>
                      <a:lnTo>
                        <a:pt x="77" y="127"/>
                      </a:lnTo>
                      <a:lnTo>
                        <a:pt x="76" y="127"/>
                      </a:lnTo>
                      <a:lnTo>
                        <a:pt x="78" y="124"/>
                      </a:lnTo>
                      <a:lnTo>
                        <a:pt x="78" y="123"/>
                      </a:lnTo>
                      <a:lnTo>
                        <a:pt x="80" y="124"/>
                      </a:lnTo>
                      <a:lnTo>
                        <a:pt x="82" y="123"/>
                      </a:lnTo>
                      <a:lnTo>
                        <a:pt x="80" y="122"/>
                      </a:lnTo>
                      <a:lnTo>
                        <a:pt x="82" y="120"/>
                      </a:lnTo>
                      <a:lnTo>
                        <a:pt x="82" y="119"/>
                      </a:lnTo>
                      <a:lnTo>
                        <a:pt x="82" y="117"/>
                      </a:lnTo>
                      <a:lnTo>
                        <a:pt x="80" y="114"/>
                      </a:lnTo>
                      <a:lnTo>
                        <a:pt x="78" y="114"/>
                      </a:lnTo>
                      <a:lnTo>
                        <a:pt x="78" y="113"/>
                      </a:lnTo>
                      <a:lnTo>
                        <a:pt x="75" y="113"/>
                      </a:lnTo>
                      <a:lnTo>
                        <a:pt x="74" y="112"/>
                      </a:lnTo>
                      <a:lnTo>
                        <a:pt x="74" y="111"/>
                      </a:lnTo>
                      <a:lnTo>
                        <a:pt x="74" y="108"/>
                      </a:lnTo>
                      <a:lnTo>
                        <a:pt x="73" y="107"/>
                      </a:lnTo>
                      <a:lnTo>
                        <a:pt x="72" y="106"/>
                      </a:lnTo>
                      <a:lnTo>
                        <a:pt x="69" y="107"/>
                      </a:lnTo>
                      <a:lnTo>
                        <a:pt x="69" y="107"/>
                      </a:lnTo>
                      <a:lnTo>
                        <a:pt x="67" y="104"/>
                      </a:lnTo>
                      <a:lnTo>
                        <a:pt x="65" y="105"/>
                      </a:lnTo>
                      <a:lnTo>
                        <a:pt x="65" y="107"/>
                      </a:lnTo>
                      <a:lnTo>
                        <a:pt x="62" y="107"/>
                      </a:lnTo>
                      <a:lnTo>
                        <a:pt x="61" y="107"/>
                      </a:lnTo>
                      <a:lnTo>
                        <a:pt x="60" y="108"/>
                      </a:lnTo>
                      <a:lnTo>
                        <a:pt x="60" y="107"/>
                      </a:lnTo>
                      <a:lnTo>
                        <a:pt x="60" y="106"/>
                      </a:lnTo>
                      <a:lnTo>
                        <a:pt x="60" y="105"/>
                      </a:lnTo>
                      <a:lnTo>
                        <a:pt x="57" y="103"/>
                      </a:lnTo>
                      <a:lnTo>
                        <a:pt x="56" y="104"/>
                      </a:lnTo>
                      <a:lnTo>
                        <a:pt x="55" y="107"/>
                      </a:lnTo>
                      <a:lnTo>
                        <a:pt x="54" y="107"/>
                      </a:lnTo>
                      <a:lnTo>
                        <a:pt x="53" y="107"/>
                      </a:lnTo>
                      <a:lnTo>
                        <a:pt x="54" y="108"/>
                      </a:lnTo>
                      <a:lnTo>
                        <a:pt x="50" y="108"/>
                      </a:lnTo>
                      <a:lnTo>
                        <a:pt x="50" y="107"/>
                      </a:lnTo>
                      <a:lnTo>
                        <a:pt x="49" y="107"/>
                      </a:lnTo>
                      <a:lnTo>
                        <a:pt x="48" y="108"/>
                      </a:lnTo>
                      <a:lnTo>
                        <a:pt x="46" y="108"/>
                      </a:lnTo>
                      <a:lnTo>
                        <a:pt x="46" y="110"/>
                      </a:lnTo>
                      <a:lnTo>
                        <a:pt x="41" y="110"/>
                      </a:lnTo>
                      <a:lnTo>
                        <a:pt x="40" y="110"/>
                      </a:lnTo>
                      <a:lnTo>
                        <a:pt x="39" y="108"/>
                      </a:lnTo>
                      <a:lnTo>
                        <a:pt x="39" y="108"/>
                      </a:lnTo>
                      <a:lnTo>
                        <a:pt x="37" y="107"/>
                      </a:lnTo>
                      <a:lnTo>
                        <a:pt x="40" y="104"/>
                      </a:lnTo>
                      <a:lnTo>
                        <a:pt x="40" y="100"/>
                      </a:lnTo>
                      <a:lnTo>
                        <a:pt x="41" y="100"/>
                      </a:lnTo>
                      <a:lnTo>
                        <a:pt x="39" y="98"/>
                      </a:lnTo>
                      <a:lnTo>
                        <a:pt x="40" y="96"/>
                      </a:lnTo>
                      <a:lnTo>
                        <a:pt x="39" y="96"/>
                      </a:lnTo>
                      <a:lnTo>
                        <a:pt x="37" y="96"/>
                      </a:lnTo>
                      <a:lnTo>
                        <a:pt x="37" y="94"/>
                      </a:lnTo>
                      <a:lnTo>
                        <a:pt x="37" y="91"/>
                      </a:lnTo>
                      <a:lnTo>
                        <a:pt x="37" y="90"/>
                      </a:lnTo>
                      <a:lnTo>
                        <a:pt x="36" y="90"/>
                      </a:lnTo>
                      <a:lnTo>
                        <a:pt x="34" y="91"/>
                      </a:lnTo>
                      <a:lnTo>
                        <a:pt x="33" y="91"/>
                      </a:lnTo>
                      <a:lnTo>
                        <a:pt x="31" y="91"/>
                      </a:lnTo>
                      <a:lnTo>
                        <a:pt x="30" y="90"/>
                      </a:lnTo>
                      <a:lnTo>
                        <a:pt x="29" y="89"/>
                      </a:lnTo>
                      <a:lnTo>
                        <a:pt x="29" y="89"/>
                      </a:lnTo>
                      <a:lnTo>
                        <a:pt x="27" y="89"/>
                      </a:lnTo>
                      <a:lnTo>
                        <a:pt x="27" y="86"/>
                      </a:lnTo>
                      <a:lnTo>
                        <a:pt x="26" y="86"/>
                      </a:lnTo>
                      <a:lnTo>
                        <a:pt x="24" y="83"/>
                      </a:lnTo>
                      <a:lnTo>
                        <a:pt x="26" y="78"/>
                      </a:lnTo>
                      <a:lnTo>
                        <a:pt x="24" y="78"/>
                      </a:lnTo>
                      <a:lnTo>
                        <a:pt x="23" y="76"/>
                      </a:lnTo>
                      <a:lnTo>
                        <a:pt x="20" y="76"/>
                      </a:lnTo>
                      <a:lnTo>
                        <a:pt x="20" y="75"/>
                      </a:lnTo>
                      <a:lnTo>
                        <a:pt x="20" y="72"/>
                      </a:lnTo>
                      <a:lnTo>
                        <a:pt x="20" y="72"/>
                      </a:lnTo>
                      <a:lnTo>
                        <a:pt x="19" y="72"/>
                      </a:lnTo>
                      <a:lnTo>
                        <a:pt x="19" y="72"/>
                      </a:lnTo>
                      <a:lnTo>
                        <a:pt x="17" y="72"/>
                      </a:lnTo>
                      <a:lnTo>
                        <a:pt x="16" y="69"/>
                      </a:lnTo>
                      <a:lnTo>
                        <a:pt x="16" y="69"/>
                      </a:lnTo>
                      <a:lnTo>
                        <a:pt x="15" y="67"/>
                      </a:lnTo>
                      <a:lnTo>
                        <a:pt x="12" y="67"/>
                      </a:lnTo>
                      <a:lnTo>
                        <a:pt x="12" y="65"/>
                      </a:lnTo>
                      <a:lnTo>
                        <a:pt x="13" y="65"/>
                      </a:lnTo>
                      <a:lnTo>
                        <a:pt x="13" y="63"/>
                      </a:lnTo>
                      <a:lnTo>
                        <a:pt x="10" y="62"/>
                      </a:lnTo>
                      <a:lnTo>
                        <a:pt x="11" y="61"/>
                      </a:lnTo>
                      <a:lnTo>
                        <a:pt x="11" y="60"/>
                      </a:lnTo>
                      <a:lnTo>
                        <a:pt x="13" y="58"/>
                      </a:lnTo>
                      <a:lnTo>
                        <a:pt x="13" y="57"/>
                      </a:lnTo>
                      <a:lnTo>
                        <a:pt x="13" y="56"/>
                      </a:lnTo>
                      <a:lnTo>
                        <a:pt x="11" y="55"/>
                      </a:lnTo>
                      <a:lnTo>
                        <a:pt x="11" y="55"/>
                      </a:lnTo>
                      <a:lnTo>
                        <a:pt x="11" y="54"/>
                      </a:lnTo>
                      <a:lnTo>
                        <a:pt x="11" y="53"/>
                      </a:lnTo>
                      <a:lnTo>
                        <a:pt x="10" y="53"/>
                      </a:lnTo>
                      <a:lnTo>
                        <a:pt x="10" y="49"/>
                      </a:lnTo>
                      <a:lnTo>
                        <a:pt x="11" y="48"/>
                      </a:lnTo>
                      <a:lnTo>
                        <a:pt x="10" y="48"/>
                      </a:lnTo>
                      <a:lnTo>
                        <a:pt x="10" y="47"/>
                      </a:lnTo>
                      <a:lnTo>
                        <a:pt x="11" y="46"/>
                      </a:lnTo>
                      <a:lnTo>
                        <a:pt x="11" y="45"/>
                      </a:lnTo>
                      <a:lnTo>
                        <a:pt x="11" y="45"/>
                      </a:lnTo>
                      <a:lnTo>
                        <a:pt x="10" y="45"/>
                      </a:lnTo>
                      <a:lnTo>
                        <a:pt x="10" y="43"/>
                      </a:lnTo>
                      <a:lnTo>
                        <a:pt x="10" y="43"/>
                      </a:lnTo>
                      <a:lnTo>
                        <a:pt x="9" y="43"/>
                      </a:lnTo>
                      <a:lnTo>
                        <a:pt x="8" y="41"/>
                      </a:lnTo>
                      <a:lnTo>
                        <a:pt x="9" y="40"/>
                      </a:lnTo>
                      <a:lnTo>
                        <a:pt x="9" y="40"/>
                      </a:lnTo>
                      <a:lnTo>
                        <a:pt x="7" y="38"/>
                      </a:lnTo>
                      <a:lnTo>
                        <a:pt x="8" y="38"/>
                      </a:lnTo>
                      <a:lnTo>
                        <a:pt x="7" y="36"/>
                      </a:lnTo>
                      <a:lnTo>
                        <a:pt x="6" y="36"/>
                      </a:lnTo>
                      <a:lnTo>
                        <a:pt x="6" y="36"/>
                      </a:lnTo>
                      <a:lnTo>
                        <a:pt x="4" y="34"/>
                      </a:lnTo>
                      <a:lnTo>
                        <a:pt x="5" y="34"/>
                      </a:lnTo>
                      <a:lnTo>
                        <a:pt x="5" y="32"/>
                      </a:lnTo>
                      <a:lnTo>
                        <a:pt x="4" y="31"/>
                      </a:lnTo>
                      <a:lnTo>
                        <a:pt x="6" y="29"/>
                      </a:lnTo>
                      <a:lnTo>
                        <a:pt x="5" y="28"/>
                      </a:lnTo>
                      <a:lnTo>
                        <a:pt x="3" y="30"/>
                      </a:lnTo>
                      <a:lnTo>
                        <a:pt x="1" y="28"/>
                      </a:lnTo>
                      <a:lnTo>
                        <a:pt x="3" y="27"/>
                      </a:lnTo>
                      <a:lnTo>
                        <a:pt x="3" y="26"/>
                      </a:lnTo>
                      <a:lnTo>
                        <a:pt x="3" y="25"/>
                      </a:lnTo>
                      <a:lnTo>
                        <a:pt x="1" y="24"/>
                      </a:lnTo>
                      <a:lnTo>
                        <a:pt x="0" y="22"/>
                      </a:lnTo>
                      <a:lnTo>
                        <a:pt x="1" y="21"/>
                      </a:lnTo>
                      <a:lnTo>
                        <a:pt x="1" y="21"/>
                      </a:lnTo>
                      <a:lnTo>
                        <a:pt x="3" y="21"/>
                      </a:lnTo>
                      <a:lnTo>
                        <a:pt x="4" y="21"/>
                      </a:lnTo>
                      <a:lnTo>
                        <a:pt x="5" y="21"/>
                      </a:lnTo>
                      <a:lnTo>
                        <a:pt x="6" y="17"/>
                      </a:lnTo>
                      <a:lnTo>
                        <a:pt x="6" y="19"/>
                      </a:lnTo>
                      <a:lnTo>
                        <a:pt x="8" y="19"/>
                      </a:lnTo>
                      <a:lnTo>
                        <a:pt x="9" y="19"/>
                      </a:lnTo>
                      <a:lnTo>
                        <a:pt x="10" y="18"/>
                      </a:lnTo>
                      <a:lnTo>
                        <a:pt x="11" y="17"/>
                      </a:lnTo>
                      <a:lnTo>
                        <a:pt x="13" y="17"/>
                      </a:lnTo>
                      <a:lnTo>
                        <a:pt x="13" y="17"/>
                      </a:lnTo>
                      <a:lnTo>
                        <a:pt x="13" y="17"/>
                      </a:lnTo>
                      <a:lnTo>
                        <a:pt x="14" y="14"/>
                      </a:lnTo>
                      <a:lnTo>
                        <a:pt x="16" y="12"/>
                      </a:lnTo>
                      <a:lnTo>
                        <a:pt x="17" y="12"/>
                      </a:lnTo>
                      <a:lnTo>
                        <a:pt x="17" y="11"/>
                      </a:lnTo>
                      <a:lnTo>
                        <a:pt x="16" y="11"/>
                      </a:lnTo>
                      <a:lnTo>
                        <a:pt x="18" y="10"/>
                      </a:lnTo>
                      <a:lnTo>
                        <a:pt x="18" y="7"/>
                      </a:lnTo>
                      <a:lnTo>
                        <a:pt x="18" y="7"/>
                      </a:lnTo>
                      <a:lnTo>
                        <a:pt x="18" y="6"/>
                      </a:lnTo>
                      <a:lnTo>
                        <a:pt x="18" y="3"/>
                      </a:lnTo>
                      <a:lnTo>
                        <a:pt x="20" y="1"/>
                      </a:lnTo>
                      <a:lnTo>
                        <a:pt x="20" y="0"/>
                      </a:lnTo>
                      <a:lnTo>
                        <a:pt x="23" y="1"/>
                      </a:lnTo>
                      <a:lnTo>
                        <a:pt x="22" y="3"/>
                      </a:lnTo>
                      <a:lnTo>
                        <a:pt x="20" y="3"/>
                      </a:lnTo>
                      <a:lnTo>
                        <a:pt x="20" y="3"/>
                      </a:lnTo>
                      <a:lnTo>
                        <a:pt x="22" y="5"/>
                      </a:lnTo>
                      <a:lnTo>
                        <a:pt x="22" y="5"/>
                      </a:lnTo>
                      <a:lnTo>
                        <a:pt x="23" y="7"/>
                      </a:lnTo>
                      <a:lnTo>
                        <a:pt x="24" y="7"/>
                      </a:lnTo>
                      <a:lnTo>
                        <a:pt x="26" y="6"/>
                      </a:lnTo>
                      <a:lnTo>
                        <a:pt x="27" y="6"/>
                      </a:lnTo>
                      <a:lnTo>
                        <a:pt x="27" y="7"/>
                      </a:lnTo>
                      <a:lnTo>
                        <a:pt x="27" y="6"/>
                      </a:lnTo>
                      <a:lnTo>
                        <a:pt x="28" y="7"/>
                      </a:lnTo>
                      <a:lnTo>
                        <a:pt x="29" y="7"/>
                      </a:lnTo>
                      <a:lnTo>
                        <a:pt x="29" y="8"/>
                      </a:lnTo>
                      <a:lnTo>
                        <a:pt x="31" y="8"/>
                      </a:lnTo>
                      <a:lnTo>
                        <a:pt x="33" y="7"/>
                      </a:lnTo>
                      <a:lnTo>
                        <a:pt x="34" y="9"/>
                      </a:lnTo>
                      <a:lnTo>
                        <a:pt x="37" y="8"/>
                      </a:lnTo>
                      <a:lnTo>
                        <a:pt x="39" y="8"/>
                      </a:lnTo>
                      <a:lnTo>
                        <a:pt x="40" y="7"/>
                      </a:lnTo>
                      <a:lnTo>
                        <a:pt x="42" y="7"/>
                      </a:lnTo>
                      <a:lnTo>
                        <a:pt x="44" y="6"/>
                      </a:lnTo>
                      <a:lnTo>
                        <a:pt x="45" y="6"/>
                      </a:lnTo>
                      <a:lnTo>
                        <a:pt x="45" y="5"/>
                      </a:lnTo>
                      <a:lnTo>
                        <a:pt x="48" y="3"/>
                      </a:lnTo>
                      <a:lnTo>
                        <a:pt x="48" y="3"/>
                      </a:lnTo>
                      <a:lnTo>
                        <a:pt x="49" y="6"/>
                      </a:lnTo>
                      <a:lnTo>
                        <a:pt x="52" y="6"/>
                      </a:lnTo>
                      <a:lnTo>
                        <a:pt x="52" y="7"/>
                      </a:lnTo>
                      <a:lnTo>
                        <a:pt x="54" y="7"/>
                      </a:lnTo>
                      <a:lnTo>
                        <a:pt x="54" y="7"/>
                      </a:lnTo>
                      <a:lnTo>
                        <a:pt x="54" y="8"/>
                      </a:lnTo>
                      <a:lnTo>
                        <a:pt x="54" y="8"/>
                      </a:lnTo>
                      <a:lnTo>
                        <a:pt x="55" y="7"/>
                      </a:lnTo>
                      <a:lnTo>
                        <a:pt x="56" y="8"/>
                      </a:lnTo>
                      <a:lnTo>
                        <a:pt x="59" y="7"/>
                      </a:lnTo>
                      <a:lnTo>
                        <a:pt x="60" y="8"/>
                      </a:lnTo>
                      <a:lnTo>
                        <a:pt x="59" y="10"/>
                      </a:lnTo>
                      <a:lnTo>
                        <a:pt x="59" y="10"/>
                      </a:lnTo>
                      <a:lnTo>
                        <a:pt x="60" y="10"/>
                      </a:lnTo>
                      <a:lnTo>
                        <a:pt x="61" y="10"/>
                      </a:lnTo>
                      <a:lnTo>
                        <a:pt x="62" y="9"/>
                      </a:lnTo>
                      <a:lnTo>
                        <a:pt x="64" y="9"/>
                      </a:lnTo>
                      <a:lnTo>
                        <a:pt x="65" y="7"/>
                      </a:lnTo>
                      <a:lnTo>
                        <a:pt x="65" y="7"/>
                      </a:lnTo>
                      <a:lnTo>
                        <a:pt x="65" y="7"/>
                      </a:lnTo>
                      <a:lnTo>
                        <a:pt x="69" y="10"/>
                      </a:lnTo>
                      <a:lnTo>
                        <a:pt x="70" y="10"/>
                      </a:lnTo>
                      <a:lnTo>
                        <a:pt x="75" y="10"/>
                      </a:lnTo>
                      <a:lnTo>
                        <a:pt x="75" y="11"/>
                      </a:lnTo>
                      <a:lnTo>
                        <a:pt x="75" y="12"/>
                      </a:lnTo>
                      <a:lnTo>
                        <a:pt x="76" y="12"/>
                      </a:lnTo>
                      <a:lnTo>
                        <a:pt x="78" y="12"/>
                      </a:lnTo>
                      <a:lnTo>
                        <a:pt x="80" y="14"/>
                      </a:lnTo>
                      <a:lnTo>
                        <a:pt x="79" y="14"/>
                      </a:lnTo>
                      <a:lnTo>
                        <a:pt x="82" y="16"/>
                      </a:lnTo>
                      <a:lnTo>
                        <a:pt x="82" y="14"/>
                      </a:lnTo>
                      <a:lnTo>
                        <a:pt x="83" y="14"/>
                      </a:lnTo>
                      <a:lnTo>
                        <a:pt x="84" y="17"/>
                      </a:lnTo>
                      <a:lnTo>
                        <a:pt x="85" y="17"/>
                      </a:lnTo>
                      <a:lnTo>
                        <a:pt x="85" y="17"/>
                      </a:lnTo>
                      <a:lnTo>
                        <a:pt x="85" y="18"/>
                      </a:lnTo>
                      <a:lnTo>
                        <a:pt x="86" y="18"/>
                      </a:lnTo>
                      <a:lnTo>
                        <a:pt x="88" y="17"/>
                      </a:lnTo>
                      <a:lnTo>
                        <a:pt x="89" y="17"/>
                      </a:lnTo>
                      <a:lnTo>
                        <a:pt x="89" y="15"/>
                      </a:lnTo>
                      <a:lnTo>
                        <a:pt x="93" y="17"/>
                      </a:lnTo>
                      <a:lnTo>
                        <a:pt x="94" y="19"/>
                      </a:lnTo>
                      <a:lnTo>
                        <a:pt x="93" y="19"/>
                      </a:lnTo>
                      <a:lnTo>
                        <a:pt x="95" y="21"/>
                      </a:lnTo>
                      <a:lnTo>
                        <a:pt x="97" y="18"/>
                      </a:lnTo>
                      <a:lnTo>
                        <a:pt x="97" y="21"/>
                      </a:lnTo>
                      <a:lnTo>
                        <a:pt x="99" y="21"/>
                      </a:lnTo>
                      <a:lnTo>
                        <a:pt x="101" y="19"/>
                      </a:lnTo>
                      <a:lnTo>
                        <a:pt x="99" y="17"/>
                      </a:lnTo>
                      <a:lnTo>
                        <a:pt x="101" y="17"/>
                      </a:lnTo>
                      <a:lnTo>
                        <a:pt x="102" y="17"/>
                      </a:lnTo>
                      <a:lnTo>
                        <a:pt x="103" y="17"/>
                      </a:lnTo>
                      <a:lnTo>
                        <a:pt x="105" y="17"/>
                      </a:lnTo>
                      <a:lnTo>
                        <a:pt x="106" y="17"/>
                      </a:lnTo>
                      <a:lnTo>
                        <a:pt x="106" y="19"/>
                      </a:lnTo>
                      <a:lnTo>
                        <a:pt x="106" y="19"/>
                      </a:lnTo>
                      <a:lnTo>
                        <a:pt x="106" y="19"/>
                      </a:lnTo>
                      <a:lnTo>
                        <a:pt x="106" y="19"/>
                      </a:lnTo>
                      <a:close/>
                    </a:path>
                  </a:pathLst>
                </a:custGeom>
                <a:solidFill>
                  <a:srgbClr val="74BAEF"/>
                </a:solidFill>
                <a:ln w="3175">
                  <a:solidFill>
                    <a:schemeClr val="dk1"/>
                  </a:solidFill>
                  <a:round/>
                  <a:headEnd/>
                  <a:tailEnd/>
                </a:ln>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z="800" dirty="0">
                    <a:solidFill>
                      <a:srgbClr val="000000"/>
                    </a:solidFill>
                  </a:endParaRPr>
                </a:p>
              </p:txBody>
            </p:sp>
            <p:sp>
              <p:nvSpPr>
                <p:cNvPr id="51" name="Provence-Alpes Côte d'Azur" descr="{&quot;Key&quot;:&quot;provence-alpes côte d'azur&quot;,&quot;Name&quot;:&quot;Provence-Alpes Côte d'Azur&quot;,&quot;Value&quot;:1.0,&quot;Formula&quot;:&quot;&quot;,&quot;Text&quot;:&quot;1&quot;,&quot;OfficeApplication&quot;:0,&quot;HasValue&quot;:true}">
                  <a:extLst>
                    <a:ext uri="{FF2B5EF4-FFF2-40B4-BE49-F238E27FC236}">
                      <a16:creationId xmlns:a16="http://schemas.microsoft.com/office/drawing/2014/main" id="{8C987A66-3735-345F-5B7B-68B4F54363E1}"/>
                    </a:ext>
                  </a:extLst>
                </p:cNvPr>
                <p:cNvSpPr>
                  <a:spLocks/>
                </p:cNvSpPr>
                <p:nvPr/>
              </p:nvSpPr>
              <p:spPr bwMode="auto">
                <a:xfrm>
                  <a:off x="6679006" y="4618334"/>
                  <a:ext cx="1439447" cy="1172464"/>
                </a:xfrm>
                <a:custGeom>
                  <a:avLst/>
                  <a:gdLst>
                    <a:gd name="T0" fmla="*/ 220 w 286"/>
                    <a:gd name="T1" fmla="*/ 78 h 241"/>
                    <a:gd name="T2" fmla="*/ 228 w 286"/>
                    <a:gd name="T3" fmla="*/ 101 h 241"/>
                    <a:gd name="T4" fmla="*/ 255 w 286"/>
                    <a:gd name="T5" fmla="*/ 111 h 241"/>
                    <a:gd name="T6" fmla="*/ 281 w 286"/>
                    <a:gd name="T7" fmla="*/ 110 h 241"/>
                    <a:gd name="T8" fmla="*/ 274 w 286"/>
                    <a:gd name="T9" fmla="*/ 135 h 241"/>
                    <a:gd name="T10" fmla="*/ 265 w 286"/>
                    <a:gd name="T11" fmla="*/ 152 h 241"/>
                    <a:gd name="T12" fmla="*/ 258 w 286"/>
                    <a:gd name="T13" fmla="*/ 161 h 241"/>
                    <a:gd name="T14" fmla="*/ 245 w 286"/>
                    <a:gd name="T15" fmla="*/ 165 h 241"/>
                    <a:gd name="T16" fmla="*/ 238 w 286"/>
                    <a:gd name="T17" fmla="*/ 176 h 241"/>
                    <a:gd name="T18" fmla="*/ 224 w 286"/>
                    <a:gd name="T19" fmla="*/ 186 h 241"/>
                    <a:gd name="T20" fmla="*/ 207 w 286"/>
                    <a:gd name="T21" fmla="*/ 200 h 241"/>
                    <a:gd name="T22" fmla="*/ 202 w 286"/>
                    <a:gd name="T23" fmla="*/ 211 h 241"/>
                    <a:gd name="T24" fmla="*/ 204 w 286"/>
                    <a:gd name="T25" fmla="*/ 218 h 241"/>
                    <a:gd name="T26" fmla="*/ 199 w 286"/>
                    <a:gd name="T27" fmla="*/ 221 h 241"/>
                    <a:gd name="T28" fmla="*/ 180 w 286"/>
                    <a:gd name="T29" fmla="*/ 232 h 241"/>
                    <a:gd name="T30" fmla="*/ 161 w 286"/>
                    <a:gd name="T31" fmla="*/ 241 h 241"/>
                    <a:gd name="T32" fmla="*/ 151 w 286"/>
                    <a:gd name="T33" fmla="*/ 234 h 241"/>
                    <a:gd name="T34" fmla="*/ 142 w 286"/>
                    <a:gd name="T35" fmla="*/ 236 h 241"/>
                    <a:gd name="T36" fmla="*/ 132 w 286"/>
                    <a:gd name="T37" fmla="*/ 238 h 241"/>
                    <a:gd name="T38" fmla="*/ 123 w 286"/>
                    <a:gd name="T39" fmla="*/ 225 h 241"/>
                    <a:gd name="T40" fmla="*/ 92 w 286"/>
                    <a:gd name="T41" fmla="*/ 224 h 241"/>
                    <a:gd name="T42" fmla="*/ 80 w 286"/>
                    <a:gd name="T43" fmla="*/ 210 h 241"/>
                    <a:gd name="T44" fmla="*/ 73 w 286"/>
                    <a:gd name="T45" fmla="*/ 201 h 241"/>
                    <a:gd name="T46" fmla="*/ 75 w 286"/>
                    <a:gd name="T47" fmla="*/ 194 h 241"/>
                    <a:gd name="T48" fmla="*/ 68 w 286"/>
                    <a:gd name="T49" fmla="*/ 195 h 241"/>
                    <a:gd name="T50" fmla="*/ 52 w 286"/>
                    <a:gd name="T51" fmla="*/ 206 h 241"/>
                    <a:gd name="T52" fmla="*/ 32 w 286"/>
                    <a:gd name="T53" fmla="*/ 204 h 241"/>
                    <a:gd name="T54" fmla="*/ 21 w 286"/>
                    <a:gd name="T55" fmla="*/ 198 h 241"/>
                    <a:gd name="T56" fmla="*/ 8 w 286"/>
                    <a:gd name="T57" fmla="*/ 189 h 241"/>
                    <a:gd name="T58" fmla="*/ 18 w 286"/>
                    <a:gd name="T59" fmla="*/ 180 h 241"/>
                    <a:gd name="T60" fmla="*/ 35 w 286"/>
                    <a:gd name="T61" fmla="*/ 159 h 241"/>
                    <a:gd name="T62" fmla="*/ 41 w 286"/>
                    <a:gd name="T63" fmla="*/ 143 h 241"/>
                    <a:gd name="T64" fmla="*/ 46 w 286"/>
                    <a:gd name="T65" fmla="*/ 131 h 241"/>
                    <a:gd name="T66" fmla="*/ 39 w 286"/>
                    <a:gd name="T67" fmla="*/ 125 h 241"/>
                    <a:gd name="T68" fmla="*/ 34 w 286"/>
                    <a:gd name="T69" fmla="*/ 110 h 241"/>
                    <a:gd name="T70" fmla="*/ 37 w 286"/>
                    <a:gd name="T71" fmla="*/ 98 h 241"/>
                    <a:gd name="T72" fmla="*/ 52 w 286"/>
                    <a:gd name="T73" fmla="*/ 104 h 241"/>
                    <a:gd name="T74" fmla="*/ 70 w 286"/>
                    <a:gd name="T75" fmla="*/ 102 h 241"/>
                    <a:gd name="T76" fmla="*/ 81 w 286"/>
                    <a:gd name="T77" fmla="*/ 107 h 241"/>
                    <a:gd name="T78" fmla="*/ 93 w 286"/>
                    <a:gd name="T79" fmla="*/ 110 h 241"/>
                    <a:gd name="T80" fmla="*/ 106 w 286"/>
                    <a:gd name="T81" fmla="*/ 117 h 241"/>
                    <a:gd name="T82" fmla="*/ 114 w 286"/>
                    <a:gd name="T83" fmla="*/ 114 h 241"/>
                    <a:gd name="T84" fmla="*/ 117 w 286"/>
                    <a:gd name="T85" fmla="*/ 104 h 241"/>
                    <a:gd name="T86" fmla="*/ 112 w 286"/>
                    <a:gd name="T87" fmla="*/ 94 h 241"/>
                    <a:gd name="T88" fmla="*/ 97 w 286"/>
                    <a:gd name="T89" fmla="*/ 91 h 241"/>
                    <a:gd name="T90" fmla="*/ 101 w 286"/>
                    <a:gd name="T91" fmla="*/ 84 h 241"/>
                    <a:gd name="T92" fmla="*/ 101 w 286"/>
                    <a:gd name="T93" fmla="*/ 77 h 241"/>
                    <a:gd name="T94" fmla="*/ 113 w 286"/>
                    <a:gd name="T95" fmla="*/ 76 h 241"/>
                    <a:gd name="T96" fmla="*/ 113 w 286"/>
                    <a:gd name="T97" fmla="*/ 62 h 241"/>
                    <a:gd name="T98" fmla="*/ 127 w 286"/>
                    <a:gd name="T99" fmla="*/ 52 h 241"/>
                    <a:gd name="T100" fmla="*/ 137 w 286"/>
                    <a:gd name="T101" fmla="*/ 43 h 241"/>
                    <a:gd name="T102" fmla="*/ 145 w 286"/>
                    <a:gd name="T103" fmla="*/ 38 h 241"/>
                    <a:gd name="T104" fmla="*/ 167 w 286"/>
                    <a:gd name="T105" fmla="*/ 33 h 241"/>
                    <a:gd name="T106" fmla="*/ 156 w 286"/>
                    <a:gd name="T107" fmla="*/ 14 h 241"/>
                    <a:gd name="T108" fmla="*/ 168 w 286"/>
                    <a:gd name="T109" fmla="*/ 4 h 241"/>
                    <a:gd name="T110" fmla="*/ 181 w 286"/>
                    <a:gd name="T111" fmla="*/ 4 h 241"/>
                    <a:gd name="T112" fmla="*/ 199 w 286"/>
                    <a:gd name="T113" fmla="*/ 15 h 241"/>
                    <a:gd name="T114" fmla="*/ 220 w 286"/>
                    <a:gd name="T115" fmla="*/ 30 h 241"/>
                    <a:gd name="T116" fmla="*/ 224 w 286"/>
                    <a:gd name="T117" fmla="*/ 4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 h="241">
                      <a:moveTo>
                        <a:pt x="221" y="56"/>
                      </a:moveTo>
                      <a:lnTo>
                        <a:pt x="217" y="59"/>
                      </a:lnTo>
                      <a:lnTo>
                        <a:pt x="217" y="62"/>
                      </a:lnTo>
                      <a:lnTo>
                        <a:pt x="212" y="67"/>
                      </a:lnTo>
                      <a:lnTo>
                        <a:pt x="212" y="69"/>
                      </a:lnTo>
                      <a:lnTo>
                        <a:pt x="213" y="71"/>
                      </a:lnTo>
                      <a:lnTo>
                        <a:pt x="216" y="73"/>
                      </a:lnTo>
                      <a:lnTo>
                        <a:pt x="217" y="76"/>
                      </a:lnTo>
                      <a:lnTo>
                        <a:pt x="219" y="78"/>
                      </a:lnTo>
                      <a:lnTo>
                        <a:pt x="220" y="78"/>
                      </a:lnTo>
                      <a:lnTo>
                        <a:pt x="216" y="79"/>
                      </a:lnTo>
                      <a:lnTo>
                        <a:pt x="216" y="86"/>
                      </a:lnTo>
                      <a:lnTo>
                        <a:pt x="217" y="88"/>
                      </a:lnTo>
                      <a:lnTo>
                        <a:pt x="221" y="91"/>
                      </a:lnTo>
                      <a:lnTo>
                        <a:pt x="221" y="93"/>
                      </a:lnTo>
                      <a:lnTo>
                        <a:pt x="225" y="95"/>
                      </a:lnTo>
                      <a:lnTo>
                        <a:pt x="225" y="99"/>
                      </a:lnTo>
                      <a:lnTo>
                        <a:pt x="226" y="100"/>
                      </a:lnTo>
                      <a:lnTo>
                        <a:pt x="228" y="100"/>
                      </a:lnTo>
                      <a:lnTo>
                        <a:pt x="228" y="101"/>
                      </a:lnTo>
                      <a:lnTo>
                        <a:pt x="231" y="100"/>
                      </a:lnTo>
                      <a:lnTo>
                        <a:pt x="237" y="104"/>
                      </a:lnTo>
                      <a:lnTo>
                        <a:pt x="241" y="104"/>
                      </a:lnTo>
                      <a:lnTo>
                        <a:pt x="241" y="104"/>
                      </a:lnTo>
                      <a:lnTo>
                        <a:pt x="243" y="105"/>
                      </a:lnTo>
                      <a:lnTo>
                        <a:pt x="244" y="106"/>
                      </a:lnTo>
                      <a:lnTo>
                        <a:pt x="245" y="106"/>
                      </a:lnTo>
                      <a:lnTo>
                        <a:pt x="247" y="108"/>
                      </a:lnTo>
                      <a:lnTo>
                        <a:pt x="254" y="108"/>
                      </a:lnTo>
                      <a:lnTo>
                        <a:pt x="255" y="111"/>
                      </a:lnTo>
                      <a:lnTo>
                        <a:pt x="258" y="111"/>
                      </a:lnTo>
                      <a:lnTo>
                        <a:pt x="262" y="111"/>
                      </a:lnTo>
                      <a:lnTo>
                        <a:pt x="262" y="110"/>
                      </a:lnTo>
                      <a:lnTo>
                        <a:pt x="272" y="106"/>
                      </a:lnTo>
                      <a:lnTo>
                        <a:pt x="276" y="107"/>
                      </a:lnTo>
                      <a:lnTo>
                        <a:pt x="277" y="105"/>
                      </a:lnTo>
                      <a:lnTo>
                        <a:pt x="277" y="104"/>
                      </a:lnTo>
                      <a:lnTo>
                        <a:pt x="282" y="104"/>
                      </a:lnTo>
                      <a:lnTo>
                        <a:pt x="281" y="107"/>
                      </a:lnTo>
                      <a:lnTo>
                        <a:pt x="281" y="110"/>
                      </a:lnTo>
                      <a:lnTo>
                        <a:pt x="282" y="110"/>
                      </a:lnTo>
                      <a:lnTo>
                        <a:pt x="286" y="114"/>
                      </a:lnTo>
                      <a:lnTo>
                        <a:pt x="285" y="118"/>
                      </a:lnTo>
                      <a:lnTo>
                        <a:pt x="281" y="120"/>
                      </a:lnTo>
                      <a:lnTo>
                        <a:pt x="281" y="122"/>
                      </a:lnTo>
                      <a:lnTo>
                        <a:pt x="282" y="124"/>
                      </a:lnTo>
                      <a:lnTo>
                        <a:pt x="281" y="127"/>
                      </a:lnTo>
                      <a:lnTo>
                        <a:pt x="275" y="129"/>
                      </a:lnTo>
                      <a:lnTo>
                        <a:pt x="274" y="131"/>
                      </a:lnTo>
                      <a:lnTo>
                        <a:pt x="274" y="135"/>
                      </a:lnTo>
                      <a:lnTo>
                        <a:pt x="269" y="138"/>
                      </a:lnTo>
                      <a:lnTo>
                        <a:pt x="269" y="141"/>
                      </a:lnTo>
                      <a:lnTo>
                        <a:pt x="271" y="145"/>
                      </a:lnTo>
                      <a:lnTo>
                        <a:pt x="271" y="147"/>
                      </a:lnTo>
                      <a:lnTo>
                        <a:pt x="272" y="148"/>
                      </a:lnTo>
                      <a:lnTo>
                        <a:pt x="272" y="148"/>
                      </a:lnTo>
                      <a:lnTo>
                        <a:pt x="269" y="151"/>
                      </a:lnTo>
                      <a:lnTo>
                        <a:pt x="269" y="153"/>
                      </a:lnTo>
                      <a:lnTo>
                        <a:pt x="266" y="152"/>
                      </a:lnTo>
                      <a:lnTo>
                        <a:pt x="265" y="152"/>
                      </a:lnTo>
                      <a:lnTo>
                        <a:pt x="265" y="153"/>
                      </a:lnTo>
                      <a:lnTo>
                        <a:pt x="263" y="155"/>
                      </a:lnTo>
                      <a:lnTo>
                        <a:pt x="262" y="156"/>
                      </a:lnTo>
                      <a:lnTo>
                        <a:pt x="260" y="156"/>
                      </a:lnTo>
                      <a:lnTo>
                        <a:pt x="259" y="157"/>
                      </a:lnTo>
                      <a:lnTo>
                        <a:pt x="258" y="156"/>
                      </a:lnTo>
                      <a:lnTo>
                        <a:pt x="258" y="157"/>
                      </a:lnTo>
                      <a:lnTo>
                        <a:pt x="258" y="158"/>
                      </a:lnTo>
                      <a:lnTo>
                        <a:pt x="256" y="159"/>
                      </a:lnTo>
                      <a:lnTo>
                        <a:pt x="258" y="161"/>
                      </a:lnTo>
                      <a:lnTo>
                        <a:pt x="255" y="162"/>
                      </a:lnTo>
                      <a:lnTo>
                        <a:pt x="255" y="159"/>
                      </a:lnTo>
                      <a:lnTo>
                        <a:pt x="255" y="159"/>
                      </a:lnTo>
                      <a:lnTo>
                        <a:pt x="254" y="159"/>
                      </a:lnTo>
                      <a:lnTo>
                        <a:pt x="254" y="160"/>
                      </a:lnTo>
                      <a:lnTo>
                        <a:pt x="253" y="162"/>
                      </a:lnTo>
                      <a:lnTo>
                        <a:pt x="253" y="160"/>
                      </a:lnTo>
                      <a:lnTo>
                        <a:pt x="248" y="162"/>
                      </a:lnTo>
                      <a:lnTo>
                        <a:pt x="247" y="163"/>
                      </a:lnTo>
                      <a:lnTo>
                        <a:pt x="245" y="165"/>
                      </a:lnTo>
                      <a:lnTo>
                        <a:pt x="244" y="165"/>
                      </a:lnTo>
                      <a:lnTo>
                        <a:pt x="241" y="166"/>
                      </a:lnTo>
                      <a:lnTo>
                        <a:pt x="241" y="167"/>
                      </a:lnTo>
                      <a:lnTo>
                        <a:pt x="240" y="169"/>
                      </a:lnTo>
                      <a:lnTo>
                        <a:pt x="240" y="175"/>
                      </a:lnTo>
                      <a:lnTo>
                        <a:pt x="241" y="177"/>
                      </a:lnTo>
                      <a:lnTo>
                        <a:pt x="241" y="178"/>
                      </a:lnTo>
                      <a:lnTo>
                        <a:pt x="240" y="178"/>
                      </a:lnTo>
                      <a:lnTo>
                        <a:pt x="239" y="178"/>
                      </a:lnTo>
                      <a:lnTo>
                        <a:pt x="238" y="176"/>
                      </a:lnTo>
                      <a:lnTo>
                        <a:pt x="236" y="176"/>
                      </a:lnTo>
                      <a:lnTo>
                        <a:pt x="234" y="178"/>
                      </a:lnTo>
                      <a:lnTo>
                        <a:pt x="233" y="179"/>
                      </a:lnTo>
                      <a:lnTo>
                        <a:pt x="232" y="179"/>
                      </a:lnTo>
                      <a:lnTo>
                        <a:pt x="232" y="178"/>
                      </a:lnTo>
                      <a:lnTo>
                        <a:pt x="226" y="179"/>
                      </a:lnTo>
                      <a:lnTo>
                        <a:pt x="225" y="182"/>
                      </a:lnTo>
                      <a:lnTo>
                        <a:pt x="226" y="183"/>
                      </a:lnTo>
                      <a:lnTo>
                        <a:pt x="226" y="186"/>
                      </a:lnTo>
                      <a:lnTo>
                        <a:pt x="224" y="186"/>
                      </a:lnTo>
                      <a:lnTo>
                        <a:pt x="224" y="190"/>
                      </a:lnTo>
                      <a:lnTo>
                        <a:pt x="221" y="193"/>
                      </a:lnTo>
                      <a:lnTo>
                        <a:pt x="220" y="193"/>
                      </a:lnTo>
                      <a:lnTo>
                        <a:pt x="220" y="192"/>
                      </a:lnTo>
                      <a:lnTo>
                        <a:pt x="218" y="193"/>
                      </a:lnTo>
                      <a:lnTo>
                        <a:pt x="218" y="194"/>
                      </a:lnTo>
                      <a:lnTo>
                        <a:pt x="213" y="195"/>
                      </a:lnTo>
                      <a:lnTo>
                        <a:pt x="210" y="193"/>
                      </a:lnTo>
                      <a:lnTo>
                        <a:pt x="209" y="194"/>
                      </a:lnTo>
                      <a:lnTo>
                        <a:pt x="207" y="200"/>
                      </a:lnTo>
                      <a:lnTo>
                        <a:pt x="207" y="203"/>
                      </a:lnTo>
                      <a:lnTo>
                        <a:pt x="204" y="203"/>
                      </a:lnTo>
                      <a:lnTo>
                        <a:pt x="203" y="206"/>
                      </a:lnTo>
                      <a:lnTo>
                        <a:pt x="200" y="208"/>
                      </a:lnTo>
                      <a:lnTo>
                        <a:pt x="199" y="209"/>
                      </a:lnTo>
                      <a:lnTo>
                        <a:pt x="197" y="210"/>
                      </a:lnTo>
                      <a:lnTo>
                        <a:pt x="197" y="212"/>
                      </a:lnTo>
                      <a:lnTo>
                        <a:pt x="197" y="212"/>
                      </a:lnTo>
                      <a:lnTo>
                        <a:pt x="200" y="212"/>
                      </a:lnTo>
                      <a:lnTo>
                        <a:pt x="202" y="211"/>
                      </a:lnTo>
                      <a:lnTo>
                        <a:pt x="203" y="211"/>
                      </a:lnTo>
                      <a:lnTo>
                        <a:pt x="204" y="212"/>
                      </a:lnTo>
                      <a:lnTo>
                        <a:pt x="204" y="211"/>
                      </a:lnTo>
                      <a:lnTo>
                        <a:pt x="204" y="210"/>
                      </a:lnTo>
                      <a:lnTo>
                        <a:pt x="205" y="210"/>
                      </a:lnTo>
                      <a:lnTo>
                        <a:pt x="207" y="212"/>
                      </a:lnTo>
                      <a:lnTo>
                        <a:pt x="206" y="214"/>
                      </a:lnTo>
                      <a:lnTo>
                        <a:pt x="204" y="214"/>
                      </a:lnTo>
                      <a:lnTo>
                        <a:pt x="204" y="214"/>
                      </a:lnTo>
                      <a:lnTo>
                        <a:pt x="204" y="218"/>
                      </a:lnTo>
                      <a:lnTo>
                        <a:pt x="206" y="219"/>
                      </a:lnTo>
                      <a:lnTo>
                        <a:pt x="205" y="220"/>
                      </a:lnTo>
                      <a:lnTo>
                        <a:pt x="204" y="220"/>
                      </a:lnTo>
                      <a:lnTo>
                        <a:pt x="202" y="221"/>
                      </a:lnTo>
                      <a:lnTo>
                        <a:pt x="203" y="223"/>
                      </a:lnTo>
                      <a:lnTo>
                        <a:pt x="202" y="223"/>
                      </a:lnTo>
                      <a:lnTo>
                        <a:pt x="202" y="224"/>
                      </a:lnTo>
                      <a:lnTo>
                        <a:pt x="200" y="224"/>
                      </a:lnTo>
                      <a:lnTo>
                        <a:pt x="199" y="222"/>
                      </a:lnTo>
                      <a:lnTo>
                        <a:pt x="199" y="221"/>
                      </a:lnTo>
                      <a:lnTo>
                        <a:pt x="195" y="221"/>
                      </a:lnTo>
                      <a:lnTo>
                        <a:pt x="193" y="223"/>
                      </a:lnTo>
                      <a:lnTo>
                        <a:pt x="193" y="224"/>
                      </a:lnTo>
                      <a:lnTo>
                        <a:pt x="190" y="225"/>
                      </a:lnTo>
                      <a:lnTo>
                        <a:pt x="187" y="225"/>
                      </a:lnTo>
                      <a:lnTo>
                        <a:pt x="186" y="227"/>
                      </a:lnTo>
                      <a:lnTo>
                        <a:pt x="184" y="227"/>
                      </a:lnTo>
                      <a:lnTo>
                        <a:pt x="180" y="228"/>
                      </a:lnTo>
                      <a:lnTo>
                        <a:pt x="180" y="229"/>
                      </a:lnTo>
                      <a:lnTo>
                        <a:pt x="180" y="232"/>
                      </a:lnTo>
                      <a:lnTo>
                        <a:pt x="180" y="234"/>
                      </a:lnTo>
                      <a:lnTo>
                        <a:pt x="172" y="230"/>
                      </a:lnTo>
                      <a:lnTo>
                        <a:pt x="169" y="231"/>
                      </a:lnTo>
                      <a:lnTo>
                        <a:pt x="165" y="231"/>
                      </a:lnTo>
                      <a:lnTo>
                        <a:pt x="162" y="235"/>
                      </a:lnTo>
                      <a:lnTo>
                        <a:pt x="162" y="240"/>
                      </a:lnTo>
                      <a:lnTo>
                        <a:pt x="163" y="241"/>
                      </a:lnTo>
                      <a:lnTo>
                        <a:pt x="162" y="241"/>
                      </a:lnTo>
                      <a:lnTo>
                        <a:pt x="162" y="241"/>
                      </a:lnTo>
                      <a:lnTo>
                        <a:pt x="161" y="241"/>
                      </a:lnTo>
                      <a:lnTo>
                        <a:pt x="158" y="241"/>
                      </a:lnTo>
                      <a:lnTo>
                        <a:pt x="157" y="241"/>
                      </a:lnTo>
                      <a:lnTo>
                        <a:pt x="157" y="240"/>
                      </a:lnTo>
                      <a:lnTo>
                        <a:pt x="160" y="240"/>
                      </a:lnTo>
                      <a:lnTo>
                        <a:pt x="160" y="237"/>
                      </a:lnTo>
                      <a:lnTo>
                        <a:pt x="160" y="235"/>
                      </a:lnTo>
                      <a:lnTo>
                        <a:pt x="159" y="235"/>
                      </a:lnTo>
                      <a:lnTo>
                        <a:pt x="152" y="236"/>
                      </a:lnTo>
                      <a:lnTo>
                        <a:pt x="151" y="235"/>
                      </a:lnTo>
                      <a:lnTo>
                        <a:pt x="151" y="234"/>
                      </a:lnTo>
                      <a:lnTo>
                        <a:pt x="149" y="234"/>
                      </a:lnTo>
                      <a:lnTo>
                        <a:pt x="148" y="232"/>
                      </a:lnTo>
                      <a:lnTo>
                        <a:pt x="143" y="234"/>
                      </a:lnTo>
                      <a:lnTo>
                        <a:pt x="144" y="232"/>
                      </a:lnTo>
                      <a:lnTo>
                        <a:pt x="139" y="232"/>
                      </a:lnTo>
                      <a:lnTo>
                        <a:pt x="138" y="234"/>
                      </a:lnTo>
                      <a:lnTo>
                        <a:pt x="142" y="234"/>
                      </a:lnTo>
                      <a:lnTo>
                        <a:pt x="141" y="235"/>
                      </a:lnTo>
                      <a:lnTo>
                        <a:pt x="141" y="236"/>
                      </a:lnTo>
                      <a:lnTo>
                        <a:pt x="142" y="236"/>
                      </a:lnTo>
                      <a:lnTo>
                        <a:pt x="142" y="235"/>
                      </a:lnTo>
                      <a:lnTo>
                        <a:pt x="145" y="235"/>
                      </a:lnTo>
                      <a:lnTo>
                        <a:pt x="145" y="237"/>
                      </a:lnTo>
                      <a:lnTo>
                        <a:pt x="142" y="238"/>
                      </a:lnTo>
                      <a:lnTo>
                        <a:pt x="141" y="237"/>
                      </a:lnTo>
                      <a:lnTo>
                        <a:pt x="139" y="237"/>
                      </a:lnTo>
                      <a:lnTo>
                        <a:pt x="137" y="240"/>
                      </a:lnTo>
                      <a:lnTo>
                        <a:pt x="137" y="240"/>
                      </a:lnTo>
                      <a:lnTo>
                        <a:pt x="135" y="240"/>
                      </a:lnTo>
                      <a:lnTo>
                        <a:pt x="132" y="238"/>
                      </a:lnTo>
                      <a:lnTo>
                        <a:pt x="133" y="235"/>
                      </a:lnTo>
                      <a:lnTo>
                        <a:pt x="132" y="232"/>
                      </a:lnTo>
                      <a:lnTo>
                        <a:pt x="130" y="232"/>
                      </a:lnTo>
                      <a:lnTo>
                        <a:pt x="131" y="231"/>
                      </a:lnTo>
                      <a:lnTo>
                        <a:pt x="130" y="230"/>
                      </a:lnTo>
                      <a:lnTo>
                        <a:pt x="126" y="230"/>
                      </a:lnTo>
                      <a:lnTo>
                        <a:pt x="123" y="229"/>
                      </a:lnTo>
                      <a:lnTo>
                        <a:pt x="122" y="228"/>
                      </a:lnTo>
                      <a:lnTo>
                        <a:pt x="123" y="227"/>
                      </a:lnTo>
                      <a:lnTo>
                        <a:pt x="123" y="225"/>
                      </a:lnTo>
                      <a:lnTo>
                        <a:pt x="121" y="225"/>
                      </a:lnTo>
                      <a:lnTo>
                        <a:pt x="117" y="225"/>
                      </a:lnTo>
                      <a:lnTo>
                        <a:pt x="116" y="228"/>
                      </a:lnTo>
                      <a:lnTo>
                        <a:pt x="111" y="225"/>
                      </a:lnTo>
                      <a:lnTo>
                        <a:pt x="111" y="223"/>
                      </a:lnTo>
                      <a:lnTo>
                        <a:pt x="109" y="223"/>
                      </a:lnTo>
                      <a:lnTo>
                        <a:pt x="107" y="224"/>
                      </a:lnTo>
                      <a:lnTo>
                        <a:pt x="101" y="224"/>
                      </a:lnTo>
                      <a:lnTo>
                        <a:pt x="92" y="224"/>
                      </a:lnTo>
                      <a:lnTo>
                        <a:pt x="92" y="224"/>
                      </a:lnTo>
                      <a:lnTo>
                        <a:pt x="96" y="219"/>
                      </a:lnTo>
                      <a:lnTo>
                        <a:pt x="95" y="217"/>
                      </a:lnTo>
                      <a:lnTo>
                        <a:pt x="94" y="215"/>
                      </a:lnTo>
                      <a:lnTo>
                        <a:pt x="94" y="211"/>
                      </a:lnTo>
                      <a:lnTo>
                        <a:pt x="92" y="208"/>
                      </a:lnTo>
                      <a:lnTo>
                        <a:pt x="90" y="206"/>
                      </a:lnTo>
                      <a:lnTo>
                        <a:pt x="88" y="207"/>
                      </a:lnTo>
                      <a:lnTo>
                        <a:pt x="83" y="210"/>
                      </a:lnTo>
                      <a:lnTo>
                        <a:pt x="83" y="210"/>
                      </a:lnTo>
                      <a:lnTo>
                        <a:pt x="80" y="210"/>
                      </a:lnTo>
                      <a:lnTo>
                        <a:pt x="76" y="210"/>
                      </a:lnTo>
                      <a:lnTo>
                        <a:pt x="72" y="210"/>
                      </a:lnTo>
                      <a:lnTo>
                        <a:pt x="67" y="211"/>
                      </a:lnTo>
                      <a:lnTo>
                        <a:pt x="66" y="209"/>
                      </a:lnTo>
                      <a:lnTo>
                        <a:pt x="66" y="208"/>
                      </a:lnTo>
                      <a:lnTo>
                        <a:pt x="63" y="204"/>
                      </a:lnTo>
                      <a:lnTo>
                        <a:pt x="68" y="203"/>
                      </a:lnTo>
                      <a:lnTo>
                        <a:pt x="70" y="203"/>
                      </a:lnTo>
                      <a:lnTo>
                        <a:pt x="73" y="203"/>
                      </a:lnTo>
                      <a:lnTo>
                        <a:pt x="73" y="201"/>
                      </a:lnTo>
                      <a:lnTo>
                        <a:pt x="74" y="203"/>
                      </a:lnTo>
                      <a:lnTo>
                        <a:pt x="78" y="200"/>
                      </a:lnTo>
                      <a:lnTo>
                        <a:pt x="78" y="200"/>
                      </a:lnTo>
                      <a:lnTo>
                        <a:pt x="82" y="197"/>
                      </a:lnTo>
                      <a:lnTo>
                        <a:pt x="83" y="193"/>
                      </a:lnTo>
                      <a:lnTo>
                        <a:pt x="80" y="192"/>
                      </a:lnTo>
                      <a:lnTo>
                        <a:pt x="77" y="196"/>
                      </a:lnTo>
                      <a:lnTo>
                        <a:pt x="77" y="197"/>
                      </a:lnTo>
                      <a:lnTo>
                        <a:pt x="77" y="197"/>
                      </a:lnTo>
                      <a:lnTo>
                        <a:pt x="75" y="194"/>
                      </a:lnTo>
                      <a:lnTo>
                        <a:pt x="73" y="190"/>
                      </a:lnTo>
                      <a:lnTo>
                        <a:pt x="73" y="189"/>
                      </a:lnTo>
                      <a:lnTo>
                        <a:pt x="73" y="189"/>
                      </a:lnTo>
                      <a:lnTo>
                        <a:pt x="67" y="189"/>
                      </a:lnTo>
                      <a:lnTo>
                        <a:pt x="65" y="185"/>
                      </a:lnTo>
                      <a:lnTo>
                        <a:pt x="64" y="186"/>
                      </a:lnTo>
                      <a:lnTo>
                        <a:pt x="64" y="189"/>
                      </a:lnTo>
                      <a:lnTo>
                        <a:pt x="63" y="191"/>
                      </a:lnTo>
                      <a:lnTo>
                        <a:pt x="64" y="195"/>
                      </a:lnTo>
                      <a:lnTo>
                        <a:pt x="68" y="195"/>
                      </a:lnTo>
                      <a:lnTo>
                        <a:pt x="68" y="198"/>
                      </a:lnTo>
                      <a:lnTo>
                        <a:pt x="69" y="203"/>
                      </a:lnTo>
                      <a:lnTo>
                        <a:pt x="67" y="203"/>
                      </a:lnTo>
                      <a:lnTo>
                        <a:pt x="63" y="203"/>
                      </a:lnTo>
                      <a:lnTo>
                        <a:pt x="63" y="203"/>
                      </a:lnTo>
                      <a:lnTo>
                        <a:pt x="62" y="200"/>
                      </a:lnTo>
                      <a:lnTo>
                        <a:pt x="58" y="200"/>
                      </a:lnTo>
                      <a:lnTo>
                        <a:pt x="55" y="200"/>
                      </a:lnTo>
                      <a:lnTo>
                        <a:pt x="52" y="203"/>
                      </a:lnTo>
                      <a:lnTo>
                        <a:pt x="52" y="206"/>
                      </a:lnTo>
                      <a:lnTo>
                        <a:pt x="55" y="208"/>
                      </a:lnTo>
                      <a:lnTo>
                        <a:pt x="55" y="209"/>
                      </a:lnTo>
                      <a:lnTo>
                        <a:pt x="53" y="210"/>
                      </a:lnTo>
                      <a:lnTo>
                        <a:pt x="51" y="212"/>
                      </a:lnTo>
                      <a:lnTo>
                        <a:pt x="46" y="209"/>
                      </a:lnTo>
                      <a:lnTo>
                        <a:pt x="36" y="209"/>
                      </a:lnTo>
                      <a:lnTo>
                        <a:pt x="35" y="207"/>
                      </a:lnTo>
                      <a:lnTo>
                        <a:pt x="35" y="204"/>
                      </a:lnTo>
                      <a:lnTo>
                        <a:pt x="32" y="203"/>
                      </a:lnTo>
                      <a:lnTo>
                        <a:pt x="32" y="204"/>
                      </a:lnTo>
                      <a:lnTo>
                        <a:pt x="32" y="206"/>
                      </a:lnTo>
                      <a:lnTo>
                        <a:pt x="32" y="208"/>
                      </a:lnTo>
                      <a:lnTo>
                        <a:pt x="32" y="209"/>
                      </a:lnTo>
                      <a:lnTo>
                        <a:pt x="30" y="209"/>
                      </a:lnTo>
                      <a:lnTo>
                        <a:pt x="28" y="208"/>
                      </a:lnTo>
                      <a:lnTo>
                        <a:pt x="28" y="206"/>
                      </a:lnTo>
                      <a:lnTo>
                        <a:pt x="31" y="203"/>
                      </a:lnTo>
                      <a:lnTo>
                        <a:pt x="29" y="200"/>
                      </a:lnTo>
                      <a:lnTo>
                        <a:pt x="25" y="199"/>
                      </a:lnTo>
                      <a:lnTo>
                        <a:pt x="21" y="198"/>
                      </a:lnTo>
                      <a:lnTo>
                        <a:pt x="15" y="199"/>
                      </a:lnTo>
                      <a:lnTo>
                        <a:pt x="0" y="198"/>
                      </a:lnTo>
                      <a:lnTo>
                        <a:pt x="0" y="194"/>
                      </a:lnTo>
                      <a:lnTo>
                        <a:pt x="1" y="193"/>
                      </a:lnTo>
                      <a:lnTo>
                        <a:pt x="8" y="190"/>
                      </a:lnTo>
                      <a:lnTo>
                        <a:pt x="6" y="188"/>
                      </a:lnTo>
                      <a:lnTo>
                        <a:pt x="8" y="186"/>
                      </a:lnTo>
                      <a:lnTo>
                        <a:pt x="8" y="187"/>
                      </a:lnTo>
                      <a:lnTo>
                        <a:pt x="8" y="188"/>
                      </a:lnTo>
                      <a:lnTo>
                        <a:pt x="8" y="189"/>
                      </a:lnTo>
                      <a:lnTo>
                        <a:pt x="10" y="188"/>
                      </a:lnTo>
                      <a:lnTo>
                        <a:pt x="11" y="188"/>
                      </a:lnTo>
                      <a:lnTo>
                        <a:pt x="15" y="185"/>
                      </a:lnTo>
                      <a:lnTo>
                        <a:pt x="15" y="184"/>
                      </a:lnTo>
                      <a:lnTo>
                        <a:pt x="15" y="183"/>
                      </a:lnTo>
                      <a:lnTo>
                        <a:pt x="18" y="183"/>
                      </a:lnTo>
                      <a:lnTo>
                        <a:pt x="20" y="180"/>
                      </a:lnTo>
                      <a:lnTo>
                        <a:pt x="19" y="180"/>
                      </a:lnTo>
                      <a:lnTo>
                        <a:pt x="18" y="180"/>
                      </a:lnTo>
                      <a:lnTo>
                        <a:pt x="18" y="180"/>
                      </a:lnTo>
                      <a:lnTo>
                        <a:pt x="15" y="179"/>
                      </a:lnTo>
                      <a:lnTo>
                        <a:pt x="19" y="173"/>
                      </a:lnTo>
                      <a:lnTo>
                        <a:pt x="20" y="173"/>
                      </a:lnTo>
                      <a:lnTo>
                        <a:pt x="21" y="170"/>
                      </a:lnTo>
                      <a:lnTo>
                        <a:pt x="25" y="169"/>
                      </a:lnTo>
                      <a:lnTo>
                        <a:pt x="29" y="171"/>
                      </a:lnTo>
                      <a:lnTo>
                        <a:pt x="32" y="171"/>
                      </a:lnTo>
                      <a:lnTo>
                        <a:pt x="31" y="167"/>
                      </a:lnTo>
                      <a:lnTo>
                        <a:pt x="32" y="163"/>
                      </a:lnTo>
                      <a:lnTo>
                        <a:pt x="35" y="159"/>
                      </a:lnTo>
                      <a:lnTo>
                        <a:pt x="33" y="155"/>
                      </a:lnTo>
                      <a:lnTo>
                        <a:pt x="35" y="153"/>
                      </a:lnTo>
                      <a:lnTo>
                        <a:pt x="35" y="152"/>
                      </a:lnTo>
                      <a:lnTo>
                        <a:pt x="33" y="152"/>
                      </a:lnTo>
                      <a:lnTo>
                        <a:pt x="32" y="150"/>
                      </a:lnTo>
                      <a:lnTo>
                        <a:pt x="35" y="150"/>
                      </a:lnTo>
                      <a:lnTo>
                        <a:pt x="38" y="147"/>
                      </a:lnTo>
                      <a:lnTo>
                        <a:pt x="40" y="144"/>
                      </a:lnTo>
                      <a:lnTo>
                        <a:pt x="41" y="144"/>
                      </a:lnTo>
                      <a:lnTo>
                        <a:pt x="41" y="143"/>
                      </a:lnTo>
                      <a:lnTo>
                        <a:pt x="44" y="141"/>
                      </a:lnTo>
                      <a:lnTo>
                        <a:pt x="45" y="140"/>
                      </a:lnTo>
                      <a:lnTo>
                        <a:pt x="46" y="139"/>
                      </a:lnTo>
                      <a:lnTo>
                        <a:pt x="46" y="136"/>
                      </a:lnTo>
                      <a:lnTo>
                        <a:pt x="49" y="137"/>
                      </a:lnTo>
                      <a:lnTo>
                        <a:pt x="49" y="135"/>
                      </a:lnTo>
                      <a:lnTo>
                        <a:pt x="49" y="135"/>
                      </a:lnTo>
                      <a:lnTo>
                        <a:pt x="49" y="134"/>
                      </a:lnTo>
                      <a:lnTo>
                        <a:pt x="47" y="133"/>
                      </a:lnTo>
                      <a:lnTo>
                        <a:pt x="46" y="131"/>
                      </a:lnTo>
                      <a:lnTo>
                        <a:pt x="46" y="131"/>
                      </a:lnTo>
                      <a:lnTo>
                        <a:pt x="46" y="129"/>
                      </a:lnTo>
                      <a:lnTo>
                        <a:pt x="45" y="129"/>
                      </a:lnTo>
                      <a:lnTo>
                        <a:pt x="45" y="128"/>
                      </a:lnTo>
                      <a:lnTo>
                        <a:pt x="42" y="127"/>
                      </a:lnTo>
                      <a:lnTo>
                        <a:pt x="42" y="126"/>
                      </a:lnTo>
                      <a:lnTo>
                        <a:pt x="42" y="125"/>
                      </a:lnTo>
                      <a:lnTo>
                        <a:pt x="41" y="125"/>
                      </a:lnTo>
                      <a:lnTo>
                        <a:pt x="40" y="126"/>
                      </a:lnTo>
                      <a:lnTo>
                        <a:pt x="39" y="125"/>
                      </a:lnTo>
                      <a:lnTo>
                        <a:pt x="37" y="123"/>
                      </a:lnTo>
                      <a:lnTo>
                        <a:pt x="38" y="119"/>
                      </a:lnTo>
                      <a:lnTo>
                        <a:pt x="38" y="118"/>
                      </a:lnTo>
                      <a:lnTo>
                        <a:pt x="38" y="117"/>
                      </a:lnTo>
                      <a:lnTo>
                        <a:pt x="39" y="117"/>
                      </a:lnTo>
                      <a:lnTo>
                        <a:pt x="39" y="114"/>
                      </a:lnTo>
                      <a:lnTo>
                        <a:pt x="36" y="112"/>
                      </a:lnTo>
                      <a:lnTo>
                        <a:pt x="37" y="111"/>
                      </a:lnTo>
                      <a:lnTo>
                        <a:pt x="34" y="111"/>
                      </a:lnTo>
                      <a:lnTo>
                        <a:pt x="34" y="110"/>
                      </a:lnTo>
                      <a:lnTo>
                        <a:pt x="35" y="107"/>
                      </a:lnTo>
                      <a:lnTo>
                        <a:pt x="32" y="106"/>
                      </a:lnTo>
                      <a:lnTo>
                        <a:pt x="32" y="106"/>
                      </a:lnTo>
                      <a:lnTo>
                        <a:pt x="32" y="104"/>
                      </a:lnTo>
                      <a:lnTo>
                        <a:pt x="32" y="102"/>
                      </a:lnTo>
                      <a:lnTo>
                        <a:pt x="32" y="101"/>
                      </a:lnTo>
                      <a:lnTo>
                        <a:pt x="32" y="97"/>
                      </a:lnTo>
                      <a:lnTo>
                        <a:pt x="35" y="99"/>
                      </a:lnTo>
                      <a:lnTo>
                        <a:pt x="37" y="99"/>
                      </a:lnTo>
                      <a:lnTo>
                        <a:pt x="37" y="98"/>
                      </a:lnTo>
                      <a:lnTo>
                        <a:pt x="41" y="98"/>
                      </a:lnTo>
                      <a:lnTo>
                        <a:pt x="45" y="100"/>
                      </a:lnTo>
                      <a:lnTo>
                        <a:pt x="45" y="104"/>
                      </a:lnTo>
                      <a:lnTo>
                        <a:pt x="45" y="104"/>
                      </a:lnTo>
                      <a:lnTo>
                        <a:pt x="46" y="107"/>
                      </a:lnTo>
                      <a:lnTo>
                        <a:pt x="46" y="109"/>
                      </a:lnTo>
                      <a:lnTo>
                        <a:pt x="46" y="109"/>
                      </a:lnTo>
                      <a:lnTo>
                        <a:pt x="49" y="107"/>
                      </a:lnTo>
                      <a:lnTo>
                        <a:pt x="50" y="106"/>
                      </a:lnTo>
                      <a:lnTo>
                        <a:pt x="52" y="104"/>
                      </a:lnTo>
                      <a:lnTo>
                        <a:pt x="53" y="104"/>
                      </a:lnTo>
                      <a:lnTo>
                        <a:pt x="56" y="104"/>
                      </a:lnTo>
                      <a:lnTo>
                        <a:pt x="59" y="103"/>
                      </a:lnTo>
                      <a:lnTo>
                        <a:pt x="60" y="102"/>
                      </a:lnTo>
                      <a:lnTo>
                        <a:pt x="63" y="101"/>
                      </a:lnTo>
                      <a:lnTo>
                        <a:pt x="63" y="100"/>
                      </a:lnTo>
                      <a:lnTo>
                        <a:pt x="66" y="99"/>
                      </a:lnTo>
                      <a:lnTo>
                        <a:pt x="66" y="102"/>
                      </a:lnTo>
                      <a:lnTo>
                        <a:pt x="68" y="101"/>
                      </a:lnTo>
                      <a:lnTo>
                        <a:pt x="70" y="102"/>
                      </a:lnTo>
                      <a:lnTo>
                        <a:pt x="74" y="98"/>
                      </a:lnTo>
                      <a:lnTo>
                        <a:pt x="74" y="100"/>
                      </a:lnTo>
                      <a:lnTo>
                        <a:pt x="73" y="101"/>
                      </a:lnTo>
                      <a:lnTo>
                        <a:pt x="73" y="104"/>
                      </a:lnTo>
                      <a:lnTo>
                        <a:pt x="73" y="104"/>
                      </a:lnTo>
                      <a:lnTo>
                        <a:pt x="74" y="106"/>
                      </a:lnTo>
                      <a:lnTo>
                        <a:pt x="73" y="107"/>
                      </a:lnTo>
                      <a:lnTo>
                        <a:pt x="74" y="108"/>
                      </a:lnTo>
                      <a:lnTo>
                        <a:pt x="81" y="110"/>
                      </a:lnTo>
                      <a:lnTo>
                        <a:pt x="81" y="107"/>
                      </a:lnTo>
                      <a:lnTo>
                        <a:pt x="82" y="107"/>
                      </a:lnTo>
                      <a:lnTo>
                        <a:pt x="84" y="107"/>
                      </a:lnTo>
                      <a:lnTo>
                        <a:pt x="87" y="110"/>
                      </a:lnTo>
                      <a:lnTo>
                        <a:pt x="88" y="110"/>
                      </a:lnTo>
                      <a:lnTo>
                        <a:pt x="89" y="110"/>
                      </a:lnTo>
                      <a:lnTo>
                        <a:pt x="90" y="109"/>
                      </a:lnTo>
                      <a:lnTo>
                        <a:pt x="91" y="109"/>
                      </a:lnTo>
                      <a:lnTo>
                        <a:pt x="92" y="110"/>
                      </a:lnTo>
                      <a:lnTo>
                        <a:pt x="92" y="110"/>
                      </a:lnTo>
                      <a:lnTo>
                        <a:pt x="93" y="110"/>
                      </a:lnTo>
                      <a:lnTo>
                        <a:pt x="93" y="111"/>
                      </a:lnTo>
                      <a:lnTo>
                        <a:pt x="93" y="115"/>
                      </a:lnTo>
                      <a:lnTo>
                        <a:pt x="95" y="116"/>
                      </a:lnTo>
                      <a:lnTo>
                        <a:pt x="97" y="115"/>
                      </a:lnTo>
                      <a:lnTo>
                        <a:pt x="97" y="117"/>
                      </a:lnTo>
                      <a:lnTo>
                        <a:pt x="98" y="117"/>
                      </a:lnTo>
                      <a:lnTo>
                        <a:pt x="99" y="120"/>
                      </a:lnTo>
                      <a:lnTo>
                        <a:pt x="102" y="120"/>
                      </a:lnTo>
                      <a:lnTo>
                        <a:pt x="104" y="118"/>
                      </a:lnTo>
                      <a:lnTo>
                        <a:pt x="106" y="117"/>
                      </a:lnTo>
                      <a:lnTo>
                        <a:pt x="107" y="115"/>
                      </a:lnTo>
                      <a:lnTo>
                        <a:pt x="109" y="115"/>
                      </a:lnTo>
                      <a:lnTo>
                        <a:pt x="109" y="114"/>
                      </a:lnTo>
                      <a:lnTo>
                        <a:pt x="108" y="113"/>
                      </a:lnTo>
                      <a:lnTo>
                        <a:pt x="109" y="111"/>
                      </a:lnTo>
                      <a:lnTo>
                        <a:pt x="111" y="111"/>
                      </a:lnTo>
                      <a:lnTo>
                        <a:pt x="111" y="111"/>
                      </a:lnTo>
                      <a:lnTo>
                        <a:pt x="112" y="112"/>
                      </a:lnTo>
                      <a:lnTo>
                        <a:pt x="114" y="113"/>
                      </a:lnTo>
                      <a:lnTo>
                        <a:pt x="114" y="114"/>
                      </a:lnTo>
                      <a:lnTo>
                        <a:pt x="114" y="115"/>
                      </a:lnTo>
                      <a:lnTo>
                        <a:pt x="118" y="115"/>
                      </a:lnTo>
                      <a:lnTo>
                        <a:pt x="118" y="114"/>
                      </a:lnTo>
                      <a:lnTo>
                        <a:pt x="115" y="112"/>
                      </a:lnTo>
                      <a:lnTo>
                        <a:pt x="115" y="111"/>
                      </a:lnTo>
                      <a:lnTo>
                        <a:pt x="118" y="111"/>
                      </a:lnTo>
                      <a:lnTo>
                        <a:pt x="117" y="107"/>
                      </a:lnTo>
                      <a:lnTo>
                        <a:pt x="118" y="106"/>
                      </a:lnTo>
                      <a:lnTo>
                        <a:pt x="117" y="105"/>
                      </a:lnTo>
                      <a:lnTo>
                        <a:pt x="117" y="104"/>
                      </a:lnTo>
                      <a:lnTo>
                        <a:pt x="118" y="102"/>
                      </a:lnTo>
                      <a:lnTo>
                        <a:pt x="117" y="100"/>
                      </a:lnTo>
                      <a:lnTo>
                        <a:pt x="114" y="101"/>
                      </a:lnTo>
                      <a:lnTo>
                        <a:pt x="114" y="100"/>
                      </a:lnTo>
                      <a:lnTo>
                        <a:pt x="113" y="99"/>
                      </a:lnTo>
                      <a:lnTo>
                        <a:pt x="114" y="99"/>
                      </a:lnTo>
                      <a:lnTo>
                        <a:pt x="113" y="98"/>
                      </a:lnTo>
                      <a:lnTo>
                        <a:pt x="111" y="97"/>
                      </a:lnTo>
                      <a:lnTo>
                        <a:pt x="113" y="95"/>
                      </a:lnTo>
                      <a:lnTo>
                        <a:pt x="112" y="94"/>
                      </a:lnTo>
                      <a:lnTo>
                        <a:pt x="109" y="95"/>
                      </a:lnTo>
                      <a:lnTo>
                        <a:pt x="107" y="95"/>
                      </a:lnTo>
                      <a:lnTo>
                        <a:pt x="105" y="95"/>
                      </a:lnTo>
                      <a:lnTo>
                        <a:pt x="105" y="93"/>
                      </a:lnTo>
                      <a:lnTo>
                        <a:pt x="104" y="93"/>
                      </a:lnTo>
                      <a:lnTo>
                        <a:pt x="101" y="94"/>
                      </a:lnTo>
                      <a:lnTo>
                        <a:pt x="101" y="93"/>
                      </a:lnTo>
                      <a:lnTo>
                        <a:pt x="99" y="93"/>
                      </a:lnTo>
                      <a:lnTo>
                        <a:pt x="99" y="91"/>
                      </a:lnTo>
                      <a:lnTo>
                        <a:pt x="97" y="91"/>
                      </a:lnTo>
                      <a:lnTo>
                        <a:pt x="96" y="91"/>
                      </a:lnTo>
                      <a:lnTo>
                        <a:pt x="96" y="90"/>
                      </a:lnTo>
                      <a:lnTo>
                        <a:pt x="97" y="90"/>
                      </a:lnTo>
                      <a:lnTo>
                        <a:pt x="96" y="86"/>
                      </a:lnTo>
                      <a:lnTo>
                        <a:pt x="94" y="86"/>
                      </a:lnTo>
                      <a:lnTo>
                        <a:pt x="94" y="84"/>
                      </a:lnTo>
                      <a:lnTo>
                        <a:pt x="96" y="83"/>
                      </a:lnTo>
                      <a:lnTo>
                        <a:pt x="100" y="84"/>
                      </a:lnTo>
                      <a:lnTo>
                        <a:pt x="101" y="84"/>
                      </a:lnTo>
                      <a:lnTo>
                        <a:pt x="101" y="84"/>
                      </a:lnTo>
                      <a:lnTo>
                        <a:pt x="101" y="83"/>
                      </a:lnTo>
                      <a:lnTo>
                        <a:pt x="100" y="82"/>
                      </a:lnTo>
                      <a:lnTo>
                        <a:pt x="98" y="82"/>
                      </a:lnTo>
                      <a:lnTo>
                        <a:pt x="97" y="79"/>
                      </a:lnTo>
                      <a:lnTo>
                        <a:pt x="98" y="79"/>
                      </a:lnTo>
                      <a:lnTo>
                        <a:pt x="97" y="78"/>
                      </a:lnTo>
                      <a:lnTo>
                        <a:pt x="97" y="78"/>
                      </a:lnTo>
                      <a:lnTo>
                        <a:pt x="97" y="76"/>
                      </a:lnTo>
                      <a:lnTo>
                        <a:pt x="99" y="76"/>
                      </a:lnTo>
                      <a:lnTo>
                        <a:pt x="101" y="77"/>
                      </a:lnTo>
                      <a:lnTo>
                        <a:pt x="101" y="77"/>
                      </a:lnTo>
                      <a:lnTo>
                        <a:pt x="105" y="78"/>
                      </a:lnTo>
                      <a:lnTo>
                        <a:pt x="106" y="78"/>
                      </a:lnTo>
                      <a:lnTo>
                        <a:pt x="106" y="78"/>
                      </a:lnTo>
                      <a:lnTo>
                        <a:pt x="107" y="78"/>
                      </a:lnTo>
                      <a:lnTo>
                        <a:pt x="110" y="79"/>
                      </a:lnTo>
                      <a:lnTo>
                        <a:pt x="111" y="77"/>
                      </a:lnTo>
                      <a:lnTo>
                        <a:pt x="111" y="76"/>
                      </a:lnTo>
                      <a:lnTo>
                        <a:pt x="113" y="75"/>
                      </a:lnTo>
                      <a:lnTo>
                        <a:pt x="113" y="76"/>
                      </a:lnTo>
                      <a:lnTo>
                        <a:pt x="114" y="75"/>
                      </a:lnTo>
                      <a:lnTo>
                        <a:pt x="113" y="73"/>
                      </a:lnTo>
                      <a:lnTo>
                        <a:pt x="111" y="71"/>
                      </a:lnTo>
                      <a:lnTo>
                        <a:pt x="110" y="71"/>
                      </a:lnTo>
                      <a:lnTo>
                        <a:pt x="109" y="69"/>
                      </a:lnTo>
                      <a:lnTo>
                        <a:pt x="109" y="68"/>
                      </a:lnTo>
                      <a:lnTo>
                        <a:pt x="111" y="66"/>
                      </a:lnTo>
                      <a:lnTo>
                        <a:pt x="111" y="64"/>
                      </a:lnTo>
                      <a:lnTo>
                        <a:pt x="111" y="64"/>
                      </a:lnTo>
                      <a:lnTo>
                        <a:pt x="113" y="62"/>
                      </a:lnTo>
                      <a:lnTo>
                        <a:pt x="111" y="58"/>
                      </a:lnTo>
                      <a:lnTo>
                        <a:pt x="113" y="57"/>
                      </a:lnTo>
                      <a:lnTo>
                        <a:pt x="116" y="58"/>
                      </a:lnTo>
                      <a:lnTo>
                        <a:pt x="119" y="59"/>
                      </a:lnTo>
                      <a:lnTo>
                        <a:pt x="121" y="56"/>
                      </a:lnTo>
                      <a:lnTo>
                        <a:pt x="122" y="57"/>
                      </a:lnTo>
                      <a:lnTo>
                        <a:pt x="124" y="57"/>
                      </a:lnTo>
                      <a:lnTo>
                        <a:pt x="125" y="55"/>
                      </a:lnTo>
                      <a:lnTo>
                        <a:pt x="125" y="55"/>
                      </a:lnTo>
                      <a:lnTo>
                        <a:pt x="127" y="52"/>
                      </a:lnTo>
                      <a:lnTo>
                        <a:pt x="127" y="52"/>
                      </a:lnTo>
                      <a:lnTo>
                        <a:pt x="125" y="52"/>
                      </a:lnTo>
                      <a:lnTo>
                        <a:pt x="125" y="51"/>
                      </a:lnTo>
                      <a:lnTo>
                        <a:pt x="127" y="47"/>
                      </a:lnTo>
                      <a:lnTo>
                        <a:pt x="126" y="45"/>
                      </a:lnTo>
                      <a:lnTo>
                        <a:pt x="131" y="46"/>
                      </a:lnTo>
                      <a:lnTo>
                        <a:pt x="132" y="45"/>
                      </a:lnTo>
                      <a:lnTo>
                        <a:pt x="134" y="45"/>
                      </a:lnTo>
                      <a:lnTo>
                        <a:pt x="136" y="45"/>
                      </a:lnTo>
                      <a:lnTo>
                        <a:pt x="137" y="43"/>
                      </a:lnTo>
                      <a:lnTo>
                        <a:pt x="138" y="42"/>
                      </a:lnTo>
                      <a:lnTo>
                        <a:pt x="138" y="41"/>
                      </a:lnTo>
                      <a:lnTo>
                        <a:pt x="136" y="40"/>
                      </a:lnTo>
                      <a:lnTo>
                        <a:pt x="136" y="39"/>
                      </a:lnTo>
                      <a:lnTo>
                        <a:pt x="138" y="38"/>
                      </a:lnTo>
                      <a:lnTo>
                        <a:pt x="140" y="38"/>
                      </a:lnTo>
                      <a:lnTo>
                        <a:pt x="141" y="35"/>
                      </a:lnTo>
                      <a:lnTo>
                        <a:pt x="142" y="35"/>
                      </a:lnTo>
                      <a:lnTo>
                        <a:pt x="144" y="36"/>
                      </a:lnTo>
                      <a:lnTo>
                        <a:pt x="145" y="38"/>
                      </a:lnTo>
                      <a:lnTo>
                        <a:pt x="148" y="35"/>
                      </a:lnTo>
                      <a:lnTo>
                        <a:pt x="149" y="34"/>
                      </a:lnTo>
                      <a:lnTo>
                        <a:pt x="151" y="32"/>
                      </a:lnTo>
                      <a:lnTo>
                        <a:pt x="154" y="33"/>
                      </a:lnTo>
                      <a:lnTo>
                        <a:pt x="156" y="32"/>
                      </a:lnTo>
                      <a:lnTo>
                        <a:pt x="159" y="33"/>
                      </a:lnTo>
                      <a:lnTo>
                        <a:pt x="160" y="32"/>
                      </a:lnTo>
                      <a:lnTo>
                        <a:pt x="162" y="31"/>
                      </a:lnTo>
                      <a:lnTo>
                        <a:pt x="165" y="30"/>
                      </a:lnTo>
                      <a:lnTo>
                        <a:pt x="167" y="33"/>
                      </a:lnTo>
                      <a:lnTo>
                        <a:pt x="169" y="32"/>
                      </a:lnTo>
                      <a:lnTo>
                        <a:pt x="169" y="28"/>
                      </a:lnTo>
                      <a:lnTo>
                        <a:pt x="169" y="26"/>
                      </a:lnTo>
                      <a:lnTo>
                        <a:pt x="169" y="22"/>
                      </a:lnTo>
                      <a:lnTo>
                        <a:pt x="166" y="21"/>
                      </a:lnTo>
                      <a:lnTo>
                        <a:pt x="166" y="19"/>
                      </a:lnTo>
                      <a:lnTo>
                        <a:pt x="165" y="18"/>
                      </a:lnTo>
                      <a:lnTo>
                        <a:pt x="165" y="15"/>
                      </a:lnTo>
                      <a:lnTo>
                        <a:pt x="160" y="16"/>
                      </a:lnTo>
                      <a:lnTo>
                        <a:pt x="156" y="14"/>
                      </a:lnTo>
                      <a:lnTo>
                        <a:pt x="156" y="8"/>
                      </a:lnTo>
                      <a:lnTo>
                        <a:pt x="157" y="7"/>
                      </a:lnTo>
                      <a:lnTo>
                        <a:pt x="158" y="7"/>
                      </a:lnTo>
                      <a:lnTo>
                        <a:pt x="157" y="4"/>
                      </a:lnTo>
                      <a:lnTo>
                        <a:pt x="159" y="1"/>
                      </a:lnTo>
                      <a:lnTo>
                        <a:pt x="159" y="0"/>
                      </a:lnTo>
                      <a:lnTo>
                        <a:pt x="161" y="3"/>
                      </a:lnTo>
                      <a:lnTo>
                        <a:pt x="162" y="4"/>
                      </a:lnTo>
                      <a:lnTo>
                        <a:pt x="165" y="2"/>
                      </a:lnTo>
                      <a:lnTo>
                        <a:pt x="168" y="4"/>
                      </a:lnTo>
                      <a:lnTo>
                        <a:pt x="169" y="5"/>
                      </a:lnTo>
                      <a:lnTo>
                        <a:pt x="168" y="7"/>
                      </a:lnTo>
                      <a:lnTo>
                        <a:pt x="171" y="8"/>
                      </a:lnTo>
                      <a:lnTo>
                        <a:pt x="174" y="8"/>
                      </a:lnTo>
                      <a:lnTo>
                        <a:pt x="174" y="8"/>
                      </a:lnTo>
                      <a:lnTo>
                        <a:pt x="176" y="9"/>
                      </a:lnTo>
                      <a:lnTo>
                        <a:pt x="178" y="8"/>
                      </a:lnTo>
                      <a:lnTo>
                        <a:pt x="177" y="4"/>
                      </a:lnTo>
                      <a:lnTo>
                        <a:pt x="180" y="3"/>
                      </a:lnTo>
                      <a:lnTo>
                        <a:pt x="181" y="4"/>
                      </a:lnTo>
                      <a:lnTo>
                        <a:pt x="184" y="2"/>
                      </a:lnTo>
                      <a:lnTo>
                        <a:pt x="184" y="1"/>
                      </a:lnTo>
                      <a:lnTo>
                        <a:pt x="185" y="0"/>
                      </a:lnTo>
                      <a:lnTo>
                        <a:pt x="188" y="0"/>
                      </a:lnTo>
                      <a:lnTo>
                        <a:pt x="190" y="1"/>
                      </a:lnTo>
                      <a:lnTo>
                        <a:pt x="193" y="11"/>
                      </a:lnTo>
                      <a:lnTo>
                        <a:pt x="200" y="12"/>
                      </a:lnTo>
                      <a:lnTo>
                        <a:pt x="200" y="14"/>
                      </a:lnTo>
                      <a:lnTo>
                        <a:pt x="199" y="14"/>
                      </a:lnTo>
                      <a:lnTo>
                        <a:pt x="199" y="15"/>
                      </a:lnTo>
                      <a:lnTo>
                        <a:pt x="200" y="16"/>
                      </a:lnTo>
                      <a:lnTo>
                        <a:pt x="202" y="18"/>
                      </a:lnTo>
                      <a:lnTo>
                        <a:pt x="200" y="20"/>
                      </a:lnTo>
                      <a:lnTo>
                        <a:pt x="200" y="24"/>
                      </a:lnTo>
                      <a:lnTo>
                        <a:pt x="202" y="24"/>
                      </a:lnTo>
                      <a:lnTo>
                        <a:pt x="208" y="28"/>
                      </a:lnTo>
                      <a:lnTo>
                        <a:pt x="212" y="30"/>
                      </a:lnTo>
                      <a:lnTo>
                        <a:pt x="214" y="31"/>
                      </a:lnTo>
                      <a:lnTo>
                        <a:pt x="216" y="28"/>
                      </a:lnTo>
                      <a:lnTo>
                        <a:pt x="220" y="30"/>
                      </a:lnTo>
                      <a:lnTo>
                        <a:pt x="221" y="31"/>
                      </a:lnTo>
                      <a:lnTo>
                        <a:pt x="224" y="33"/>
                      </a:lnTo>
                      <a:lnTo>
                        <a:pt x="221" y="36"/>
                      </a:lnTo>
                      <a:lnTo>
                        <a:pt x="224" y="39"/>
                      </a:lnTo>
                      <a:lnTo>
                        <a:pt x="224" y="44"/>
                      </a:lnTo>
                      <a:lnTo>
                        <a:pt x="228" y="45"/>
                      </a:lnTo>
                      <a:lnTo>
                        <a:pt x="229" y="48"/>
                      </a:lnTo>
                      <a:lnTo>
                        <a:pt x="228" y="48"/>
                      </a:lnTo>
                      <a:lnTo>
                        <a:pt x="225" y="48"/>
                      </a:lnTo>
                      <a:lnTo>
                        <a:pt x="224" y="48"/>
                      </a:lnTo>
                      <a:lnTo>
                        <a:pt x="223" y="48"/>
                      </a:lnTo>
                      <a:lnTo>
                        <a:pt x="221" y="48"/>
                      </a:lnTo>
                      <a:lnTo>
                        <a:pt x="219" y="49"/>
                      </a:lnTo>
                      <a:lnTo>
                        <a:pt x="218" y="52"/>
                      </a:lnTo>
                      <a:lnTo>
                        <a:pt x="221" y="56"/>
                      </a:lnTo>
                      <a:lnTo>
                        <a:pt x="221" y="56"/>
                      </a:lnTo>
                      <a:lnTo>
                        <a:pt x="221" y="56"/>
                      </a:lnTo>
                      <a:lnTo>
                        <a:pt x="221" y="56"/>
                      </a:lnTo>
                      <a:close/>
                    </a:path>
                  </a:pathLst>
                </a:custGeom>
                <a:solidFill>
                  <a:srgbClr val="74BAEF"/>
                </a:solidFill>
                <a:ln w="3175">
                  <a:solidFill>
                    <a:schemeClr val="dk1"/>
                  </a:solidFill>
                  <a:round/>
                  <a:headEnd/>
                  <a:tailEnd/>
                </a:ln>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z="800" dirty="0">
                    <a:solidFill>
                      <a:srgbClr val="000000"/>
                    </a:solidFill>
                  </a:endParaRPr>
                </a:p>
              </p:txBody>
            </p:sp>
            <p:sp>
              <p:nvSpPr>
                <p:cNvPr id="52" name="Auvergne-Rhône-Alpes" descr="{&quot;Key&quot;:&quot;auvergne-rhône-alpes&quot;,&quot;Name&quot;:&quot;Auvergne-Rhône-Alpes&quot;,&quot;Value&quot;:1.0,&quot;Formula&quot;:&quot;&quot;,&quot;Text&quot;:&quot;1&quot;,&quot;OfficeApplication&quot;:0,&quot;HasValue&quot;:true}">
                  <a:extLst>
                    <a:ext uri="{FF2B5EF4-FFF2-40B4-BE49-F238E27FC236}">
                      <a16:creationId xmlns:a16="http://schemas.microsoft.com/office/drawing/2014/main" id="{79CCB348-310A-AE41-DE13-76452CAACED5}"/>
                    </a:ext>
                  </a:extLst>
                </p:cNvPr>
                <p:cNvSpPr>
                  <a:spLocks noEditPoints="1"/>
                </p:cNvSpPr>
                <p:nvPr/>
              </p:nvSpPr>
              <p:spPr bwMode="auto">
                <a:xfrm>
                  <a:off x="5760918" y="3732907"/>
                  <a:ext cx="2089206" cy="1469226"/>
                </a:xfrm>
                <a:custGeom>
                  <a:avLst/>
                  <a:gdLst>
                    <a:gd name="T0" fmla="*/ 389 w 411"/>
                    <a:gd name="T1" fmla="*/ 121 h 302"/>
                    <a:gd name="T2" fmla="*/ 383 w 411"/>
                    <a:gd name="T3" fmla="*/ 99 h 302"/>
                    <a:gd name="T4" fmla="*/ 386 w 411"/>
                    <a:gd name="T5" fmla="*/ 73 h 302"/>
                    <a:gd name="T6" fmla="*/ 379 w 411"/>
                    <a:gd name="T7" fmla="*/ 49 h 302"/>
                    <a:gd name="T8" fmla="*/ 355 w 411"/>
                    <a:gd name="T9" fmla="*/ 38 h 302"/>
                    <a:gd name="T10" fmla="*/ 333 w 411"/>
                    <a:gd name="T11" fmla="*/ 44 h 302"/>
                    <a:gd name="T12" fmla="*/ 326 w 411"/>
                    <a:gd name="T13" fmla="*/ 65 h 302"/>
                    <a:gd name="T14" fmla="*/ 311 w 411"/>
                    <a:gd name="T15" fmla="*/ 65 h 302"/>
                    <a:gd name="T16" fmla="*/ 321 w 411"/>
                    <a:gd name="T17" fmla="*/ 46 h 302"/>
                    <a:gd name="T18" fmla="*/ 300 w 411"/>
                    <a:gd name="T19" fmla="*/ 55 h 302"/>
                    <a:gd name="T20" fmla="*/ 280 w 411"/>
                    <a:gd name="T21" fmla="*/ 48 h 302"/>
                    <a:gd name="T22" fmla="*/ 264 w 411"/>
                    <a:gd name="T23" fmla="*/ 51 h 302"/>
                    <a:gd name="T24" fmla="*/ 250 w 411"/>
                    <a:gd name="T25" fmla="*/ 34 h 302"/>
                    <a:gd name="T26" fmla="*/ 228 w 411"/>
                    <a:gd name="T27" fmla="*/ 30 h 302"/>
                    <a:gd name="T28" fmla="*/ 220 w 411"/>
                    <a:gd name="T29" fmla="*/ 52 h 302"/>
                    <a:gd name="T30" fmla="*/ 209 w 411"/>
                    <a:gd name="T31" fmla="*/ 60 h 302"/>
                    <a:gd name="T32" fmla="*/ 196 w 411"/>
                    <a:gd name="T33" fmla="*/ 58 h 302"/>
                    <a:gd name="T34" fmla="*/ 180 w 411"/>
                    <a:gd name="T35" fmla="*/ 69 h 302"/>
                    <a:gd name="T36" fmla="*/ 163 w 411"/>
                    <a:gd name="T37" fmla="*/ 69 h 302"/>
                    <a:gd name="T38" fmla="*/ 143 w 411"/>
                    <a:gd name="T39" fmla="*/ 58 h 302"/>
                    <a:gd name="T40" fmla="*/ 152 w 411"/>
                    <a:gd name="T41" fmla="*/ 41 h 302"/>
                    <a:gd name="T42" fmla="*/ 137 w 411"/>
                    <a:gd name="T43" fmla="*/ 31 h 302"/>
                    <a:gd name="T44" fmla="*/ 125 w 411"/>
                    <a:gd name="T45" fmla="*/ 12 h 302"/>
                    <a:gd name="T46" fmla="*/ 115 w 411"/>
                    <a:gd name="T47" fmla="*/ 12 h 302"/>
                    <a:gd name="T48" fmla="*/ 89 w 411"/>
                    <a:gd name="T49" fmla="*/ 14 h 302"/>
                    <a:gd name="T50" fmla="*/ 63 w 411"/>
                    <a:gd name="T51" fmla="*/ 4 h 302"/>
                    <a:gd name="T52" fmla="*/ 44 w 411"/>
                    <a:gd name="T53" fmla="*/ 15 h 302"/>
                    <a:gd name="T54" fmla="*/ 35 w 411"/>
                    <a:gd name="T55" fmla="*/ 31 h 302"/>
                    <a:gd name="T56" fmla="*/ 21 w 411"/>
                    <a:gd name="T57" fmla="*/ 49 h 302"/>
                    <a:gd name="T58" fmla="*/ 35 w 411"/>
                    <a:gd name="T59" fmla="*/ 64 h 302"/>
                    <a:gd name="T60" fmla="*/ 39 w 411"/>
                    <a:gd name="T61" fmla="*/ 98 h 302"/>
                    <a:gd name="T62" fmla="*/ 31 w 411"/>
                    <a:gd name="T63" fmla="*/ 119 h 302"/>
                    <a:gd name="T64" fmla="*/ 35 w 411"/>
                    <a:gd name="T65" fmla="*/ 145 h 302"/>
                    <a:gd name="T66" fmla="*/ 26 w 411"/>
                    <a:gd name="T67" fmla="*/ 161 h 302"/>
                    <a:gd name="T68" fmla="*/ 11 w 411"/>
                    <a:gd name="T69" fmla="*/ 180 h 302"/>
                    <a:gd name="T70" fmla="*/ 5 w 411"/>
                    <a:gd name="T71" fmla="*/ 208 h 302"/>
                    <a:gd name="T72" fmla="*/ 6 w 411"/>
                    <a:gd name="T73" fmla="*/ 234 h 302"/>
                    <a:gd name="T74" fmla="*/ 22 w 411"/>
                    <a:gd name="T75" fmla="*/ 246 h 302"/>
                    <a:gd name="T76" fmla="*/ 39 w 411"/>
                    <a:gd name="T77" fmla="*/ 234 h 302"/>
                    <a:gd name="T78" fmla="*/ 57 w 411"/>
                    <a:gd name="T79" fmla="*/ 218 h 302"/>
                    <a:gd name="T80" fmla="*/ 70 w 411"/>
                    <a:gd name="T81" fmla="*/ 244 h 302"/>
                    <a:gd name="T82" fmla="*/ 83 w 411"/>
                    <a:gd name="T83" fmla="*/ 225 h 302"/>
                    <a:gd name="T84" fmla="*/ 97 w 411"/>
                    <a:gd name="T85" fmla="*/ 213 h 302"/>
                    <a:gd name="T86" fmla="*/ 121 w 411"/>
                    <a:gd name="T87" fmla="*/ 225 h 302"/>
                    <a:gd name="T88" fmla="*/ 143 w 411"/>
                    <a:gd name="T89" fmla="*/ 230 h 302"/>
                    <a:gd name="T90" fmla="*/ 153 w 411"/>
                    <a:gd name="T91" fmla="*/ 255 h 302"/>
                    <a:gd name="T92" fmla="*/ 161 w 411"/>
                    <a:gd name="T93" fmla="*/ 282 h 302"/>
                    <a:gd name="T94" fmla="*/ 189 w 411"/>
                    <a:gd name="T95" fmla="*/ 279 h 302"/>
                    <a:gd name="T96" fmla="*/ 209 w 411"/>
                    <a:gd name="T97" fmla="*/ 286 h 302"/>
                    <a:gd name="T98" fmla="*/ 238 w 411"/>
                    <a:gd name="T99" fmla="*/ 285 h 302"/>
                    <a:gd name="T100" fmla="*/ 260 w 411"/>
                    <a:gd name="T101" fmla="*/ 289 h 302"/>
                    <a:gd name="T102" fmla="*/ 281 w 411"/>
                    <a:gd name="T103" fmla="*/ 302 h 302"/>
                    <a:gd name="T104" fmla="*/ 297 w 411"/>
                    <a:gd name="T105" fmla="*/ 293 h 302"/>
                    <a:gd name="T106" fmla="*/ 284 w 411"/>
                    <a:gd name="T107" fmla="*/ 275 h 302"/>
                    <a:gd name="T108" fmla="*/ 278 w 411"/>
                    <a:gd name="T109" fmla="*/ 264 h 302"/>
                    <a:gd name="T110" fmla="*/ 292 w 411"/>
                    <a:gd name="T111" fmla="*/ 257 h 302"/>
                    <a:gd name="T112" fmla="*/ 301 w 411"/>
                    <a:gd name="T113" fmla="*/ 239 h 302"/>
                    <a:gd name="T114" fmla="*/ 315 w 411"/>
                    <a:gd name="T115" fmla="*/ 222 h 302"/>
                    <a:gd name="T116" fmla="*/ 346 w 411"/>
                    <a:gd name="T117" fmla="*/ 215 h 302"/>
                    <a:gd name="T118" fmla="*/ 344 w 411"/>
                    <a:gd name="T119" fmla="*/ 184 h 302"/>
                    <a:gd name="T120" fmla="*/ 372 w 411"/>
                    <a:gd name="T121" fmla="*/ 182 h 302"/>
                    <a:gd name="T122" fmla="*/ 403 w 411"/>
                    <a:gd name="T123" fmla="*/ 169 h 302"/>
                    <a:gd name="T124" fmla="*/ 150 w 411"/>
                    <a:gd name="T125" fmla="*/ 23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1" h="302">
                      <a:moveTo>
                        <a:pt x="409" y="145"/>
                      </a:moveTo>
                      <a:lnTo>
                        <a:pt x="405" y="144"/>
                      </a:lnTo>
                      <a:lnTo>
                        <a:pt x="403" y="142"/>
                      </a:lnTo>
                      <a:lnTo>
                        <a:pt x="404" y="141"/>
                      </a:lnTo>
                      <a:lnTo>
                        <a:pt x="400" y="141"/>
                      </a:lnTo>
                      <a:lnTo>
                        <a:pt x="400" y="141"/>
                      </a:lnTo>
                      <a:lnTo>
                        <a:pt x="400" y="139"/>
                      </a:lnTo>
                      <a:lnTo>
                        <a:pt x="400" y="138"/>
                      </a:lnTo>
                      <a:lnTo>
                        <a:pt x="397" y="138"/>
                      </a:lnTo>
                      <a:lnTo>
                        <a:pt x="395" y="137"/>
                      </a:lnTo>
                      <a:lnTo>
                        <a:pt x="395" y="134"/>
                      </a:lnTo>
                      <a:lnTo>
                        <a:pt x="395" y="129"/>
                      </a:lnTo>
                      <a:lnTo>
                        <a:pt x="393" y="128"/>
                      </a:lnTo>
                      <a:lnTo>
                        <a:pt x="393" y="124"/>
                      </a:lnTo>
                      <a:lnTo>
                        <a:pt x="395" y="121"/>
                      </a:lnTo>
                      <a:lnTo>
                        <a:pt x="392" y="120"/>
                      </a:lnTo>
                      <a:lnTo>
                        <a:pt x="389" y="121"/>
                      </a:lnTo>
                      <a:lnTo>
                        <a:pt x="388" y="121"/>
                      </a:lnTo>
                      <a:lnTo>
                        <a:pt x="386" y="119"/>
                      </a:lnTo>
                      <a:lnTo>
                        <a:pt x="387" y="118"/>
                      </a:lnTo>
                      <a:lnTo>
                        <a:pt x="386" y="117"/>
                      </a:lnTo>
                      <a:lnTo>
                        <a:pt x="385" y="118"/>
                      </a:lnTo>
                      <a:lnTo>
                        <a:pt x="382" y="117"/>
                      </a:lnTo>
                      <a:lnTo>
                        <a:pt x="381" y="116"/>
                      </a:lnTo>
                      <a:lnTo>
                        <a:pt x="379" y="113"/>
                      </a:lnTo>
                      <a:lnTo>
                        <a:pt x="379" y="111"/>
                      </a:lnTo>
                      <a:lnTo>
                        <a:pt x="378" y="110"/>
                      </a:lnTo>
                      <a:lnTo>
                        <a:pt x="377" y="107"/>
                      </a:lnTo>
                      <a:lnTo>
                        <a:pt x="378" y="103"/>
                      </a:lnTo>
                      <a:lnTo>
                        <a:pt x="377" y="103"/>
                      </a:lnTo>
                      <a:lnTo>
                        <a:pt x="379" y="100"/>
                      </a:lnTo>
                      <a:lnTo>
                        <a:pt x="381" y="99"/>
                      </a:lnTo>
                      <a:lnTo>
                        <a:pt x="383" y="101"/>
                      </a:lnTo>
                      <a:lnTo>
                        <a:pt x="383" y="99"/>
                      </a:lnTo>
                      <a:lnTo>
                        <a:pt x="383" y="98"/>
                      </a:lnTo>
                      <a:lnTo>
                        <a:pt x="385" y="99"/>
                      </a:lnTo>
                      <a:lnTo>
                        <a:pt x="389" y="98"/>
                      </a:lnTo>
                      <a:lnTo>
                        <a:pt x="389" y="97"/>
                      </a:lnTo>
                      <a:lnTo>
                        <a:pt x="393" y="95"/>
                      </a:lnTo>
                      <a:lnTo>
                        <a:pt x="393" y="92"/>
                      </a:lnTo>
                      <a:lnTo>
                        <a:pt x="396" y="89"/>
                      </a:lnTo>
                      <a:lnTo>
                        <a:pt x="395" y="86"/>
                      </a:lnTo>
                      <a:lnTo>
                        <a:pt x="393" y="85"/>
                      </a:lnTo>
                      <a:lnTo>
                        <a:pt x="393" y="84"/>
                      </a:lnTo>
                      <a:lnTo>
                        <a:pt x="393" y="83"/>
                      </a:lnTo>
                      <a:lnTo>
                        <a:pt x="393" y="81"/>
                      </a:lnTo>
                      <a:lnTo>
                        <a:pt x="391" y="80"/>
                      </a:lnTo>
                      <a:lnTo>
                        <a:pt x="390" y="79"/>
                      </a:lnTo>
                      <a:lnTo>
                        <a:pt x="389" y="77"/>
                      </a:lnTo>
                      <a:lnTo>
                        <a:pt x="387" y="74"/>
                      </a:lnTo>
                      <a:lnTo>
                        <a:pt x="386" y="73"/>
                      </a:lnTo>
                      <a:lnTo>
                        <a:pt x="385" y="75"/>
                      </a:lnTo>
                      <a:lnTo>
                        <a:pt x="383" y="76"/>
                      </a:lnTo>
                      <a:lnTo>
                        <a:pt x="382" y="76"/>
                      </a:lnTo>
                      <a:lnTo>
                        <a:pt x="383" y="72"/>
                      </a:lnTo>
                      <a:lnTo>
                        <a:pt x="382" y="70"/>
                      </a:lnTo>
                      <a:lnTo>
                        <a:pt x="383" y="67"/>
                      </a:lnTo>
                      <a:lnTo>
                        <a:pt x="379" y="67"/>
                      </a:lnTo>
                      <a:lnTo>
                        <a:pt x="379" y="66"/>
                      </a:lnTo>
                      <a:lnTo>
                        <a:pt x="376" y="67"/>
                      </a:lnTo>
                      <a:lnTo>
                        <a:pt x="375" y="65"/>
                      </a:lnTo>
                      <a:lnTo>
                        <a:pt x="375" y="64"/>
                      </a:lnTo>
                      <a:lnTo>
                        <a:pt x="376" y="62"/>
                      </a:lnTo>
                      <a:lnTo>
                        <a:pt x="375" y="58"/>
                      </a:lnTo>
                      <a:lnTo>
                        <a:pt x="376" y="56"/>
                      </a:lnTo>
                      <a:lnTo>
                        <a:pt x="377" y="53"/>
                      </a:lnTo>
                      <a:lnTo>
                        <a:pt x="379" y="52"/>
                      </a:lnTo>
                      <a:lnTo>
                        <a:pt x="379" y="49"/>
                      </a:lnTo>
                      <a:lnTo>
                        <a:pt x="379" y="48"/>
                      </a:lnTo>
                      <a:lnTo>
                        <a:pt x="377" y="48"/>
                      </a:lnTo>
                      <a:lnTo>
                        <a:pt x="376" y="46"/>
                      </a:lnTo>
                      <a:lnTo>
                        <a:pt x="374" y="45"/>
                      </a:lnTo>
                      <a:lnTo>
                        <a:pt x="372" y="44"/>
                      </a:lnTo>
                      <a:lnTo>
                        <a:pt x="372" y="42"/>
                      </a:lnTo>
                      <a:lnTo>
                        <a:pt x="372" y="41"/>
                      </a:lnTo>
                      <a:lnTo>
                        <a:pt x="372" y="40"/>
                      </a:lnTo>
                      <a:lnTo>
                        <a:pt x="374" y="38"/>
                      </a:lnTo>
                      <a:lnTo>
                        <a:pt x="374" y="38"/>
                      </a:lnTo>
                      <a:lnTo>
                        <a:pt x="370" y="36"/>
                      </a:lnTo>
                      <a:lnTo>
                        <a:pt x="369" y="36"/>
                      </a:lnTo>
                      <a:lnTo>
                        <a:pt x="367" y="36"/>
                      </a:lnTo>
                      <a:lnTo>
                        <a:pt x="362" y="36"/>
                      </a:lnTo>
                      <a:lnTo>
                        <a:pt x="359" y="37"/>
                      </a:lnTo>
                      <a:lnTo>
                        <a:pt x="357" y="37"/>
                      </a:lnTo>
                      <a:lnTo>
                        <a:pt x="355" y="38"/>
                      </a:lnTo>
                      <a:lnTo>
                        <a:pt x="354" y="38"/>
                      </a:lnTo>
                      <a:lnTo>
                        <a:pt x="352" y="38"/>
                      </a:lnTo>
                      <a:lnTo>
                        <a:pt x="349" y="38"/>
                      </a:lnTo>
                      <a:lnTo>
                        <a:pt x="348" y="41"/>
                      </a:lnTo>
                      <a:lnTo>
                        <a:pt x="345" y="42"/>
                      </a:lnTo>
                      <a:lnTo>
                        <a:pt x="344" y="43"/>
                      </a:lnTo>
                      <a:lnTo>
                        <a:pt x="344" y="44"/>
                      </a:lnTo>
                      <a:lnTo>
                        <a:pt x="343" y="44"/>
                      </a:lnTo>
                      <a:lnTo>
                        <a:pt x="341" y="45"/>
                      </a:lnTo>
                      <a:lnTo>
                        <a:pt x="339" y="45"/>
                      </a:lnTo>
                      <a:lnTo>
                        <a:pt x="338" y="42"/>
                      </a:lnTo>
                      <a:lnTo>
                        <a:pt x="338" y="42"/>
                      </a:lnTo>
                      <a:lnTo>
                        <a:pt x="338" y="41"/>
                      </a:lnTo>
                      <a:lnTo>
                        <a:pt x="336" y="42"/>
                      </a:lnTo>
                      <a:lnTo>
                        <a:pt x="334" y="43"/>
                      </a:lnTo>
                      <a:lnTo>
                        <a:pt x="334" y="43"/>
                      </a:lnTo>
                      <a:lnTo>
                        <a:pt x="333" y="44"/>
                      </a:lnTo>
                      <a:lnTo>
                        <a:pt x="332" y="45"/>
                      </a:lnTo>
                      <a:lnTo>
                        <a:pt x="331" y="49"/>
                      </a:lnTo>
                      <a:lnTo>
                        <a:pt x="331" y="51"/>
                      </a:lnTo>
                      <a:lnTo>
                        <a:pt x="330" y="52"/>
                      </a:lnTo>
                      <a:lnTo>
                        <a:pt x="332" y="55"/>
                      </a:lnTo>
                      <a:lnTo>
                        <a:pt x="334" y="54"/>
                      </a:lnTo>
                      <a:lnTo>
                        <a:pt x="335" y="54"/>
                      </a:lnTo>
                      <a:lnTo>
                        <a:pt x="336" y="55"/>
                      </a:lnTo>
                      <a:lnTo>
                        <a:pt x="336" y="57"/>
                      </a:lnTo>
                      <a:lnTo>
                        <a:pt x="335" y="58"/>
                      </a:lnTo>
                      <a:lnTo>
                        <a:pt x="334" y="58"/>
                      </a:lnTo>
                      <a:lnTo>
                        <a:pt x="334" y="59"/>
                      </a:lnTo>
                      <a:lnTo>
                        <a:pt x="329" y="61"/>
                      </a:lnTo>
                      <a:lnTo>
                        <a:pt x="328" y="62"/>
                      </a:lnTo>
                      <a:lnTo>
                        <a:pt x="328" y="62"/>
                      </a:lnTo>
                      <a:lnTo>
                        <a:pt x="326" y="64"/>
                      </a:lnTo>
                      <a:lnTo>
                        <a:pt x="326" y="65"/>
                      </a:lnTo>
                      <a:lnTo>
                        <a:pt x="326" y="65"/>
                      </a:lnTo>
                      <a:lnTo>
                        <a:pt x="323" y="67"/>
                      </a:lnTo>
                      <a:lnTo>
                        <a:pt x="323" y="67"/>
                      </a:lnTo>
                      <a:lnTo>
                        <a:pt x="323" y="69"/>
                      </a:lnTo>
                      <a:lnTo>
                        <a:pt x="319" y="69"/>
                      </a:lnTo>
                      <a:lnTo>
                        <a:pt x="319" y="67"/>
                      </a:lnTo>
                      <a:lnTo>
                        <a:pt x="316" y="67"/>
                      </a:lnTo>
                      <a:lnTo>
                        <a:pt x="316" y="69"/>
                      </a:lnTo>
                      <a:lnTo>
                        <a:pt x="310" y="69"/>
                      </a:lnTo>
                      <a:lnTo>
                        <a:pt x="310" y="70"/>
                      </a:lnTo>
                      <a:lnTo>
                        <a:pt x="308" y="70"/>
                      </a:lnTo>
                      <a:lnTo>
                        <a:pt x="308" y="70"/>
                      </a:lnTo>
                      <a:lnTo>
                        <a:pt x="309" y="69"/>
                      </a:lnTo>
                      <a:lnTo>
                        <a:pt x="309" y="69"/>
                      </a:lnTo>
                      <a:lnTo>
                        <a:pt x="310" y="67"/>
                      </a:lnTo>
                      <a:lnTo>
                        <a:pt x="310" y="65"/>
                      </a:lnTo>
                      <a:lnTo>
                        <a:pt x="311" y="65"/>
                      </a:lnTo>
                      <a:lnTo>
                        <a:pt x="310" y="64"/>
                      </a:lnTo>
                      <a:lnTo>
                        <a:pt x="308" y="62"/>
                      </a:lnTo>
                      <a:lnTo>
                        <a:pt x="309" y="61"/>
                      </a:lnTo>
                      <a:lnTo>
                        <a:pt x="311" y="61"/>
                      </a:lnTo>
                      <a:lnTo>
                        <a:pt x="313" y="58"/>
                      </a:lnTo>
                      <a:lnTo>
                        <a:pt x="314" y="58"/>
                      </a:lnTo>
                      <a:lnTo>
                        <a:pt x="315" y="58"/>
                      </a:lnTo>
                      <a:lnTo>
                        <a:pt x="316" y="58"/>
                      </a:lnTo>
                      <a:lnTo>
                        <a:pt x="316" y="57"/>
                      </a:lnTo>
                      <a:lnTo>
                        <a:pt x="318" y="57"/>
                      </a:lnTo>
                      <a:lnTo>
                        <a:pt x="319" y="57"/>
                      </a:lnTo>
                      <a:lnTo>
                        <a:pt x="321" y="56"/>
                      </a:lnTo>
                      <a:lnTo>
                        <a:pt x="321" y="54"/>
                      </a:lnTo>
                      <a:lnTo>
                        <a:pt x="319" y="51"/>
                      </a:lnTo>
                      <a:lnTo>
                        <a:pt x="321" y="51"/>
                      </a:lnTo>
                      <a:lnTo>
                        <a:pt x="321" y="48"/>
                      </a:lnTo>
                      <a:lnTo>
                        <a:pt x="321" y="46"/>
                      </a:lnTo>
                      <a:lnTo>
                        <a:pt x="323" y="45"/>
                      </a:lnTo>
                      <a:lnTo>
                        <a:pt x="324" y="42"/>
                      </a:lnTo>
                      <a:lnTo>
                        <a:pt x="324" y="41"/>
                      </a:lnTo>
                      <a:lnTo>
                        <a:pt x="323" y="41"/>
                      </a:lnTo>
                      <a:lnTo>
                        <a:pt x="318" y="38"/>
                      </a:lnTo>
                      <a:lnTo>
                        <a:pt x="316" y="38"/>
                      </a:lnTo>
                      <a:lnTo>
                        <a:pt x="315" y="38"/>
                      </a:lnTo>
                      <a:lnTo>
                        <a:pt x="314" y="40"/>
                      </a:lnTo>
                      <a:lnTo>
                        <a:pt x="312" y="42"/>
                      </a:lnTo>
                      <a:lnTo>
                        <a:pt x="310" y="43"/>
                      </a:lnTo>
                      <a:lnTo>
                        <a:pt x="309" y="45"/>
                      </a:lnTo>
                      <a:lnTo>
                        <a:pt x="307" y="49"/>
                      </a:lnTo>
                      <a:lnTo>
                        <a:pt x="306" y="49"/>
                      </a:lnTo>
                      <a:lnTo>
                        <a:pt x="304" y="53"/>
                      </a:lnTo>
                      <a:lnTo>
                        <a:pt x="303" y="53"/>
                      </a:lnTo>
                      <a:lnTo>
                        <a:pt x="301" y="55"/>
                      </a:lnTo>
                      <a:lnTo>
                        <a:pt x="300" y="55"/>
                      </a:lnTo>
                      <a:lnTo>
                        <a:pt x="300" y="55"/>
                      </a:lnTo>
                      <a:lnTo>
                        <a:pt x="300" y="55"/>
                      </a:lnTo>
                      <a:lnTo>
                        <a:pt x="297" y="56"/>
                      </a:lnTo>
                      <a:lnTo>
                        <a:pt x="297" y="55"/>
                      </a:lnTo>
                      <a:lnTo>
                        <a:pt x="290" y="55"/>
                      </a:lnTo>
                      <a:lnTo>
                        <a:pt x="290" y="56"/>
                      </a:lnTo>
                      <a:lnTo>
                        <a:pt x="289" y="54"/>
                      </a:lnTo>
                      <a:lnTo>
                        <a:pt x="289" y="51"/>
                      </a:lnTo>
                      <a:lnTo>
                        <a:pt x="286" y="51"/>
                      </a:lnTo>
                      <a:lnTo>
                        <a:pt x="286" y="49"/>
                      </a:lnTo>
                      <a:lnTo>
                        <a:pt x="285" y="49"/>
                      </a:lnTo>
                      <a:lnTo>
                        <a:pt x="283" y="49"/>
                      </a:lnTo>
                      <a:lnTo>
                        <a:pt x="283" y="47"/>
                      </a:lnTo>
                      <a:lnTo>
                        <a:pt x="283" y="47"/>
                      </a:lnTo>
                      <a:lnTo>
                        <a:pt x="282" y="48"/>
                      </a:lnTo>
                      <a:lnTo>
                        <a:pt x="282" y="48"/>
                      </a:lnTo>
                      <a:lnTo>
                        <a:pt x="280" y="48"/>
                      </a:lnTo>
                      <a:lnTo>
                        <a:pt x="280" y="51"/>
                      </a:lnTo>
                      <a:lnTo>
                        <a:pt x="278" y="53"/>
                      </a:lnTo>
                      <a:lnTo>
                        <a:pt x="276" y="52"/>
                      </a:lnTo>
                      <a:lnTo>
                        <a:pt x="276" y="53"/>
                      </a:lnTo>
                      <a:lnTo>
                        <a:pt x="276" y="53"/>
                      </a:lnTo>
                      <a:lnTo>
                        <a:pt x="275" y="55"/>
                      </a:lnTo>
                      <a:lnTo>
                        <a:pt x="273" y="56"/>
                      </a:lnTo>
                      <a:lnTo>
                        <a:pt x="269" y="56"/>
                      </a:lnTo>
                      <a:lnTo>
                        <a:pt x="269" y="55"/>
                      </a:lnTo>
                      <a:lnTo>
                        <a:pt x="269" y="53"/>
                      </a:lnTo>
                      <a:lnTo>
                        <a:pt x="269" y="51"/>
                      </a:lnTo>
                      <a:lnTo>
                        <a:pt x="269" y="49"/>
                      </a:lnTo>
                      <a:lnTo>
                        <a:pt x="266" y="50"/>
                      </a:lnTo>
                      <a:lnTo>
                        <a:pt x="266" y="47"/>
                      </a:lnTo>
                      <a:lnTo>
                        <a:pt x="265" y="47"/>
                      </a:lnTo>
                      <a:lnTo>
                        <a:pt x="265" y="51"/>
                      </a:lnTo>
                      <a:lnTo>
                        <a:pt x="264" y="51"/>
                      </a:lnTo>
                      <a:lnTo>
                        <a:pt x="264" y="48"/>
                      </a:lnTo>
                      <a:lnTo>
                        <a:pt x="262" y="47"/>
                      </a:lnTo>
                      <a:lnTo>
                        <a:pt x="262" y="45"/>
                      </a:lnTo>
                      <a:lnTo>
                        <a:pt x="260" y="45"/>
                      </a:lnTo>
                      <a:lnTo>
                        <a:pt x="262" y="43"/>
                      </a:lnTo>
                      <a:lnTo>
                        <a:pt x="260" y="42"/>
                      </a:lnTo>
                      <a:lnTo>
                        <a:pt x="259" y="41"/>
                      </a:lnTo>
                      <a:lnTo>
                        <a:pt x="256" y="41"/>
                      </a:lnTo>
                      <a:lnTo>
                        <a:pt x="256" y="40"/>
                      </a:lnTo>
                      <a:lnTo>
                        <a:pt x="256" y="39"/>
                      </a:lnTo>
                      <a:lnTo>
                        <a:pt x="256" y="38"/>
                      </a:lnTo>
                      <a:lnTo>
                        <a:pt x="257" y="38"/>
                      </a:lnTo>
                      <a:lnTo>
                        <a:pt x="256" y="36"/>
                      </a:lnTo>
                      <a:lnTo>
                        <a:pt x="256" y="36"/>
                      </a:lnTo>
                      <a:lnTo>
                        <a:pt x="253" y="36"/>
                      </a:lnTo>
                      <a:lnTo>
                        <a:pt x="252" y="34"/>
                      </a:lnTo>
                      <a:lnTo>
                        <a:pt x="250" y="34"/>
                      </a:lnTo>
                      <a:lnTo>
                        <a:pt x="250" y="34"/>
                      </a:lnTo>
                      <a:lnTo>
                        <a:pt x="248" y="34"/>
                      </a:lnTo>
                      <a:lnTo>
                        <a:pt x="248" y="32"/>
                      </a:lnTo>
                      <a:lnTo>
                        <a:pt x="247" y="30"/>
                      </a:lnTo>
                      <a:lnTo>
                        <a:pt x="245" y="28"/>
                      </a:lnTo>
                      <a:lnTo>
                        <a:pt x="244" y="30"/>
                      </a:lnTo>
                      <a:lnTo>
                        <a:pt x="242" y="29"/>
                      </a:lnTo>
                      <a:lnTo>
                        <a:pt x="242" y="30"/>
                      </a:lnTo>
                      <a:lnTo>
                        <a:pt x="240" y="32"/>
                      </a:lnTo>
                      <a:lnTo>
                        <a:pt x="239" y="31"/>
                      </a:lnTo>
                      <a:lnTo>
                        <a:pt x="239" y="31"/>
                      </a:lnTo>
                      <a:lnTo>
                        <a:pt x="237" y="32"/>
                      </a:lnTo>
                      <a:lnTo>
                        <a:pt x="235" y="33"/>
                      </a:lnTo>
                      <a:lnTo>
                        <a:pt x="232" y="31"/>
                      </a:lnTo>
                      <a:lnTo>
                        <a:pt x="232" y="30"/>
                      </a:lnTo>
                      <a:lnTo>
                        <a:pt x="230" y="29"/>
                      </a:lnTo>
                      <a:lnTo>
                        <a:pt x="228" y="30"/>
                      </a:lnTo>
                      <a:lnTo>
                        <a:pt x="228" y="30"/>
                      </a:lnTo>
                      <a:lnTo>
                        <a:pt x="228" y="29"/>
                      </a:lnTo>
                      <a:lnTo>
                        <a:pt x="227" y="29"/>
                      </a:lnTo>
                      <a:lnTo>
                        <a:pt x="227" y="30"/>
                      </a:lnTo>
                      <a:lnTo>
                        <a:pt x="225" y="31"/>
                      </a:lnTo>
                      <a:lnTo>
                        <a:pt x="225" y="32"/>
                      </a:lnTo>
                      <a:lnTo>
                        <a:pt x="225" y="36"/>
                      </a:lnTo>
                      <a:lnTo>
                        <a:pt x="224" y="38"/>
                      </a:lnTo>
                      <a:lnTo>
                        <a:pt x="224" y="41"/>
                      </a:lnTo>
                      <a:lnTo>
                        <a:pt x="223" y="42"/>
                      </a:lnTo>
                      <a:lnTo>
                        <a:pt x="223" y="43"/>
                      </a:lnTo>
                      <a:lnTo>
                        <a:pt x="222" y="45"/>
                      </a:lnTo>
                      <a:lnTo>
                        <a:pt x="222" y="45"/>
                      </a:lnTo>
                      <a:lnTo>
                        <a:pt x="221" y="46"/>
                      </a:lnTo>
                      <a:lnTo>
                        <a:pt x="220" y="48"/>
                      </a:lnTo>
                      <a:lnTo>
                        <a:pt x="220" y="51"/>
                      </a:lnTo>
                      <a:lnTo>
                        <a:pt x="220" y="52"/>
                      </a:lnTo>
                      <a:lnTo>
                        <a:pt x="219" y="54"/>
                      </a:lnTo>
                      <a:lnTo>
                        <a:pt x="219" y="57"/>
                      </a:lnTo>
                      <a:lnTo>
                        <a:pt x="218" y="58"/>
                      </a:lnTo>
                      <a:lnTo>
                        <a:pt x="218" y="59"/>
                      </a:lnTo>
                      <a:lnTo>
                        <a:pt x="216" y="62"/>
                      </a:lnTo>
                      <a:lnTo>
                        <a:pt x="216" y="65"/>
                      </a:lnTo>
                      <a:lnTo>
                        <a:pt x="215" y="69"/>
                      </a:lnTo>
                      <a:lnTo>
                        <a:pt x="214" y="69"/>
                      </a:lnTo>
                      <a:lnTo>
                        <a:pt x="214" y="69"/>
                      </a:lnTo>
                      <a:lnTo>
                        <a:pt x="211" y="67"/>
                      </a:lnTo>
                      <a:lnTo>
                        <a:pt x="211" y="65"/>
                      </a:lnTo>
                      <a:lnTo>
                        <a:pt x="211" y="65"/>
                      </a:lnTo>
                      <a:lnTo>
                        <a:pt x="211" y="62"/>
                      </a:lnTo>
                      <a:lnTo>
                        <a:pt x="211" y="62"/>
                      </a:lnTo>
                      <a:lnTo>
                        <a:pt x="211" y="62"/>
                      </a:lnTo>
                      <a:lnTo>
                        <a:pt x="211" y="62"/>
                      </a:lnTo>
                      <a:lnTo>
                        <a:pt x="209" y="60"/>
                      </a:lnTo>
                      <a:lnTo>
                        <a:pt x="207" y="60"/>
                      </a:lnTo>
                      <a:lnTo>
                        <a:pt x="207" y="58"/>
                      </a:lnTo>
                      <a:lnTo>
                        <a:pt x="209" y="58"/>
                      </a:lnTo>
                      <a:lnTo>
                        <a:pt x="209" y="56"/>
                      </a:lnTo>
                      <a:lnTo>
                        <a:pt x="208" y="55"/>
                      </a:lnTo>
                      <a:lnTo>
                        <a:pt x="207" y="54"/>
                      </a:lnTo>
                      <a:lnTo>
                        <a:pt x="207" y="53"/>
                      </a:lnTo>
                      <a:lnTo>
                        <a:pt x="206" y="55"/>
                      </a:lnTo>
                      <a:lnTo>
                        <a:pt x="204" y="54"/>
                      </a:lnTo>
                      <a:lnTo>
                        <a:pt x="204" y="55"/>
                      </a:lnTo>
                      <a:lnTo>
                        <a:pt x="203" y="57"/>
                      </a:lnTo>
                      <a:lnTo>
                        <a:pt x="203" y="58"/>
                      </a:lnTo>
                      <a:lnTo>
                        <a:pt x="200" y="58"/>
                      </a:lnTo>
                      <a:lnTo>
                        <a:pt x="199" y="57"/>
                      </a:lnTo>
                      <a:lnTo>
                        <a:pt x="199" y="55"/>
                      </a:lnTo>
                      <a:lnTo>
                        <a:pt x="197" y="55"/>
                      </a:lnTo>
                      <a:lnTo>
                        <a:pt x="196" y="58"/>
                      </a:lnTo>
                      <a:lnTo>
                        <a:pt x="194" y="58"/>
                      </a:lnTo>
                      <a:lnTo>
                        <a:pt x="192" y="57"/>
                      </a:lnTo>
                      <a:lnTo>
                        <a:pt x="189" y="55"/>
                      </a:lnTo>
                      <a:lnTo>
                        <a:pt x="188" y="56"/>
                      </a:lnTo>
                      <a:lnTo>
                        <a:pt x="187" y="55"/>
                      </a:lnTo>
                      <a:lnTo>
                        <a:pt x="186" y="55"/>
                      </a:lnTo>
                      <a:lnTo>
                        <a:pt x="184" y="58"/>
                      </a:lnTo>
                      <a:lnTo>
                        <a:pt x="184" y="58"/>
                      </a:lnTo>
                      <a:lnTo>
                        <a:pt x="183" y="62"/>
                      </a:lnTo>
                      <a:lnTo>
                        <a:pt x="183" y="64"/>
                      </a:lnTo>
                      <a:lnTo>
                        <a:pt x="183" y="64"/>
                      </a:lnTo>
                      <a:lnTo>
                        <a:pt x="183" y="65"/>
                      </a:lnTo>
                      <a:lnTo>
                        <a:pt x="181" y="66"/>
                      </a:lnTo>
                      <a:lnTo>
                        <a:pt x="183" y="69"/>
                      </a:lnTo>
                      <a:lnTo>
                        <a:pt x="181" y="69"/>
                      </a:lnTo>
                      <a:lnTo>
                        <a:pt x="181" y="69"/>
                      </a:lnTo>
                      <a:lnTo>
                        <a:pt x="180" y="69"/>
                      </a:lnTo>
                      <a:lnTo>
                        <a:pt x="178" y="70"/>
                      </a:lnTo>
                      <a:lnTo>
                        <a:pt x="177" y="70"/>
                      </a:lnTo>
                      <a:lnTo>
                        <a:pt x="176" y="72"/>
                      </a:lnTo>
                      <a:lnTo>
                        <a:pt x="173" y="72"/>
                      </a:lnTo>
                      <a:lnTo>
                        <a:pt x="173" y="70"/>
                      </a:lnTo>
                      <a:lnTo>
                        <a:pt x="174" y="69"/>
                      </a:lnTo>
                      <a:lnTo>
                        <a:pt x="174" y="69"/>
                      </a:lnTo>
                      <a:lnTo>
                        <a:pt x="173" y="69"/>
                      </a:lnTo>
                      <a:lnTo>
                        <a:pt x="172" y="69"/>
                      </a:lnTo>
                      <a:lnTo>
                        <a:pt x="171" y="69"/>
                      </a:lnTo>
                      <a:lnTo>
                        <a:pt x="171" y="69"/>
                      </a:lnTo>
                      <a:lnTo>
                        <a:pt x="170" y="69"/>
                      </a:lnTo>
                      <a:lnTo>
                        <a:pt x="168" y="69"/>
                      </a:lnTo>
                      <a:lnTo>
                        <a:pt x="168" y="70"/>
                      </a:lnTo>
                      <a:lnTo>
                        <a:pt x="165" y="70"/>
                      </a:lnTo>
                      <a:lnTo>
                        <a:pt x="164" y="69"/>
                      </a:lnTo>
                      <a:lnTo>
                        <a:pt x="163" y="69"/>
                      </a:lnTo>
                      <a:lnTo>
                        <a:pt x="161" y="67"/>
                      </a:lnTo>
                      <a:lnTo>
                        <a:pt x="159" y="69"/>
                      </a:lnTo>
                      <a:lnTo>
                        <a:pt x="158" y="69"/>
                      </a:lnTo>
                      <a:lnTo>
                        <a:pt x="158" y="69"/>
                      </a:lnTo>
                      <a:lnTo>
                        <a:pt x="156" y="70"/>
                      </a:lnTo>
                      <a:lnTo>
                        <a:pt x="152" y="71"/>
                      </a:lnTo>
                      <a:lnTo>
                        <a:pt x="152" y="67"/>
                      </a:lnTo>
                      <a:lnTo>
                        <a:pt x="151" y="67"/>
                      </a:lnTo>
                      <a:lnTo>
                        <a:pt x="147" y="66"/>
                      </a:lnTo>
                      <a:lnTo>
                        <a:pt x="147" y="67"/>
                      </a:lnTo>
                      <a:lnTo>
                        <a:pt x="146" y="67"/>
                      </a:lnTo>
                      <a:lnTo>
                        <a:pt x="145" y="65"/>
                      </a:lnTo>
                      <a:lnTo>
                        <a:pt x="145" y="64"/>
                      </a:lnTo>
                      <a:lnTo>
                        <a:pt x="146" y="62"/>
                      </a:lnTo>
                      <a:lnTo>
                        <a:pt x="146" y="58"/>
                      </a:lnTo>
                      <a:lnTo>
                        <a:pt x="143" y="58"/>
                      </a:lnTo>
                      <a:lnTo>
                        <a:pt x="143" y="58"/>
                      </a:lnTo>
                      <a:lnTo>
                        <a:pt x="145" y="58"/>
                      </a:lnTo>
                      <a:lnTo>
                        <a:pt x="145" y="57"/>
                      </a:lnTo>
                      <a:lnTo>
                        <a:pt x="148" y="56"/>
                      </a:lnTo>
                      <a:lnTo>
                        <a:pt x="148" y="55"/>
                      </a:lnTo>
                      <a:lnTo>
                        <a:pt x="149" y="55"/>
                      </a:lnTo>
                      <a:lnTo>
                        <a:pt x="149" y="53"/>
                      </a:lnTo>
                      <a:lnTo>
                        <a:pt x="152" y="54"/>
                      </a:lnTo>
                      <a:lnTo>
                        <a:pt x="153" y="53"/>
                      </a:lnTo>
                      <a:lnTo>
                        <a:pt x="153" y="52"/>
                      </a:lnTo>
                      <a:lnTo>
                        <a:pt x="152" y="52"/>
                      </a:lnTo>
                      <a:lnTo>
                        <a:pt x="152" y="51"/>
                      </a:lnTo>
                      <a:lnTo>
                        <a:pt x="152" y="48"/>
                      </a:lnTo>
                      <a:lnTo>
                        <a:pt x="152" y="48"/>
                      </a:lnTo>
                      <a:lnTo>
                        <a:pt x="152" y="46"/>
                      </a:lnTo>
                      <a:lnTo>
                        <a:pt x="151" y="45"/>
                      </a:lnTo>
                      <a:lnTo>
                        <a:pt x="152" y="43"/>
                      </a:lnTo>
                      <a:lnTo>
                        <a:pt x="152" y="41"/>
                      </a:lnTo>
                      <a:lnTo>
                        <a:pt x="153" y="40"/>
                      </a:lnTo>
                      <a:lnTo>
                        <a:pt x="153" y="39"/>
                      </a:lnTo>
                      <a:lnTo>
                        <a:pt x="152" y="39"/>
                      </a:lnTo>
                      <a:lnTo>
                        <a:pt x="152" y="38"/>
                      </a:lnTo>
                      <a:lnTo>
                        <a:pt x="152" y="36"/>
                      </a:lnTo>
                      <a:lnTo>
                        <a:pt x="149" y="36"/>
                      </a:lnTo>
                      <a:lnTo>
                        <a:pt x="149" y="35"/>
                      </a:lnTo>
                      <a:lnTo>
                        <a:pt x="149" y="34"/>
                      </a:lnTo>
                      <a:lnTo>
                        <a:pt x="146" y="34"/>
                      </a:lnTo>
                      <a:lnTo>
                        <a:pt x="145" y="34"/>
                      </a:lnTo>
                      <a:lnTo>
                        <a:pt x="144" y="35"/>
                      </a:lnTo>
                      <a:lnTo>
                        <a:pt x="142" y="34"/>
                      </a:lnTo>
                      <a:lnTo>
                        <a:pt x="142" y="32"/>
                      </a:lnTo>
                      <a:lnTo>
                        <a:pt x="140" y="31"/>
                      </a:lnTo>
                      <a:lnTo>
                        <a:pt x="140" y="31"/>
                      </a:lnTo>
                      <a:lnTo>
                        <a:pt x="139" y="30"/>
                      </a:lnTo>
                      <a:lnTo>
                        <a:pt x="137" y="31"/>
                      </a:lnTo>
                      <a:lnTo>
                        <a:pt x="135" y="30"/>
                      </a:lnTo>
                      <a:lnTo>
                        <a:pt x="135" y="30"/>
                      </a:lnTo>
                      <a:lnTo>
                        <a:pt x="131" y="29"/>
                      </a:lnTo>
                      <a:lnTo>
                        <a:pt x="132" y="27"/>
                      </a:lnTo>
                      <a:lnTo>
                        <a:pt x="132" y="24"/>
                      </a:lnTo>
                      <a:lnTo>
                        <a:pt x="131" y="22"/>
                      </a:lnTo>
                      <a:lnTo>
                        <a:pt x="130" y="22"/>
                      </a:lnTo>
                      <a:lnTo>
                        <a:pt x="129" y="21"/>
                      </a:lnTo>
                      <a:lnTo>
                        <a:pt x="130" y="20"/>
                      </a:lnTo>
                      <a:lnTo>
                        <a:pt x="130" y="19"/>
                      </a:lnTo>
                      <a:lnTo>
                        <a:pt x="129" y="18"/>
                      </a:lnTo>
                      <a:lnTo>
                        <a:pt x="129" y="17"/>
                      </a:lnTo>
                      <a:lnTo>
                        <a:pt x="128" y="16"/>
                      </a:lnTo>
                      <a:lnTo>
                        <a:pt x="128" y="15"/>
                      </a:lnTo>
                      <a:lnTo>
                        <a:pt x="126" y="14"/>
                      </a:lnTo>
                      <a:lnTo>
                        <a:pt x="126" y="12"/>
                      </a:lnTo>
                      <a:lnTo>
                        <a:pt x="125" y="12"/>
                      </a:lnTo>
                      <a:lnTo>
                        <a:pt x="124" y="10"/>
                      </a:lnTo>
                      <a:lnTo>
                        <a:pt x="123" y="10"/>
                      </a:lnTo>
                      <a:lnTo>
                        <a:pt x="123" y="7"/>
                      </a:lnTo>
                      <a:lnTo>
                        <a:pt x="122" y="7"/>
                      </a:lnTo>
                      <a:lnTo>
                        <a:pt x="123" y="5"/>
                      </a:lnTo>
                      <a:lnTo>
                        <a:pt x="122" y="5"/>
                      </a:lnTo>
                      <a:lnTo>
                        <a:pt x="122" y="4"/>
                      </a:lnTo>
                      <a:lnTo>
                        <a:pt x="121" y="5"/>
                      </a:lnTo>
                      <a:lnTo>
                        <a:pt x="119" y="4"/>
                      </a:lnTo>
                      <a:lnTo>
                        <a:pt x="118" y="5"/>
                      </a:lnTo>
                      <a:lnTo>
                        <a:pt x="120" y="8"/>
                      </a:lnTo>
                      <a:lnTo>
                        <a:pt x="119" y="8"/>
                      </a:lnTo>
                      <a:lnTo>
                        <a:pt x="118" y="9"/>
                      </a:lnTo>
                      <a:lnTo>
                        <a:pt x="116" y="8"/>
                      </a:lnTo>
                      <a:lnTo>
                        <a:pt x="117" y="13"/>
                      </a:lnTo>
                      <a:lnTo>
                        <a:pt x="115" y="13"/>
                      </a:lnTo>
                      <a:lnTo>
                        <a:pt x="115" y="12"/>
                      </a:lnTo>
                      <a:lnTo>
                        <a:pt x="112" y="15"/>
                      </a:lnTo>
                      <a:lnTo>
                        <a:pt x="111" y="17"/>
                      </a:lnTo>
                      <a:lnTo>
                        <a:pt x="108" y="17"/>
                      </a:lnTo>
                      <a:lnTo>
                        <a:pt x="108" y="15"/>
                      </a:lnTo>
                      <a:lnTo>
                        <a:pt x="108" y="12"/>
                      </a:lnTo>
                      <a:lnTo>
                        <a:pt x="108" y="12"/>
                      </a:lnTo>
                      <a:lnTo>
                        <a:pt x="108" y="10"/>
                      </a:lnTo>
                      <a:lnTo>
                        <a:pt x="104" y="9"/>
                      </a:lnTo>
                      <a:lnTo>
                        <a:pt x="101" y="12"/>
                      </a:lnTo>
                      <a:lnTo>
                        <a:pt x="98" y="12"/>
                      </a:lnTo>
                      <a:lnTo>
                        <a:pt x="97" y="10"/>
                      </a:lnTo>
                      <a:lnTo>
                        <a:pt x="95" y="10"/>
                      </a:lnTo>
                      <a:lnTo>
                        <a:pt x="94" y="9"/>
                      </a:lnTo>
                      <a:lnTo>
                        <a:pt x="93" y="10"/>
                      </a:lnTo>
                      <a:lnTo>
                        <a:pt x="91" y="11"/>
                      </a:lnTo>
                      <a:lnTo>
                        <a:pt x="90" y="13"/>
                      </a:lnTo>
                      <a:lnTo>
                        <a:pt x="89" y="14"/>
                      </a:lnTo>
                      <a:lnTo>
                        <a:pt x="89" y="14"/>
                      </a:lnTo>
                      <a:lnTo>
                        <a:pt x="87" y="13"/>
                      </a:lnTo>
                      <a:lnTo>
                        <a:pt x="84" y="10"/>
                      </a:lnTo>
                      <a:lnTo>
                        <a:pt x="84" y="8"/>
                      </a:lnTo>
                      <a:lnTo>
                        <a:pt x="80" y="7"/>
                      </a:lnTo>
                      <a:lnTo>
                        <a:pt x="80" y="7"/>
                      </a:lnTo>
                      <a:lnTo>
                        <a:pt x="76" y="3"/>
                      </a:lnTo>
                      <a:lnTo>
                        <a:pt x="75" y="0"/>
                      </a:lnTo>
                      <a:lnTo>
                        <a:pt x="70" y="0"/>
                      </a:lnTo>
                      <a:lnTo>
                        <a:pt x="70" y="1"/>
                      </a:lnTo>
                      <a:lnTo>
                        <a:pt x="68" y="1"/>
                      </a:lnTo>
                      <a:lnTo>
                        <a:pt x="67" y="0"/>
                      </a:lnTo>
                      <a:lnTo>
                        <a:pt x="66" y="1"/>
                      </a:lnTo>
                      <a:lnTo>
                        <a:pt x="66" y="2"/>
                      </a:lnTo>
                      <a:lnTo>
                        <a:pt x="65" y="2"/>
                      </a:lnTo>
                      <a:lnTo>
                        <a:pt x="63" y="3"/>
                      </a:lnTo>
                      <a:lnTo>
                        <a:pt x="63" y="4"/>
                      </a:lnTo>
                      <a:lnTo>
                        <a:pt x="62" y="7"/>
                      </a:lnTo>
                      <a:lnTo>
                        <a:pt x="62" y="8"/>
                      </a:lnTo>
                      <a:lnTo>
                        <a:pt x="60" y="8"/>
                      </a:lnTo>
                      <a:lnTo>
                        <a:pt x="60" y="7"/>
                      </a:lnTo>
                      <a:lnTo>
                        <a:pt x="57" y="8"/>
                      </a:lnTo>
                      <a:lnTo>
                        <a:pt x="56" y="9"/>
                      </a:lnTo>
                      <a:lnTo>
                        <a:pt x="54" y="10"/>
                      </a:lnTo>
                      <a:lnTo>
                        <a:pt x="52" y="7"/>
                      </a:lnTo>
                      <a:lnTo>
                        <a:pt x="50" y="7"/>
                      </a:lnTo>
                      <a:lnTo>
                        <a:pt x="50" y="9"/>
                      </a:lnTo>
                      <a:lnTo>
                        <a:pt x="48" y="9"/>
                      </a:lnTo>
                      <a:lnTo>
                        <a:pt x="48" y="10"/>
                      </a:lnTo>
                      <a:lnTo>
                        <a:pt x="48" y="11"/>
                      </a:lnTo>
                      <a:lnTo>
                        <a:pt x="46" y="12"/>
                      </a:lnTo>
                      <a:lnTo>
                        <a:pt x="44" y="12"/>
                      </a:lnTo>
                      <a:lnTo>
                        <a:pt x="43" y="14"/>
                      </a:lnTo>
                      <a:lnTo>
                        <a:pt x="44" y="15"/>
                      </a:lnTo>
                      <a:lnTo>
                        <a:pt x="44" y="16"/>
                      </a:lnTo>
                      <a:lnTo>
                        <a:pt x="43" y="16"/>
                      </a:lnTo>
                      <a:lnTo>
                        <a:pt x="43" y="15"/>
                      </a:lnTo>
                      <a:lnTo>
                        <a:pt x="39" y="16"/>
                      </a:lnTo>
                      <a:lnTo>
                        <a:pt x="39" y="17"/>
                      </a:lnTo>
                      <a:lnTo>
                        <a:pt x="41" y="17"/>
                      </a:lnTo>
                      <a:lnTo>
                        <a:pt x="41" y="21"/>
                      </a:lnTo>
                      <a:lnTo>
                        <a:pt x="39" y="22"/>
                      </a:lnTo>
                      <a:lnTo>
                        <a:pt x="41" y="24"/>
                      </a:lnTo>
                      <a:lnTo>
                        <a:pt x="42" y="24"/>
                      </a:lnTo>
                      <a:lnTo>
                        <a:pt x="43" y="25"/>
                      </a:lnTo>
                      <a:lnTo>
                        <a:pt x="43" y="28"/>
                      </a:lnTo>
                      <a:lnTo>
                        <a:pt x="39" y="30"/>
                      </a:lnTo>
                      <a:lnTo>
                        <a:pt x="37" y="32"/>
                      </a:lnTo>
                      <a:lnTo>
                        <a:pt x="37" y="32"/>
                      </a:lnTo>
                      <a:lnTo>
                        <a:pt x="37" y="31"/>
                      </a:lnTo>
                      <a:lnTo>
                        <a:pt x="35" y="31"/>
                      </a:lnTo>
                      <a:lnTo>
                        <a:pt x="35" y="31"/>
                      </a:lnTo>
                      <a:lnTo>
                        <a:pt x="34" y="32"/>
                      </a:lnTo>
                      <a:lnTo>
                        <a:pt x="33" y="30"/>
                      </a:lnTo>
                      <a:lnTo>
                        <a:pt x="29" y="31"/>
                      </a:lnTo>
                      <a:lnTo>
                        <a:pt x="24" y="32"/>
                      </a:lnTo>
                      <a:lnTo>
                        <a:pt x="24" y="32"/>
                      </a:lnTo>
                      <a:lnTo>
                        <a:pt x="21" y="35"/>
                      </a:lnTo>
                      <a:lnTo>
                        <a:pt x="21" y="36"/>
                      </a:lnTo>
                      <a:lnTo>
                        <a:pt x="19" y="38"/>
                      </a:lnTo>
                      <a:lnTo>
                        <a:pt x="19" y="38"/>
                      </a:lnTo>
                      <a:lnTo>
                        <a:pt x="16" y="43"/>
                      </a:lnTo>
                      <a:lnTo>
                        <a:pt x="17" y="45"/>
                      </a:lnTo>
                      <a:lnTo>
                        <a:pt x="17" y="48"/>
                      </a:lnTo>
                      <a:lnTo>
                        <a:pt x="18" y="48"/>
                      </a:lnTo>
                      <a:lnTo>
                        <a:pt x="19" y="48"/>
                      </a:lnTo>
                      <a:lnTo>
                        <a:pt x="21" y="48"/>
                      </a:lnTo>
                      <a:lnTo>
                        <a:pt x="21" y="49"/>
                      </a:lnTo>
                      <a:lnTo>
                        <a:pt x="21" y="50"/>
                      </a:lnTo>
                      <a:lnTo>
                        <a:pt x="19" y="51"/>
                      </a:lnTo>
                      <a:lnTo>
                        <a:pt x="19" y="52"/>
                      </a:lnTo>
                      <a:lnTo>
                        <a:pt x="21" y="54"/>
                      </a:lnTo>
                      <a:lnTo>
                        <a:pt x="23" y="54"/>
                      </a:lnTo>
                      <a:lnTo>
                        <a:pt x="23" y="56"/>
                      </a:lnTo>
                      <a:lnTo>
                        <a:pt x="24" y="56"/>
                      </a:lnTo>
                      <a:lnTo>
                        <a:pt x="25" y="53"/>
                      </a:lnTo>
                      <a:lnTo>
                        <a:pt x="28" y="56"/>
                      </a:lnTo>
                      <a:lnTo>
                        <a:pt x="29" y="58"/>
                      </a:lnTo>
                      <a:lnTo>
                        <a:pt x="29" y="58"/>
                      </a:lnTo>
                      <a:lnTo>
                        <a:pt x="29" y="58"/>
                      </a:lnTo>
                      <a:lnTo>
                        <a:pt x="29" y="58"/>
                      </a:lnTo>
                      <a:lnTo>
                        <a:pt x="32" y="59"/>
                      </a:lnTo>
                      <a:lnTo>
                        <a:pt x="32" y="60"/>
                      </a:lnTo>
                      <a:lnTo>
                        <a:pt x="33" y="62"/>
                      </a:lnTo>
                      <a:lnTo>
                        <a:pt x="35" y="64"/>
                      </a:lnTo>
                      <a:lnTo>
                        <a:pt x="35" y="65"/>
                      </a:lnTo>
                      <a:lnTo>
                        <a:pt x="36" y="69"/>
                      </a:lnTo>
                      <a:lnTo>
                        <a:pt x="36" y="70"/>
                      </a:lnTo>
                      <a:lnTo>
                        <a:pt x="39" y="72"/>
                      </a:lnTo>
                      <a:lnTo>
                        <a:pt x="39" y="75"/>
                      </a:lnTo>
                      <a:lnTo>
                        <a:pt x="39" y="76"/>
                      </a:lnTo>
                      <a:lnTo>
                        <a:pt x="39" y="78"/>
                      </a:lnTo>
                      <a:lnTo>
                        <a:pt x="39" y="81"/>
                      </a:lnTo>
                      <a:lnTo>
                        <a:pt x="39" y="86"/>
                      </a:lnTo>
                      <a:lnTo>
                        <a:pt x="43" y="87"/>
                      </a:lnTo>
                      <a:lnTo>
                        <a:pt x="42" y="89"/>
                      </a:lnTo>
                      <a:lnTo>
                        <a:pt x="41" y="93"/>
                      </a:lnTo>
                      <a:lnTo>
                        <a:pt x="43" y="94"/>
                      </a:lnTo>
                      <a:lnTo>
                        <a:pt x="43" y="95"/>
                      </a:lnTo>
                      <a:lnTo>
                        <a:pt x="39" y="96"/>
                      </a:lnTo>
                      <a:lnTo>
                        <a:pt x="39" y="97"/>
                      </a:lnTo>
                      <a:lnTo>
                        <a:pt x="39" y="98"/>
                      </a:lnTo>
                      <a:lnTo>
                        <a:pt x="38" y="100"/>
                      </a:lnTo>
                      <a:lnTo>
                        <a:pt x="39" y="101"/>
                      </a:lnTo>
                      <a:lnTo>
                        <a:pt x="39" y="102"/>
                      </a:lnTo>
                      <a:lnTo>
                        <a:pt x="34" y="105"/>
                      </a:lnTo>
                      <a:lnTo>
                        <a:pt x="33" y="107"/>
                      </a:lnTo>
                      <a:lnTo>
                        <a:pt x="30" y="107"/>
                      </a:lnTo>
                      <a:lnTo>
                        <a:pt x="29" y="107"/>
                      </a:lnTo>
                      <a:lnTo>
                        <a:pt x="30" y="108"/>
                      </a:lnTo>
                      <a:lnTo>
                        <a:pt x="29" y="108"/>
                      </a:lnTo>
                      <a:lnTo>
                        <a:pt x="29" y="110"/>
                      </a:lnTo>
                      <a:lnTo>
                        <a:pt x="28" y="110"/>
                      </a:lnTo>
                      <a:lnTo>
                        <a:pt x="26" y="110"/>
                      </a:lnTo>
                      <a:lnTo>
                        <a:pt x="26" y="110"/>
                      </a:lnTo>
                      <a:lnTo>
                        <a:pt x="25" y="111"/>
                      </a:lnTo>
                      <a:lnTo>
                        <a:pt x="29" y="116"/>
                      </a:lnTo>
                      <a:lnTo>
                        <a:pt x="29" y="118"/>
                      </a:lnTo>
                      <a:lnTo>
                        <a:pt x="31" y="119"/>
                      </a:lnTo>
                      <a:lnTo>
                        <a:pt x="33" y="121"/>
                      </a:lnTo>
                      <a:lnTo>
                        <a:pt x="34" y="121"/>
                      </a:lnTo>
                      <a:lnTo>
                        <a:pt x="35" y="124"/>
                      </a:lnTo>
                      <a:lnTo>
                        <a:pt x="35" y="126"/>
                      </a:lnTo>
                      <a:lnTo>
                        <a:pt x="36" y="126"/>
                      </a:lnTo>
                      <a:lnTo>
                        <a:pt x="37" y="127"/>
                      </a:lnTo>
                      <a:lnTo>
                        <a:pt x="35" y="129"/>
                      </a:lnTo>
                      <a:lnTo>
                        <a:pt x="36" y="131"/>
                      </a:lnTo>
                      <a:lnTo>
                        <a:pt x="35" y="131"/>
                      </a:lnTo>
                      <a:lnTo>
                        <a:pt x="35" y="133"/>
                      </a:lnTo>
                      <a:lnTo>
                        <a:pt x="32" y="133"/>
                      </a:lnTo>
                      <a:lnTo>
                        <a:pt x="32" y="136"/>
                      </a:lnTo>
                      <a:lnTo>
                        <a:pt x="30" y="137"/>
                      </a:lnTo>
                      <a:lnTo>
                        <a:pt x="34" y="142"/>
                      </a:lnTo>
                      <a:lnTo>
                        <a:pt x="35" y="142"/>
                      </a:lnTo>
                      <a:lnTo>
                        <a:pt x="35" y="143"/>
                      </a:lnTo>
                      <a:lnTo>
                        <a:pt x="35" y="145"/>
                      </a:lnTo>
                      <a:lnTo>
                        <a:pt x="35" y="146"/>
                      </a:lnTo>
                      <a:lnTo>
                        <a:pt x="35" y="149"/>
                      </a:lnTo>
                      <a:lnTo>
                        <a:pt x="35" y="149"/>
                      </a:lnTo>
                      <a:lnTo>
                        <a:pt x="34" y="151"/>
                      </a:lnTo>
                      <a:lnTo>
                        <a:pt x="34" y="153"/>
                      </a:lnTo>
                      <a:lnTo>
                        <a:pt x="34" y="155"/>
                      </a:lnTo>
                      <a:lnTo>
                        <a:pt x="34" y="155"/>
                      </a:lnTo>
                      <a:lnTo>
                        <a:pt x="33" y="158"/>
                      </a:lnTo>
                      <a:lnTo>
                        <a:pt x="36" y="159"/>
                      </a:lnTo>
                      <a:lnTo>
                        <a:pt x="36" y="162"/>
                      </a:lnTo>
                      <a:lnTo>
                        <a:pt x="33" y="163"/>
                      </a:lnTo>
                      <a:lnTo>
                        <a:pt x="32" y="164"/>
                      </a:lnTo>
                      <a:lnTo>
                        <a:pt x="32" y="164"/>
                      </a:lnTo>
                      <a:lnTo>
                        <a:pt x="32" y="163"/>
                      </a:lnTo>
                      <a:lnTo>
                        <a:pt x="30" y="162"/>
                      </a:lnTo>
                      <a:lnTo>
                        <a:pt x="29" y="162"/>
                      </a:lnTo>
                      <a:lnTo>
                        <a:pt x="26" y="161"/>
                      </a:lnTo>
                      <a:lnTo>
                        <a:pt x="25" y="159"/>
                      </a:lnTo>
                      <a:lnTo>
                        <a:pt x="23" y="158"/>
                      </a:lnTo>
                      <a:lnTo>
                        <a:pt x="22" y="159"/>
                      </a:lnTo>
                      <a:lnTo>
                        <a:pt x="23" y="161"/>
                      </a:lnTo>
                      <a:lnTo>
                        <a:pt x="23" y="165"/>
                      </a:lnTo>
                      <a:lnTo>
                        <a:pt x="22" y="166"/>
                      </a:lnTo>
                      <a:lnTo>
                        <a:pt x="23" y="167"/>
                      </a:lnTo>
                      <a:lnTo>
                        <a:pt x="22" y="168"/>
                      </a:lnTo>
                      <a:lnTo>
                        <a:pt x="19" y="168"/>
                      </a:lnTo>
                      <a:lnTo>
                        <a:pt x="19" y="170"/>
                      </a:lnTo>
                      <a:lnTo>
                        <a:pt x="18" y="172"/>
                      </a:lnTo>
                      <a:lnTo>
                        <a:pt x="16" y="172"/>
                      </a:lnTo>
                      <a:lnTo>
                        <a:pt x="15" y="174"/>
                      </a:lnTo>
                      <a:lnTo>
                        <a:pt x="15" y="174"/>
                      </a:lnTo>
                      <a:lnTo>
                        <a:pt x="13" y="175"/>
                      </a:lnTo>
                      <a:lnTo>
                        <a:pt x="12" y="179"/>
                      </a:lnTo>
                      <a:lnTo>
                        <a:pt x="11" y="180"/>
                      </a:lnTo>
                      <a:lnTo>
                        <a:pt x="10" y="180"/>
                      </a:lnTo>
                      <a:lnTo>
                        <a:pt x="10" y="181"/>
                      </a:lnTo>
                      <a:lnTo>
                        <a:pt x="11" y="184"/>
                      </a:lnTo>
                      <a:lnTo>
                        <a:pt x="11" y="186"/>
                      </a:lnTo>
                      <a:lnTo>
                        <a:pt x="12" y="186"/>
                      </a:lnTo>
                      <a:lnTo>
                        <a:pt x="12" y="187"/>
                      </a:lnTo>
                      <a:lnTo>
                        <a:pt x="11" y="187"/>
                      </a:lnTo>
                      <a:lnTo>
                        <a:pt x="11" y="189"/>
                      </a:lnTo>
                      <a:lnTo>
                        <a:pt x="8" y="190"/>
                      </a:lnTo>
                      <a:lnTo>
                        <a:pt x="8" y="196"/>
                      </a:lnTo>
                      <a:lnTo>
                        <a:pt x="5" y="196"/>
                      </a:lnTo>
                      <a:lnTo>
                        <a:pt x="2" y="199"/>
                      </a:lnTo>
                      <a:lnTo>
                        <a:pt x="1" y="199"/>
                      </a:lnTo>
                      <a:lnTo>
                        <a:pt x="2" y="201"/>
                      </a:lnTo>
                      <a:lnTo>
                        <a:pt x="3" y="203"/>
                      </a:lnTo>
                      <a:lnTo>
                        <a:pt x="5" y="205"/>
                      </a:lnTo>
                      <a:lnTo>
                        <a:pt x="5" y="208"/>
                      </a:lnTo>
                      <a:lnTo>
                        <a:pt x="1" y="208"/>
                      </a:lnTo>
                      <a:lnTo>
                        <a:pt x="0" y="209"/>
                      </a:lnTo>
                      <a:lnTo>
                        <a:pt x="0" y="211"/>
                      </a:lnTo>
                      <a:lnTo>
                        <a:pt x="1" y="213"/>
                      </a:lnTo>
                      <a:lnTo>
                        <a:pt x="2" y="216"/>
                      </a:lnTo>
                      <a:lnTo>
                        <a:pt x="1" y="217"/>
                      </a:lnTo>
                      <a:lnTo>
                        <a:pt x="1" y="220"/>
                      </a:lnTo>
                      <a:lnTo>
                        <a:pt x="3" y="223"/>
                      </a:lnTo>
                      <a:lnTo>
                        <a:pt x="4" y="224"/>
                      </a:lnTo>
                      <a:lnTo>
                        <a:pt x="5" y="226"/>
                      </a:lnTo>
                      <a:lnTo>
                        <a:pt x="6" y="227"/>
                      </a:lnTo>
                      <a:lnTo>
                        <a:pt x="7" y="227"/>
                      </a:lnTo>
                      <a:lnTo>
                        <a:pt x="7" y="228"/>
                      </a:lnTo>
                      <a:lnTo>
                        <a:pt x="8" y="229"/>
                      </a:lnTo>
                      <a:lnTo>
                        <a:pt x="8" y="230"/>
                      </a:lnTo>
                      <a:lnTo>
                        <a:pt x="6" y="232"/>
                      </a:lnTo>
                      <a:lnTo>
                        <a:pt x="6" y="234"/>
                      </a:lnTo>
                      <a:lnTo>
                        <a:pt x="6" y="237"/>
                      </a:lnTo>
                      <a:lnTo>
                        <a:pt x="5" y="239"/>
                      </a:lnTo>
                      <a:lnTo>
                        <a:pt x="4" y="240"/>
                      </a:lnTo>
                      <a:lnTo>
                        <a:pt x="5" y="241"/>
                      </a:lnTo>
                      <a:lnTo>
                        <a:pt x="6" y="241"/>
                      </a:lnTo>
                      <a:lnTo>
                        <a:pt x="8" y="243"/>
                      </a:lnTo>
                      <a:lnTo>
                        <a:pt x="8" y="247"/>
                      </a:lnTo>
                      <a:lnTo>
                        <a:pt x="8" y="248"/>
                      </a:lnTo>
                      <a:lnTo>
                        <a:pt x="11" y="249"/>
                      </a:lnTo>
                      <a:lnTo>
                        <a:pt x="12" y="249"/>
                      </a:lnTo>
                      <a:lnTo>
                        <a:pt x="11" y="246"/>
                      </a:lnTo>
                      <a:lnTo>
                        <a:pt x="13" y="245"/>
                      </a:lnTo>
                      <a:lnTo>
                        <a:pt x="14" y="245"/>
                      </a:lnTo>
                      <a:lnTo>
                        <a:pt x="16" y="244"/>
                      </a:lnTo>
                      <a:lnTo>
                        <a:pt x="19" y="244"/>
                      </a:lnTo>
                      <a:lnTo>
                        <a:pt x="21" y="244"/>
                      </a:lnTo>
                      <a:lnTo>
                        <a:pt x="22" y="246"/>
                      </a:lnTo>
                      <a:lnTo>
                        <a:pt x="23" y="247"/>
                      </a:lnTo>
                      <a:lnTo>
                        <a:pt x="25" y="246"/>
                      </a:lnTo>
                      <a:lnTo>
                        <a:pt x="25" y="246"/>
                      </a:lnTo>
                      <a:lnTo>
                        <a:pt x="26" y="246"/>
                      </a:lnTo>
                      <a:lnTo>
                        <a:pt x="29" y="247"/>
                      </a:lnTo>
                      <a:lnTo>
                        <a:pt x="30" y="246"/>
                      </a:lnTo>
                      <a:lnTo>
                        <a:pt x="32" y="246"/>
                      </a:lnTo>
                      <a:lnTo>
                        <a:pt x="32" y="245"/>
                      </a:lnTo>
                      <a:lnTo>
                        <a:pt x="33" y="246"/>
                      </a:lnTo>
                      <a:lnTo>
                        <a:pt x="34" y="245"/>
                      </a:lnTo>
                      <a:lnTo>
                        <a:pt x="34" y="241"/>
                      </a:lnTo>
                      <a:lnTo>
                        <a:pt x="36" y="241"/>
                      </a:lnTo>
                      <a:lnTo>
                        <a:pt x="37" y="238"/>
                      </a:lnTo>
                      <a:lnTo>
                        <a:pt x="39" y="237"/>
                      </a:lnTo>
                      <a:lnTo>
                        <a:pt x="39" y="237"/>
                      </a:lnTo>
                      <a:lnTo>
                        <a:pt x="39" y="236"/>
                      </a:lnTo>
                      <a:lnTo>
                        <a:pt x="39" y="234"/>
                      </a:lnTo>
                      <a:lnTo>
                        <a:pt x="39" y="231"/>
                      </a:lnTo>
                      <a:lnTo>
                        <a:pt x="41" y="230"/>
                      </a:lnTo>
                      <a:lnTo>
                        <a:pt x="43" y="230"/>
                      </a:lnTo>
                      <a:lnTo>
                        <a:pt x="42" y="226"/>
                      </a:lnTo>
                      <a:lnTo>
                        <a:pt x="44" y="225"/>
                      </a:lnTo>
                      <a:lnTo>
                        <a:pt x="43" y="223"/>
                      </a:lnTo>
                      <a:lnTo>
                        <a:pt x="45" y="220"/>
                      </a:lnTo>
                      <a:lnTo>
                        <a:pt x="47" y="221"/>
                      </a:lnTo>
                      <a:lnTo>
                        <a:pt x="48" y="217"/>
                      </a:lnTo>
                      <a:lnTo>
                        <a:pt x="49" y="217"/>
                      </a:lnTo>
                      <a:lnTo>
                        <a:pt x="51" y="217"/>
                      </a:lnTo>
                      <a:lnTo>
                        <a:pt x="52" y="214"/>
                      </a:lnTo>
                      <a:lnTo>
                        <a:pt x="53" y="214"/>
                      </a:lnTo>
                      <a:lnTo>
                        <a:pt x="53" y="213"/>
                      </a:lnTo>
                      <a:lnTo>
                        <a:pt x="53" y="213"/>
                      </a:lnTo>
                      <a:lnTo>
                        <a:pt x="57" y="216"/>
                      </a:lnTo>
                      <a:lnTo>
                        <a:pt x="57" y="218"/>
                      </a:lnTo>
                      <a:lnTo>
                        <a:pt x="56" y="222"/>
                      </a:lnTo>
                      <a:lnTo>
                        <a:pt x="57" y="223"/>
                      </a:lnTo>
                      <a:lnTo>
                        <a:pt x="59" y="221"/>
                      </a:lnTo>
                      <a:lnTo>
                        <a:pt x="63" y="220"/>
                      </a:lnTo>
                      <a:lnTo>
                        <a:pt x="65" y="229"/>
                      </a:lnTo>
                      <a:lnTo>
                        <a:pt x="66" y="230"/>
                      </a:lnTo>
                      <a:lnTo>
                        <a:pt x="67" y="230"/>
                      </a:lnTo>
                      <a:lnTo>
                        <a:pt x="67" y="230"/>
                      </a:lnTo>
                      <a:lnTo>
                        <a:pt x="70" y="230"/>
                      </a:lnTo>
                      <a:lnTo>
                        <a:pt x="69" y="233"/>
                      </a:lnTo>
                      <a:lnTo>
                        <a:pt x="67" y="233"/>
                      </a:lnTo>
                      <a:lnTo>
                        <a:pt x="67" y="233"/>
                      </a:lnTo>
                      <a:lnTo>
                        <a:pt x="70" y="234"/>
                      </a:lnTo>
                      <a:lnTo>
                        <a:pt x="68" y="237"/>
                      </a:lnTo>
                      <a:lnTo>
                        <a:pt x="69" y="238"/>
                      </a:lnTo>
                      <a:lnTo>
                        <a:pt x="70" y="243"/>
                      </a:lnTo>
                      <a:lnTo>
                        <a:pt x="70" y="244"/>
                      </a:lnTo>
                      <a:lnTo>
                        <a:pt x="71" y="245"/>
                      </a:lnTo>
                      <a:lnTo>
                        <a:pt x="72" y="246"/>
                      </a:lnTo>
                      <a:lnTo>
                        <a:pt x="73" y="246"/>
                      </a:lnTo>
                      <a:lnTo>
                        <a:pt x="74" y="246"/>
                      </a:lnTo>
                      <a:lnTo>
                        <a:pt x="74" y="245"/>
                      </a:lnTo>
                      <a:lnTo>
                        <a:pt x="76" y="238"/>
                      </a:lnTo>
                      <a:lnTo>
                        <a:pt x="78" y="238"/>
                      </a:lnTo>
                      <a:lnTo>
                        <a:pt x="77" y="237"/>
                      </a:lnTo>
                      <a:lnTo>
                        <a:pt x="78" y="233"/>
                      </a:lnTo>
                      <a:lnTo>
                        <a:pt x="79" y="232"/>
                      </a:lnTo>
                      <a:lnTo>
                        <a:pt x="79" y="231"/>
                      </a:lnTo>
                      <a:lnTo>
                        <a:pt x="78" y="229"/>
                      </a:lnTo>
                      <a:lnTo>
                        <a:pt x="80" y="226"/>
                      </a:lnTo>
                      <a:lnTo>
                        <a:pt x="80" y="226"/>
                      </a:lnTo>
                      <a:lnTo>
                        <a:pt x="80" y="224"/>
                      </a:lnTo>
                      <a:lnTo>
                        <a:pt x="83" y="225"/>
                      </a:lnTo>
                      <a:lnTo>
                        <a:pt x="83" y="225"/>
                      </a:lnTo>
                      <a:lnTo>
                        <a:pt x="83" y="222"/>
                      </a:lnTo>
                      <a:lnTo>
                        <a:pt x="84" y="221"/>
                      </a:lnTo>
                      <a:lnTo>
                        <a:pt x="83" y="219"/>
                      </a:lnTo>
                      <a:lnTo>
                        <a:pt x="85" y="217"/>
                      </a:lnTo>
                      <a:lnTo>
                        <a:pt x="87" y="217"/>
                      </a:lnTo>
                      <a:lnTo>
                        <a:pt x="87" y="218"/>
                      </a:lnTo>
                      <a:lnTo>
                        <a:pt x="88" y="218"/>
                      </a:lnTo>
                      <a:lnTo>
                        <a:pt x="90" y="221"/>
                      </a:lnTo>
                      <a:lnTo>
                        <a:pt x="94" y="219"/>
                      </a:lnTo>
                      <a:lnTo>
                        <a:pt x="94" y="218"/>
                      </a:lnTo>
                      <a:lnTo>
                        <a:pt x="94" y="218"/>
                      </a:lnTo>
                      <a:lnTo>
                        <a:pt x="94" y="216"/>
                      </a:lnTo>
                      <a:lnTo>
                        <a:pt x="94" y="215"/>
                      </a:lnTo>
                      <a:lnTo>
                        <a:pt x="94" y="213"/>
                      </a:lnTo>
                      <a:lnTo>
                        <a:pt x="96" y="212"/>
                      </a:lnTo>
                      <a:lnTo>
                        <a:pt x="96" y="212"/>
                      </a:lnTo>
                      <a:lnTo>
                        <a:pt x="97" y="213"/>
                      </a:lnTo>
                      <a:lnTo>
                        <a:pt x="98" y="214"/>
                      </a:lnTo>
                      <a:lnTo>
                        <a:pt x="102" y="210"/>
                      </a:lnTo>
                      <a:lnTo>
                        <a:pt x="103" y="210"/>
                      </a:lnTo>
                      <a:lnTo>
                        <a:pt x="104" y="209"/>
                      </a:lnTo>
                      <a:lnTo>
                        <a:pt x="104" y="210"/>
                      </a:lnTo>
                      <a:lnTo>
                        <a:pt x="107" y="210"/>
                      </a:lnTo>
                      <a:lnTo>
                        <a:pt x="108" y="210"/>
                      </a:lnTo>
                      <a:lnTo>
                        <a:pt x="108" y="210"/>
                      </a:lnTo>
                      <a:lnTo>
                        <a:pt x="108" y="212"/>
                      </a:lnTo>
                      <a:lnTo>
                        <a:pt x="108" y="215"/>
                      </a:lnTo>
                      <a:lnTo>
                        <a:pt x="109" y="218"/>
                      </a:lnTo>
                      <a:lnTo>
                        <a:pt x="110" y="219"/>
                      </a:lnTo>
                      <a:lnTo>
                        <a:pt x="111" y="222"/>
                      </a:lnTo>
                      <a:lnTo>
                        <a:pt x="114" y="227"/>
                      </a:lnTo>
                      <a:lnTo>
                        <a:pt x="115" y="227"/>
                      </a:lnTo>
                      <a:lnTo>
                        <a:pt x="117" y="226"/>
                      </a:lnTo>
                      <a:lnTo>
                        <a:pt x="121" y="225"/>
                      </a:lnTo>
                      <a:lnTo>
                        <a:pt x="121" y="224"/>
                      </a:lnTo>
                      <a:lnTo>
                        <a:pt x="122" y="224"/>
                      </a:lnTo>
                      <a:lnTo>
                        <a:pt x="122" y="225"/>
                      </a:lnTo>
                      <a:lnTo>
                        <a:pt x="122" y="225"/>
                      </a:lnTo>
                      <a:lnTo>
                        <a:pt x="124" y="219"/>
                      </a:lnTo>
                      <a:lnTo>
                        <a:pt x="128" y="219"/>
                      </a:lnTo>
                      <a:lnTo>
                        <a:pt x="130" y="221"/>
                      </a:lnTo>
                      <a:lnTo>
                        <a:pt x="130" y="223"/>
                      </a:lnTo>
                      <a:lnTo>
                        <a:pt x="129" y="224"/>
                      </a:lnTo>
                      <a:lnTo>
                        <a:pt x="129" y="224"/>
                      </a:lnTo>
                      <a:lnTo>
                        <a:pt x="135" y="224"/>
                      </a:lnTo>
                      <a:lnTo>
                        <a:pt x="137" y="226"/>
                      </a:lnTo>
                      <a:lnTo>
                        <a:pt x="137" y="227"/>
                      </a:lnTo>
                      <a:lnTo>
                        <a:pt x="140" y="229"/>
                      </a:lnTo>
                      <a:lnTo>
                        <a:pt x="140" y="231"/>
                      </a:lnTo>
                      <a:lnTo>
                        <a:pt x="142" y="230"/>
                      </a:lnTo>
                      <a:lnTo>
                        <a:pt x="143" y="230"/>
                      </a:lnTo>
                      <a:lnTo>
                        <a:pt x="143" y="233"/>
                      </a:lnTo>
                      <a:lnTo>
                        <a:pt x="143" y="234"/>
                      </a:lnTo>
                      <a:lnTo>
                        <a:pt x="145" y="234"/>
                      </a:lnTo>
                      <a:lnTo>
                        <a:pt x="146" y="234"/>
                      </a:lnTo>
                      <a:lnTo>
                        <a:pt x="146" y="234"/>
                      </a:lnTo>
                      <a:lnTo>
                        <a:pt x="146" y="237"/>
                      </a:lnTo>
                      <a:lnTo>
                        <a:pt x="146" y="239"/>
                      </a:lnTo>
                      <a:lnTo>
                        <a:pt x="147" y="239"/>
                      </a:lnTo>
                      <a:lnTo>
                        <a:pt x="146" y="241"/>
                      </a:lnTo>
                      <a:lnTo>
                        <a:pt x="148" y="244"/>
                      </a:lnTo>
                      <a:lnTo>
                        <a:pt x="148" y="248"/>
                      </a:lnTo>
                      <a:lnTo>
                        <a:pt x="149" y="248"/>
                      </a:lnTo>
                      <a:lnTo>
                        <a:pt x="149" y="249"/>
                      </a:lnTo>
                      <a:lnTo>
                        <a:pt x="149" y="251"/>
                      </a:lnTo>
                      <a:lnTo>
                        <a:pt x="151" y="253"/>
                      </a:lnTo>
                      <a:lnTo>
                        <a:pt x="153" y="253"/>
                      </a:lnTo>
                      <a:lnTo>
                        <a:pt x="153" y="255"/>
                      </a:lnTo>
                      <a:lnTo>
                        <a:pt x="154" y="257"/>
                      </a:lnTo>
                      <a:lnTo>
                        <a:pt x="156" y="259"/>
                      </a:lnTo>
                      <a:lnTo>
                        <a:pt x="156" y="261"/>
                      </a:lnTo>
                      <a:lnTo>
                        <a:pt x="156" y="264"/>
                      </a:lnTo>
                      <a:lnTo>
                        <a:pt x="158" y="266"/>
                      </a:lnTo>
                      <a:lnTo>
                        <a:pt x="159" y="266"/>
                      </a:lnTo>
                      <a:lnTo>
                        <a:pt x="160" y="268"/>
                      </a:lnTo>
                      <a:lnTo>
                        <a:pt x="161" y="269"/>
                      </a:lnTo>
                      <a:lnTo>
                        <a:pt x="160" y="270"/>
                      </a:lnTo>
                      <a:lnTo>
                        <a:pt x="163" y="272"/>
                      </a:lnTo>
                      <a:lnTo>
                        <a:pt x="163" y="274"/>
                      </a:lnTo>
                      <a:lnTo>
                        <a:pt x="161" y="273"/>
                      </a:lnTo>
                      <a:lnTo>
                        <a:pt x="161" y="275"/>
                      </a:lnTo>
                      <a:lnTo>
                        <a:pt x="162" y="275"/>
                      </a:lnTo>
                      <a:lnTo>
                        <a:pt x="162" y="280"/>
                      </a:lnTo>
                      <a:lnTo>
                        <a:pt x="160" y="281"/>
                      </a:lnTo>
                      <a:lnTo>
                        <a:pt x="161" y="282"/>
                      </a:lnTo>
                      <a:lnTo>
                        <a:pt x="163" y="282"/>
                      </a:lnTo>
                      <a:lnTo>
                        <a:pt x="163" y="281"/>
                      </a:lnTo>
                      <a:lnTo>
                        <a:pt x="167" y="281"/>
                      </a:lnTo>
                      <a:lnTo>
                        <a:pt x="168" y="280"/>
                      </a:lnTo>
                      <a:lnTo>
                        <a:pt x="168" y="281"/>
                      </a:lnTo>
                      <a:lnTo>
                        <a:pt x="170" y="283"/>
                      </a:lnTo>
                      <a:lnTo>
                        <a:pt x="173" y="282"/>
                      </a:lnTo>
                      <a:lnTo>
                        <a:pt x="173" y="284"/>
                      </a:lnTo>
                      <a:lnTo>
                        <a:pt x="176" y="285"/>
                      </a:lnTo>
                      <a:lnTo>
                        <a:pt x="177" y="287"/>
                      </a:lnTo>
                      <a:lnTo>
                        <a:pt x="180" y="288"/>
                      </a:lnTo>
                      <a:lnTo>
                        <a:pt x="181" y="285"/>
                      </a:lnTo>
                      <a:lnTo>
                        <a:pt x="181" y="282"/>
                      </a:lnTo>
                      <a:lnTo>
                        <a:pt x="183" y="281"/>
                      </a:lnTo>
                      <a:lnTo>
                        <a:pt x="184" y="279"/>
                      </a:lnTo>
                      <a:lnTo>
                        <a:pt x="188" y="279"/>
                      </a:lnTo>
                      <a:lnTo>
                        <a:pt x="189" y="279"/>
                      </a:lnTo>
                      <a:lnTo>
                        <a:pt x="190" y="279"/>
                      </a:lnTo>
                      <a:lnTo>
                        <a:pt x="191" y="281"/>
                      </a:lnTo>
                      <a:lnTo>
                        <a:pt x="190" y="285"/>
                      </a:lnTo>
                      <a:lnTo>
                        <a:pt x="191" y="285"/>
                      </a:lnTo>
                      <a:lnTo>
                        <a:pt x="194" y="285"/>
                      </a:lnTo>
                      <a:lnTo>
                        <a:pt x="194" y="279"/>
                      </a:lnTo>
                      <a:lnTo>
                        <a:pt x="196" y="279"/>
                      </a:lnTo>
                      <a:lnTo>
                        <a:pt x="196" y="279"/>
                      </a:lnTo>
                      <a:lnTo>
                        <a:pt x="200" y="279"/>
                      </a:lnTo>
                      <a:lnTo>
                        <a:pt x="200" y="279"/>
                      </a:lnTo>
                      <a:lnTo>
                        <a:pt x="203" y="281"/>
                      </a:lnTo>
                      <a:lnTo>
                        <a:pt x="203" y="281"/>
                      </a:lnTo>
                      <a:lnTo>
                        <a:pt x="204" y="283"/>
                      </a:lnTo>
                      <a:lnTo>
                        <a:pt x="204" y="283"/>
                      </a:lnTo>
                      <a:lnTo>
                        <a:pt x="207" y="284"/>
                      </a:lnTo>
                      <a:lnTo>
                        <a:pt x="207" y="284"/>
                      </a:lnTo>
                      <a:lnTo>
                        <a:pt x="209" y="286"/>
                      </a:lnTo>
                      <a:lnTo>
                        <a:pt x="210" y="285"/>
                      </a:lnTo>
                      <a:lnTo>
                        <a:pt x="211" y="286"/>
                      </a:lnTo>
                      <a:lnTo>
                        <a:pt x="211" y="279"/>
                      </a:lnTo>
                      <a:lnTo>
                        <a:pt x="214" y="281"/>
                      </a:lnTo>
                      <a:lnTo>
                        <a:pt x="216" y="281"/>
                      </a:lnTo>
                      <a:lnTo>
                        <a:pt x="216" y="280"/>
                      </a:lnTo>
                      <a:lnTo>
                        <a:pt x="220" y="280"/>
                      </a:lnTo>
                      <a:lnTo>
                        <a:pt x="224" y="282"/>
                      </a:lnTo>
                      <a:lnTo>
                        <a:pt x="224" y="286"/>
                      </a:lnTo>
                      <a:lnTo>
                        <a:pt x="225" y="289"/>
                      </a:lnTo>
                      <a:lnTo>
                        <a:pt x="225" y="291"/>
                      </a:lnTo>
                      <a:lnTo>
                        <a:pt x="225" y="291"/>
                      </a:lnTo>
                      <a:lnTo>
                        <a:pt x="228" y="289"/>
                      </a:lnTo>
                      <a:lnTo>
                        <a:pt x="229" y="287"/>
                      </a:lnTo>
                      <a:lnTo>
                        <a:pt x="231" y="286"/>
                      </a:lnTo>
                      <a:lnTo>
                        <a:pt x="235" y="286"/>
                      </a:lnTo>
                      <a:lnTo>
                        <a:pt x="238" y="285"/>
                      </a:lnTo>
                      <a:lnTo>
                        <a:pt x="239" y="284"/>
                      </a:lnTo>
                      <a:lnTo>
                        <a:pt x="242" y="283"/>
                      </a:lnTo>
                      <a:lnTo>
                        <a:pt x="242" y="282"/>
                      </a:lnTo>
                      <a:lnTo>
                        <a:pt x="245" y="281"/>
                      </a:lnTo>
                      <a:lnTo>
                        <a:pt x="246" y="284"/>
                      </a:lnTo>
                      <a:lnTo>
                        <a:pt x="247" y="283"/>
                      </a:lnTo>
                      <a:lnTo>
                        <a:pt x="249" y="284"/>
                      </a:lnTo>
                      <a:lnTo>
                        <a:pt x="253" y="280"/>
                      </a:lnTo>
                      <a:lnTo>
                        <a:pt x="253" y="281"/>
                      </a:lnTo>
                      <a:lnTo>
                        <a:pt x="252" y="283"/>
                      </a:lnTo>
                      <a:lnTo>
                        <a:pt x="252" y="285"/>
                      </a:lnTo>
                      <a:lnTo>
                        <a:pt x="252" y="286"/>
                      </a:lnTo>
                      <a:lnTo>
                        <a:pt x="253" y="287"/>
                      </a:lnTo>
                      <a:lnTo>
                        <a:pt x="252" y="289"/>
                      </a:lnTo>
                      <a:lnTo>
                        <a:pt x="253" y="290"/>
                      </a:lnTo>
                      <a:lnTo>
                        <a:pt x="260" y="292"/>
                      </a:lnTo>
                      <a:lnTo>
                        <a:pt x="260" y="289"/>
                      </a:lnTo>
                      <a:lnTo>
                        <a:pt x="261" y="289"/>
                      </a:lnTo>
                      <a:lnTo>
                        <a:pt x="263" y="289"/>
                      </a:lnTo>
                      <a:lnTo>
                        <a:pt x="265" y="292"/>
                      </a:lnTo>
                      <a:lnTo>
                        <a:pt x="266" y="292"/>
                      </a:lnTo>
                      <a:lnTo>
                        <a:pt x="268" y="292"/>
                      </a:lnTo>
                      <a:lnTo>
                        <a:pt x="269" y="291"/>
                      </a:lnTo>
                      <a:lnTo>
                        <a:pt x="270" y="291"/>
                      </a:lnTo>
                      <a:lnTo>
                        <a:pt x="272" y="292"/>
                      </a:lnTo>
                      <a:lnTo>
                        <a:pt x="272" y="292"/>
                      </a:lnTo>
                      <a:lnTo>
                        <a:pt x="272" y="292"/>
                      </a:lnTo>
                      <a:lnTo>
                        <a:pt x="272" y="297"/>
                      </a:lnTo>
                      <a:lnTo>
                        <a:pt x="274" y="298"/>
                      </a:lnTo>
                      <a:lnTo>
                        <a:pt x="276" y="297"/>
                      </a:lnTo>
                      <a:lnTo>
                        <a:pt x="276" y="299"/>
                      </a:lnTo>
                      <a:lnTo>
                        <a:pt x="277" y="299"/>
                      </a:lnTo>
                      <a:lnTo>
                        <a:pt x="278" y="302"/>
                      </a:lnTo>
                      <a:lnTo>
                        <a:pt x="281" y="302"/>
                      </a:lnTo>
                      <a:lnTo>
                        <a:pt x="283" y="300"/>
                      </a:lnTo>
                      <a:lnTo>
                        <a:pt x="285" y="299"/>
                      </a:lnTo>
                      <a:lnTo>
                        <a:pt x="286" y="297"/>
                      </a:lnTo>
                      <a:lnTo>
                        <a:pt x="288" y="297"/>
                      </a:lnTo>
                      <a:lnTo>
                        <a:pt x="288" y="296"/>
                      </a:lnTo>
                      <a:lnTo>
                        <a:pt x="287" y="295"/>
                      </a:lnTo>
                      <a:lnTo>
                        <a:pt x="288" y="293"/>
                      </a:lnTo>
                      <a:lnTo>
                        <a:pt x="290" y="293"/>
                      </a:lnTo>
                      <a:lnTo>
                        <a:pt x="291" y="294"/>
                      </a:lnTo>
                      <a:lnTo>
                        <a:pt x="293" y="295"/>
                      </a:lnTo>
                      <a:lnTo>
                        <a:pt x="293" y="296"/>
                      </a:lnTo>
                      <a:lnTo>
                        <a:pt x="293" y="297"/>
                      </a:lnTo>
                      <a:lnTo>
                        <a:pt x="297" y="297"/>
                      </a:lnTo>
                      <a:lnTo>
                        <a:pt x="297" y="296"/>
                      </a:lnTo>
                      <a:lnTo>
                        <a:pt x="294" y="294"/>
                      </a:lnTo>
                      <a:lnTo>
                        <a:pt x="294" y="293"/>
                      </a:lnTo>
                      <a:lnTo>
                        <a:pt x="297" y="293"/>
                      </a:lnTo>
                      <a:lnTo>
                        <a:pt x="295" y="289"/>
                      </a:lnTo>
                      <a:lnTo>
                        <a:pt x="297" y="288"/>
                      </a:lnTo>
                      <a:lnTo>
                        <a:pt x="295" y="287"/>
                      </a:lnTo>
                      <a:lnTo>
                        <a:pt x="295" y="286"/>
                      </a:lnTo>
                      <a:lnTo>
                        <a:pt x="297" y="284"/>
                      </a:lnTo>
                      <a:lnTo>
                        <a:pt x="295" y="282"/>
                      </a:lnTo>
                      <a:lnTo>
                        <a:pt x="293" y="283"/>
                      </a:lnTo>
                      <a:lnTo>
                        <a:pt x="293" y="282"/>
                      </a:lnTo>
                      <a:lnTo>
                        <a:pt x="292" y="281"/>
                      </a:lnTo>
                      <a:lnTo>
                        <a:pt x="293" y="281"/>
                      </a:lnTo>
                      <a:lnTo>
                        <a:pt x="292" y="280"/>
                      </a:lnTo>
                      <a:lnTo>
                        <a:pt x="290" y="279"/>
                      </a:lnTo>
                      <a:lnTo>
                        <a:pt x="292" y="276"/>
                      </a:lnTo>
                      <a:lnTo>
                        <a:pt x="291" y="275"/>
                      </a:lnTo>
                      <a:lnTo>
                        <a:pt x="288" y="276"/>
                      </a:lnTo>
                      <a:lnTo>
                        <a:pt x="284" y="276"/>
                      </a:lnTo>
                      <a:lnTo>
                        <a:pt x="284" y="275"/>
                      </a:lnTo>
                      <a:lnTo>
                        <a:pt x="283" y="275"/>
                      </a:lnTo>
                      <a:lnTo>
                        <a:pt x="280" y="275"/>
                      </a:lnTo>
                      <a:lnTo>
                        <a:pt x="280" y="275"/>
                      </a:lnTo>
                      <a:lnTo>
                        <a:pt x="278" y="275"/>
                      </a:lnTo>
                      <a:lnTo>
                        <a:pt x="278" y="273"/>
                      </a:lnTo>
                      <a:lnTo>
                        <a:pt x="275" y="273"/>
                      </a:lnTo>
                      <a:lnTo>
                        <a:pt x="275" y="272"/>
                      </a:lnTo>
                      <a:lnTo>
                        <a:pt x="276" y="272"/>
                      </a:lnTo>
                      <a:lnTo>
                        <a:pt x="275" y="268"/>
                      </a:lnTo>
                      <a:lnTo>
                        <a:pt x="274" y="268"/>
                      </a:lnTo>
                      <a:lnTo>
                        <a:pt x="274" y="266"/>
                      </a:lnTo>
                      <a:lnTo>
                        <a:pt x="275" y="265"/>
                      </a:lnTo>
                      <a:lnTo>
                        <a:pt x="278" y="266"/>
                      </a:lnTo>
                      <a:lnTo>
                        <a:pt x="280" y="266"/>
                      </a:lnTo>
                      <a:lnTo>
                        <a:pt x="280" y="266"/>
                      </a:lnTo>
                      <a:lnTo>
                        <a:pt x="280" y="265"/>
                      </a:lnTo>
                      <a:lnTo>
                        <a:pt x="278" y="264"/>
                      </a:lnTo>
                      <a:lnTo>
                        <a:pt x="277" y="263"/>
                      </a:lnTo>
                      <a:lnTo>
                        <a:pt x="276" y="261"/>
                      </a:lnTo>
                      <a:lnTo>
                        <a:pt x="277" y="261"/>
                      </a:lnTo>
                      <a:lnTo>
                        <a:pt x="276" y="259"/>
                      </a:lnTo>
                      <a:lnTo>
                        <a:pt x="276" y="259"/>
                      </a:lnTo>
                      <a:lnTo>
                        <a:pt x="276" y="258"/>
                      </a:lnTo>
                      <a:lnTo>
                        <a:pt x="278" y="258"/>
                      </a:lnTo>
                      <a:lnTo>
                        <a:pt x="280" y="258"/>
                      </a:lnTo>
                      <a:lnTo>
                        <a:pt x="280" y="258"/>
                      </a:lnTo>
                      <a:lnTo>
                        <a:pt x="284" y="259"/>
                      </a:lnTo>
                      <a:lnTo>
                        <a:pt x="285" y="260"/>
                      </a:lnTo>
                      <a:lnTo>
                        <a:pt x="285" y="259"/>
                      </a:lnTo>
                      <a:lnTo>
                        <a:pt x="286" y="260"/>
                      </a:lnTo>
                      <a:lnTo>
                        <a:pt x="289" y="261"/>
                      </a:lnTo>
                      <a:lnTo>
                        <a:pt x="290" y="258"/>
                      </a:lnTo>
                      <a:lnTo>
                        <a:pt x="290" y="257"/>
                      </a:lnTo>
                      <a:lnTo>
                        <a:pt x="292" y="257"/>
                      </a:lnTo>
                      <a:lnTo>
                        <a:pt x="292" y="257"/>
                      </a:lnTo>
                      <a:lnTo>
                        <a:pt x="293" y="257"/>
                      </a:lnTo>
                      <a:lnTo>
                        <a:pt x="292" y="255"/>
                      </a:lnTo>
                      <a:lnTo>
                        <a:pt x="290" y="253"/>
                      </a:lnTo>
                      <a:lnTo>
                        <a:pt x="289" y="253"/>
                      </a:lnTo>
                      <a:lnTo>
                        <a:pt x="288" y="251"/>
                      </a:lnTo>
                      <a:lnTo>
                        <a:pt x="288" y="250"/>
                      </a:lnTo>
                      <a:lnTo>
                        <a:pt x="290" y="248"/>
                      </a:lnTo>
                      <a:lnTo>
                        <a:pt x="290" y="246"/>
                      </a:lnTo>
                      <a:lnTo>
                        <a:pt x="290" y="246"/>
                      </a:lnTo>
                      <a:lnTo>
                        <a:pt x="292" y="243"/>
                      </a:lnTo>
                      <a:lnTo>
                        <a:pt x="290" y="240"/>
                      </a:lnTo>
                      <a:lnTo>
                        <a:pt x="292" y="239"/>
                      </a:lnTo>
                      <a:lnTo>
                        <a:pt x="295" y="240"/>
                      </a:lnTo>
                      <a:lnTo>
                        <a:pt x="298" y="241"/>
                      </a:lnTo>
                      <a:lnTo>
                        <a:pt x="300" y="238"/>
                      </a:lnTo>
                      <a:lnTo>
                        <a:pt x="301" y="239"/>
                      </a:lnTo>
                      <a:lnTo>
                        <a:pt x="303" y="239"/>
                      </a:lnTo>
                      <a:lnTo>
                        <a:pt x="304" y="237"/>
                      </a:lnTo>
                      <a:lnTo>
                        <a:pt x="304" y="237"/>
                      </a:lnTo>
                      <a:lnTo>
                        <a:pt x="306" y="234"/>
                      </a:lnTo>
                      <a:lnTo>
                        <a:pt x="306" y="233"/>
                      </a:lnTo>
                      <a:lnTo>
                        <a:pt x="304" y="233"/>
                      </a:lnTo>
                      <a:lnTo>
                        <a:pt x="304" y="233"/>
                      </a:lnTo>
                      <a:lnTo>
                        <a:pt x="306" y="229"/>
                      </a:lnTo>
                      <a:lnTo>
                        <a:pt x="305" y="227"/>
                      </a:lnTo>
                      <a:lnTo>
                        <a:pt x="310" y="228"/>
                      </a:lnTo>
                      <a:lnTo>
                        <a:pt x="311" y="227"/>
                      </a:lnTo>
                      <a:lnTo>
                        <a:pt x="313" y="227"/>
                      </a:lnTo>
                      <a:lnTo>
                        <a:pt x="315" y="227"/>
                      </a:lnTo>
                      <a:lnTo>
                        <a:pt x="316" y="224"/>
                      </a:lnTo>
                      <a:lnTo>
                        <a:pt x="317" y="224"/>
                      </a:lnTo>
                      <a:lnTo>
                        <a:pt x="317" y="223"/>
                      </a:lnTo>
                      <a:lnTo>
                        <a:pt x="315" y="222"/>
                      </a:lnTo>
                      <a:lnTo>
                        <a:pt x="315" y="221"/>
                      </a:lnTo>
                      <a:lnTo>
                        <a:pt x="317" y="220"/>
                      </a:lnTo>
                      <a:lnTo>
                        <a:pt x="319" y="220"/>
                      </a:lnTo>
                      <a:lnTo>
                        <a:pt x="319" y="217"/>
                      </a:lnTo>
                      <a:lnTo>
                        <a:pt x="321" y="217"/>
                      </a:lnTo>
                      <a:lnTo>
                        <a:pt x="323" y="218"/>
                      </a:lnTo>
                      <a:lnTo>
                        <a:pt x="323" y="220"/>
                      </a:lnTo>
                      <a:lnTo>
                        <a:pt x="326" y="217"/>
                      </a:lnTo>
                      <a:lnTo>
                        <a:pt x="328" y="215"/>
                      </a:lnTo>
                      <a:lnTo>
                        <a:pt x="329" y="214"/>
                      </a:lnTo>
                      <a:lnTo>
                        <a:pt x="333" y="215"/>
                      </a:lnTo>
                      <a:lnTo>
                        <a:pt x="334" y="214"/>
                      </a:lnTo>
                      <a:lnTo>
                        <a:pt x="337" y="215"/>
                      </a:lnTo>
                      <a:lnTo>
                        <a:pt x="339" y="214"/>
                      </a:lnTo>
                      <a:lnTo>
                        <a:pt x="341" y="213"/>
                      </a:lnTo>
                      <a:lnTo>
                        <a:pt x="344" y="212"/>
                      </a:lnTo>
                      <a:lnTo>
                        <a:pt x="346" y="215"/>
                      </a:lnTo>
                      <a:lnTo>
                        <a:pt x="347" y="214"/>
                      </a:lnTo>
                      <a:lnTo>
                        <a:pt x="347" y="203"/>
                      </a:lnTo>
                      <a:lnTo>
                        <a:pt x="345" y="203"/>
                      </a:lnTo>
                      <a:lnTo>
                        <a:pt x="345" y="201"/>
                      </a:lnTo>
                      <a:lnTo>
                        <a:pt x="344" y="199"/>
                      </a:lnTo>
                      <a:lnTo>
                        <a:pt x="344" y="196"/>
                      </a:lnTo>
                      <a:lnTo>
                        <a:pt x="338" y="198"/>
                      </a:lnTo>
                      <a:lnTo>
                        <a:pt x="334" y="196"/>
                      </a:lnTo>
                      <a:lnTo>
                        <a:pt x="335" y="190"/>
                      </a:lnTo>
                      <a:lnTo>
                        <a:pt x="336" y="189"/>
                      </a:lnTo>
                      <a:lnTo>
                        <a:pt x="336" y="189"/>
                      </a:lnTo>
                      <a:lnTo>
                        <a:pt x="336" y="186"/>
                      </a:lnTo>
                      <a:lnTo>
                        <a:pt x="338" y="183"/>
                      </a:lnTo>
                      <a:lnTo>
                        <a:pt x="338" y="182"/>
                      </a:lnTo>
                      <a:lnTo>
                        <a:pt x="340" y="185"/>
                      </a:lnTo>
                      <a:lnTo>
                        <a:pt x="341" y="186"/>
                      </a:lnTo>
                      <a:lnTo>
                        <a:pt x="344" y="184"/>
                      </a:lnTo>
                      <a:lnTo>
                        <a:pt x="347" y="186"/>
                      </a:lnTo>
                      <a:lnTo>
                        <a:pt x="348" y="187"/>
                      </a:lnTo>
                      <a:lnTo>
                        <a:pt x="347" y="189"/>
                      </a:lnTo>
                      <a:lnTo>
                        <a:pt x="349" y="190"/>
                      </a:lnTo>
                      <a:lnTo>
                        <a:pt x="353" y="190"/>
                      </a:lnTo>
                      <a:lnTo>
                        <a:pt x="353" y="190"/>
                      </a:lnTo>
                      <a:lnTo>
                        <a:pt x="354" y="191"/>
                      </a:lnTo>
                      <a:lnTo>
                        <a:pt x="357" y="190"/>
                      </a:lnTo>
                      <a:lnTo>
                        <a:pt x="356" y="186"/>
                      </a:lnTo>
                      <a:lnTo>
                        <a:pt x="359" y="185"/>
                      </a:lnTo>
                      <a:lnTo>
                        <a:pt x="360" y="186"/>
                      </a:lnTo>
                      <a:lnTo>
                        <a:pt x="362" y="184"/>
                      </a:lnTo>
                      <a:lnTo>
                        <a:pt x="362" y="183"/>
                      </a:lnTo>
                      <a:lnTo>
                        <a:pt x="364" y="182"/>
                      </a:lnTo>
                      <a:lnTo>
                        <a:pt x="367" y="182"/>
                      </a:lnTo>
                      <a:lnTo>
                        <a:pt x="369" y="183"/>
                      </a:lnTo>
                      <a:lnTo>
                        <a:pt x="372" y="182"/>
                      </a:lnTo>
                      <a:lnTo>
                        <a:pt x="372" y="180"/>
                      </a:lnTo>
                      <a:lnTo>
                        <a:pt x="375" y="179"/>
                      </a:lnTo>
                      <a:lnTo>
                        <a:pt x="377" y="180"/>
                      </a:lnTo>
                      <a:lnTo>
                        <a:pt x="379" y="177"/>
                      </a:lnTo>
                      <a:lnTo>
                        <a:pt x="382" y="178"/>
                      </a:lnTo>
                      <a:lnTo>
                        <a:pt x="386" y="180"/>
                      </a:lnTo>
                      <a:lnTo>
                        <a:pt x="389" y="179"/>
                      </a:lnTo>
                      <a:lnTo>
                        <a:pt x="389" y="178"/>
                      </a:lnTo>
                      <a:lnTo>
                        <a:pt x="389" y="175"/>
                      </a:lnTo>
                      <a:lnTo>
                        <a:pt x="393" y="175"/>
                      </a:lnTo>
                      <a:lnTo>
                        <a:pt x="393" y="175"/>
                      </a:lnTo>
                      <a:lnTo>
                        <a:pt x="395" y="172"/>
                      </a:lnTo>
                      <a:lnTo>
                        <a:pt x="395" y="172"/>
                      </a:lnTo>
                      <a:lnTo>
                        <a:pt x="397" y="169"/>
                      </a:lnTo>
                      <a:lnTo>
                        <a:pt x="400" y="169"/>
                      </a:lnTo>
                      <a:lnTo>
                        <a:pt x="401" y="168"/>
                      </a:lnTo>
                      <a:lnTo>
                        <a:pt x="403" y="169"/>
                      </a:lnTo>
                      <a:lnTo>
                        <a:pt x="406" y="165"/>
                      </a:lnTo>
                      <a:lnTo>
                        <a:pt x="407" y="165"/>
                      </a:lnTo>
                      <a:lnTo>
                        <a:pt x="408" y="165"/>
                      </a:lnTo>
                      <a:lnTo>
                        <a:pt x="408" y="162"/>
                      </a:lnTo>
                      <a:lnTo>
                        <a:pt x="406" y="158"/>
                      </a:lnTo>
                      <a:lnTo>
                        <a:pt x="406" y="156"/>
                      </a:lnTo>
                      <a:lnTo>
                        <a:pt x="408" y="156"/>
                      </a:lnTo>
                      <a:lnTo>
                        <a:pt x="408" y="154"/>
                      </a:lnTo>
                      <a:lnTo>
                        <a:pt x="410" y="153"/>
                      </a:lnTo>
                      <a:lnTo>
                        <a:pt x="410" y="150"/>
                      </a:lnTo>
                      <a:lnTo>
                        <a:pt x="411" y="148"/>
                      </a:lnTo>
                      <a:lnTo>
                        <a:pt x="409" y="145"/>
                      </a:lnTo>
                      <a:close/>
                      <a:moveTo>
                        <a:pt x="150" y="230"/>
                      </a:moveTo>
                      <a:lnTo>
                        <a:pt x="150" y="230"/>
                      </a:lnTo>
                      <a:lnTo>
                        <a:pt x="150" y="230"/>
                      </a:lnTo>
                      <a:lnTo>
                        <a:pt x="150" y="230"/>
                      </a:lnTo>
                      <a:lnTo>
                        <a:pt x="150" y="230"/>
                      </a:lnTo>
                      <a:close/>
                      <a:moveTo>
                        <a:pt x="143" y="60"/>
                      </a:moveTo>
                      <a:lnTo>
                        <a:pt x="143" y="60"/>
                      </a:lnTo>
                      <a:lnTo>
                        <a:pt x="142" y="61"/>
                      </a:lnTo>
                      <a:lnTo>
                        <a:pt x="142" y="60"/>
                      </a:lnTo>
                      <a:lnTo>
                        <a:pt x="143" y="60"/>
                      </a:lnTo>
                      <a:close/>
                    </a:path>
                  </a:pathLst>
                </a:custGeom>
                <a:solidFill>
                  <a:srgbClr val="74BAEF"/>
                </a:solidFill>
                <a:ln w="3175">
                  <a:solidFill>
                    <a:schemeClr val="dk1"/>
                  </a:solidFill>
                  <a:round/>
                  <a:headEnd/>
                  <a:tailEnd/>
                </a:ln>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z="800" dirty="0">
                    <a:solidFill>
                      <a:srgbClr val="000000"/>
                    </a:solidFill>
                  </a:endParaRPr>
                </a:p>
              </p:txBody>
            </p:sp>
            <p:sp>
              <p:nvSpPr>
                <p:cNvPr id="53" name="Hauts-de-France" descr="{&quot;Key&quot;:&quot;hauts-de-france&quot;,&quot;Name&quot;:&quot;Hauts-de-France&quot;,&quot;Value&quot;:1.0,&quot;Formula&quot;:&quot;&quot;,&quot;Text&quot;:&quot;1&quot;,&quot;OfficeApplication&quot;:0,&quot;HasValue&quot;:true}">
                  <a:extLst>
                    <a:ext uri="{FF2B5EF4-FFF2-40B4-BE49-F238E27FC236}">
                      <a16:creationId xmlns:a16="http://schemas.microsoft.com/office/drawing/2014/main" id="{C3C11F7A-BBC9-E913-1DC4-B80DD6B249A1}"/>
                    </a:ext>
                  </a:extLst>
                </p:cNvPr>
                <p:cNvSpPr>
                  <a:spLocks/>
                </p:cNvSpPr>
                <p:nvPr/>
              </p:nvSpPr>
              <p:spPr bwMode="auto">
                <a:xfrm>
                  <a:off x="5498695" y="1345881"/>
                  <a:ext cx="1092872" cy="1245437"/>
                </a:xfrm>
                <a:custGeom>
                  <a:avLst/>
                  <a:gdLst>
                    <a:gd name="T0" fmla="*/ 205 w 213"/>
                    <a:gd name="T1" fmla="*/ 125 h 256"/>
                    <a:gd name="T2" fmla="*/ 208 w 213"/>
                    <a:gd name="T3" fmla="*/ 108 h 256"/>
                    <a:gd name="T4" fmla="*/ 209 w 213"/>
                    <a:gd name="T5" fmla="*/ 91 h 256"/>
                    <a:gd name="T6" fmla="*/ 203 w 213"/>
                    <a:gd name="T7" fmla="*/ 91 h 256"/>
                    <a:gd name="T8" fmla="*/ 187 w 213"/>
                    <a:gd name="T9" fmla="*/ 85 h 256"/>
                    <a:gd name="T10" fmla="*/ 176 w 213"/>
                    <a:gd name="T11" fmla="*/ 83 h 256"/>
                    <a:gd name="T12" fmla="*/ 169 w 213"/>
                    <a:gd name="T13" fmla="*/ 86 h 256"/>
                    <a:gd name="T14" fmla="*/ 165 w 213"/>
                    <a:gd name="T15" fmla="*/ 67 h 256"/>
                    <a:gd name="T16" fmla="*/ 153 w 213"/>
                    <a:gd name="T17" fmla="*/ 65 h 256"/>
                    <a:gd name="T18" fmla="*/ 139 w 213"/>
                    <a:gd name="T19" fmla="*/ 57 h 256"/>
                    <a:gd name="T20" fmla="*/ 137 w 213"/>
                    <a:gd name="T21" fmla="*/ 42 h 256"/>
                    <a:gd name="T22" fmla="*/ 129 w 213"/>
                    <a:gd name="T23" fmla="*/ 34 h 256"/>
                    <a:gd name="T24" fmla="*/ 116 w 213"/>
                    <a:gd name="T25" fmla="*/ 39 h 256"/>
                    <a:gd name="T26" fmla="*/ 106 w 213"/>
                    <a:gd name="T27" fmla="*/ 42 h 256"/>
                    <a:gd name="T28" fmla="*/ 91 w 213"/>
                    <a:gd name="T29" fmla="*/ 26 h 256"/>
                    <a:gd name="T30" fmla="*/ 88 w 213"/>
                    <a:gd name="T31" fmla="*/ 3 h 256"/>
                    <a:gd name="T32" fmla="*/ 71 w 213"/>
                    <a:gd name="T33" fmla="*/ 3 h 256"/>
                    <a:gd name="T34" fmla="*/ 41 w 213"/>
                    <a:gd name="T35" fmla="*/ 11 h 256"/>
                    <a:gd name="T36" fmla="*/ 17 w 213"/>
                    <a:gd name="T37" fmla="*/ 25 h 256"/>
                    <a:gd name="T38" fmla="*/ 15 w 213"/>
                    <a:gd name="T39" fmla="*/ 44 h 256"/>
                    <a:gd name="T40" fmla="*/ 16 w 213"/>
                    <a:gd name="T41" fmla="*/ 67 h 256"/>
                    <a:gd name="T42" fmla="*/ 19 w 213"/>
                    <a:gd name="T43" fmla="*/ 81 h 256"/>
                    <a:gd name="T44" fmla="*/ 13 w 213"/>
                    <a:gd name="T45" fmla="*/ 92 h 256"/>
                    <a:gd name="T46" fmla="*/ 21 w 213"/>
                    <a:gd name="T47" fmla="*/ 103 h 256"/>
                    <a:gd name="T48" fmla="*/ 7 w 213"/>
                    <a:gd name="T49" fmla="*/ 111 h 256"/>
                    <a:gd name="T50" fmla="*/ 6 w 213"/>
                    <a:gd name="T51" fmla="*/ 116 h 256"/>
                    <a:gd name="T52" fmla="*/ 12 w 213"/>
                    <a:gd name="T53" fmla="*/ 125 h 256"/>
                    <a:gd name="T54" fmla="*/ 24 w 213"/>
                    <a:gd name="T55" fmla="*/ 136 h 256"/>
                    <a:gd name="T56" fmla="*/ 28 w 213"/>
                    <a:gd name="T57" fmla="*/ 149 h 256"/>
                    <a:gd name="T58" fmla="*/ 24 w 213"/>
                    <a:gd name="T59" fmla="*/ 159 h 256"/>
                    <a:gd name="T60" fmla="*/ 25 w 213"/>
                    <a:gd name="T61" fmla="*/ 168 h 256"/>
                    <a:gd name="T62" fmla="*/ 26 w 213"/>
                    <a:gd name="T63" fmla="*/ 174 h 256"/>
                    <a:gd name="T64" fmla="*/ 27 w 213"/>
                    <a:gd name="T65" fmla="*/ 182 h 256"/>
                    <a:gd name="T66" fmla="*/ 27 w 213"/>
                    <a:gd name="T67" fmla="*/ 187 h 256"/>
                    <a:gd name="T68" fmla="*/ 30 w 213"/>
                    <a:gd name="T69" fmla="*/ 200 h 256"/>
                    <a:gd name="T70" fmla="*/ 24 w 213"/>
                    <a:gd name="T71" fmla="*/ 210 h 256"/>
                    <a:gd name="T72" fmla="*/ 28 w 213"/>
                    <a:gd name="T73" fmla="*/ 218 h 256"/>
                    <a:gd name="T74" fmla="*/ 37 w 213"/>
                    <a:gd name="T75" fmla="*/ 218 h 256"/>
                    <a:gd name="T76" fmla="*/ 51 w 213"/>
                    <a:gd name="T77" fmla="*/ 214 h 256"/>
                    <a:gd name="T78" fmla="*/ 59 w 213"/>
                    <a:gd name="T79" fmla="*/ 218 h 256"/>
                    <a:gd name="T80" fmla="*/ 68 w 213"/>
                    <a:gd name="T81" fmla="*/ 220 h 256"/>
                    <a:gd name="T82" fmla="*/ 82 w 213"/>
                    <a:gd name="T83" fmla="*/ 223 h 256"/>
                    <a:gd name="T84" fmla="*/ 89 w 213"/>
                    <a:gd name="T85" fmla="*/ 229 h 256"/>
                    <a:gd name="T86" fmla="*/ 100 w 213"/>
                    <a:gd name="T87" fmla="*/ 229 h 256"/>
                    <a:gd name="T88" fmla="*/ 110 w 213"/>
                    <a:gd name="T89" fmla="*/ 228 h 256"/>
                    <a:gd name="T90" fmla="*/ 121 w 213"/>
                    <a:gd name="T91" fmla="*/ 228 h 256"/>
                    <a:gd name="T92" fmla="*/ 134 w 213"/>
                    <a:gd name="T93" fmla="*/ 232 h 256"/>
                    <a:gd name="T94" fmla="*/ 140 w 213"/>
                    <a:gd name="T95" fmla="*/ 242 h 256"/>
                    <a:gd name="T96" fmla="*/ 151 w 213"/>
                    <a:gd name="T97" fmla="*/ 252 h 256"/>
                    <a:gd name="T98" fmla="*/ 158 w 213"/>
                    <a:gd name="T99" fmla="*/ 252 h 256"/>
                    <a:gd name="T100" fmla="*/ 171 w 213"/>
                    <a:gd name="T101" fmla="*/ 237 h 256"/>
                    <a:gd name="T102" fmla="*/ 166 w 213"/>
                    <a:gd name="T103" fmla="*/ 230 h 256"/>
                    <a:gd name="T104" fmla="*/ 172 w 213"/>
                    <a:gd name="T105" fmla="*/ 220 h 256"/>
                    <a:gd name="T106" fmla="*/ 174 w 213"/>
                    <a:gd name="T107" fmla="*/ 214 h 256"/>
                    <a:gd name="T108" fmla="*/ 169 w 213"/>
                    <a:gd name="T109" fmla="*/ 208 h 256"/>
                    <a:gd name="T110" fmla="*/ 174 w 213"/>
                    <a:gd name="T111" fmla="*/ 199 h 256"/>
                    <a:gd name="T112" fmla="*/ 184 w 213"/>
                    <a:gd name="T113" fmla="*/ 196 h 256"/>
                    <a:gd name="T114" fmla="*/ 195 w 213"/>
                    <a:gd name="T115" fmla="*/ 194 h 256"/>
                    <a:gd name="T116" fmla="*/ 198 w 213"/>
                    <a:gd name="T117" fmla="*/ 187 h 256"/>
                    <a:gd name="T118" fmla="*/ 201 w 213"/>
                    <a:gd name="T119" fmla="*/ 177 h 256"/>
                    <a:gd name="T120" fmla="*/ 199 w 213"/>
                    <a:gd name="T121" fmla="*/ 164 h 256"/>
                    <a:gd name="T122" fmla="*/ 209 w 213"/>
                    <a:gd name="T123" fmla="*/ 157 h 256"/>
                    <a:gd name="T124" fmla="*/ 211 w 213"/>
                    <a:gd name="T125" fmla="*/ 14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 h="256">
                      <a:moveTo>
                        <a:pt x="212" y="134"/>
                      </a:moveTo>
                      <a:lnTo>
                        <a:pt x="212" y="133"/>
                      </a:lnTo>
                      <a:lnTo>
                        <a:pt x="210" y="133"/>
                      </a:lnTo>
                      <a:lnTo>
                        <a:pt x="211" y="128"/>
                      </a:lnTo>
                      <a:lnTo>
                        <a:pt x="211" y="127"/>
                      </a:lnTo>
                      <a:lnTo>
                        <a:pt x="209" y="128"/>
                      </a:lnTo>
                      <a:lnTo>
                        <a:pt x="209" y="126"/>
                      </a:lnTo>
                      <a:lnTo>
                        <a:pt x="207" y="125"/>
                      </a:lnTo>
                      <a:lnTo>
                        <a:pt x="205" y="125"/>
                      </a:lnTo>
                      <a:lnTo>
                        <a:pt x="206" y="124"/>
                      </a:lnTo>
                      <a:lnTo>
                        <a:pt x="203" y="121"/>
                      </a:lnTo>
                      <a:lnTo>
                        <a:pt x="206" y="118"/>
                      </a:lnTo>
                      <a:lnTo>
                        <a:pt x="207" y="117"/>
                      </a:lnTo>
                      <a:lnTo>
                        <a:pt x="210" y="116"/>
                      </a:lnTo>
                      <a:lnTo>
                        <a:pt x="210" y="114"/>
                      </a:lnTo>
                      <a:lnTo>
                        <a:pt x="210" y="113"/>
                      </a:lnTo>
                      <a:lnTo>
                        <a:pt x="209" y="110"/>
                      </a:lnTo>
                      <a:lnTo>
                        <a:pt x="208" y="108"/>
                      </a:lnTo>
                      <a:lnTo>
                        <a:pt x="206" y="108"/>
                      </a:lnTo>
                      <a:lnTo>
                        <a:pt x="205" y="108"/>
                      </a:lnTo>
                      <a:lnTo>
                        <a:pt x="203" y="108"/>
                      </a:lnTo>
                      <a:lnTo>
                        <a:pt x="203" y="107"/>
                      </a:lnTo>
                      <a:lnTo>
                        <a:pt x="205" y="104"/>
                      </a:lnTo>
                      <a:lnTo>
                        <a:pt x="205" y="98"/>
                      </a:lnTo>
                      <a:lnTo>
                        <a:pt x="208" y="95"/>
                      </a:lnTo>
                      <a:lnTo>
                        <a:pt x="209" y="94"/>
                      </a:lnTo>
                      <a:lnTo>
                        <a:pt x="209" y="91"/>
                      </a:lnTo>
                      <a:lnTo>
                        <a:pt x="207" y="91"/>
                      </a:lnTo>
                      <a:lnTo>
                        <a:pt x="206" y="90"/>
                      </a:lnTo>
                      <a:lnTo>
                        <a:pt x="205" y="90"/>
                      </a:lnTo>
                      <a:lnTo>
                        <a:pt x="204" y="91"/>
                      </a:lnTo>
                      <a:lnTo>
                        <a:pt x="206" y="92"/>
                      </a:lnTo>
                      <a:lnTo>
                        <a:pt x="206" y="93"/>
                      </a:lnTo>
                      <a:lnTo>
                        <a:pt x="203" y="93"/>
                      </a:lnTo>
                      <a:lnTo>
                        <a:pt x="203" y="91"/>
                      </a:lnTo>
                      <a:lnTo>
                        <a:pt x="203" y="91"/>
                      </a:lnTo>
                      <a:lnTo>
                        <a:pt x="202" y="89"/>
                      </a:lnTo>
                      <a:lnTo>
                        <a:pt x="201" y="87"/>
                      </a:lnTo>
                      <a:lnTo>
                        <a:pt x="199" y="87"/>
                      </a:lnTo>
                      <a:lnTo>
                        <a:pt x="198" y="84"/>
                      </a:lnTo>
                      <a:lnTo>
                        <a:pt x="196" y="84"/>
                      </a:lnTo>
                      <a:lnTo>
                        <a:pt x="195" y="81"/>
                      </a:lnTo>
                      <a:lnTo>
                        <a:pt x="192" y="84"/>
                      </a:lnTo>
                      <a:lnTo>
                        <a:pt x="190" y="83"/>
                      </a:lnTo>
                      <a:lnTo>
                        <a:pt x="187" y="85"/>
                      </a:lnTo>
                      <a:lnTo>
                        <a:pt x="185" y="85"/>
                      </a:lnTo>
                      <a:lnTo>
                        <a:pt x="185" y="84"/>
                      </a:lnTo>
                      <a:lnTo>
                        <a:pt x="182" y="84"/>
                      </a:lnTo>
                      <a:lnTo>
                        <a:pt x="182" y="83"/>
                      </a:lnTo>
                      <a:lnTo>
                        <a:pt x="181" y="83"/>
                      </a:lnTo>
                      <a:lnTo>
                        <a:pt x="181" y="83"/>
                      </a:lnTo>
                      <a:lnTo>
                        <a:pt x="180" y="83"/>
                      </a:lnTo>
                      <a:lnTo>
                        <a:pt x="180" y="83"/>
                      </a:lnTo>
                      <a:lnTo>
                        <a:pt x="176" y="83"/>
                      </a:lnTo>
                      <a:lnTo>
                        <a:pt x="174" y="83"/>
                      </a:lnTo>
                      <a:lnTo>
                        <a:pt x="174" y="85"/>
                      </a:lnTo>
                      <a:lnTo>
                        <a:pt x="173" y="87"/>
                      </a:lnTo>
                      <a:lnTo>
                        <a:pt x="172" y="87"/>
                      </a:lnTo>
                      <a:lnTo>
                        <a:pt x="172" y="88"/>
                      </a:lnTo>
                      <a:lnTo>
                        <a:pt x="172" y="89"/>
                      </a:lnTo>
                      <a:lnTo>
                        <a:pt x="171" y="89"/>
                      </a:lnTo>
                      <a:lnTo>
                        <a:pt x="170" y="87"/>
                      </a:lnTo>
                      <a:lnTo>
                        <a:pt x="169" y="86"/>
                      </a:lnTo>
                      <a:lnTo>
                        <a:pt x="169" y="85"/>
                      </a:lnTo>
                      <a:lnTo>
                        <a:pt x="168" y="81"/>
                      </a:lnTo>
                      <a:lnTo>
                        <a:pt x="168" y="80"/>
                      </a:lnTo>
                      <a:lnTo>
                        <a:pt x="169" y="80"/>
                      </a:lnTo>
                      <a:lnTo>
                        <a:pt x="169" y="77"/>
                      </a:lnTo>
                      <a:lnTo>
                        <a:pt x="168" y="73"/>
                      </a:lnTo>
                      <a:lnTo>
                        <a:pt x="168" y="70"/>
                      </a:lnTo>
                      <a:lnTo>
                        <a:pt x="167" y="70"/>
                      </a:lnTo>
                      <a:lnTo>
                        <a:pt x="165" y="67"/>
                      </a:lnTo>
                      <a:lnTo>
                        <a:pt x="162" y="67"/>
                      </a:lnTo>
                      <a:lnTo>
                        <a:pt x="161" y="66"/>
                      </a:lnTo>
                      <a:lnTo>
                        <a:pt x="160" y="66"/>
                      </a:lnTo>
                      <a:lnTo>
                        <a:pt x="157" y="67"/>
                      </a:lnTo>
                      <a:lnTo>
                        <a:pt x="157" y="66"/>
                      </a:lnTo>
                      <a:lnTo>
                        <a:pt x="158" y="65"/>
                      </a:lnTo>
                      <a:lnTo>
                        <a:pt x="158" y="63"/>
                      </a:lnTo>
                      <a:lnTo>
                        <a:pt x="154" y="63"/>
                      </a:lnTo>
                      <a:lnTo>
                        <a:pt x="153" y="65"/>
                      </a:lnTo>
                      <a:lnTo>
                        <a:pt x="152" y="66"/>
                      </a:lnTo>
                      <a:lnTo>
                        <a:pt x="149" y="67"/>
                      </a:lnTo>
                      <a:lnTo>
                        <a:pt x="148" y="67"/>
                      </a:lnTo>
                      <a:lnTo>
                        <a:pt x="146" y="66"/>
                      </a:lnTo>
                      <a:lnTo>
                        <a:pt x="144" y="66"/>
                      </a:lnTo>
                      <a:lnTo>
                        <a:pt x="144" y="65"/>
                      </a:lnTo>
                      <a:lnTo>
                        <a:pt x="141" y="63"/>
                      </a:lnTo>
                      <a:lnTo>
                        <a:pt x="140" y="60"/>
                      </a:lnTo>
                      <a:lnTo>
                        <a:pt x="139" y="57"/>
                      </a:lnTo>
                      <a:lnTo>
                        <a:pt x="139" y="55"/>
                      </a:lnTo>
                      <a:lnTo>
                        <a:pt x="138" y="53"/>
                      </a:lnTo>
                      <a:lnTo>
                        <a:pt x="137" y="52"/>
                      </a:lnTo>
                      <a:lnTo>
                        <a:pt x="137" y="49"/>
                      </a:lnTo>
                      <a:lnTo>
                        <a:pt x="137" y="47"/>
                      </a:lnTo>
                      <a:lnTo>
                        <a:pt x="139" y="46"/>
                      </a:lnTo>
                      <a:lnTo>
                        <a:pt x="137" y="45"/>
                      </a:lnTo>
                      <a:lnTo>
                        <a:pt x="138" y="44"/>
                      </a:lnTo>
                      <a:lnTo>
                        <a:pt x="137" y="42"/>
                      </a:lnTo>
                      <a:lnTo>
                        <a:pt x="135" y="42"/>
                      </a:lnTo>
                      <a:lnTo>
                        <a:pt x="134" y="41"/>
                      </a:lnTo>
                      <a:lnTo>
                        <a:pt x="134" y="39"/>
                      </a:lnTo>
                      <a:lnTo>
                        <a:pt x="134" y="39"/>
                      </a:lnTo>
                      <a:lnTo>
                        <a:pt x="133" y="39"/>
                      </a:lnTo>
                      <a:lnTo>
                        <a:pt x="131" y="37"/>
                      </a:lnTo>
                      <a:lnTo>
                        <a:pt x="130" y="35"/>
                      </a:lnTo>
                      <a:lnTo>
                        <a:pt x="130" y="34"/>
                      </a:lnTo>
                      <a:lnTo>
                        <a:pt x="129" y="34"/>
                      </a:lnTo>
                      <a:lnTo>
                        <a:pt x="127" y="33"/>
                      </a:lnTo>
                      <a:lnTo>
                        <a:pt x="127" y="33"/>
                      </a:lnTo>
                      <a:lnTo>
                        <a:pt x="127" y="34"/>
                      </a:lnTo>
                      <a:lnTo>
                        <a:pt x="126" y="35"/>
                      </a:lnTo>
                      <a:lnTo>
                        <a:pt x="124" y="35"/>
                      </a:lnTo>
                      <a:lnTo>
                        <a:pt x="122" y="35"/>
                      </a:lnTo>
                      <a:lnTo>
                        <a:pt x="120" y="35"/>
                      </a:lnTo>
                      <a:lnTo>
                        <a:pt x="118" y="37"/>
                      </a:lnTo>
                      <a:lnTo>
                        <a:pt x="116" y="39"/>
                      </a:lnTo>
                      <a:lnTo>
                        <a:pt x="115" y="39"/>
                      </a:lnTo>
                      <a:lnTo>
                        <a:pt x="114" y="40"/>
                      </a:lnTo>
                      <a:lnTo>
                        <a:pt x="113" y="42"/>
                      </a:lnTo>
                      <a:lnTo>
                        <a:pt x="113" y="44"/>
                      </a:lnTo>
                      <a:lnTo>
                        <a:pt x="112" y="44"/>
                      </a:lnTo>
                      <a:lnTo>
                        <a:pt x="112" y="42"/>
                      </a:lnTo>
                      <a:lnTo>
                        <a:pt x="110" y="42"/>
                      </a:lnTo>
                      <a:lnTo>
                        <a:pt x="109" y="42"/>
                      </a:lnTo>
                      <a:lnTo>
                        <a:pt x="106" y="42"/>
                      </a:lnTo>
                      <a:lnTo>
                        <a:pt x="102" y="36"/>
                      </a:lnTo>
                      <a:lnTo>
                        <a:pt x="102" y="35"/>
                      </a:lnTo>
                      <a:lnTo>
                        <a:pt x="100" y="34"/>
                      </a:lnTo>
                      <a:lnTo>
                        <a:pt x="99" y="32"/>
                      </a:lnTo>
                      <a:lnTo>
                        <a:pt x="100" y="32"/>
                      </a:lnTo>
                      <a:lnTo>
                        <a:pt x="96" y="30"/>
                      </a:lnTo>
                      <a:lnTo>
                        <a:pt x="95" y="30"/>
                      </a:lnTo>
                      <a:lnTo>
                        <a:pt x="93" y="31"/>
                      </a:lnTo>
                      <a:lnTo>
                        <a:pt x="91" y="26"/>
                      </a:lnTo>
                      <a:lnTo>
                        <a:pt x="92" y="25"/>
                      </a:lnTo>
                      <a:lnTo>
                        <a:pt x="91" y="25"/>
                      </a:lnTo>
                      <a:lnTo>
                        <a:pt x="91" y="20"/>
                      </a:lnTo>
                      <a:lnTo>
                        <a:pt x="89" y="18"/>
                      </a:lnTo>
                      <a:lnTo>
                        <a:pt x="91" y="18"/>
                      </a:lnTo>
                      <a:lnTo>
                        <a:pt x="93" y="16"/>
                      </a:lnTo>
                      <a:lnTo>
                        <a:pt x="91" y="11"/>
                      </a:lnTo>
                      <a:lnTo>
                        <a:pt x="89" y="9"/>
                      </a:lnTo>
                      <a:lnTo>
                        <a:pt x="88" y="3"/>
                      </a:lnTo>
                      <a:lnTo>
                        <a:pt x="87" y="1"/>
                      </a:lnTo>
                      <a:lnTo>
                        <a:pt x="87" y="1"/>
                      </a:lnTo>
                      <a:lnTo>
                        <a:pt x="86" y="0"/>
                      </a:lnTo>
                      <a:lnTo>
                        <a:pt x="82" y="1"/>
                      </a:lnTo>
                      <a:lnTo>
                        <a:pt x="81" y="1"/>
                      </a:lnTo>
                      <a:lnTo>
                        <a:pt x="81" y="2"/>
                      </a:lnTo>
                      <a:lnTo>
                        <a:pt x="79" y="3"/>
                      </a:lnTo>
                      <a:lnTo>
                        <a:pt x="75" y="4"/>
                      </a:lnTo>
                      <a:lnTo>
                        <a:pt x="71" y="3"/>
                      </a:lnTo>
                      <a:lnTo>
                        <a:pt x="69" y="4"/>
                      </a:lnTo>
                      <a:lnTo>
                        <a:pt x="66" y="5"/>
                      </a:lnTo>
                      <a:lnTo>
                        <a:pt x="64" y="5"/>
                      </a:lnTo>
                      <a:lnTo>
                        <a:pt x="59" y="7"/>
                      </a:lnTo>
                      <a:lnTo>
                        <a:pt x="55" y="9"/>
                      </a:lnTo>
                      <a:lnTo>
                        <a:pt x="54" y="9"/>
                      </a:lnTo>
                      <a:lnTo>
                        <a:pt x="45" y="11"/>
                      </a:lnTo>
                      <a:lnTo>
                        <a:pt x="43" y="10"/>
                      </a:lnTo>
                      <a:lnTo>
                        <a:pt x="41" y="11"/>
                      </a:lnTo>
                      <a:lnTo>
                        <a:pt x="34" y="14"/>
                      </a:lnTo>
                      <a:lnTo>
                        <a:pt x="30" y="16"/>
                      </a:lnTo>
                      <a:lnTo>
                        <a:pt x="26" y="18"/>
                      </a:lnTo>
                      <a:lnTo>
                        <a:pt x="25" y="18"/>
                      </a:lnTo>
                      <a:lnTo>
                        <a:pt x="24" y="19"/>
                      </a:lnTo>
                      <a:lnTo>
                        <a:pt x="21" y="23"/>
                      </a:lnTo>
                      <a:lnTo>
                        <a:pt x="21" y="24"/>
                      </a:lnTo>
                      <a:lnTo>
                        <a:pt x="19" y="24"/>
                      </a:lnTo>
                      <a:lnTo>
                        <a:pt x="17" y="25"/>
                      </a:lnTo>
                      <a:lnTo>
                        <a:pt x="17" y="25"/>
                      </a:lnTo>
                      <a:lnTo>
                        <a:pt x="17" y="28"/>
                      </a:lnTo>
                      <a:lnTo>
                        <a:pt x="17" y="29"/>
                      </a:lnTo>
                      <a:lnTo>
                        <a:pt x="18" y="32"/>
                      </a:lnTo>
                      <a:lnTo>
                        <a:pt x="17" y="39"/>
                      </a:lnTo>
                      <a:lnTo>
                        <a:pt x="17" y="40"/>
                      </a:lnTo>
                      <a:lnTo>
                        <a:pt x="17" y="41"/>
                      </a:lnTo>
                      <a:lnTo>
                        <a:pt x="17" y="42"/>
                      </a:lnTo>
                      <a:lnTo>
                        <a:pt x="15" y="44"/>
                      </a:lnTo>
                      <a:lnTo>
                        <a:pt x="15" y="45"/>
                      </a:lnTo>
                      <a:lnTo>
                        <a:pt x="16" y="47"/>
                      </a:lnTo>
                      <a:lnTo>
                        <a:pt x="16" y="55"/>
                      </a:lnTo>
                      <a:lnTo>
                        <a:pt x="17" y="57"/>
                      </a:lnTo>
                      <a:lnTo>
                        <a:pt x="16" y="59"/>
                      </a:lnTo>
                      <a:lnTo>
                        <a:pt x="18" y="62"/>
                      </a:lnTo>
                      <a:lnTo>
                        <a:pt x="18" y="63"/>
                      </a:lnTo>
                      <a:lnTo>
                        <a:pt x="17" y="63"/>
                      </a:lnTo>
                      <a:lnTo>
                        <a:pt x="16" y="67"/>
                      </a:lnTo>
                      <a:lnTo>
                        <a:pt x="16" y="70"/>
                      </a:lnTo>
                      <a:lnTo>
                        <a:pt x="15" y="74"/>
                      </a:lnTo>
                      <a:lnTo>
                        <a:pt x="14" y="78"/>
                      </a:lnTo>
                      <a:lnTo>
                        <a:pt x="15" y="80"/>
                      </a:lnTo>
                      <a:lnTo>
                        <a:pt x="15" y="80"/>
                      </a:lnTo>
                      <a:lnTo>
                        <a:pt x="17" y="80"/>
                      </a:lnTo>
                      <a:lnTo>
                        <a:pt x="17" y="80"/>
                      </a:lnTo>
                      <a:lnTo>
                        <a:pt x="17" y="81"/>
                      </a:lnTo>
                      <a:lnTo>
                        <a:pt x="19" y="81"/>
                      </a:lnTo>
                      <a:lnTo>
                        <a:pt x="19" y="82"/>
                      </a:lnTo>
                      <a:lnTo>
                        <a:pt x="19" y="82"/>
                      </a:lnTo>
                      <a:lnTo>
                        <a:pt x="19" y="81"/>
                      </a:lnTo>
                      <a:lnTo>
                        <a:pt x="17" y="81"/>
                      </a:lnTo>
                      <a:lnTo>
                        <a:pt x="17" y="82"/>
                      </a:lnTo>
                      <a:lnTo>
                        <a:pt x="14" y="83"/>
                      </a:lnTo>
                      <a:lnTo>
                        <a:pt x="14" y="87"/>
                      </a:lnTo>
                      <a:lnTo>
                        <a:pt x="14" y="89"/>
                      </a:lnTo>
                      <a:lnTo>
                        <a:pt x="13" y="92"/>
                      </a:lnTo>
                      <a:lnTo>
                        <a:pt x="14" y="94"/>
                      </a:lnTo>
                      <a:lnTo>
                        <a:pt x="17" y="95"/>
                      </a:lnTo>
                      <a:lnTo>
                        <a:pt x="19" y="99"/>
                      </a:lnTo>
                      <a:lnTo>
                        <a:pt x="21" y="98"/>
                      </a:lnTo>
                      <a:lnTo>
                        <a:pt x="23" y="99"/>
                      </a:lnTo>
                      <a:lnTo>
                        <a:pt x="23" y="101"/>
                      </a:lnTo>
                      <a:lnTo>
                        <a:pt x="24" y="103"/>
                      </a:lnTo>
                      <a:lnTo>
                        <a:pt x="23" y="104"/>
                      </a:lnTo>
                      <a:lnTo>
                        <a:pt x="21" y="103"/>
                      </a:lnTo>
                      <a:lnTo>
                        <a:pt x="19" y="102"/>
                      </a:lnTo>
                      <a:lnTo>
                        <a:pt x="17" y="102"/>
                      </a:lnTo>
                      <a:lnTo>
                        <a:pt x="15" y="101"/>
                      </a:lnTo>
                      <a:lnTo>
                        <a:pt x="14" y="101"/>
                      </a:lnTo>
                      <a:lnTo>
                        <a:pt x="15" y="99"/>
                      </a:lnTo>
                      <a:lnTo>
                        <a:pt x="13" y="99"/>
                      </a:lnTo>
                      <a:lnTo>
                        <a:pt x="9" y="103"/>
                      </a:lnTo>
                      <a:lnTo>
                        <a:pt x="7" y="108"/>
                      </a:lnTo>
                      <a:lnTo>
                        <a:pt x="7" y="111"/>
                      </a:lnTo>
                      <a:lnTo>
                        <a:pt x="5" y="112"/>
                      </a:lnTo>
                      <a:lnTo>
                        <a:pt x="4" y="113"/>
                      </a:lnTo>
                      <a:lnTo>
                        <a:pt x="4" y="114"/>
                      </a:lnTo>
                      <a:lnTo>
                        <a:pt x="3" y="114"/>
                      </a:lnTo>
                      <a:lnTo>
                        <a:pt x="2" y="116"/>
                      </a:lnTo>
                      <a:lnTo>
                        <a:pt x="0" y="116"/>
                      </a:lnTo>
                      <a:lnTo>
                        <a:pt x="3" y="117"/>
                      </a:lnTo>
                      <a:lnTo>
                        <a:pt x="3" y="116"/>
                      </a:lnTo>
                      <a:lnTo>
                        <a:pt x="6" y="116"/>
                      </a:lnTo>
                      <a:lnTo>
                        <a:pt x="7" y="116"/>
                      </a:lnTo>
                      <a:lnTo>
                        <a:pt x="7" y="117"/>
                      </a:lnTo>
                      <a:lnTo>
                        <a:pt x="7" y="119"/>
                      </a:lnTo>
                      <a:lnTo>
                        <a:pt x="8" y="119"/>
                      </a:lnTo>
                      <a:lnTo>
                        <a:pt x="9" y="121"/>
                      </a:lnTo>
                      <a:lnTo>
                        <a:pt x="10" y="121"/>
                      </a:lnTo>
                      <a:lnTo>
                        <a:pt x="11" y="122"/>
                      </a:lnTo>
                      <a:lnTo>
                        <a:pt x="12" y="124"/>
                      </a:lnTo>
                      <a:lnTo>
                        <a:pt x="12" y="125"/>
                      </a:lnTo>
                      <a:lnTo>
                        <a:pt x="14" y="126"/>
                      </a:lnTo>
                      <a:lnTo>
                        <a:pt x="14" y="126"/>
                      </a:lnTo>
                      <a:lnTo>
                        <a:pt x="15" y="126"/>
                      </a:lnTo>
                      <a:lnTo>
                        <a:pt x="17" y="131"/>
                      </a:lnTo>
                      <a:lnTo>
                        <a:pt x="21" y="132"/>
                      </a:lnTo>
                      <a:lnTo>
                        <a:pt x="23" y="133"/>
                      </a:lnTo>
                      <a:lnTo>
                        <a:pt x="23" y="134"/>
                      </a:lnTo>
                      <a:lnTo>
                        <a:pt x="24" y="135"/>
                      </a:lnTo>
                      <a:lnTo>
                        <a:pt x="24" y="136"/>
                      </a:lnTo>
                      <a:lnTo>
                        <a:pt x="25" y="136"/>
                      </a:lnTo>
                      <a:lnTo>
                        <a:pt x="25" y="139"/>
                      </a:lnTo>
                      <a:lnTo>
                        <a:pt x="25" y="139"/>
                      </a:lnTo>
                      <a:lnTo>
                        <a:pt x="25" y="141"/>
                      </a:lnTo>
                      <a:lnTo>
                        <a:pt x="26" y="142"/>
                      </a:lnTo>
                      <a:lnTo>
                        <a:pt x="27" y="145"/>
                      </a:lnTo>
                      <a:lnTo>
                        <a:pt x="27" y="147"/>
                      </a:lnTo>
                      <a:lnTo>
                        <a:pt x="28" y="148"/>
                      </a:lnTo>
                      <a:lnTo>
                        <a:pt x="28" y="149"/>
                      </a:lnTo>
                      <a:lnTo>
                        <a:pt x="30" y="150"/>
                      </a:lnTo>
                      <a:lnTo>
                        <a:pt x="30" y="152"/>
                      </a:lnTo>
                      <a:lnTo>
                        <a:pt x="28" y="152"/>
                      </a:lnTo>
                      <a:lnTo>
                        <a:pt x="28" y="151"/>
                      </a:lnTo>
                      <a:lnTo>
                        <a:pt x="27" y="152"/>
                      </a:lnTo>
                      <a:lnTo>
                        <a:pt x="27" y="154"/>
                      </a:lnTo>
                      <a:lnTo>
                        <a:pt x="25" y="154"/>
                      </a:lnTo>
                      <a:lnTo>
                        <a:pt x="25" y="157"/>
                      </a:lnTo>
                      <a:lnTo>
                        <a:pt x="24" y="159"/>
                      </a:lnTo>
                      <a:lnTo>
                        <a:pt x="24" y="159"/>
                      </a:lnTo>
                      <a:lnTo>
                        <a:pt x="27" y="159"/>
                      </a:lnTo>
                      <a:lnTo>
                        <a:pt x="28" y="160"/>
                      </a:lnTo>
                      <a:lnTo>
                        <a:pt x="25" y="162"/>
                      </a:lnTo>
                      <a:lnTo>
                        <a:pt x="25" y="163"/>
                      </a:lnTo>
                      <a:lnTo>
                        <a:pt x="24" y="164"/>
                      </a:lnTo>
                      <a:lnTo>
                        <a:pt x="24" y="166"/>
                      </a:lnTo>
                      <a:lnTo>
                        <a:pt x="25" y="166"/>
                      </a:lnTo>
                      <a:lnTo>
                        <a:pt x="25" y="168"/>
                      </a:lnTo>
                      <a:lnTo>
                        <a:pt x="24" y="170"/>
                      </a:lnTo>
                      <a:lnTo>
                        <a:pt x="25" y="170"/>
                      </a:lnTo>
                      <a:lnTo>
                        <a:pt x="25" y="170"/>
                      </a:lnTo>
                      <a:lnTo>
                        <a:pt x="25" y="171"/>
                      </a:lnTo>
                      <a:lnTo>
                        <a:pt x="24" y="172"/>
                      </a:lnTo>
                      <a:lnTo>
                        <a:pt x="24" y="173"/>
                      </a:lnTo>
                      <a:lnTo>
                        <a:pt x="25" y="173"/>
                      </a:lnTo>
                      <a:lnTo>
                        <a:pt x="25" y="173"/>
                      </a:lnTo>
                      <a:lnTo>
                        <a:pt x="26" y="174"/>
                      </a:lnTo>
                      <a:lnTo>
                        <a:pt x="25" y="175"/>
                      </a:lnTo>
                      <a:lnTo>
                        <a:pt x="27" y="176"/>
                      </a:lnTo>
                      <a:lnTo>
                        <a:pt x="27" y="176"/>
                      </a:lnTo>
                      <a:lnTo>
                        <a:pt x="27" y="180"/>
                      </a:lnTo>
                      <a:lnTo>
                        <a:pt x="25" y="180"/>
                      </a:lnTo>
                      <a:lnTo>
                        <a:pt x="25" y="181"/>
                      </a:lnTo>
                      <a:lnTo>
                        <a:pt x="25" y="181"/>
                      </a:lnTo>
                      <a:lnTo>
                        <a:pt x="27" y="181"/>
                      </a:lnTo>
                      <a:lnTo>
                        <a:pt x="27" y="182"/>
                      </a:lnTo>
                      <a:lnTo>
                        <a:pt x="28" y="181"/>
                      </a:lnTo>
                      <a:lnTo>
                        <a:pt x="28" y="180"/>
                      </a:lnTo>
                      <a:lnTo>
                        <a:pt x="30" y="180"/>
                      </a:lnTo>
                      <a:lnTo>
                        <a:pt x="30" y="180"/>
                      </a:lnTo>
                      <a:lnTo>
                        <a:pt x="30" y="182"/>
                      </a:lnTo>
                      <a:lnTo>
                        <a:pt x="30" y="182"/>
                      </a:lnTo>
                      <a:lnTo>
                        <a:pt x="30" y="185"/>
                      </a:lnTo>
                      <a:lnTo>
                        <a:pt x="27" y="186"/>
                      </a:lnTo>
                      <a:lnTo>
                        <a:pt x="27" y="187"/>
                      </a:lnTo>
                      <a:lnTo>
                        <a:pt x="27" y="187"/>
                      </a:lnTo>
                      <a:lnTo>
                        <a:pt x="25" y="187"/>
                      </a:lnTo>
                      <a:lnTo>
                        <a:pt x="24" y="191"/>
                      </a:lnTo>
                      <a:lnTo>
                        <a:pt x="27" y="192"/>
                      </a:lnTo>
                      <a:lnTo>
                        <a:pt x="25" y="194"/>
                      </a:lnTo>
                      <a:lnTo>
                        <a:pt x="28" y="197"/>
                      </a:lnTo>
                      <a:lnTo>
                        <a:pt x="28" y="197"/>
                      </a:lnTo>
                      <a:lnTo>
                        <a:pt x="28" y="197"/>
                      </a:lnTo>
                      <a:lnTo>
                        <a:pt x="30" y="200"/>
                      </a:lnTo>
                      <a:lnTo>
                        <a:pt x="30" y="204"/>
                      </a:lnTo>
                      <a:lnTo>
                        <a:pt x="30" y="205"/>
                      </a:lnTo>
                      <a:lnTo>
                        <a:pt x="31" y="207"/>
                      </a:lnTo>
                      <a:lnTo>
                        <a:pt x="30" y="210"/>
                      </a:lnTo>
                      <a:lnTo>
                        <a:pt x="28" y="210"/>
                      </a:lnTo>
                      <a:lnTo>
                        <a:pt x="28" y="208"/>
                      </a:lnTo>
                      <a:lnTo>
                        <a:pt x="27" y="207"/>
                      </a:lnTo>
                      <a:lnTo>
                        <a:pt x="24" y="208"/>
                      </a:lnTo>
                      <a:lnTo>
                        <a:pt x="24" y="210"/>
                      </a:lnTo>
                      <a:lnTo>
                        <a:pt x="24" y="211"/>
                      </a:lnTo>
                      <a:lnTo>
                        <a:pt x="27" y="212"/>
                      </a:lnTo>
                      <a:lnTo>
                        <a:pt x="26" y="214"/>
                      </a:lnTo>
                      <a:lnTo>
                        <a:pt x="24" y="214"/>
                      </a:lnTo>
                      <a:lnTo>
                        <a:pt x="24" y="214"/>
                      </a:lnTo>
                      <a:lnTo>
                        <a:pt x="25" y="216"/>
                      </a:lnTo>
                      <a:lnTo>
                        <a:pt x="26" y="216"/>
                      </a:lnTo>
                      <a:lnTo>
                        <a:pt x="27" y="218"/>
                      </a:lnTo>
                      <a:lnTo>
                        <a:pt x="28" y="218"/>
                      </a:lnTo>
                      <a:lnTo>
                        <a:pt x="30" y="217"/>
                      </a:lnTo>
                      <a:lnTo>
                        <a:pt x="30" y="217"/>
                      </a:lnTo>
                      <a:lnTo>
                        <a:pt x="30" y="218"/>
                      </a:lnTo>
                      <a:lnTo>
                        <a:pt x="31" y="217"/>
                      </a:lnTo>
                      <a:lnTo>
                        <a:pt x="32" y="218"/>
                      </a:lnTo>
                      <a:lnTo>
                        <a:pt x="33" y="218"/>
                      </a:lnTo>
                      <a:lnTo>
                        <a:pt x="33" y="219"/>
                      </a:lnTo>
                      <a:lnTo>
                        <a:pt x="35" y="219"/>
                      </a:lnTo>
                      <a:lnTo>
                        <a:pt x="37" y="218"/>
                      </a:lnTo>
                      <a:lnTo>
                        <a:pt x="38" y="220"/>
                      </a:lnTo>
                      <a:lnTo>
                        <a:pt x="41" y="219"/>
                      </a:lnTo>
                      <a:lnTo>
                        <a:pt x="43" y="219"/>
                      </a:lnTo>
                      <a:lnTo>
                        <a:pt x="44" y="218"/>
                      </a:lnTo>
                      <a:lnTo>
                        <a:pt x="46" y="218"/>
                      </a:lnTo>
                      <a:lnTo>
                        <a:pt x="48" y="217"/>
                      </a:lnTo>
                      <a:lnTo>
                        <a:pt x="49" y="217"/>
                      </a:lnTo>
                      <a:lnTo>
                        <a:pt x="49" y="216"/>
                      </a:lnTo>
                      <a:lnTo>
                        <a:pt x="51" y="214"/>
                      </a:lnTo>
                      <a:lnTo>
                        <a:pt x="52" y="214"/>
                      </a:lnTo>
                      <a:lnTo>
                        <a:pt x="53" y="217"/>
                      </a:lnTo>
                      <a:lnTo>
                        <a:pt x="56" y="217"/>
                      </a:lnTo>
                      <a:lnTo>
                        <a:pt x="56" y="218"/>
                      </a:lnTo>
                      <a:lnTo>
                        <a:pt x="58" y="218"/>
                      </a:lnTo>
                      <a:lnTo>
                        <a:pt x="58" y="218"/>
                      </a:lnTo>
                      <a:lnTo>
                        <a:pt x="58" y="219"/>
                      </a:lnTo>
                      <a:lnTo>
                        <a:pt x="58" y="219"/>
                      </a:lnTo>
                      <a:lnTo>
                        <a:pt x="59" y="218"/>
                      </a:lnTo>
                      <a:lnTo>
                        <a:pt x="60" y="219"/>
                      </a:lnTo>
                      <a:lnTo>
                        <a:pt x="62" y="218"/>
                      </a:lnTo>
                      <a:lnTo>
                        <a:pt x="64" y="219"/>
                      </a:lnTo>
                      <a:lnTo>
                        <a:pt x="62" y="221"/>
                      </a:lnTo>
                      <a:lnTo>
                        <a:pt x="62" y="221"/>
                      </a:lnTo>
                      <a:lnTo>
                        <a:pt x="64" y="221"/>
                      </a:lnTo>
                      <a:lnTo>
                        <a:pt x="65" y="221"/>
                      </a:lnTo>
                      <a:lnTo>
                        <a:pt x="66" y="220"/>
                      </a:lnTo>
                      <a:lnTo>
                        <a:pt x="68" y="220"/>
                      </a:lnTo>
                      <a:lnTo>
                        <a:pt x="69" y="218"/>
                      </a:lnTo>
                      <a:lnTo>
                        <a:pt x="69" y="218"/>
                      </a:lnTo>
                      <a:lnTo>
                        <a:pt x="73" y="221"/>
                      </a:lnTo>
                      <a:lnTo>
                        <a:pt x="74" y="221"/>
                      </a:lnTo>
                      <a:lnTo>
                        <a:pt x="79" y="221"/>
                      </a:lnTo>
                      <a:lnTo>
                        <a:pt x="79" y="222"/>
                      </a:lnTo>
                      <a:lnTo>
                        <a:pt x="79" y="223"/>
                      </a:lnTo>
                      <a:lnTo>
                        <a:pt x="80" y="223"/>
                      </a:lnTo>
                      <a:lnTo>
                        <a:pt x="82" y="223"/>
                      </a:lnTo>
                      <a:lnTo>
                        <a:pt x="84" y="225"/>
                      </a:lnTo>
                      <a:lnTo>
                        <a:pt x="83" y="225"/>
                      </a:lnTo>
                      <a:lnTo>
                        <a:pt x="86" y="227"/>
                      </a:lnTo>
                      <a:lnTo>
                        <a:pt x="86" y="225"/>
                      </a:lnTo>
                      <a:lnTo>
                        <a:pt x="87" y="225"/>
                      </a:lnTo>
                      <a:lnTo>
                        <a:pt x="88" y="228"/>
                      </a:lnTo>
                      <a:lnTo>
                        <a:pt x="89" y="228"/>
                      </a:lnTo>
                      <a:lnTo>
                        <a:pt x="89" y="228"/>
                      </a:lnTo>
                      <a:lnTo>
                        <a:pt x="89" y="229"/>
                      </a:lnTo>
                      <a:lnTo>
                        <a:pt x="90" y="229"/>
                      </a:lnTo>
                      <a:lnTo>
                        <a:pt x="92" y="228"/>
                      </a:lnTo>
                      <a:lnTo>
                        <a:pt x="93" y="228"/>
                      </a:lnTo>
                      <a:lnTo>
                        <a:pt x="93" y="226"/>
                      </a:lnTo>
                      <a:lnTo>
                        <a:pt x="97" y="228"/>
                      </a:lnTo>
                      <a:lnTo>
                        <a:pt x="98" y="230"/>
                      </a:lnTo>
                      <a:lnTo>
                        <a:pt x="97" y="230"/>
                      </a:lnTo>
                      <a:lnTo>
                        <a:pt x="99" y="232"/>
                      </a:lnTo>
                      <a:lnTo>
                        <a:pt x="100" y="229"/>
                      </a:lnTo>
                      <a:lnTo>
                        <a:pt x="101" y="232"/>
                      </a:lnTo>
                      <a:lnTo>
                        <a:pt x="103" y="232"/>
                      </a:lnTo>
                      <a:lnTo>
                        <a:pt x="105" y="230"/>
                      </a:lnTo>
                      <a:lnTo>
                        <a:pt x="103" y="228"/>
                      </a:lnTo>
                      <a:lnTo>
                        <a:pt x="105" y="228"/>
                      </a:lnTo>
                      <a:lnTo>
                        <a:pt x="106" y="228"/>
                      </a:lnTo>
                      <a:lnTo>
                        <a:pt x="107" y="228"/>
                      </a:lnTo>
                      <a:lnTo>
                        <a:pt x="109" y="228"/>
                      </a:lnTo>
                      <a:lnTo>
                        <a:pt x="110" y="228"/>
                      </a:lnTo>
                      <a:lnTo>
                        <a:pt x="110" y="230"/>
                      </a:lnTo>
                      <a:lnTo>
                        <a:pt x="113" y="229"/>
                      </a:lnTo>
                      <a:lnTo>
                        <a:pt x="113" y="228"/>
                      </a:lnTo>
                      <a:lnTo>
                        <a:pt x="116" y="229"/>
                      </a:lnTo>
                      <a:lnTo>
                        <a:pt x="117" y="228"/>
                      </a:lnTo>
                      <a:lnTo>
                        <a:pt x="118" y="228"/>
                      </a:lnTo>
                      <a:lnTo>
                        <a:pt x="119" y="229"/>
                      </a:lnTo>
                      <a:lnTo>
                        <a:pt x="120" y="230"/>
                      </a:lnTo>
                      <a:lnTo>
                        <a:pt x="121" y="228"/>
                      </a:lnTo>
                      <a:lnTo>
                        <a:pt x="124" y="228"/>
                      </a:lnTo>
                      <a:lnTo>
                        <a:pt x="125" y="228"/>
                      </a:lnTo>
                      <a:lnTo>
                        <a:pt x="125" y="226"/>
                      </a:lnTo>
                      <a:lnTo>
                        <a:pt x="127" y="225"/>
                      </a:lnTo>
                      <a:lnTo>
                        <a:pt x="130" y="225"/>
                      </a:lnTo>
                      <a:lnTo>
                        <a:pt x="130" y="225"/>
                      </a:lnTo>
                      <a:lnTo>
                        <a:pt x="133" y="227"/>
                      </a:lnTo>
                      <a:lnTo>
                        <a:pt x="133" y="229"/>
                      </a:lnTo>
                      <a:lnTo>
                        <a:pt x="134" y="232"/>
                      </a:lnTo>
                      <a:lnTo>
                        <a:pt x="135" y="233"/>
                      </a:lnTo>
                      <a:lnTo>
                        <a:pt x="134" y="235"/>
                      </a:lnTo>
                      <a:lnTo>
                        <a:pt x="133" y="236"/>
                      </a:lnTo>
                      <a:lnTo>
                        <a:pt x="136" y="238"/>
                      </a:lnTo>
                      <a:lnTo>
                        <a:pt x="137" y="238"/>
                      </a:lnTo>
                      <a:lnTo>
                        <a:pt x="138" y="239"/>
                      </a:lnTo>
                      <a:lnTo>
                        <a:pt x="138" y="241"/>
                      </a:lnTo>
                      <a:lnTo>
                        <a:pt x="140" y="241"/>
                      </a:lnTo>
                      <a:lnTo>
                        <a:pt x="140" y="242"/>
                      </a:lnTo>
                      <a:lnTo>
                        <a:pt x="141" y="244"/>
                      </a:lnTo>
                      <a:lnTo>
                        <a:pt x="141" y="245"/>
                      </a:lnTo>
                      <a:lnTo>
                        <a:pt x="144" y="245"/>
                      </a:lnTo>
                      <a:lnTo>
                        <a:pt x="144" y="247"/>
                      </a:lnTo>
                      <a:lnTo>
                        <a:pt x="146" y="249"/>
                      </a:lnTo>
                      <a:lnTo>
                        <a:pt x="148" y="247"/>
                      </a:lnTo>
                      <a:lnTo>
                        <a:pt x="150" y="252"/>
                      </a:lnTo>
                      <a:lnTo>
                        <a:pt x="151" y="252"/>
                      </a:lnTo>
                      <a:lnTo>
                        <a:pt x="151" y="252"/>
                      </a:lnTo>
                      <a:lnTo>
                        <a:pt x="152" y="252"/>
                      </a:lnTo>
                      <a:lnTo>
                        <a:pt x="152" y="253"/>
                      </a:lnTo>
                      <a:lnTo>
                        <a:pt x="155" y="254"/>
                      </a:lnTo>
                      <a:lnTo>
                        <a:pt x="154" y="256"/>
                      </a:lnTo>
                      <a:lnTo>
                        <a:pt x="157" y="256"/>
                      </a:lnTo>
                      <a:lnTo>
                        <a:pt x="157" y="255"/>
                      </a:lnTo>
                      <a:lnTo>
                        <a:pt x="158" y="255"/>
                      </a:lnTo>
                      <a:lnTo>
                        <a:pt x="158" y="252"/>
                      </a:lnTo>
                      <a:lnTo>
                        <a:pt x="158" y="252"/>
                      </a:lnTo>
                      <a:lnTo>
                        <a:pt x="160" y="249"/>
                      </a:lnTo>
                      <a:lnTo>
                        <a:pt x="161" y="248"/>
                      </a:lnTo>
                      <a:lnTo>
                        <a:pt x="165" y="247"/>
                      </a:lnTo>
                      <a:lnTo>
                        <a:pt x="165" y="245"/>
                      </a:lnTo>
                      <a:lnTo>
                        <a:pt x="166" y="245"/>
                      </a:lnTo>
                      <a:lnTo>
                        <a:pt x="166" y="242"/>
                      </a:lnTo>
                      <a:lnTo>
                        <a:pt x="168" y="242"/>
                      </a:lnTo>
                      <a:lnTo>
                        <a:pt x="169" y="238"/>
                      </a:lnTo>
                      <a:lnTo>
                        <a:pt x="171" y="237"/>
                      </a:lnTo>
                      <a:lnTo>
                        <a:pt x="172" y="236"/>
                      </a:lnTo>
                      <a:lnTo>
                        <a:pt x="171" y="233"/>
                      </a:lnTo>
                      <a:lnTo>
                        <a:pt x="167" y="233"/>
                      </a:lnTo>
                      <a:lnTo>
                        <a:pt x="167" y="234"/>
                      </a:lnTo>
                      <a:lnTo>
                        <a:pt x="165" y="234"/>
                      </a:lnTo>
                      <a:lnTo>
                        <a:pt x="165" y="233"/>
                      </a:lnTo>
                      <a:lnTo>
                        <a:pt x="165" y="232"/>
                      </a:lnTo>
                      <a:lnTo>
                        <a:pt x="165" y="230"/>
                      </a:lnTo>
                      <a:lnTo>
                        <a:pt x="166" y="230"/>
                      </a:lnTo>
                      <a:lnTo>
                        <a:pt x="166" y="229"/>
                      </a:lnTo>
                      <a:lnTo>
                        <a:pt x="169" y="229"/>
                      </a:lnTo>
                      <a:lnTo>
                        <a:pt x="169" y="228"/>
                      </a:lnTo>
                      <a:lnTo>
                        <a:pt x="168" y="227"/>
                      </a:lnTo>
                      <a:lnTo>
                        <a:pt x="167" y="225"/>
                      </a:lnTo>
                      <a:lnTo>
                        <a:pt x="166" y="225"/>
                      </a:lnTo>
                      <a:lnTo>
                        <a:pt x="168" y="221"/>
                      </a:lnTo>
                      <a:lnTo>
                        <a:pt x="168" y="221"/>
                      </a:lnTo>
                      <a:lnTo>
                        <a:pt x="172" y="220"/>
                      </a:lnTo>
                      <a:lnTo>
                        <a:pt x="173" y="221"/>
                      </a:lnTo>
                      <a:lnTo>
                        <a:pt x="175" y="221"/>
                      </a:lnTo>
                      <a:lnTo>
                        <a:pt x="176" y="220"/>
                      </a:lnTo>
                      <a:lnTo>
                        <a:pt x="177" y="219"/>
                      </a:lnTo>
                      <a:lnTo>
                        <a:pt x="177" y="217"/>
                      </a:lnTo>
                      <a:lnTo>
                        <a:pt x="175" y="218"/>
                      </a:lnTo>
                      <a:lnTo>
                        <a:pt x="174" y="217"/>
                      </a:lnTo>
                      <a:lnTo>
                        <a:pt x="173" y="216"/>
                      </a:lnTo>
                      <a:lnTo>
                        <a:pt x="174" y="214"/>
                      </a:lnTo>
                      <a:lnTo>
                        <a:pt x="173" y="214"/>
                      </a:lnTo>
                      <a:lnTo>
                        <a:pt x="172" y="214"/>
                      </a:lnTo>
                      <a:lnTo>
                        <a:pt x="172" y="214"/>
                      </a:lnTo>
                      <a:lnTo>
                        <a:pt x="171" y="214"/>
                      </a:lnTo>
                      <a:lnTo>
                        <a:pt x="171" y="214"/>
                      </a:lnTo>
                      <a:lnTo>
                        <a:pt x="170" y="212"/>
                      </a:lnTo>
                      <a:lnTo>
                        <a:pt x="171" y="211"/>
                      </a:lnTo>
                      <a:lnTo>
                        <a:pt x="171" y="210"/>
                      </a:lnTo>
                      <a:lnTo>
                        <a:pt x="169" y="208"/>
                      </a:lnTo>
                      <a:lnTo>
                        <a:pt x="170" y="207"/>
                      </a:lnTo>
                      <a:lnTo>
                        <a:pt x="169" y="206"/>
                      </a:lnTo>
                      <a:lnTo>
                        <a:pt x="170" y="205"/>
                      </a:lnTo>
                      <a:lnTo>
                        <a:pt x="169" y="204"/>
                      </a:lnTo>
                      <a:lnTo>
                        <a:pt x="168" y="204"/>
                      </a:lnTo>
                      <a:lnTo>
                        <a:pt x="169" y="201"/>
                      </a:lnTo>
                      <a:lnTo>
                        <a:pt x="171" y="201"/>
                      </a:lnTo>
                      <a:lnTo>
                        <a:pt x="172" y="200"/>
                      </a:lnTo>
                      <a:lnTo>
                        <a:pt x="174" y="199"/>
                      </a:lnTo>
                      <a:lnTo>
                        <a:pt x="176" y="199"/>
                      </a:lnTo>
                      <a:lnTo>
                        <a:pt x="176" y="198"/>
                      </a:lnTo>
                      <a:lnTo>
                        <a:pt x="178" y="198"/>
                      </a:lnTo>
                      <a:lnTo>
                        <a:pt x="179" y="197"/>
                      </a:lnTo>
                      <a:lnTo>
                        <a:pt x="182" y="197"/>
                      </a:lnTo>
                      <a:lnTo>
                        <a:pt x="182" y="197"/>
                      </a:lnTo>
                      <a:lnTo>
                        <a:pt x="185" y="198"/>
                      </a:lnTo>
                      <a:lnTo>
                        <a:pt x="185" y="197"/>
                      </a:lnTo>
                      <a:lnTo>
                        <a:pt x="184" y="196"/>
                      </a:lnTo>
                      <a:lnTo>
                        <a:pt x="185" y="195"/>
                      </a:lnTo>
                      <a:lnTo>
                        <a:pt x="185" y="194"/>
                      </a:lnTo>
                      <a:lnTo>
                        <a:pt x="187" y="193"/>
                      </a:lnTo>
                      <a:lnTo>
                        <a:pt x="189" y="192"/>
                      </a:lnTo>
                      <a:lnTo>
                        <a:pt x="189" y="191"/>
                      </a:lnTo>
                      <a:lnTo>
                        <a:pt x="190" y="191"/>
                      </a:lnTo>
                      <a:lnTo>
                        <a:pt x="190" y="191"/>
                      </a:lnTo>
                      <a:lnTo>
                        <a:pt x="192" y="194"/>
                      </a:lnTo>
                      <a:lnTo>
                        <a:pt x="195" y="194"/>
                      </a:lnTo>
                      <a:lnTo>
                        <a:pt x="196" y="196"/>
                      </a:lnTo>
                      <a:lnTo>
                        <a:pt x="196" y="197"/>
                      </a:lnTo>
                      <a:lnTo>
                        <a:pt x="198" y="197"/>
                      </a:lnTo>
                      <a:lnTo>
                        <a:pt x="199" y="196"/>
                      </a:lnTo>
                      <a:lnTo>
                        <a:pt x="199" y="194"/>
                      </a:lnTo>
                      <a:lnTo>
                        <a:pt x="199" y="191"/>
                      </a:lnTo>
                      <a:lnTo>
                        <a:pt x="199" y="190"/>
                      </a:lnTo>
                      <a:lnTo>
                        <a:pt x="199" y="189"/>
                      </a:lnTo>
                      <a:lnTo>
                        <a:pt x="198" y="187"/>
                      </a:lnTo>
                      <a:lnTo>
                        <a:pt x="200" y="187"/>
                      </a:lnTo>
                      <a:lnTo>
                        <a:pt x="199" y="185"/>
                      </a:lnTo>
                      <a:lnTo>
                        <a:pt x="199" y="183"/>
                      </a:lnTo>
                      <a:lnTo>
                        <a:pt x="199" y="182"/>
                      </a:lnTo>
                      <a:lnTo>
                        <a:pt x="198" y="181"/>
                      </a:lnTo>
                      <a:lnTo>
                        <a:pt x="199" y="179"/>
                      </a:lnTo>
                      <a:lnTo>
                        <a:pt x="200" y="179"/>
                      </a:lnTo>
                      <a:lnTo>
                        <a:pt x="199" y="177"/>
                      </a:lnTo>
                      <a:lnTo>
                        <a:pt x="201" y="177"/>
                      </a:lnTo>
                      <a:lnTo>
                        <a:pt x="201" y="175"/>
                      </a:lnTo>
                      <a:lnTo>
                        <a:pt x="199" y="175"/>
                      </a:lnTo>
                      <a:lnTo>
                        <a:pt x="199" y="174"/>
                      </a:lnTo>
                      <a:lnTo>
                        <a:pt x="201" y="172"/>
                      </a:lnTo>
                      <a:lnTo>
                        <a:pt x="200" y="171"/>
                      </a:lnTo>
                      <a:lnTo>
                        <a:pt x="200" y="169"/>
                      </a:lnTo>
                      <a:lnTo>
                        <a:pt x="197" y="168"/>
                      </a:lnTo>
                      <a:lnTo>
                        <a:pt x="197" y="166"/>
                      </a:lnTo>
                      <a:lnTo>
                        <a:pt x="199" y="164"/>
                      </a:lnTo>
                      <a:lnTo>
                        <a:pt x="201" y="165"/>
                      </a:lnTo>
                      <a:lnTo>
                        <a:pt x="203" y="165"/>
                      </a:lnTo>
                      <a:lnTo>
                        <a:pt x="203" y="164"/>
                      </a:lnTo>
                      <a:lnTo>
                        <a:pt x="203" y="163"/>
                      </a:lnTo>
                      <a:lnTo>
                        <a:pt x="204" y="159"/>
                      </a:lnTo>
                      <a:lnTo>
                        <a:pt x="206" y="159"/>
                      </a:lnTo>
                      <a:lnTo>
                        <a:pt x="206" y="158"/>
                      </a:lnTo>
                      <a:lnTo>
                        <a:pt x="207" y="157"/>
                      </a:lnTo>
                      <a:lnTo>
                        <a:pt x="209" y="157"/>
                      </a:lnTo>
                      <a:lnTo>
                        <a:pt x="209" y="155"/>
                      </a:lnTo>
                      <a:lnTo>
                        <a:pt x="209" y="154"/>
                      </a:lnTo>
                      <a:lnTo>
                        <a:pt x="211" y="153"/>
                      </a:lnTo>
                      <a:lnTo>
                        <a:pt x="211" y="152"/>
                      </a:lnTo>
                      <a:lnTo>
                        <a:pt x="213" y="150"/>
                      </a:lnTo>
                      <a:lnTo>
                        <a:pt x="212" y="149"/>
                      </a:lnTo>
                      <a:lnTo>
                        <a:pt x="210" y="149"/>
                      </a:lnTo>
                      <a:lnTo>
                        <a:pt x="209" y="147"/>
                      </a:lnTo>
                      <a:lnTo>
                        <a:pt x="211" y="147"/>
                      </a:lnTo>
                      <a:lnTo>
                        <a:pt x="210" y="145"/>
                      </a:lnTo>
                      <a:lnTo>
                        <a:pt x="211" y="142"/>
                      </a:lnTo>
                      <a:lnTo>
                        <a:pt x="212" y="140"/>
                      </a:lnTo>
                      <a:lnTo>
                        <a:pt x="213" y="139"/>
                      </a:lnTo>
                      <a:lnTo>
                        <a:pt x="213" y="139"/>
                      </a:lnTo>
                      <a:lnTo>
                        <a:pt x="213" y="134"/>
                      </a:lnTo>
                      <a:lnTo>
                        <a:pt x="212" y="134"/>
                      </a:lnTo>
                      <a:close/>
                    </a:path>
                  </a:pathLst>
                </a:custGeom>
                <a:solidFill>
                  <a:srgbClr val="74BAEF"/>
                </a:solidFill>
                <a:ln w="3175">
                  <a:solidFill>
                    <a:schemeClr val="dk1"/>
                  </a:solidFill>
                  <a:round/>
                  <a:headEnd/>
                  <a:tailEnd/>
                </a:ln>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z="800" dirty="0">
                    <a:solidFill>
                      <a:srgbClr val="000000"/>
                    </a:solidFill>
                  </a:endParaRPr>
                </a:p>
              </p:txBody>
            </p:sp>
            <p:sp>
              <p:nvSpPr>
                <p:cNvPr id="54" name="Bourgogne-Franche-Comté" descr="{&quot;Key&quot;:&quot;bourgogne-franche-comté&quot;,&quot;Name&quot;:&quot;Bourgogne-Franche-Comté&quot;,&quot;Value&quot;:1.0,&quot;Formula&quot;:&quot;&quot;,&quot;Text&quot;:&quot;1&quot;,&quot;OfficeApplication&quot;:0,&quot;HasValue&quot;:true}">
                  <a:extLst>
                    <a:ext uri="{FF2B5EF4-FFF2-40B4-BE49-F238E27FC236}">
                      <a16:creationId xmlns:a16="http://schemas.microsoft.com/office/drawing/2014/main" id="{D31316E7-6144-6385-7901-3A5FAFFE482A}"/>
                    </a:ext>
                  </a:extLst>
                </p:cNvPr>
                <p:cNvSpPr>
                  <a:spLocks/>
                </p:cNvSpPr>
                <p:nvPr/>
              </p:nvSpPr>
              <p:spPr bwMode="auto">
                <a:xfrm>
                  <a:off x="6070135" y="2834128"/>
                  <a:ext cx="1692257" cy="1250577"/>
                </a:xfrm>
                <a:custGeom>
                  <a:avLst/>
                  <a:gdLst>
                    <a:gd name="T0" fmla="*/ 321 w 332"/>
                    <a:gd name="T1" fmla="*/ 77 h 255"/>
                    <a:gd name="T2" fmla="*/ 321 w 332"/>
                    <a:gd name="T3" fmla="*/ 66 h 255"/>
                    <a:gd name="T4" fmla="*/ 302 w 332"/>
                    <a:gd name="T5" fmla="*/ 53 h 255"/>
                    <a:gd name="T6" fmla="*/ 278 w 332"/>
                    <a:gd name="T7" fmla="*/ 50 h 255"/>
                    <a:gd name="T8" fmla="*/ 257 w 332"/>
                    <a:gd name="T9" fmla="*/ 46 h 255"/>
                    <a:gd name="T10" fmla="*/ 243 w 332"/>
                    <a:gd name="T11" fmla="*/ 42 h 255"/>
                    <a:gd name="T12" fmla="*/ 234 w 332"/>
                    <a:gd name="T13" fmla="*/ 48 h 255"/>
                    <a:gd name="T14" fmla="*/ 223 w 332"/>
                    <a:gd name="T15" fmla="*/ 56 h 255"/>
                    <a:gd name="T16" fmla="*/ 218 w 332"/>
                    <a:gd name="T17" fmla="*/ 76 h 255"/>
                    <a:gd name="T18" fmla="*/ 196 w 332"/>
                    <a:gd name="T19" fmla="*/ 81 h 255"/>
                    <a:gd name="T20" fmla="*/ 181 w 332"/>
                    <a:gd name="T21" fmla="*/ 83 h 255"/>
                    <a:gd name="T22" fmla="*/ 166 w 332"/>
                    <a:gd name="T23" fmla="*/ 76 h 255"/>
                    <a:gd name="T24" fmla="*/ 164 w 332"/>
                    <a:gd name="T25" fmla="*/ 65 h 255"/>
                    <a:gd name="T26" fmla="*/ 153 w 332"/>
                    <a:gd name="T27" fmla="*/ 48 h 255"/>
                    <a:gd name="T28" fmla="*/ 135 w 332"/>
                    <a:gd name="T29" fmla="*/ 39 h 255"/>
                    <a:gd name="T30" fmla="*/ 112 w 332"/>
                    <a:gd name="T31" fmla="*/ 49 h 255"/>
                    <a:gd name="T32" fmla="*/ 98 w 332"/>
                    <a:gd name="T33" fmla="*/ 52 h 255"/>
                    <a:gd name="T34" fmla="*/ 80 w 332"/>
                    <a:gd name="T35" fmla="*/ 53 h 255"/>
                    <a:gd name="T36" fmla="*/ 76 w 332"/>
                    <a:gd name="T37" fmla="*/ 41 h 255"/>
                    <a:gd name="T38" fmla="*/ 66 w 332"/>
                    <a:gd name="T39" fmla="*/ 25 h 255"/>
                    <a:gd name="T40" fmla="*/ 58 w 332"/>
                    <a:gd name="T41" fmla="*/ 19 h 255"/>
                    <a:gd name="T42" fmla="*/ 48 w 332"/>
                    <a:gd name="T43" fmla="*/ 3 h 255"/>
                    <a:gd name="T44" fmla="*/ 30 w 332"/>
                    <a:gd name="T45" fmla="*/ 4 h 255"/>
                    <a:gd name="T46" fmla="*/ 13 w 332"/>
                    <a:gd name="T47" fmla="*/ 7 h 255"/>
                    <a:gd name="T48" fmla="*/ 9 w 332"/>
                    <a:gd name="T49" fmla="*/ 22 h 255"/>
                    <a:gd name="T50" fmla="*/ 14 w 332"/>
                    <a:gd name="T51" fmla="*/ 35 h 255"/>
                    <a:gd name="T52" fmla="*/ 19 w 332"/>
                    <a:gd name="T53" fmla="*/ 50 h 255"/>
                    <a:gd name="T54" fmla="*/ 13 w 332"/>
                    <a:gd name="T55" fmla="*/ 64 h 255"/>
                    <a:gd name="T56" fmla="*/ 2 w 332"/>
                    <a:gd name="T57" fmla="*/ 78 h 255"/>
                    <a:gd name="T58" fmla="*/ 9 w 332"/>
                    <a:gd name="T59" fmla="*/ 96 h 255"/>
                    <a:gd name="T60" fmla="*/ 3 w 332"/>
                    <a:gd name="T61" fmla="*/ 102 h 255"/>
                    <a:gd name="T62" fmla="*/ 6 w 332"/>
                    <a:gd name="T63" fmla="*/ 125 h 255"/>
                    <a:gd name="T64" fmla="*/ 14 w 332"/>
                    <a:gd name="T65" fmla="*/ 151 h 255"/>
                    <a:gd name="T66" fmla="*/ 18 w 332"/>
                    <a:gd name="T67" fmla="*/ 172 h 255"/>
                    <a:gd name="T68" fmla="*/ 28 w 332"/>
                    <a:gd name="T69" fmla="*/ 197 h 255"/>
                    <a:gd name="T70" fmla="*/ 47 w 332"/>
                    <a:gd name="T71" fmla="*/ 198 h 255"/>
                    <a:gd name="T72" fmla="*/ 60 w 332"/>
                    <a:gd name="T73" fmla="*/ 188 h 255"/>
                    <a:gd name="T74" fmla="*/ 68 w 332"/>
                    <a:gd name="T75" fmla="*/ 200 h 255"/>
                    <a:gd name="T76" fmla="*/ 78 w 332"/>
                    <a:gd name="T77" fmla="*/ 213 h 255"/>
                    <a:gd name="T78" fmla="*/ 91 w 332"/>
                    <a:gd name="T79" fmla="*/ 222 h 255"/>
                    <a:gd name="T80" fmla="*/ 91 w 332"/>
                    <a:gd name="T81" fmla="*/ 237 h 255"/>
                    <a:gd name="T82" fmla="*/ 87 w 332"/>
                    <a:gd name="T83" fmla="*/ 249 h 255"/>
                    <a:gd name="T84" fmla="*/ 107 w 332"/>
                    <a:gd name="T85" fmla="*/ 251 h 255"/>
                    <a:gd name="T86" fmla="*/ 119 w 332"/>
                    <a:gd name="T87" fmla="*/ 251 h 255"/>
                    <a:gd name="T88" fmla="*/ 127 w 332"/>
                    <a:gd name="T89" fmla="*/ 239 h 255"/>
                    <a:gd name="T90" fmla="*/ 145 w 332"/>
                    <a:gd name="T91" fmla="*/ 238 h 255"/>
                    <a:gd name="T92" fmla="*/ 150 w 332"/>
                    <a:gd name="T93" fmla="*/ 248 h 255"/>
                    <a:gd name="T94" fmla="*/ 159 w 332"/>
                    <a:gd name="T95" fmla="*/ 234 h 255"/>
                    <a:gd name="T96" fmla="*/ 166 w 332"/>
                    <a:gd name="T97" fmla="*/ 213 h 255"/>
                    <a:gd name="T98" fmla="*/ 181 w 332"/>
                    <a:gd name="T99" fmla="*/ 213 h 255"/>
                    <a:gd name="T100" fmla="*/ 195 w 332"/>
                    <a:gd name="T101" fmla="*/ 222 h 255"/>
                    <a:gd name="T102" fmla="*/ 203 w 332"/>
                    <a:gd name="T103" fmla="*/ 234 h 255"/>
                    <a:gd name="T104" fmla="*/ 215 w 332"/>
                    <a:gd name="T105" fmla="*/ 236 h 255"/>
                    <a:gd name="T106" fmla="*/ 228 w 332"/>
                    <a:gd name="T107" fmla="*/ 234 h 255"/>
                    <a:gd name="T108" fmla="*/ 246 w 332"/>
                    <a:gd name="T109" fmla="*/ 233 h 255"/>
                    <a:gd name="T110" fmla="*/ 261 w 332"/>
                    <a:gd name="T111" fmla="*/ 205 h 255"/>
                    <a:gd name="T112" fmla="*/ 283 w 332"/>
                    <a:gd name="T113" fmla="*/ 179 h 255"/>
                    <a:gd name="T114" fmla="*/ 284 w 332"/>
                    <a:gd name="T115" fmla="*/ 156 h 255"/>
                    <a:gd name="T116" fmla="*/ 300 w 332"/>
                    <a:gd name="T117" fmla="*/ 143 h 255"/>
                    <a:gd name="T118" fmla="*/ 319 w 332"/>
                    <a:gd name="T119" fmla="*/ 117 h 255"/>
                    <a:gd name="T120" fmla="*/ 315 w 332"/>
                    <a:gd name="T121" fmla="*/ 106 h 255"/>
                    <a:gd name="T122" fmla="*/ 323 w 332"/>
                    <a:gd name="T123" fmla="*/ 9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 h="255">
                      <a:moveTo>
                        <a:pt x="331" y="87"/>
                      </a:moveTo>
                      <a:lnTo>
                        <a:pt x="330" y="87"/>
                      </a:lnTo>
                      <a:lnTo>
                        <a:pt x="328" y="86"/>
                      </a:lnTo>
                      <a:lnTo>
                        <a:pt x="328" y="84"/>
                      </a:lnTo>
                      <a:lnTo>
                        <a:pt x="328" y="83"/>
                      </a:lnTo>
                      <a:lnTo>
                        <a:pt x="328" y="83"/>
                      </a:lnTo>
                      <a:lnTo>
                        <a:pt x="327" y="82"/>
                      </a:lnTo>
                      <a:lnTo>
                        <a:pt x="327" y="81"/>
                      </a:lnTo>
                      <a:lnTo>
                        <a:pt x="326" y="81"/>
                      </a:lnTo>
                      <a:lnTo>
                        <a:pt x="323" y="82"/>
                      </a:lnTo>
                      <a:lnTo>
                        <a:pt x="322" y="83"/>
                      </a:lnTo>
                      <a:lnTo>
                        <a:pt x="321" y="81"/>
                      </a:lnTo>
                      <a:lnTo>
                        <a:pt x="321" y="77"/>
                      </a:lnTo>
                      <a:lnTo>
                        <a:pt x="322" y="77"/>
                      </a:lnTo>
                      <a:lnTo>
                        <a:pt x="322" y="75"/>
                      </a:lnTo>
                      <a:lnTo>
                        <a:pt x="323" y="75"/>
                      </a:lnTo>
                      <a:lnTo>
                        <a:pt x="323" y="74"/>
                      </a:lnTo>
                      <a:lnTo>
                        <a:pt x="323" y="73"/>
                      </a:lnTo>
                      <a:lnTo>
                        <a:pt x="323" y="72"/>
                      </a:lnTo>
                      <a:lnTo>
                        <a:pt x="323" y="72"/>
                      </a:lnTo>
                      <a:lnTo>
                        <a:pt x="323" y="70"/>
                      </a:lnTo>
                      <a:lnTo>
                        <a:pt x="322" y="70"/>
                      </a:lnTo>
                      <a:lnTo>
                        <a:pt x="322" y="69"/>
                      </a:lnTo>
                      <a:lnTo>
                        <a:pt x="323" y="67"/>
                      </a:lnTo>
                      <a:lnTo>
                        <a:pt x="322" y="66"/>
                      </a:lnTo>
                      <a:lnTo>
                        <a:pt x="321" y="66"/>
                      </a:lnTo>
                      <a:lnTo>
                        <a:pt x="321" y="65"/>
                      </a:lnTo>
                      <a:lnTo>
                        <a:pt x="319" y="65"/>
                      </a:lnTo>
                      <a:lnTo>
                        <a:pt x="315" y="62"/>
                      </a:lnTo>
                      <a:lnTo>
                        <a:pt x="313" y="62"/>
                      </a:lnTo>
                      <a:lnTo>
                        <a:pt x="313" y="62"/>
                      </a:lnTo>
                      <a:lnTo>
                        <a:pt x="312" y="61"/>
                      </a:lnTo>
                      <a:lnTo>
                        <a:pt x="311" y="61"/>
                      </a:lnTo>
                      <a:lnTo>
                        <a:pt x="308" y="61"/>
                      </a:lnTo>
                      <a:lnTo>
                        <a:pt x="307" y="55"/>
                      </a:lnTo>
                      <a:lnTo>
                        <a:pt x="305" y="56"/>
                      </a:lnTo>
                      <a:lnTo>
                        <a:pt x="304" y="55"/>
                      </a:lnTo>
                      <a:lnTo>
                        <a:pt x="303" y="55"/>
                      </a:lnTo>
                      <a:lnTo>
                        <a:pt x="302" y="53"/>
                      </a:lnTo>
                      <a:lnTo>
                        <a:pt x="298" y="52"/>
                      </a:lnTo>
                      <a:lnTo>
                        <a:pt x="296" y="51"/>
                      </a:lnTo>
                      <a:lnTo>
                        <a:pt x="296" y="50"/>
                      </a:lnTo>
                      <a:lnTo>
                        <a:pt x="294" y="50"/>
                      </a:lnTo>
                      <a:lnTo>
                        <a:pt x="291" y="48"/>
                      </a:lnTo>
                      <a:lnTo>
                        <a:pt x="291" y="45"/>
                      </a:lnTo>
                      <a:lnTo>
                        <a:pt x="288" y="44"/>
                      </a:lnTo>
                      <a:lnTo>
                        <a:pt x="288" y="44"/>
                      </a:lnTo>
                      <a:lnTo>
                        <a:pt x="287" y="43"/>
                      </a:lnTo>
                      <a:lnTo>
                        <a:pt x="284" y="45"/>
                      </a:lnTo>
                      <a:lnTo>
                        <a:pt x="284" y="46"/>
                      </a:lnTo>
                      <a:lnTo>
                        <a:pt x="284" y="48"/>
                      </a:lnTo>
                      <a:lnTo>
                        <a:pt x="278" y="50"/>
                      </a:lnTo>
                      <a:lnTo>
                        <a:pt x="275" y="44"/>
                      </a:lnTo>
                      <a:lnTo>
                        <a:pt x="273" y="44"/>
                      </a:lnTo>
                      <a:lnTo>
                        <a:pt x="273" y="43"/>
                      </a:lnTo>
                      <a:lnTo>
                        <a:pt x="270" y="42"/>
                      </a:lnTo>
                      <a:lnTo>
                        <a:pt x="265" y="44"/>
                      </a:lnTo>
                      <a:lnTo>
                        <a:pt x="264" y="43"/>
                      </a:lnTo>
                      <a:lnTo>
                        <a:pt x="263" y="43"/>
                      </a:lnTo>
                      <a:lnTo>
                        <a:pt x="262" y="44"/>
                      </a:lnTo>
                      <a:lnTo>
                        <a:pt x="261" y="45"/>
                      </a:lnTo>
                      <a:lnTo>
                        <a:pt x="260" y="46"/>
                      </a:lnTo>
                      <a:lnTo>
                        <a:pt x="259" y="46"/>
                      </a:lnTo>
                      <a:lnTo>
                        <a:pt x="259" y="47"/>
                      </a:lnTo>
                      <a:lnTo>
                        <a:pt x="257" y="46"/>
                      </a:lnTo>
                      <a:lnTo>
                        <a:pt x="257" y="44"/>
                      </a:lnTo>
                      <a:lnTo>
                        <a:pt x="255" y="44"/>
                      </a:lnTo>
                      <a:lnTo>
                        <a:pt x="254" y="44"/>
                      </a:lnTo>
                      <a:lnTo>
                        <a:pt x="254" y="43"/>
                      </a:lnTo>
                      <a:lnTo>
                        <a:pt x="253" y="42"/>
                      </a:lnTo>
                      <a:lnTo>
                        <a:pt x="254" y="42"/>
                      </a:lnTo>
                      <a:lnTo>
                        <a:pt x="254" y="39"/>
                      </a:lnTo>
                      <a:lnTo>
                        <a:pt x="253" y="38"/>
                      </a:lnTo>
                      <a:lnTo>
                        <a:pt x="251" y="36"/>
                      </a:lnTo>
                      <a:lnTo>
                        <a:pt x="249" y="38"/>
                      </a:lnTo>
                      <a:lnTo>
                        <a:pt x="246" y="38"/>
                      </a:lnTo>
                      <a:lnTo>
                        <a:pt x="243" y="41"/>
                      </a:lnTo>
                      <a:lnTo>
                        <a:pt x="243" y="42"/>
                      </a:lnTo>
                      <a:lnTo>
                        <a:pt x="241" y="44"/>
                      </a:lnTo>
                      <a:lnTo>
                        <a:pt x="239" y="44"/>
                      </a:lnTo>
                      <a:lnTo>
                        <a:pt x="239" y="45"/>
                      </a:lnTo>
                      <a:lnTo>
                        <a:pt x="237" y="47"/>
                      </a:lnTo>
                      <a:lnTo>
                        <a:pt x="236" y="47"/>
                      </a:lnTo>
                      <a:lnTo>
                        <a:pt x="236" y="45"/>
                      </a:lnTo>
                      <a:lnTo>
                        <a:pt x="238" y="44"/>
                      </a:lnTo>
                      <a:lnTo>
                        <a:pt x="237" y="42"/>
                      </a:lnTo>
                      <a:lnTo>
                        <a:pt x="236" y="42"/>
                      </a:lnTo>
                      <a:lnTo>
                        <a:pt x="236" y="43"/>
                      </a:lnTo>
                      <a:lnTo>
                        <a:pt x="235" y="45"/>
                      </a:lnTo>
                      <a:lnTo>
                        <a:pt x="234" y="46"/>
                      </a:lnTo>
                      <a:lnTo>
                        <a:pt x="234" y="48"/>
                      </a:lnTo>
                      <a:lnTo>
                        <a:pt x="232" y="48"/>
                      </a:lnTo>
                      <a:lnTo>
                        <a:pt x="233" y="50"/>
                      </a:lnTo>
                      <a:lnTo>
                        <a:pt x="232" y="51"/>
                      </a:lnTo>
                      <a:lnTo>
                        <a:pt x="230" y="51"/>
                      </a:lnTo>
                      <a:lnTo>
                        <a:pt x="230" y="52"/>
                      </a:lnTo>
                      <a:lnTo>
                        <a:pt x="229" y="52"/>
                      </a:lnTo>
                      <a:lnTo>
                        <a:pt x="229" y="53"/>
                      </a:lnTo>
                      <a:lnTo>
                        <a:pt x="229" y="55"/>
                      </a:lnTo>
                      <a:lnTo>
                        <a:pt x="229" y="56"/>
                      </a:lnTo>
                      <a:lnTo>
                        <a:pt x="227" y="56"/>
                      </a:lnTo>
                      <a:lnTo>
                        <a:pt x="227" y="56"/>
                      </a:lnTo>
                      <a:lnTo>
                        <a:pt x="224" y="55"/>
                      </a:lnTo>
                      <a:lnTo>
                        <a:pt x="223" y="56"/>
                      </a:lnTo>
                      <a:lnTo>
                        <a:pt x="222" y="57"/>
                      </a:lnTo>
                      <a:lnTo>
                        <a:pt x="223" y="60"/>
                      </a:lnTo>
                      <a:lnTo>
                        <a:pt x="221" y="61"/>
                      </a:lnTo>
                      <a:lnTo>
                        <a:pt x="219" y="61"/>
                      </a:lnTo>
                      <a:lnTo>
                        <a:pt x="219" y="62"/>
                      </a:lnTo>
                      <a:lnTo>
                        <a:pt x="218" y="66"/>
                      </a:lnTo>
                      <a:lnTo>
                        <a:pt x="219" y="67"/>
                      </a:lnTo>
                      <a:lnTo>
                        <a:pt x="220" y="67"/>
                      </a:lnTo>
                      <a:lnTo>
                        <a:pt x="220" y="69"/>
                      </a:lnTo>
                      <a:lnTo>
                        <a:pt x="219" y="70"/>
                      </a:lnTo>
                      <a:lnTo>
                        <a:pt x="219" y="73"/>
                      </a:lnTo>
                      <a:lnTo>
                        <a:pt x="220" y="76"/>
                      </a:lnTo>
                      <a:lnTo>
                        <a:pt x="218" y="76"/>
                      </a:lnTo>
                      <a:lnTo>
                        <a:pt x="215" y="77"/>
                      </a:lnTo>
                      <a:lnTo>
                        <a:pt x="213" y="78"/>
                      </a:lnTo>
                      <a:lnTo>
                        <a:pt x="212" y="78"/>
                      </a:lnTo>
                      <a:lnTo>
                        <a:pt x="210" y="74"/>
                      </a:lnTo>
                      <a:lnTo>
                        <a:pt x="209" y="74"/>
                      </a:lnTo>
                      <a:lnTo>
                        <a:pt x="207" y="78"/>
                      </a:lnTo>
                      <a:lnTo>
                        <a:pt x="205" y="78"/>
                      </a:lnTo>
                      <a:lnTo>
                        <a:pt x="205" y="77"/>
                      </a:lnTo>
                      <a:lnTo>
                        <a:pt x="203" y="76"/>
                      </a:lnTo>
                      <a:lnTo>
                        <a:pt x="199" y="79"/>
                      </a:lnTo>
                      <a:lnTo>
                        <a:pt x="199" y="78"/>
                      </a:lnTo>
                      <a:lnTo>
                        <a:pt x="198" y="79"/>
                      </a:lnTo>
                      <a:lnTo>
                        <a:pt x="196" y="81"/>
                      </a:lnTo>
                      <a:lnTo>
                        <a:pt x="198" y="82"/>
                      </a:lnTo>
                      <a:lnTo>
                        <a:pt x="198" y="82"/>
                      </a:lnTo>
                      <a:lnTo>
                        <a:pt x="191" y="86"/>
                      </a:lnTo>
                      <a:lnTo>
                        <a:pt x="190" y="86"/>
                      </a:lnTo>
                      <a:lnTo>
                        <a:pt x="188" y="89"/>
                      </a:lnTo>
                      <a:lnTo>
                        <a:pt x="188" y="89"/>
                      </a:lnTo>
                      <a:lnTo>
                        <a:pt x="186" y="90"/>
                      </a:lnTo>
                      <a:lnTo>
                        <a:pt x="185" y="89"/>
                      </a:lnTo>
                      <a:lnTo>
                        <a:pt x="184" y="88"/>
                      </a:lnTo>
                      <a:lnTo>
                        <a:pt x="185" y="85"/>
                      </a:lnTo>
                      <a:lnTo>
                        <a:pt x="184" y="85"/>
                      </a:lnTo>
                      <a:lnTo>
                        <a:pt x="182" y="83"/>
                      </a:lnTo>
                      <a:lnTo>
                        <a:pt x="181" y="83"/>
                      </a:lnTo>
                      <a:lnTo>
                        <a:pt x="179" y="82"/>
                      </a:lnTo>
                      <a:lnTo>
                        <a:pt x="179" y="79"/>
                      </a:lnTo>
                      <a:lnTo>
                        <a:pt x="178" y="79"/>
                      </a:lnTo>
                      <a:lnTo>
                        <a:pt x="177" y="83"/>
                      </a:lnTo>
                      <a:lnTo>
                        <a:pt x="175" y="83"/>
                      </a:lnTo>
                      <a:lnTo>
                        <a:pt x="170" y="81"/>
                      </a:lnTo>
                      <a:lnTo>
                        <a:pt x="170" y="80"/>
                      </a:lnTo>
                      <a:lnTo>
                        <a:pt x="170" y="79"/>
                      </a:lnTo>
                      <a:lnTo>
                        <a:pt x="170" y="78"/>
                      </a:lnTo>
                      <a:lnTo>
                        <a:pt x="170" y="77"/>
                      </a:lnTo>
                      <a:lnTo>
                        <a:pt x="168" y="77"/>
                      </a:lnTo>
                      <a:lnTo>
                        <a:pt x="168" y="76"/>
                      </a:lnTo>
                      <a:lnTo>
                        <a:pt x="166" y="76"/>
                      </a:lnTo>
                      <a:lnTo>
                        <a:pt x="166" y="77"/>
                      </a:lnTo>
                      <a:lnTo>
                        <a:pt x="164" y="78"/>
                      </a:lnTo>
                      <a:lnTo>
                        <a:pt x="163" y="76"/>
                      </a:lnTo>
                      <a:lnTo>
                        <a:pt x="163" y="76"/>
                      </a:lnTo>
                      <a:lnTo>
                        <a:pt x="164" y="73"/>
                      </a:lnTo>
                      <a:lnTo>
                        <a:pt x="163" y="73"/>
                      </a:lnTo>
                      <a:lnTo>
                        <a:pt x="163" y="70"/>
                      </a:lnTo>
                      <a:lnTo>
                        <a:pt x="161" y="70"/>
                      </a:lnTo>
                      <a:lnTo>
                        <a:pt x="159" y="69"/>
                      </a:lnTo>
                      <a:lnTo>
                        <a:pt x="159" y="68"/>
                      </a:lnTo>
                      <a:lnTo>
                        <a:pt x="161" y="67"/>
                      </a:lnTo>
                      <a:lnTo>
                        <a:pt x="162" y="66"/>
                      </a:lnTo>
                      <a:lnTo>
                        <a:pt x="164" y="65"/>
                      </a:lnTo>
                      <a:lnTo>
                        <a:pt x="164" y="63"/>
                      </a:lnTo>
                      <a:lnTo>
                        <a:pt x="164" y="63"/>
                      </a:lnTo>
                      <a:lnTo>
                        <a:pt x="164" y="62"/>
                      </a:lnTo>
                      <a:lnTo>
                        <a:pt x="163" y="62"/>
                      </a:lnTo>
                      <a:lnTo>
                        <a:pt x="161" y="57"/>
                      </a:lnTo>
                      <a:lnTo>
                        <a:pt x="159" y="56"/>
                      </a:lnTo>
                      <a:lnTo>
                        <a:pt x="159" y="55"/>
                      </a:lnTo>
                      <a:lnTo>
                        <a:pt x="158" y="52"/>
                      </a:lnTo>
                      <a:lnTo>
                        <a:pt x="155" y="52"/>
                      </a:lnTo>
                      <a:lnTo>
                        <a:pt x="153" y="55"/>
                      </a:lnTo>
                      <a:lnTo>
                        <a:pt x="152" y="52"/>
                      </a:lnTo>
                      <a:lnTo>
                        <a:pt x="154" y="50"/>
                      </a:lnTo>
                      <a:lnTo>
                        <a:pt x="153" y="48"/>
                      </a:lnTo>
                      <a:lnTo>
                        <a:pt x="153" y="47"/>
                      </a:lnTo>
                      <a:lnTo>
                        <a:pt x="150" y="47"/>
                      </a:lnTo>
                      <a:lnTo>
                        <a:pt x="148" y="47"/>
                      </a:lnTo>
                      <a:lnTo>
                        <a:pt x="149" y="45"/>
                      </a:lnTo>
                      <a:lnTo>
                        <a:pt x="150" y="44"/>
                      </a:lnTo>
                      <a:lnTo>
                        <a:pt x="150" y="44"/>
                      </a:lnTo>
                      <a:lnTo>
                        <a:pt x="149" y="44"/>
                      </a:lnTo>
                      <a:lnTo>
                        <a:pt x="148" y="42"/>
                      </a:lnTo>
                      <a:lnTo>
                        <a:pt x="143" y="42"/>
                      </a:lnTo>
                      <a:lnTo>
                        <a:pt x="142" y="41"/>
                      </a:lnTo>
                      <a:lnTo>
                        <a:pt x="140" y="42"/>
                      </a:lnTo>
                      <a:lnTo>
                        <a:pt x="136" y="41"/>
                      </a:lnTo>
                      <a:lnTo>
                        <a:pt x="135" y="39"/>
                      </a:lnTo>
                      <a:lnTo>
                        <a:pt x="133" y="41"/>
                      </a:lnTo>
                      <a:lnTo>
                        <a:pt x="130" y="42"/>
                      </a:lnTo>
                      <a:lnTo>
                        <a:pt x="130" y="42"/>
                      </a:lnTo>
                      <a:lnTo>
                        <a:pt x="129" y="42"/>
                      </a:lnTo>
                      <a:lnTo>
                        <a:pt x="131" y="47"/>
                      </a:lnTo>
                      <a:lnTo>
                        <a:pt x="130" y="47"/>
                      </a:lnTo>
                      <a:lnTo>
                        <a:pt x="126" y="47"/>
                      </a:lnTo>
                      <a:lnTo>
                        <a:pt x="122" y="48"/>
                      </a:lnTo>
                      <a:lnTo>
                        <a:pt x="120" y="48"/>
                      </a:lnTo>
                      <a:lnTo>
                        <a:pt x="120" y="48"/>
                      </a:lnTo>
                      <a:lnTo>
                        <a:pt x="116" y="49"/>
                      </a:lnTo>
                      <a:lnTo>
                        <a:pt x="112" y="48"/>
                      </a:lnTo>
                      <a:lnTo>
                        <a:pt x="112" y="49"/>
                      </a:lnTo>
                      <a:lnTo>
                        <a:pt x="111" y="50"/>
                      </a:lnTo>
                      <a:lnTo>
                        <a:pt x="111" y="52"/>
                      </a:lnTo>
                      <a:lnTo>
                        <a:pt x="108" y="52"/>
                      </a:lnTo>
                      <a:lnTo>
                        <a:pt x="105" y="50"/>
                      </a:lnTo>
                      <a:lnTo>
                        <a:pt x="105" y="47"/>
                      </a:lnTo>
                      <a:lnTo>
                        <a:pt x="103" y="47"/>
                      </a:lnTo>
                      <a:lnTo>
                        <a:pt x="103" y="48"/>
                      </a:lnTo>
                      <a:lnTo>
                        <a:pt x="104" y="51"/>
                      </a:lnTo>
                      <a:lnTo>
                        <a:pt x="102" y="51"/>
                      </a:lnTo>
                      <a:lnTo>
                        <a:pt x="102" y="50"/>
                      </a:lnTo>
                      <a:lnTo>
                        <a:pt x="101" y="49"/>
                      </a:lnTo>
                      <a:lnTo>
                        <a:pt x="99" y="51"/>
                      </a:lnTo>
                      <a:lnTo>
                        <a:pt x="98" y="52"/>
                      </a:lnTo>
                      <a:lnTo>
                        <a:pt x="98" y="52"/>
                      </a:lnTo>
                      <a:lnTo>
                        <a:pt x="95" y="52"/>
                      </a:lnTo>
                      <a:lnTo>
                        <a:pt x="95" y="51"/>
                      </a:lnTo>
                      <a:lnTo>
                        <a:pt x="92" y="51"/>
                      </a:lnTo>
                      <a:lnTo>
                        <a:pt x="92" y="52"/>
                      </a:lnTo>
                      <a:lnTo>
                        <a:pt x="91" y="53"/>
                      </a:lnTo>
                      <a:lnTo>
                        <a:pt x="91" y="52"/>
                      </a:lnTo>
                      <a:lnTo>
                        <a:pt x="89" y="52"/>
                      </a:lnTo>
                      <a:lnTo>
                        <a:pt x="88" y="51"/>
                      </a:lnTo>
                      <a:lnTo>
                        <a:pt x="87" y="52"/>
                      </a:lnTo>
                      <a:lnTo>
                        <a:pt x="83" y="52"/>
                      </a:lnTo>
                      <a:lnTo>
                        <a:pt x="82" y="52"/>
                      </a:lnTo>
                      <a:lnTo>
                        <a:pt x="80" y="53"/>
                      </a:lnTo>
                      <a:lnTo>
                        <a:pt x="80" y="52"/>
                      </a:lnTo>
                      <a:lnTo>
                        <a:pt x="81" y="48"/>
                      </a:lnTo>
                      <a:lnTo>
                        <a:pt x="81" y="46"/>
                      </a:lnTo>
                      <a:lnTo>
                        <a:pt x="80" y="45"/>
                      </a:lnTo>
                      <a:lnTo>
                        <a:pt x="79" y="45"/>
                      </a:lnTo>
                      <a:lnTo>
                        <a:pt x="79" y="47"/>
                      </a:lnTo>
                      <a:lnTo>
                        <a:pt x="78" y="47"/>
                      </a:lnTo>
                      <a:lnTo>
                        <a:pt x="77" y="47"/>
                      </a:lnTo>
                      <a:lnTo>
                        <a:pt x="76" y="46"/>
                      </a:lnTo>
                      <a:lnTo>
                        <a:pt x="76" y="44"/>
                      </a:lnTo>
                      <a:lnTo>
                        <a:pt x="78" y="44"/>
                      </a:lnTo>
                      <a:lnTo>
                        <a:pt x="78" y="42"/>
                      </a:lnTo>
                      <a:lnTo>
                        <a:pt x="76" y="41"/>
                      </a:lnTo>
                      <a:lnTo>
                        <a:pt x="74" y="41"/>
                      </a:lnTo>
                      <a:lnTo>
                        <a:pt x="74" y="39"/>
                      </a:lnTo>
                      <a:lnTo>
                        <a:pt x="74" y="38"/>
                      </a:lnTo>
                      <a:lnTo>
                        <a:pt x="73" y="35"/>
                      </a:lnTo>
                      <a:lnTo>
                        <a:pt x="72" y="35"/>
                      </a:lnTo>
                      <a:lnTo>
                        <a:pt x="73" y="33"/>
                      </a:lnTo>
                      <a:lnTo>
                        <a:pt x="72" y="33"/>
                      </a:lnTo>
                      <a:lnTo>
                        <a:pt x="70" y="30"/>
                      </a:lnTo>
                      <a:lnTo>
                        <a:pt x="69" y="31"/>
                      </a:lnTo>
                      <a:lnTo>
                        <a:pt x="68" y="28"/>
                      </a:lnTo>
                      <a:lnTo>
                        <a:pt x="69" y="28"/>
                      </a:lnTo>
                      <a:lnTo>
                        <a:pt x="68" y="26"/>
                      </a:lnTo>
                      <a:lnTo>
                        <a:pt x="66" y="25"/>
                      </a:lnTo>
                      <a:lnTo>
                        <a:pt x="67" y="27"/>
                      </a:lnTo>
                      <a:lnTo>
                        <a:pt x="65" y="28"/>
                      </a:lnTo>
                      <a:lnTo>
                        <a:pt x="64" y="28"/>
                      </a:lnTo>
                      <a:lnTo>
                        <a:pt x="64" y="28"/>
                      </a:lnTo>
                      <a:lnTo>
                        <a:pt x="62" y="28"/>
                      </a:lnTo>
                      <a:lnTo>
                        <a:pt x="61" y="26"/>
                      </a:lnTo>
                      <a:lnTo>
                        <a:pt x="60" y="24"/>
                      </a:lnTo>
                      <a:lnTo>
                        <a:pt x="59" y="23"/>
                      </a:lnTo>
                      <a:lnTo>
                        <a:pt x="58" y="23"/>
                      </a:lnTo>
                      <a:lnTo>
                        <a:pt x="57" y="24"/>
                      </a:lnTo>
                      <a:lnTo>
                        <a:pt x="55" y="23"/>
                      </a:lnTo>
                      <a:lnTo>
                        <a:pt x="59" y="19"/>
                      </a:lnTo>
                      <a:lnTo>
                        <a:pt x="58" y="19"/>
                      </a:lnTo>
                      <a:lnTo>
                        <a:pt x="57" y="19"/>
                      </a:lnTo>
                      <a:lnTo>
                        <a:pt x="57" y="18"/>
                      </a:lnTo>
                      <a:lnTo>
                        <a:pt x="59" y="16"/>
                      </a:lnTo>
                      <a:lnTo>
                        <a:pt x="58" y="14"/>
                      </a:lnTo>
                      <a:lnTo>
                        <a:pt x="57" y="14"/>
                      </a:lnTo>
                      <a:lnTo>
                        <a:pt x="57" y="14"/>
                      </a:lnTo>
                      <a:lnTo>
                        <a:pt x="55" y="12"/>
                      </a:lnTo>
                      <a:lnTo>
                        <a:pt x="55" y="11"/>
                      </a:lnTo>
                      <a:lnTo>
                        <a:pt x="54" y="10"/>
                      </a:lnTo>
                      <a:lnTo>
                        <a:pt x="54" y="9"/>
                      </a:lnTo>
                      <a:lnTo>
                        <a:pt x="53" y="9"/>
                      </a:lnTo>
                      <a:lnTo>
                        <a:pt x="53" y="7"/>
                      </a:lnTo>
                      <a:lnTo>
                        <a:pt x="48" y="3"/>
                      </a:lnTo>
                      <a:lnTo>
                        <a:pt x="47" y="3"/>
                      </a:lnTo>
                      <a:lnTo>
                        <a:pt x="47" y="3"/>
                      </a:lnTo>
                      <a:lnTo>
                        <a:pt x="43" y="4"/>
                      </a:lnTo>
                      <a:lnTo>
                        <a:pt x="43" y="3"/>
                      </a:lnTo>
                      <a:lnTo>
                        <a:pt x="42" y="0"/>
                      </a:lnTo>
                      <a:lnTo>
                        <a:pt x="40" y="0"/>
                      </a:lnTo>
                      <a:lnTo>
                        <a:pt x="38" y="1"/>
                      </a:lnTo>
                      <a:lnTo>
                        <a:pt x="37" y="2"/>
                      </a:lnTo>
                      <a:lnTo>
                        <a:pt x="37" y="3"/>
                      </a:lnTo>
                      <a:lnTo>
                        <a:pt x="34" y="3"/>
                      </a:lnTo>
                      <a:lnTo>
                        <a:pt x="33" y="2"/>
                      </a:lnTo>
                      <a:lnTo>
                        <a:pt x="31" y="3"/>
                      </a:lnTo>
                      <a:lnTo>
                        <a:pt x="30" y="4"/>
                      </a:lnTo>
                      <a:lnTo>
                        <a:pt x="28" y="3"/>
                      </a:lnTo>
                      <a:lnTo>
                        <a:pt x="27" y="3"/>
                      </a:lnTo>
                      <a:lnTo>
                        <a:pt x="26" y="4"/>
                      </a:lnTo>
                      <a:lnTo>
                        <a:pt x="25" y="3"/>
                      </a:lnTo>
                      <a:lnTo>
                        <a:pt x="23" y="3"/>
                      </a:lnTo>
                      <a:lnTo>
                        <a:pt x="22" y="4"/>
                      </a:lnTo>
                      <a:lnTo>
                        <a:pt x="22" y="3"/>
                      </a:lnTo>
                      <a:lnTo>
                        <a:pt x="19" y="3"/>
                      </a:lnTo>
                      <a:lnTo>
                        <a:pt x="19" y="5"/>
                      </a:lnTo>
                      <a:lnTo>
                        <a:pt x="18" y="5"/>
                      </a:lnTo>
                      <a:lnTo>
                        <a:pt x="18" y="4"/>
                      </a:lnTo>
                      <a:lnTo>
                        <a:pt x="14" y="4"/>
                      </a:lnTo>
                      <a:lnTo>
                        <a:pt x="13" y="7"/>
                      </a:lnTo>
                      <a:lnTo>
                        <a:pt x="14" y="7"/>
                      </a:lnTo>
                      <a:lnTo>
                        <a:pt x="12" y="10"/>
                      </a:lnTo>
                      <a:lnTo>
                        <a:pt x="13" y="11"/>
                      </a:lnTo>
                      <a:lnTo>
                        <a:pt x="12" y="11"/>
                      </a:lnTo>
                      <a:lnTo>
                        <a:pt x="13" y="14"/>
                      </a:lnTo>
                      <a:lnTo>
                        <a:pt x="13" y="14"/>
                      </a:lnTo>
                      <a:lnTo>
                        <a:pt x="14" y="14"/>
                      </a:lnTo>
                      <a:lnTo>
                        <a:pt x="14" y="16"/>
                      </a:lnTo>
                      <a:lnTo>
                        <a:pt x="14" y="16"/>
                      </a:lnTo>
                      <a:lnTo>
                        <a:pt x="12" y="20"/>
                      </a:lnTo>
                      <a:lnTo>
                        <a:pt x="12" y="22"/>
                      </a:lnTo>
                      <a:lnTo>
                        <a:pt x="10" y="22"/>
                      </a:lnTo>
                      <a:lnTo>
                        <a:pt x="9" y="22"/>
                      </a:lnTo>
                      <a:lnTo>
                        <a:pt x="9" y="23"/>
                      </a:lnTo>
                      <a:lnTo>
                        <a:pt x="8" y="23"/>
                      </a:lnTo>
                      <a:lnTo>
                        <a:pt x="6" y="25"/>
                      </a:lnTo>
                      <a:lnTo>
                        <a:pt x="6" y="27"/>
                      </a:lnTo>
                      <a:lnTo>
                        <a:pt x="8" y="27"/>
                      </a:lnTo>
                      <a:lnTo>
                        <a:pt x="8" y="28"/>
                      </a:lnTo>
                      <a:lnTo>
                        <a:pt x="10" y="28"/>
                      </a:lnTo>
                      <a:lnTo>
                        <a:pt x="11" y="28"/>
                      </a:lnTo>
                      <a:lnTo>
                        <a:pt x="12" y="28"/>
                      </a:lnTo>
                      <a:lnTo>
                        <a:pt x="13" y="30"/>
                      </a:lnTo>
                      <a:lnTo>
                        <a:pt x="13" y="32"/>
                      </a:lnTo>
                      <a:lnTo>
                        <a:pt x="14" y="33"/>
                      </a:lnTo>
                      <a:lnTo>
                        <a:pt x="14" y="35"/>
                      </a:lnTo>
                      <a:lnTo>
                        <a:pt x="15" y="35"/>
                      </a:lnTo>
                      <a:lnTo>
                        <a:pt x="15" y="38"/>
                      </a:lnTo>
                      <a:lnTo>
                        <a:pt x="19" y="39"/>
                      </a:lnTo>
                      <a:lnTo>
                        <a:pt x="18" y="41"/>
                      </a:lnTo>
                      <a:lnTo>
                        <a:pt x="20" y="42"/>
                      </a:lnTo>
                      <a:lnTo>
                        <a:pt x="19" y="43"/>
                      </a:lnTo>
                      <a:lnTo>
                        <a:pt x="19" y="44"/>
                      </a:lnTo>
                      <a:lnTo>
                        <a:pt x="20" y="44"/>
                      </a:lnTo>
                      <a:lnTo>
                        <a:pt x="20" y="44"/>
                      </a:lnTo>
                      <a:lnTo>
                        <a:pt x="20" y="46"/>
                      </a:lnTo>
                      <a:lnTo>
                        <a:pt x="20" y="47"/>
                      </a:lnTo>
                      <a:lnTo>
                        <a:pt x="20" y="49"/>
                      </a:lnTo>
                      <a:lnTo>
                        <a:pt x="19" y="50"/>
                      </a:lnTo>
                      <a:lnTo>
                        <a:pt x="19" y="52"/>
                      </a:lnTo>
                      <a:lnTo>
                        <a:pt x="18" y="52"/>
                      </a:lnTo>
                      <a:lnTo>
                        <a:pt x="16" y="54"/>
                      </a:lnTo>
                      <a:lnTo>
                        <a:pt x="15" y="55"/>
                      </a:lnTo>
                      <a:lnTo>
                        <a:pt x="15" y="55"/>
                      </a:lnTo>
                      <a:lnTo>
                        <a:pt x="14" y="55"/>
                      </a:lnTo>
                      <a:lnTo>
                        <a:pt x="13" y="55"/>
                      </a:lnTo>
                      <a:lnTo>
                        <a:pt x="12" y="56"/>
                      </a:lnTo>
                      <a:lnTo>
                        <a:pt x="12" y="59"/>
                      </a:lnTo>
                      <a:lnTo>
                        <a:pt x="11" y="61"/>
                      </a:lnTo>
                      <a:lnTo>
                        <a:pt x="13" y="62"/>
                      </a:lnTo>
                      <a:lnTo>
                        <a:pt x="14" y="63"/>
                      </a:lnTo>
                      <a:lnTo>
                        <a:pt x="13" y="64"/>
                      </a:lnTo>
                      <a:lnTo>
                        <a:pt x="12" y="65"/>
                      </a:lnTo>
                      <a:lnTo>
                        <a:pt x="13" y="67"/>
                      </a:lnTo>
                      <a:lnTo>
                        <a:pt x="13" y="67"/>
                      </a:lnTo>
                      <a:lnTo>
                        <a:pt x="13" y="70"/>
                      </a:lnTo>
                      <a:lnTo>
                        <a:pt x="9" y="70"/>
                      </a:lnTo>
                      <a:lnTo>
                        <a:pt x="6" y="73"/>
                      </a:lnTo>
                      <a:lnTo>
                        <a:pt x="5" y="72"/>
                      </a:lnTo>
                      <a:lnTo>
                        <a:pt x="1" y="73"/>
                      </a:lnTo>
                      <a:lnTo>
                        <a:pt x="0" y="76"/>
                      </a:lnTo>
                      <a:lnTo>
                        <a:pt x="0" y="79"/>
                      </a:lnTo>
                      <a:lnTo>
                        <a:pt x="2" y="79"/>
                      </a:lnTo>
                      <a:lnTo>
                        <a:pt x="2" y="77"/>
                      </a:lnTo>
                      <a:lnTo>
                        <a:pt x="2" y="78"/>
                      </a:lnTo>
                      <a:lnTo>
                        <a:pt x="2" y="79"/>
                      </a:lnTo>
                      <a:lnTo>
                        <a:pt x="3" y="79"/>
                      </a:lnTo>
                      <a:lnTo>
                        <a:pt x="6" y="83"/>
                      </a:lnTo>
                      <a:lnTo>
                        <a:pt x="5" y="83"/>
                      </a:lnTo>
                      <a:lnTo>
                        <a:pt x="6" y="85"/>
                      </a:lnTo>
                      <a:lnTo>
                        <a:pt x="7" y="85"/>
                      </a:lnTo>
                      <a:lnTo>
                        <a:pt x="8" y="86"/>
                      </a:lnTo>
                      <a:lnTo>
                        <a:pt x="6" y="87"/>
                      </a:lnTo>
                      <a:lnTo>
                        <a:pt x="7" y="89"/>
                      </a:lnTo>
                      <a:lnTo>
                        <a:pt x="8" y="90"/>
                      </a:lnTo>
                      <a:lnTo>
                        <a:pt x="7" y="91"/>
                      </a:lnTo>
                      <a:lnTo>
                        <a:pt x="10" y="95"/>
                      </a:lnTo>
                      <a:lnTo>
                        <a:pt x="9" y="96"/>
                      </a:lnTo>
                      <a:lnTo>
                        <a:pt x="5" y="95"/>
                      </a:lnTo>
                      <a:lnTo>
                        <a:pt x="5" y="96"/>
                      </a:lnTo>
                      <a:lnTo>
                        <a:pt x="3" y="97"/>
                      </a:lnTo>
                      <a:lnTo>
                        <a:pt x="2" y="97"/>
                      </a:lnTo>
                      <a:lnTo>
                        <a:pt x="2" y="97"/>
                      </a:lnTo>
                      <a:lnTo>
                        <a:pt x="2" y="98"/>
                      </a:lnTo>
                      <a:lnTo>
                        <a:pt x="2" y="97"/>
                      </a:lnTo>
                      <a:lnTo>
                        <a:pt x="1" y="97"/>
                      </a:lnTo>
                      <a:lnTo>
                        <a:pt x="0" y="98"/>
                      </a:lnTo>
                      <a:lnTo>
                        <a:pt x="2" y="100"/>
                      </a:lnTo>
                      <a:lnTo>
                        <a:pt x="2" y="100"/>
                      </a:lnTo>
                      <a:lnTo>
                        <a:pt x="2" y="100"/>
                      </a:lnTo>
                      <a:lnTo>
                        <a:pt x="3" y="102"/>
                      </a:lnTo>
                      <a:lnTo>
                        <a:pt x="3" y="105"/>
                      </a:lnTo>
                      <a:lnTo>
                        <a:pt x="5" y="106"/>
                      </a:lnTo>
                      <a:lnTo>
                        <a:pt x="5" y="107"/>
                      </a:lnTo>
                      <a:lnTo>
                        <a:pt x="6" y="107"/>
                      </a:lnTo>
                      <a:lnTo>
                        <a:pt x="6" y="110"/>
                      </a:lnTo>
                      <a:lnTo>
                        <a:pt x="5" y="113"/>
                      </a:lnTo>
                      <a:lnTo>
                        <a:pt x="3" y="118"/>
                      </a:lnTo>
                      <a:lnTo>
                        <a:pt x="2" y="120"/>
                      </a:lnTo>
                      <a:lnTo>
                        <a:pt x="2" y="122"/>
                      </a:lnTo>
                      <a:lnTo>
                        <a:pt x="2" y="124"/>
                      </a:lnTo>
                      <a:lnTo>
                        <a:pt x="4" y="124"/>
                      </a:lnTo>
                      <a:lnTo>
                        <a:pt x="5" y="124"/>
                      </a:lnTo>
                      <a:lnTo>
                        <a:pt x="6" y="125"/>
                      </a:lnTo>
                      <a:lnTo>
                        <a:pt x="9" y="128"/>
                      </a:lnTo>
                      <a:lnTo>
                        <a:pt x="9" y="129"/>
                      </a:lnTo>
                      <a:lnTo>
                        <a:pt x="10" y="130"/>
                      </a:lnTo>
                      <a:lnTo>
                        <a:pt x="10" y="131"/>
                      </a:lnTo>
                      <a:lnTo>
                        <a:pt x="10" y="133"/>
                      </a:lnTo>
                      <a:lnTo>
                        <a:pt x="11" y="136"/>
                      </a:lnTo>
                      <a:lnTo>
                        <a:pt x="12" y="137"/>
                      </a:lnTo>
                      <a:lnTo>
                        <a:pt x="13" y="141"/>
                      </a:lnTo>
                      <a:lnTo>
                        <a:pt x="13" y="144"/>
                      </a:lnTo>
                      <a:lnTo>
                        <a:pt x="14" y="145"/>
                      </a:lnTo>
                      <a:lnTo>
                        <a:pt x="14" y="145"/>
                      </a:lnTo>
                      <a:lnTo>
                        <a:pt x="14" y="150"/>
                      </a:lnTo>
                      <a:lnTo>
                        <a:pt x="14" y="151"/>
                      </a:lnTo>
                      <a:lnTo>
                        <a:pt x="14" y="152"/>
                      </a:lnTo>
                      <a:lnTo>
                        <a:pt x="16" y="154"/>
                      </a:lnTo>
                      <a:lnTo>
                        <a:pt x="18" y="154"/>
                      </a:lnTo>
                      <a:lnTo>
                        <a:pt x="18" y="156"/>
                      </a:lnTo>
                      <a:lnTo>
                        <a:pt x="18" y="158"/>
                      </a:lnTo>
                      <a:lnTo>
                        <a:pt x="18" y="159"/>
                      </a:lnTo>
                      <a:lnTo>
                        <a:pt x="16" y="162"/>
                      </a:lnTo>
                      <a:lnTo>
                        <a:pt x="19" y="164"/>
                      </a:lnTo>
                      <a:lnTo>
                        <a:pt x="18" y="167"/>
                      </a:lnTo>
                      <a:lnTo>
                        <a:pt x="18" y="167"/>
                      </a:lnTo>
                      <a:lnTo>
                        <a:pt x="16" y="169"/>
                      </a:lnTo>
                      <a:lnTo>
                        <a:pt x="16" y="172"/>
                      </a:lnTo>
                      <a:lnTo>
                        <a:pt x="18" y="172"/>
                      </a:lnTo>
                      <a:lnTo>
                        <a:pt x="18" y="176"/>
                      </a:lnTo>
                      <a:lnTo>
                        <a:pt x="16" y="179"/>
                      </a:lnTo>
                      <a:lnTo>
                        <a:pt x="16" y="180"/>
                      </a:lnTo>
                      <a:lnTo>
                        <a:pt x="15" y="182"/>
                      </a:lnTo>
                      <a:lnTo>
                        <a:pt x="14" y="183"/>
                      </a:lnTo>
                      <a:lnTo>
                        <a:pt x="15" y="186"/>
                      </a:lnTo>
                      <a:lnTo>
                        <a:pt x="19" y="190"/>
                      </a:lnTo>
                      <a:lnTo>
                        <a:pt x="20" y="190"/>
                      </a:lnTo>
                      <a:lnTo>
                        <a:pt x="23" y="191"/>
                      </a:lnTo>
                      <a:lnTo>
                        <a:pt x="23" y="193"/>
                      </a:lnTo>
                      <a:lnTo>
                        <a:pt x="26" y="196"/>
                      </a:lnTo>
                      <a:lnTo>
                        <a:pt x="28" y="197"/>
                      </a:lnTo>
                      <a:lnTo>
                        <a:pt x="28" y="197"/>
                      </a:lnTo>
                      <a:lnTo>
                        <a:pt x="29" y="196"/>
                      </a:lnTo>
                      <a:lnTo>
                        <a:pt x="31" y="194"/>
                      </a:lnTo>
                      <a:lnTo>
                        <a:pt x="32" y="193"/>
                      </a:lnTo>
                      <a:lnTo>
                        <a:pt x="33" y="192"/>
                      </a:lnTo>
                      <a:lnTo>
                        <a:pt x="34" y="193"/>
                      </a:lnTo>
                      <a:lnTo>
                        <a:pt x="36" y="193"/>
                      </a:lnTo>
                      <a:lnTo>
                        <a:pt x="37" y="195"/>
                      </a:lnTo>
                      <a:lnTo>
                        <a:pt x="40" y="195"/>
                      </a:lnTo>
                      <a:lnTo>
                        <a:pt x="43" y="192"/>
                      </a:lnTo>
                      <a:lnTo>
                        <a:pt x="47" y="193"/>
                      </a:lnTo>
                      <a:lnTo>
                        <a:pt x="47" y="195"/>
                      </a:lnTo>
                      <a:lnTo>
                        <a:pt x="48" y="195"/>
                      </a:lnTo>
                      <a:lnTo>
                        <a:pt x="47" y="198"/>
                      </a:lnTo>
                      <a:lnTo>
                        <a:pt x="48" y="200"/>
                      </a:lnTo>
                      <a:lnTo>
                        <a:pt x="50" y="200"/>
                      </a:lnTo>
                      <a:lnTo>
                        <a:pt x="51" y="198"/>
                      </a:lnTo>
                      <a:lnTo>
                        <a:pt x="54" y="195"/>
                      </a:lnTo>
                      <a:lnTo>
                        <a:pt x="54" y="196"/>
                      </a:lnTo>
                      <a:lnTo>
                        <a:pt x="56" y="196"/>
                      </a:lnTo>
                      <a:lnTo>
                        <a:pt x="55" y="191"/>
                      </a:lnTo>
                      <a:lnTo>
                        <a:pt x="57" y="192"/>
                      </a:lnTo>
                      <a:lnTo>
                        <a:pt x="59" y="191"/>
                      </a:lnTo>
                      <a:lnTo>
                        <a:pt x="59" y="190"/>
                      </a:lnTo>
                      <a:lnTo>
                        <a:pt x="57" y="188"/>
                      </a:lnTo>
                      <a:lnTo>
                        <a:pt x="59" y="187"/>
                      </a:lnTo>
                      <a:lnTo>
                        <a:pt x="60" y="188"/>
                      </a:lnTo>
                      <a:lnTo>
                        <a:pt x="61" y="187"/>
                      </a:lnTo>
                      <a:lnTo>
                        <a:pt x="61" y="188"/>
                      </a:lnTo>
                      <a:lnTo>
                        <a:pt x="62" y="188"/>
                      </a:lnTo>
                      <a:lnTo>
                        <a:pt x="61" y="190"/>
                      </a:lnTo>
                      <a:lnTo>
                        <a:pt x="62" y="190"/>
                      </a:lnTo>
                      <a:lnTo>
                        <a:pt x="62" y="193"/>
                      </a:lnTo>
                      <a:lnTo>
                        <a:pt x="63" y="193"/>
                      </a:lnTo>
                      <a:lnTo>
                        <a:pt x="64" y="195"/>
                      </a:lnTo>
                      <a:lnTo>
                        <a:pt x="65" y="195"/>
                      </a:lnTo>
                      <a:lnTo>
                        <a:pt x="65" y="197"/>
                      </a:lnTo>
                      <a:lnTo>
                        <a:pt x="67" y="198"/>
                      </a:lnTo>
                      <a:lnTo>
                        <a:pt x="67" y="199"/>
                      </a:lnTo>
                      <a:lnTo>
                        <a:pt x="68" y="200"/>
                      </a:lnTo>
                      <a:lnTo>
                        <a:pt x="68" y="201"/>
                      </a:lnTo>
                      <a:lnTo>
                        <a:pt x="69" y="202"/>
                      </a:lnTo>
                      <a:lnTo>
                        <a:pt x="69" y="203"/>
                      </a:lnTo>
                      <a:lnTo>
                        <a:pt x="68" y="204"/>
                      </a:lnTo>
                      <a:lnTo>
                        <a:pt x="69" y="205"/>
                      </a:lnTo>
                      <a:lnTo>
                        <a:pt x="70" y="205"/>
                      </a:lnTo>
                      <a:lnTo>
                        <a:pt x="71" y="207"/>
                      </a:lnTo>
                      <a:lnTo>
                        <a:pt x="71" y="210"/>
                      </a:lnTo>
                      <a:lnTo>
                        <a:pt x="70" y="212"/>
                      </a:lnTo>
                      <a:lnTo>
                        <a:pt x="74" y="213"/>
                      </a:lnTo>
                      <a:lnTo>
                        <a:pt x="74" y="213"/>
                      </a:lnTo>
                      <a:lnTo>
                        <a:pt x="76" y="214"/>
                      </a:lnTo>
                      <a:lnTo>
                        <a:pt x="78" y="213"/>
                      </a:lnTo>
                      <a:lnTo>
                        <a:pt x="79" y="214"/>
                      </a:lnTo>
                      <a:lnTo>
                        <a:pt x="79" y="214"/>
                      </a:lnTo>
                      <a:lnTo>
                        <a:pt x="81" y="215"/>
                      </a:lnTo>
                      <a:lnTo>
                        <a:pt x="81" y="217"/>
                      </a:lnTo>
                      <a:lnTo>
                        <a:pt x="83" y="218"/>
                      </a:lnTo>
                      <a:lnTo>
                        <a:pt x="84" y="217"/>
                      </a:lnTo>
                      <a:lnTo>
                        <a:pt x="85" y="216"/>
                      </a:lnTo>
                      <a:lnTo>
                        <a:pt x="88" y="217"/>
                      </a:lnTo>
                      <a:lnTo>
                        <a:pt x="88" y="218"/>
                      </a:lnTo>
                      <a:lnTo>
                        <a:pt x="88" y="218"/>
                      </a:lnTo>
                      <a:lnTo>
                        <a:pt x="91" y="218"/>
                      </a:lnTo>
                      <a:lnTo>
                        <a:pt x="91" y="221"/>
                      </a:lnTo>
                      <a:lnTo>
                        <a:pt x="91" y="222"/>
                      </a:lnTo>
                      <a:lnTo>
                        <a:pt x="92" y="222"/>
                      </a:lnTo>
                      <a:lnTo>
                        <a:pt x="92" y="223"/>
                      </a:lnTo>
                      <a:lnTo>
                        <a:pt x="91" y="223"/>
                      </a:lnTo>
                      <a:lnTo>
                        <a:pt x="91" y="226"/>
                      </a:lnTo>
                      <a:lnTo>
                        <a:pt x="90" y="228"/>
                      </a:lnTo>
                      <a:lnTo>
                        <a:pt x="91" y="229"/>
                      </a:lnTo>
                      <a:lnTo>
                        <a:pt x="91" y="231"/>
                      </a:lnTo>
                      <a:lnTo>
                        <a:pt x="91" y="231"/>
                      </a:lnTo>
                      <a:lnTo>
                        <a:pt x="91" y="233"/>
                      </a:lnTo>
                      <a:lnTo>
                        <a:pt x="91" y="235"/>
                      </a:lnTo>
                      <a:lnTo>
                        <a:pt x="92" y="235"/>
                      </a:lnTo>
                      <a:lnTo>
                        <a:pt x="92" y="236"/>
                      </a:lnTo>
                      <a:lnTo>
                        <a:pt x="91" y="237"/>
                      </a:lnTo>
                      <a:lnTo>
                        <a:pt x="88" y="236"/>
                      </a:lnTo>
                      <a:lnTo>
                        <a:pt x="88" y="238"/>
                      </a:lnTo>
                      <a:lnTo>
                        <a:pt x="87" y="238"/>
                      </a:lnTo>
                      <a:lnTo>
                        <a:pt x="87" y="239"/>
                      </a:lnTo>
                      <a:lnTo>
                        <a:pt x="84" y="240"/>
                      </a:lnTo>
                      <a:lnTo>
                        <a:pt x="84" y="241"/>
                      </a:lnTo>
                      <a:lnTo>
                        <a:pt x="85" y="241"/>
                      </a:lnTo>
                      <a:lnTo>
                        <a:pt x="85" y="245"/>
                      </a:lnTo>
                      <a:lnTo>
                        <a:pt x="84" y="246"/>
                      </a:lnTo>
                      <a:lnTo>
                        <a:pt x="84" y="248"/>
                      </a:lnTo>
                      <a:lnTo>
                        <a:pt x="85" y="250"/>
                      </a:lnTo>
                      <a:lnTo>
                        <a:pt x="87" y="250"/>
                      </a:lnTo>
                      <a:lnTo>
                        <a:pt x="87" y="249"/>
                      </a:lnTo>
                      <a:lnTo>
                        <a:pt x="90" y="250"/>
                      </a:lnTo>
                      <a:lnTo>
                        <a:pt x="91" y="250"/>
                      </a:lnTo>
                      <a:lnTo>
                        <a:pt x="91" y="254"/>
                      </a:lnTo>
                      <a:lnTo>
                        <a:pt x="95" y="253"/>
                      </a:lnTo>
                      <a:lnTo>
                        <a:pt x="97" y="252"/>
                      </a:lnTo>
                      <a:lnTo>
                        <a:pt x="97" y="252"/>
                      </a:lnTo>
                      <a:lnTo>
                        <a:pt x="98" y="252"/>
                      </a:lnTo>
                      <a:lnTo>
                        <a:pt x="100" y="250"/>
                      </a:lnTo>
                      <a:lnTo>
                        <a:pt x="102" y="252"/>
                      </a:lnTo>
                      <a:lnTo>
                        <a:pt x="103" y="252"/>
                      </a:lnTo>
                      <a:lnTo>
                        <a:pt x="104" y="252"/>
                      </a:lnTo>
                      <a:lnTo>
                        <a:pt x="107" y="252"/>
                      </a:lnTo>
                      <a:lnTo>
                        <a:pt x="107" y="251"/>
                      </a:lnTo>
                      <a:lnTo>
                        <a:pt x="109" y="251"/>
                      </a:lnTo>
                      <a:lnTo>
                        <a:pt x="110" y="252"/>
                      </a:lnTo>
                      <a:lnTo>
                        <a:pt x="110" y="252"/>
                      </a:lnTo>
                      <a:lnTo>
                        <a:pt x="111" y="252"/>
                      </a:lnTo>
                      <a:lnTo>
                        <a:pt x="112" y="251"/>
                      </a:lnTo>
                      <a:lnTo>
                        <a:pt x="113" y="252"/>
                      </a:lnTo>
                      <a:lnTo>
                        <a:pt x="113" y="252"/>
                      </a:lnTo>
                      <a:lnTo>
                        <a:pt x="112" y="253"/>
                      </a:lnTo>
                      <a:lnTo>
                        <a:pt x="112" y="255"/>
                      </a:lnTo>
                      <a:lnTo>
                        <a:pt x="115" y="255"/>
                      </a:lnTo>
                      <a:lnTo>
                        <a:pt x="116" y="252"/>
                      </a:lnTo>
                      <a:lnTo>
                        <a:pt x="117" y="252"/>
                      </a:lnTo>
                      <a:lnTo>
                        <a:pt x="119" y="251"/>
                      </a:lnTo>
                      <a:lnTo>
                        <a:pt x="120" y="251"/>
                      </a:lnTo>
                      <a:lnTo>
                        <a:pt x="120" y="252"/>
                      </a:lnTo>
                      <a:lnTo>
                        <a:pt x="122" y="251"/>
                      </a:lnTo>
                      <a:lnTo>
                        <a:pt x="120" y="249"/>
                      </a:lnTo>
                      <a:lnTo>
                        <a:pt x="122" y="248"/>
                      </a:lnTo>
                      <a:lnTo>
                        <a:pt x="122" y="247"/>
                      </a:lnTo>
                      <a:lnTo>
                        <a:pt x="122" y="247"/>
                      </a:lnTo>
                      <a:lnTo>
                        <a:pt x="122" y="244"/>
                      </a:lnTo>
                      <a:lnTo>
                        <a:pt x="123" y="241"/>
                      </a:lnTo>
                      <a:lnTo>
                        <a:pt x="123" y="241"/>
                      </a:lnTo>
                      <a:lnTo>
                        <a:pt x="125" y="238"/>
                      </a:lnTo>
                      <a:lnTo>
                        <a:pt x="126" y="238"/>
                      </a:lnTo>
                      <a:lnTo>
                        <a:pt x="127" y="239"/>
                      </a:lnTo>
                      <a:lnTo>
                        <a:pt x="128" y="238"/>
                      </a:lnTo>
                      <a:lnTo>
                        <a:pt x="131" y="240"/>
                      </a:lnTo>
                      <a:lnTo>
                        <a:pt x="133" y="241"/>
                      </a:lnTo>
                      <a:lnTo>
                        <a:pt x="135" y="241"/>
                      </a:lnTo>
                      <a:lnTo>
                        <a:pt x="136" y="238"/>
                      </a:lnTo>
                      <a:lnTo>
                        <a:pt x="138" y="238"/>
                      </a:lnTo>
                      <a:lnTo>
                        <a:pt x="138" y="240"/>
                      </a:lnTo>
                      <a:lnTo>
                        <a:pt x="139" y="241"/>
                      </a:lnTo>
                      <a:lnTo>
                        <a:pt x="142" y="241"/>
                      </a:lnTo>
                      <a:lnTo>
                        <a:pt x="142" y="240"/>
                      </a:lnTo>
                      <a:lnTo>
                        <a:pt x="143" y="238"/>
                      </a:lnTo>
                      <a:lnTo>
                        <a:pt x="143" y="237"/>
                      </a:lnTo>
                      <a:lnTo>
                        <a:pt x="145" y="238"/>
                      </a:lnTo>
                      <a:lnTo>
                        <a:pt x="146" y="236"/>
                      </a:lnTo>
                      <a:lnTo>
                        <a:pt x="146" y="237"/>
                      </a:lnTo>
                      <a:lnTo>
                        <a:pt x="147" y="238"/>
                      </a:lnTo>
                      <a:lnTo>
                        <a:pt x="148" y="239"/>
                      </a:lnTo>
                      <a:lnTo>
                        <a:pt x="148" y="241"/>
                      </a:lnTo>
                      <a:lnTo>
                        <a:pt x="146" y="241"/>
                      </a:lnTo>
                      <a:lnTo>
                        <a:pt x="146" y="242"/>
                      </a:lnTo>
                      <a:lnTo>
                        <a:pt x="148" y="242"/>
                      </a:lnTo>
                      <a:lnTo>
                        <a:pt x="150" y="244"/>
                      </a:lnTo>
                      <a:lnTo>
                        <a:pt x="150" y="245"/>
                      </a:lnTo>
                      <a:lnTo>
                        <a:pt x="150" y="245"/>
                      </a:lnTo>
                      <a:lnTo>
                        <a:pt x="150" y="245"/>
                      </a:lnTo>
                      <a:lnTo>
                        <a:pt x="150" y="248"/>
                      </a:lnTo>
                      <a:lnTo>
                        <a:pt x="150" y="248"/>
                      </a:lnTo>
                      <a:lnTo>
                        <a:pt x="150" y="250"/>
                      </a:lnTo>
                      <a:lnTo>
                        <a:pt x="152" y="252"/>
                      </a:lnTo>
                      <a:lnTo>
                        <a:pt x="153" y="252"/>
                      </a:lnTo>
                      <a:lnTo>
                        <a:pt x="154" y="251"/>
                      </a:lnTo>
                      <a:lnTo>
                        <a:pt x="155" y="248"/>
                      </a:lnTo>
                      <a:lnTo>
                        <a:pt x="155" y="245"/>
                      </a:lnTo>
                      <a:lnTo>
                        <a:pt x="157" y="241"/>
                      </a:lnTo>
                      <a:lnTo>
                        <a:pt x="157" y="241"/>
                      </a:lnTo>
                      <a:lnTo>
                        <a:pt x="158" y="240"/>
                      </a:lnTo>
                      <a:lnTo>
                        <a:pt x="158" y="237"/>
                      </a:lnTo>
                      <a:lnTo>
                        <a:pt x="159" y="235"/>
                      </a:lnTo>
                      <a:lnTo>
                        <a:pt x="159" y="234"/>
                      </a:lnTo>
                      <a:lnTo>
                        <a:pt x="159" y="231"/>
                      </a:lnTo>
                      <a:lnTo>
                        <a:pt x="160" y="229"/>
                      </a:lnTo>
                      <a:lnTo>
                        <a:pt x="161" y="228"/>
                      </a:lnTo>
                      <a:lnTo>
                        <a:pt x="161" y="228"/>
                      </a:lnTo>
                      <a:lnTo>
                        <a:pt x="162" y="226"/>
                      </a:lnTo>
                      <a:lnTo>
                        <a:pt x="162" y="225"/>
                      </a:lnTo>
                      <a:lnTo>
                        <a:pt x="163" y="224"/>
                      </a:lnTo>
                      <a:lnTo>
                        <a:pt x="163" y="221"/>
                      </a:lnTo>
                      <a:lnTo>
                        <a:pt x="164" y="218"/>
                      </a:lnTo>
                      <a:lnTo>
                        <a:pt x="164" y="215"/>
                      </a:lnTo>
                      <a:lnTo>
                        <a:pt x="164" y="214"/>
                      </a:lnTo>
                      <a:lnTo>
                        <a:pt x="166" y="213"/>
                      </a:lnTo>
                      <a:lnTo>
                        <a:pt x="166" y="213"/>
                      </a:lnTo>
                      <a:lnTo>
                        <a:pt x="167" y="213"/>
                      </a:lnTo>
                      <a:lnTo>
                        <a:pt x="167" y="213"/>
                      </a:lnTo>
                      <a:lnTo>
                        <a:pt x="167" y="213"/>
                      </a:lnTo>
                      <a:lnTo>
                        <a:pt x="169" y="213"/>
                      </a:lnTo>
                      <a:lnTo>
                        <a:pt x="171" y="213"/>
                      </a:lnTo>
                      <a:lnTo>
                        <a:pt x="171" y="214"/>
                      </a:lnTo>
                      <a:lnTo>
                        <a:pt x="174" y="216"/>
                      </a:lnTo>
                      <a:lnTo>
                        <a:pt x="176" y="215"/>
                      </a:lnTo>
                      <a:lnTo>
                        <a:pt x="178" y="214"/>
                      </a:lnTo>
                      <a:lnTo>
                        <a:pt x="178" y="214"/>
                      </a:lnTo>
                      <a:lnTo>
                        <a:pt x="179" y="214"/>
                      </a:lnTo>
                      <a:lnTo>
                        <a:pt x="181" y="213"/>
                      </a:lnTo>
                      <a:lnTo>
                        <a:pt x="181" y="213"/>
                      </a:lnTo>
                      <a:lnTo>
                        <a:pt x="183" y="213"/>
                      </a:lnTo>
                      <a:lnTo>
                        <a:pt x="184" y="211"/>
                      </a:lnTo>
                      <a:lnTo>
                        <a:pt x="186" y="213"/>
                      </a:lnTo>
                      <a:lnTo>
                        <a:pt x="187" y="215"/>
                      </a:lnTo>
                      <a:lnTo>
                        <a:pt x="187" y="217"/>
                      </a:lnTo>
                      <a:lnTo>
                        <a:pt x="189" y="217"/>
                      </a:lnTo>
                      <a:lnTo>
                        <a:pt x="189" y="218"/>
                      </a:lnTo>
                      <a:lnTo>
                        <a:pt x="191" y="218"/>
                      </a:lnTo>
                      <a:lnTo>
                        <a:pt x="192" y="219"/>
                      </a:lnTo>
                      <a:lnTo>
                        <a:pt x="195" y="218"/>
                      </a:lnTo>
                      <a:lnTo>
                        <a:pt x="196" y="221"/>
                      </a:lnTo>
                      <a:lnTo>
                        <a:pt x="195" y="222"/>
                      </a:lnTo>
                      <a:lnTo>
                        <a:pt x="195" y="222"/>
                      </a:lnTo>
                      <a:lnTo>
                        <a:pt x="195" y="223"/>
                      </a:lnTo>
                      <a:lnTo>
                        <a:pt x="195" y="224"/>
                      </a:lnTo>
                      <a:lnTo>
                        <a:pt x="198" y="224"/>
                      </a:lnTo>
                      <a:lnTo>
                        <a:pt x="199" y="225"/>
                      </a:lnTo>
                      <a:lnTo>
                        <a:pt x="201" y="226"/>
                      </a:lnTo>
                      <a:lnTo>
                        <a:pt x="201" y="226"/>
                      </a:lnTo>
                      <a:lnTo>
                        <a:pt x="201" y="226"/>
                      </a:lnTo>
                      <a:lnTo>
                        <a:pt x="201" y="226"/>
                      </a:lnTo>
                      <a:lnTo>
                        <a:pt x="199" y="228"/>
                      </a:lnTo>
                      <a:lnTo>
                        <a:pt x="201" y="228"/>
                      </a:lnTo>
                      <a:lnTo>
                        <a:pt x="201" y="230"/>
                      </a:lnTo>
                      <a:lnTo>
                        <a:pt x="203" y="231"/>
                      </a:lnTo>
                      <a:lnTo>
                        <a:pt x="203" y="234"/>
                      </a:lnTo>
                      <a:lnTo>
                        <a:pt x="204" y="234"/>
                      </a:lnTo>
                      <a:lnTo>
                        <a:pt x="205" y="231"/>
                      </a:lnTo>
                      <a:lnTo>
                        <a:pt x="205" y="231"/>
                      </a:lnTo>
                      <a:lnTo>
                        <a:pt x="206" y="234"/>
                      </a:lnTo>
                      <a:lnTo>
                        <a:pt x="208" y="233"/>
                      </a:lnTo>
                      <a:lnTo>
                        <a:pt x="209" y="234"/>
                      </a:lnTo>
                      <a:lnTo>
                        <a:pt x="208" y="236"/>
                      </a:lnTo>
                      <a:lnTo>
                        <a:pt x="208" y="238"/>
                      </a:lnTo>
                      <a:lnTo>
                        <a:pt x="209" y="239"/>
                      </a:lnTo>
                      <a:lnTo>
                        <a:pt x="212" y="239"/>
                      </a:lnTo>
                      <a:lnTo>
                        <a:pt x="214" y="238"/>
                      </a:lnTo>
                      <a:lnTo>
                        <a:pt x="215" y="236"/>
                      </a:lnTo>
                      <a:lnTo>
                        <a:pt x="215" y="236"/>
                      </a:lnTo>
                      <a:lnTo>
                        <a:pt x="215" y="235"/>
                      </a:lnTo>
                      <a:lnTo>
                        <a:pt x="218" y="236"/>
                      </a:lnTo>
                      <a:lnTo>
                        <a:pt x="220" y="234"/>
                      </a:lnTo>
                      <a:lnTo>
                        <a:pt x="220" y="231"/>
                      </a:lnTo>
                      <a:lnTo>
                        <a:pt x="221" y="231"/>
                      </a:lnTo>
                      <a:lnTo>
                        <a:pt x="221" y="231"/>
                      </a:lnTo>
                      <a:lnTo>
                        <a:pt x="222" y="231"/>
                      </a:lnTo>
                      <a:lnTo>
                        <a:pt x="222" y="231"/>
                      </a:lnTo>
                      <a:lnTo>
                        <a:pt x="222" y="232"/>
                      </a:lnTo>
                      <a:lnTo>
                        <a:pt x="224" y="232"/>
                      </a:lnTo>
                      <a:lnTo>
                        <a:pt x="225" y="233"/>
                      </a:lnTo>
                      <a:lnTo>
                        <a:pt x="225" y="234"/>
                      </a:lnTo>
                      <a:lnTo>
                        <a:pt x="228" y="234"/>
                      </a:lnTo>
                      <a:lnTo>
                        <a:pt x="228" y="237"/>
                      </a:lnTo>
                      <a:lnTo>
                        <a:pt x="229" y="239"/>
                      </a:lnTo>
                      <a:lnTo>
                        <a:pt x="230" y="238"/>
                      </a:lnTo>
                      <a:lnTo>
                        <a:pt x="236" y="238"/>
                      </a:lnTo>
                      <a:lnTo>
                        <a:pt x="237" y="239"/>
                      </a:lnTo>
                      <a:lnTo>
                        <a:pt x="239" y="238"/>
                      </a:lnTo>
                      <a:lnTo>
                        <a:pt x="239" y="238"/>
                      </a:lnTo>
                      <a:lnTo>
                        <a:pt x="239" y="238"/>
                      </a:lnTo>
                      <a:lnTo>
                        <a:pt x="240" y="238"/>
                      </a:lnTo>
                      <a:lnTo>
                        <a:pt x="242" y="236"/>
                      </a:lnTo>
                      <a:lnTo>
                        <a:pt x="243" y="236"/>
                      </a:lnTo>
                      <a:lnTo>
                        <a:pt x="245" y="232"/>
                      </a:lnTo>
                      <a:lnTo>
                        <a:pt x="246" y="233"/>
                      </a:lnTo>
                      <a:lnTo>
                        <a:pt x="249" y="228"/>
                      </a:lnTo>
                      <a:lnTo>
                        <a:pt x="249" y="226"/>
                      </a:lnTo>
                      <a:lnTo>
                        <a:pt x="251" y="225"/>
                      </a:lnTo>
                      <a:lnTo>
                        <a:pt x="253" y="223"/>
                      </a:lnTo>
                      <a:lnTo>
                        <a:pt x="254" y="221"/>
                      </a:lnTo>
                      <a:lnTo>
                        <a:pt x="255" y="221"/>
                      </a:lnTo>
                      <a:lnTo>
                        <a:pt x="255" y="220"/>
                      </a:lnTo>
                      <a:lnTo>
                        <a:pt x="256" y="217"/>
                      </a:lnTo>
                      <a:lnTo>
                        <a:pt x="256" y="217"/>
                      </a:lnTo>
                      <a:lnTo>
                        <a:pt x="255" y="214"/>
                      </a:lnTo>
                      <a:lnTo>
                        <a:pt x="256" y="213"/>
                      </a:lnTo>
                      <a:lnTo>
                        <a:pt x="259" y="208"/>
                      </a:lnTo>
                      <a:lnTo>
                        <a:pt x="261" y="205"/>
                      </a:lnTo>
                      <a:lnTo>
                        <a:pt x="260" y="203"/>
                      </a:lnTo>
                      <a:lnTo>
                        <a:pt x="257" y="202"/>
                      </a:lnTo>
                      <a:lnTo>
                        <a:pt x="263" y="197"/>
                      </a:lnTo>
                      <a:lnTo>
                        <a:pt x="264" y="195"/>
                      </a:lnTo>
                      <a:lnTo>
                        <a:pt x="265" y="194"/>
                      </a:lnTo>
                      <a:lnTo>
                        <a:pt x="269" y="190"/>
                      </a:lnTo>
                      <a:lnTo>
                        <a:pt x="270" y="190"/>
                      </a:lnTo>
                      <a:lnTo>
                        <a:pt x="271" y="187"/>
                      </a:lnTo>
                      <a:lnTo>
                        <a:pt x="274" y="185"/>
                      </a:lnTo>
                      <a:lnTo>
                        <a:pt x="277" y="184"/>
                      </a:lnTo>
                      <a:lnTo>
                        <a:pt x="277" y="184"/>
                      </a:lnTo>
                      <a:lnTo>
                        <a:pt x="279" y="180"/>
                      </a:lnTo>
                      <a:lnTo>
                        <a:pt x="283" y="179"/>
                      </a:lnTo>
                      <a:lnTo>
                        <a:pt x="284" y="176"/>
                      </a:lnTo>
                      <a:lnTo>
                        <a:pt x="283" y="175"/>
                      </a:lnTo>
                      <a:lnTo>
                        <a:pt x="282" y="173"/>
                      </a:lnTo>
                      <a:lnTo>
                        <a:pt x="283" y="167"/>
                      </a:lnTo>
                      <a:lnTo>
                        <a:pt x="284" y="165"/>
                      </a:lnTo>
                      <a:lnTo>
                        <a:pt x="283" y="163"/>
                      </a:lnTo>
                      <a:lnTo>
                        <a:pt x="282" y="162"/>
                      </a:lnTo>
                      <a:lnTo>
                        <a:pt x="280" y="161"/>
                      </a:lnTo>
                      <a:lnTo>
                        <a:pt x="280" y="160"/>
                      </a:lnTo>
                      <a:lnTo>
                        <a:pt x="282" y="159"/>
                      </a:lnTo>
                      <a:lnTo>
                        <a:pt x="282" y="159"/>
                      </a:lnTo>
                      <a:lnTo>
                        <a:pt x="284" y="157"/>
                      </a:lnTo>
                      <a:lnTo>
                        <a:pt x="284" y="156"/>
                      </a:lnTo>
                      <a:lnTo>
                        <a:pt x="284" y="155"/>
                      </a:lnTo>
                      <a:lnTo>
                        <a:pt x="285" y="155"/>
                      </a:lnTo>
                      <a:lnTo>
                        <a:pt x="287" y="155"/>
                      </a:lnTo>
                      <a:lnTo>
                        <a:pt x="292" y="152"/>
                      </a:lnTo>
                      <a:lnTo>
                        <a:pt x="293" y="152"/>
                      </a:lnTo>
                      <a:lnTo>
                        <a:pt x="295" y="152"/>
                      </a:lnTo>
                      <a:lnTo>
                        <a:pt x="297" y="152"/>
                      </a:lnTo>
                      <a:lnTo>
                        <a:pt x="298" y="148"/>
                      </a:lnTo>
                      <a:lnTo>
                        <a:pt x="299" y="147"/>
                      </a:lnTo>
                      <a:lnTo>
                        <a:pt x="301" y="147"/>
                      </a:lnTo>
                      <a:lnTo>
                        <a:pt x="302" y="145"/>
                      </a:lnTo>
                      <a:lnTo>
                        <a:pt x="301" y="144"/>
                      </a:lnTo>
                      <a:lnTo>
                        <a:pt x="300" y="143"/>
                      </a:lnTo>
                      <a:lnTo>
                        <a:pt x="302" y="140"/>
                      </a:lnTo>
                      <a:lnTo>
                        <a:pt x="304" y="141"/>
                      </a:lnTo>
                      <a:lnTo>
                        <a:pt x="304" y="140"/>
                      </a:lnTo>
                      <a:lnTo>
                        <a:pt x="304" y="138"/>
                      </a:lnTo>
                      <a:lnTo>
                        <a:pt x="309" y="135"/>
                      </a:lnTo>
                      <a:lnTo>
                        <a:pt x="311" y="134"/>
                      </a:lnTo>
                      <a:lnTo>
                        <a:pt x="312" y="131"/>
                      </a:lnTo>
                      <a:lnTo>
                        <a:pt x="311" y="130"/>
                      </a:lnTo>
                      <a:lnTo>
                        <a:pt x="312" y="130"/>
                      </a:lnTo>
                      <a:lnTo>
                        <a:pt x="315" y="126"/>
                      </a:lnTo>
                      <a:lnTo>
                        <a:pt x="319" y="121"/>
                      </a:lnTo>
                      <a:lnTo>
                        <a:pt x="319" y="121"/>
                      </a:lnTo>
                      <a:lnTo>
                        <a:pt x="319" y="117"/>
                      </a:lnTo>
                      <a:lnTo>
                        <a:pt x="323" y="115"/>
                      </a:lnTo>
                      <a:lnTo>
                        <a:pt x="324" y="112"/>
                      </a:lnTo>
                      <a:lnTo>
                        <a:pt x="325" y="112"/>
                      </a:lnTo>
                      <a:lnTo>
                        <a:pt x="327" y="111"/>
                      </a:lnTo>
                      <a:lnTo>
                        <a:pt x="328" y="110"/>
                      </a:lnTo>
                      <a:lnTo>
                        <a:pt x="325" y="107"/>
                      </a:lnTo>
                      <a:lnTo>
                        <a:pt x="323" y="107"/>
                      </a:lnTo>
                      <a:lnTo>
                        <a:pt x="322" y="108"/>
                      </a:lnTo>
                      <a:lnTo>
                        <a:pt x="318" y="110"/>
                      </a:lnTo>
                      <a:lnTo>
                        <a:pt x="313" y="110"/>
                      </a:lnTo>
                      <a:lnTo>
                        <a:pt x="313" y="107"/>
                      </a:lnTo>
                      <a:lnTo>
                        <a:pt x="314" y="107"/>
                      </a:lnTo>
                      <a:lnTo>
                        <a:pt x="315" y="106"/>
                      </a:lnTo>
                      <a:lnTo>
                        <a:pt x="315" y="105"/>
                      </a:lnTo>
                      <a:lnTo>
                        <a:pt x="315" y="104"/>
                      </a:lnTo>
                      <a:lnTo>
                        <a:pt x="317" y="104"/>
                      </a:lnTo>
                      <a:lnTo>
                        <a:pt x="317" y="100"/>
                      </a:lnTo>
                      <a:lnTo>
                        <a:pt x="319" y="100"/>
                      </a:lnTo>
                      <a:lnTo>
                        <a:pt x="319" y="98"/>
                      </a:lnTo>
                      <a:lnTo>
                        <a:pt x="320" y="98"/>
                      </a:lnTo>
                      <a:lnTo>
                        <a:pt x="322" y="98"/>
                      </a:lnTo>
                      <a:lnTo>
                        <a:pt x="322" y="97"/>
                      </a:lnTo>
                      <a:lnTo>
                        <a:pt x="321" y="96"/>
                      </a:lnTo>
                      <a:lnTo>
                        <a:pt x="320" y="96"/>
                      </a:lnTo>
                      <a:lnTo>
                        <a:pt x="320" y="93"/>
                      </a:lnTo>
                      <a:lnTo>
                        <a:pt x="323" y="92"/>
                      </a:lnTo>
                      <a:lnTo>
                        <a:pt x="325" y="93"/>
                      </a:lnTo>
                      <a:lnTo>
                        <a:pt x="328" y="93"/>
                      </a:lnTo>
                      <a:lnTo>
                        <a:pt x="328" y="93"/>
                      </a:lnTo>
                      <a:lnTo>
                        <a:pt x="332" y="91"/>
                      </a:lnTo>
                      <a:lnTo>
                        <a:pt x="332" y="89"/>
                      </a:lnTo>
                      <a:lnTo>
                        <a:pt x="331" y="87"/>
                      </a:lnTo>
                      <a:close/>
                    </a:path>
                  </a:pathLst>
                </a:custGeom>
                <a:solidFill>
                  <a:srgbClr val="74BAEF"/>
                </a:solidFill>
                <a:ln w="3175">
                  <a:solidFill>
                    <a:schemeClr val="dk1"/>
                  </a:solidFill>
                  <a:round/>
                  <a:headEnd/>
                  <a:tailEnd/>
                </a:ln>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z="800" dirty="0">
                    <a:solidFill>
                      <a:srgbClr val="000000"/>
                    </a:solidFill>
                  </a:endParaRPr>
                </a:p>
              </p:txBody>
            </p:sp>
            <p:sp>
              <p:nvSpPr>
                <p:cNvPr id="55" name="Occitanie" descr="{&quot;Key&quot;:&quot;occitanie&quot;,&quot;Name&quot;:&quot;Occitanie&quot;,&quot;Value&quot;:1.0,&quot;Formula&quot;:&quot;&quot;,&quot;Text&quot;:&quot;1&quot;,&quot;OfficeApplication&quot;:0,&quot;HasValue&quot;:true}">
                  <a:extLst>
                    <a:ext uri="{FF2B5EF4-FFF2-40B4-BE49-F238E27FC236}">
                      <a16:creationId xmlns:a16="http://schemas.microsoft.com/office/drawing/2014/main" id="{6CC05BCD-C912-4F67-E31A-DE8E05B6BE2F}"/>
                    </a:ext>
                  </a:extLst>
                </p:cNvPr>
                <p:cNvSpPr>
                  <a:spLocks/>
                </p:cNvSpPr>
                <p:nvPr/>
              </p:nvSpPr>
              <p:spPr bwMode="auto">
                <a:xfrm>
                  <a:off x="4722812" y="4705904"/>
                  <a:ext cx="2206266" cy="1508147"/>
                </a:xfrm>
                <a:custGeom>
                  <a:avLst/>
                  <a:gdLst>
                    <a:gd name="T0" fmla="*/ 419 w 430"/>
                    <a:gd name="T1" fmla="*/ 101 h 310"/>
                    <a:gd name="T2" fmla="*/ 411 w 430"/>
                    <a:gd name="T3" fmla="*/ 86 h 310"/>
                    <a:gd name="T4" fmla="*/ 393 w 430"/>
                    <a:gd name="T5" fmla="*/ 85 h 310"/>
                    <a:gd name="T6" fmla="*/ 375 w 430"/>
                    <a:gd name="T7" fmla="*/ 84 h 310"/>
                    <a:gd name="T8" fmla="*/ 364 w 430"/>
                    <a:gd name="T9" fmla="*/ 75 h 310"/>
                    <a:gd name="T10" fmla="*/ 356 w 430"/>
                    <a:gd name="T11" fmla="*/ 57 h 310"/>
                    <a:gd name="T12" fmla="*/ 348 w 430"/>
                    <a:gd name="T13" fmla="*/ 34 h 310"/>
                    <a:gd name="T14" fmla="*/ 332 w 430"/>
                    <a:gd name="T15" fmla="*/ 22 h 310"/>
                    <a:gd name="T16" fmla="*/ 312 w 430"/>
                    <a:gd name="T17" fmla="*/ 19 h 310"/>
                    <a:gd name="T18" fmla="*/ 298 w 430"/>
                    <a:gd name="T19" fmla="*/ 11 h 310"/>
                    <a:gd name="T20" fmla="*/ 286 w 430"/>
                    <a:gd name="T21" fmla="*/ 21 h 310"/>
                    <a:gd name="T22" fmla="*/ 279 w 430"/>
                    <a:gd name="T23" fmla="*/ 38 h 310"/>
                    <a:gd name="T24" fmla="*/ 272 w 430"/>
                    <a:gd name="T25" fmla="*/ 30 h 310"/>
                    <a:gd name="T26" fmla="*/ 255 w 430"/>
                    <a:gd name="T27" fmla="*/ 14 h 310"/>
                    <a:gd name="T28" fmla="*/ 241 w 430"/>
                    <a:gd name="T29" fmla="*/ 34 h 310"/>
                    <a:gd name="T30" fmla="*/ 229 w 430"/>
                    <a:gd name="T31" fmla="*/ 46 h 310"/>
                    <a:gd name="T32" fmla="*/ 210 w 430"/>
                    <a:gd name="T33" fmla="*/ 48 h 310"/>
                    <a:gd name="T34" fmla="*/ 209 w 430"/>
                    <a:gd name="T35" fmla="*/ 27 h 310"/>
                    <a:gd name="T36" fmla="*/ 197 w 430"/>
                    <a:gd name="T37" fmla="*/ 9 h 310"/>
                    <a:gd name="T38" fmla="*/ 176 w 430"/>
                    <a:gd name="T39" fmla="*/ 12 h 310"/>
                    <a:gd name="T40" fmla="*/ 160 w 430"/>
                    <a:gd name="T41" fmla="*/ 2 h 310"/>
                    <a:gd name="T42" fmla="*/ 148 w 430"/>
                    <a:gd name="T43" fmla="*/ 16 h 310"/>
                    <a:gd name="T44" fmla="*/ 139 w 430"/>
                    <a:gd name="T45" fmla="*/ 30 h 310"/>
                    <a:gd name="T46" fmla="*/ 125 w 430"/>
                    <a:gd name="T47" fmla="*/ 48 h 310"/>
                    <a:gd name="T48" fmla="*/ 118 w 430"/>
                    <a:gd name="T49" fmla="*/ 70 h 310"/>
                    <a:gd name="T50" fmla="*/ 104 w 430"/>
                    <a:gd name="T51" fmla="*/ 76 h 310"/>
                    <a:gd name="T52" fmla="*/ 106 w 430"/>
                    <a:gd name="T53" fmla="*/ 96 h 310"/>
                    <a:gd name="T54" fmla="*/ 97 w 430"/>
                    <a:gd name="T55" fmla="*/ 106 h 310"/>
                    <a:gd name="T56" fmla="*/ 75 w 430"/>
                    <a:gd name="T57" fmla="*/ 111 h 310"/>
                    <a:gd name="T58" fmla="*/ 49 w 430"/>
                    <a:gd name="T59" fmla="*/ 115 h 310"/>
                    <a:gd name="T60" fmla="*/ 36 w 430"/>
                    <a:gd name="T61" fmla="*/ 127 h 310"/>
                    <a:gd name="T62" fmla="*/ 18 w 430"/>
                    <a:gd name="T63" fmla="*/ 124 h 310"/>
                    <a:gd name="T64" fmla="*/ 14 w 430"/>
                    <a:gd name="T65" fmla="*/ 137 h 310"/>
                    <a:gd name="T66" fmla="*/ 8 w 430"/>
                    <a:gd name="T67" fmla="*/ 152 h 310"/>
                    <a:gd name="T68" fmla="*/ 15 w 430"/>
                    <a:gd name="T69" fmla="*/ 163 h 310"/>
                    <a:gd name="T70" fmla="*/ 27 w 430"/>
                    <a:gd name="T71" fmla="*/ 177 h 310"/>
                    <a:gd name="T72" fmla="*/ 29 w 430"/>
                    <a:gd name="T73" fmla="*/ 182 h 310"/>
                    <a:gd name="T74" fmla="*/ 24 w 430"/>
                    <a:gd name="T75" fmla="*/ 199 h 310"/>
                    <a:gd name="T76" fmla="*/ 17 w 430"/>
                    <a:gd name="T77" fmla="*/ 214 h 310"/>
                    <a:gd name="T78" fmla="*/ 3 w 430"/>
                    <a:gd name="T79" fmla="*/ 230 h 310"/>
                    <a:gd name="T80" fmla="*/ 14 w 430"/>
                    <a:gd name="T81" fmla="*/ 257 h 310"/>
                    <a:gd name="T82" fmla="*/ 49 w 430"/>
                    <a:gd name="T83" fmla="*/ 265 h 310"/>
                    <a:gd name="T84" fmla="*/ 76 w 430"/>
                    <a:gd name="T85" fmla="*/ 268 h 310"/>
                    <a:gd name="T86" fmla="*/ 82 w 430"/>
                    <a:gd name="T87" fmla="*/ 252 h 310"/>
                    <a:gd name="T88" fmla="*/ 121 w 430"/>
                    <a:gd name="T89" fmla="*/ 261 h 310"/>
                    <a:gd name="T90" fmla="*/ 152 w 430"/>
                    <a:gd name="T91" fmla="*/ 275 h 310"/>
                    <a:gd name="T92" fmla="*/ 173 w 430"/>
                    <a:gd name="T93" fmla="*/ 285 h 310"/>
                    <a:gd name="T94" fmla="*/ 197 w 430"/>
                    <a:gd name="T95" fmla="*/ 309 h 310"/>
                    <a:gd name="T96" fmla="*/ 236 w 430"/>
                    <a:gd name="T97" fmla="*/ 310 h 310"/>
                    <a:gd name="T98" fmla="*/ 255 w 430"/>
                    <a:gd name="T99" fmla="*/ 301 h 310"/>
                    <a:gd name="T100" fmla="*/ 281 w 430"/>
                    <a:gd name="T101" fmla="*/ 296 h 310"/>
                    <a:gd name="T102" fmla="*/ 286 w 430"/>
                    <a:gd name="T103" fmla="*/ 288 h 310"/>
                    <a:gd name="T104" fmla="*/ 281 w 430"/>
                    <a:gd name="T105" fmla="*/ 237 h 310"/>
                    <a:gd name="T106" fmla="*/ 282 w 430"/>
                    <a:gd name="T107" fmla="*/ 224 h 310"/>
                    <a:gd name="T108" fmla="*/ 321 w 430"/>
                    <a:gd name="T109" fmla="*/ 203 h 310"/>
                    <a:gd name="T110" fmla="*/ 364 w 430"/>
                    <a:gd name="T111" fmla="*/ 169 h 310"/>
                    <a:gd name="T112" fmla="*/ 389 w 430"/>
                    <a:gd name="T113" fmla="*/ 171 h 310"/>
                    <a:gd name="T114" fmla="*/ 401 w 430"/>
                    <a:gd name="T115" fmla="*/ 155 h 310"/>
                    <a:gd name="T116" fmla="*/ 416 w 430"/>
                    <a:gd name="T117" fmla="*/ 132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30" h="310">
                      <a:moveTo>
                        <a:pt x="429" y="114"/>
                      </a:moveTo>
                      <a:lnTo>
                        <a:pt x="427" y="113"/>
                      </a:lnTo>
                      <a:lnTo>
                        <a:pt x="427" y="113"/>
                      </a:lnTo>
                      <a:lnTo>
                        <a:pt x="427" y="111"/>
                      </a:lnTo>
                      <a:lnTo>
                        <a:pt x="426" y="111"/>
                      </a:lnTo>
                      <a:lnTo>
                        <a:pt x="426" y="110"/>
                      </a:lnTo>
                      <a:lnTo>
                        <a:pt x="423" y="108"/>
                      </a:lnTo>
                      <a:lnTo>
                        <a:pt x="423" y="107"/>
                      </a:lnTo>
                      <a:lnTo>
                        <a:pt x="423" y="107"/>
                      </a:lnTo>
                      <a:lnTo>
                        <a:pt x="421" y="108"/>
                      </a:lnTo>
                      <a:lnTo>
                        <a:pt x="420" y="107"/>
                      </a:lnTo>
                      <a:lnTo>
                        <a:pt x="419" y="105"/>
                      </a:lnTo>
                      <a:lnTo>
                        <a:pt x="419" y="101"/>
                      </a:lnTo>
                      <a:lnTo>
                        <a:pt x="419" y="99"/>
                      </a:lnTo>
                      <a:lnTo>
                        <a:pt x="420" y="99"/>
                      </a:lnTo>
                      <a:lnTo>
                        <a:pt x="420" y="95"/>
                      </a:lnTo>
                      <a:lnTo>
                        <a:pt x="418" y="94"/>
                      </a:lnTo>
                      <a:lnTo>
                        <a:pt x="419" y="93"/>
                      </a:lnTo>
                      <a:lnTo>
                        <a:pt x="415" y="93"/>
                      </a:lnTo>
                      <a:lnTo>
                        <a:pt x="415" y="92"/>
                      </a:lnTo>
                      <a:lnTo>
                        <a:pt x="416" y="89"/>
                      </a:lnTo>
                      <a:lnTo>
                        <a:pt x="414" y="88"/>
                      </a:lnTo>
                      <a:lnTo>
                        <a:pt x="413" y="88"/>
                      </a:lnTo>
                      <a:lnTo>
                        <a:pt x="413" y="86"/>
                      </a:lnTo>
                      <a:lnTo>
                        <a:pt x="412" y="85"/>
                      </a:lnTo>
                      <a:lnTo>
                        <a:pt x="411" y="86"/>
                      </a:lnTo>
                      <a:lnTo>
                        <a:pt x="410" y="84"/>
                      </a:lnTo>
                      <a:lnTo>
                        <a:pt x="409" y="84"/>
                      </a:lnTo>
                      <a:lnTo>
                        <a:pt x="406" y="82"/>
                      </a:lnTo>
                      <a:lnTo>
                        <a:pt x="406" y="83"/>
                      </a:lnTo>
                      <a:lnTo>
                        <a:pt x="406" y="81"/>
                      </a:lnTo>
                      <a:lnTo>
                        <a:pt x="405" y="80"/>
                      </a:lnTo>
                      <a:lnTo>
                        <a:pt x="402" y="79"/>
                      </a:lnTo>
                      <a:lnTo>
                        <a:pt x="402" y="79"/>
                      </a:lnTo>
                      <a:lnTo>
                        <a:pt x="398" y="79"/>
                      </a:lnTo>
                      <a:lnTo>
                        <a:pt x="398" y="79"/>
                      </a:lnTo>
                      <a:lnTo>
                        <a:pt x="397" y="79"/>
                      </a:lnTo>
                      <a:lnTo>
                        <a:pt x="397" y="85"/>
                      </a:lnTo>
                      <a:lnTo>
                        <a:pt x="393" y="85"/>
                      </a:lnTo>
                      <a:lnTo>
                        <a:pt x="392" y="85"/>
                      </a:lnTo>
                      <a:lnTo>
                        <a:pt x="393" y="80"/>
                      </a:lnTo>
                      <a:lnTo>
                        <a:pt x="392" y="79"/>
                      </a:lnTo>
                      <a:lnTo>
                        <a:pt x="391" y="78"/>
                      </a:lnTo>
                      <a:lnTo>
                        <a:pt x="390" y="79"/>
                      </a:lnTo>
                      <a:lnTo>
                        <a:pt x="386" y="79"/>
                      </a:lnTo>
                      <a:lnTo>
                        <a:pt x="385" y="82"/>
                      </a:lnTo>
                      <a:lnTo>
                        <a:pt x="383" y="82"/>
                      </a:lnTo>
                      <a:lnTo>
                        <a:pt x="383" y="85"/>
                      </a:lnTo>
                      <a:lnTo>
                        <a:pt x="382" y="88"/>
                      </a:lnTo>
                      <a:lnTo>
                        <a:pt x="379" y="87"/>
                      </a:lnTo>
                      <a:lnTo>
                        <a:pt x="378" y="85"/>
                      </a:lnTo>
                      <a:lnTo>
                        <a:pt x="375" y="84"/>
                      </a:lnTo>
                      <a:lnTo>
                        <a:pt x="375" y="82"/>
                      </a:lnTo>
                      <a:lnTo>
                        <a:pt x="372" y="82"/>
                      </a:lnTo>
                      <a:lnTo>
                        <a:pt x="370" y="80"/>
                      </a:lnTo>
                      <a:lnTo>
                        <a:pt x="370" y="80"/>
                      </a:lnTo>
                      <a:lnTo>
                        <a:pt x="369" y="81"/>
                      </a:lnTo>
                      <a:lnTo>
                        <a:pt x="368" y="81"/>
                      </a:lnTo>
                      <a:lnTo>
                        <a:pt x="368" y="80"/>
                      </a:lnTo>
                      <a:lnTo>
                        <a:pt x="365" y="81"/>
                      </a:lnTo>
                      <a:lnTo>
                        <a:pt x="365" y="82"/>
                      </a:lnTo>
                      <a:lnTo>
                        <a:pt x="363" y="82"/>
                      </a:lnTo>
                      <a:lnTo>
                        <a:pt x="362" y="81"/>
                      </a:lnTo>
                      <a:lnTo>
                        <a:pt x="364" y="80"/>
                      </a:lnTo>
                      <a:lnTo>
                        <a:pt x="364" y="75"/>
                      </a:lnTo>
                      <a:lnTo>
                        <a:pt x="363" y="75"/>
                      </a:lnTo>
                      <a:lnTo>
                        <a:pt x="363" y="73"/>
                      </a:lnTo>
                      <a:lnTo>
                        <a:pt x="365" y="74"/>
                      </a:lnTo>
                      <a:lnTo>
                        <a:pt x="365" y="72"/>
                      </a:lnTo>
                      <a:lnTo>
                        <a:pt x="362" y="70"/>
                      </a:lnTo>
                      <a:lnTo>
                        <a:pt x="363" y="69"/>
                      </a:lnTo>
                      <a:lnTo>
                        <a:pt x="362" y="67"/>
                      </a:lnTo>
                      <a:lnTo>
                        <a:pt x="361" y="66"/>
                      </a:lnTo>
                      <a:lnTo>
                        <a:pt x="360" y="66"/>
                      </a:lnTo>
                      <a:lnTo>
                        <a:pt x="358" y="65"/>
                      </a:lnTo>
                      <a:lnTo>
                        <a:pt x="358" y="61"/>
                      </a:lnTo>
                      <a:lnTo>
                        <a:pt x="358" y="59"/>
                      </a:lnTo>
                      <a:lnTo>
                        <a:pt x="356" y="57"/>
                      </a:lnTo>
                      <a:lnTo>
                        <a:pt x="355" y="55"/>
                      </a:lnTo>
                      <a:lnTo>
                        <a:pt x="355" y="53"/>
                      </a:lnTo>
                      <a:lnTo>
                        <a:pt x="353" y="53"/>
                      </a:lnTo>
                      <a:lnTo>
                        <a:pt x="351" y="51"/>
                      </a:lnTo>
                      <a:lnTo>
                        <a:pt x="351" y="49"/>
                      </a:lnTo>
                      <a:lnTo>
                        <a:pt x="351" y="48"/>
                      </a:lnTo>
                      <a:lnTo>
                        <a:pt x="350" y="48"/>
                      </a:lnTo>
                      <a:lnTo>
                        <a:pt x="350" y="44"/>
                      </a:lnTo>
                      <a:lnTo>
                        <a:pt x="348" y="41"/>
                      </a:lnTo>
                      <a:lnTo>
                        <a:pt x="350" y="39"/>
                      </a:lnTo>
                      <a:lnTo>
                        <a:pt x="348" y="39"/>
                      </a:lnTo>
                      <a:lnTo>
                        <a:pt x="348" y="37"/>
                      </a:lnTo>
                      <a:lnTo>
                        <a:pt x="348" y="34"/>
                      </a:lnTo>
                      <a:lnTo>
                        <a:pt x="347" y="34"/>
                      </a:lnTo>
                      <a:lnTo>
                        <a:pt x="345" y="34"/>
                      </a:lnTo>
                      <a:lnTo>
                        <a:pt x="345" y="33"/>
                      </a:lnTo>
                      <a:lnTo>
                        <a:pt x="345" y="30"/>
                      </a:lnTo>
                      <a:lnTo>
                        <a:pt x="344" y="30"/>
                      </a:lnTo>
                      <a:lnTo>
                        <a:pt x="342" y="30"/>
                      </a:lnTo>
                      <a:lnTo>
                        <a:pt x="342" y="29"/>
                      </a:lnTo>
                      <a:lnTo>
                        <a:pt x="339" y="27"/>
                      </a:lnTo>
                      <a:lnTo>
                        <a:pt x="339" y="26"/>
                      </a:lnTo>
                      <a:lnTo>
                        <a:pt x="337" y="24"/>
                      </a:lnTo>
                      <a:lnTo>
                        <a:pt x="331" y="24"/>
                      </a:lnTo>
                      <a:lnTo>
                        <a:pt x="331" y="24"/>
                      </a:lnTo>
                      <a:lnTo>
                        <a:pt x="332" y="22"/>
                      </a:lnTo>
                      <a:lnTo>
                        <a:pt x="332" y="21"/>
                      </a:lnTo>
                      <a:lnTo>
                        <a:pt x="330" y="19"/>
                      </a:lnTo>
                      <a:lnTo>
                        <a:pt x="326" y="19"/>
                      </a:lnTo>
                      <a:lnTo>
                        <a:pt x="324" y="25"/>
                      </a:lnTo>
                      <a:lnTo>
                        <a:pt x="324" y="25"/>
                      </a:lnTo>
                      <a:lnTo>
                        <a:pt x="324" y="24"/>
                      </a:lnTo>
                      <a:lnTo>
                        <a:pt x="323" y="24"/>
                      </a:lnTo>
                      <a:lnTo>
                        <a:pt x="323" y="25"/>
                      </a:lnTo>
                      <a:lnTo>
                        <a:pt x="319" y="25"/>
                      </a:lnTo>
                      <a:lnTo>
                        <a:pt x="317" y="27"/>
                      </a:lnTo>
                      <a:lnTo>
                        <a:pt x="316" y="27"/>
                      </a:lnTo>
                      <a:lnTo>
                        <a:pt x="313" y="22"/>
                      </a:lnTo>
                      <a:lnTo>
                        <a:pt x="312" y="19"/>
                      </a:lnTo>
                      <a:lnTo>
                        <a:pt x="311" y="18"/>
                      </a:lnTo>
                      <a:lnTo>
                        <a:pt x="311" y="15"/>
                      </a:lnTo>
                      <a:lnTo>
                        <a:pt x="311" y="11"/>
                      </a:lnTo>
                      <a:lnTo>
                        <a:pt x="310" y="10"/>
                      </a:lnTo>
                      <a:lnTo>
                        <a:pt x="309" y="10"/>
                      </a:lnTo>
                      <a:lnTo>
                        <a:pt x="306" y="10"/>
                      </a:lnTo>
                      <a:lnTo>
                        <a:pt x="306" y="9"/>
                      </a:lnTo>
                      <a:lnTo>
                        <a:pt x="305" y="10"/>
                      </a:lnTo>
                      <a:lnTo>
                        <a:pt x="304" y="10"/>
                      </a:lnTo>
                      <a:lnTo>
                        <a:pt x="300" y="13"/>
                      </a:lnTo>
                      <a:lnTo>
                        <a:pt x="299" y="13"/>
                      </a:lnTo>
                      <a:lnTo>
                        <a:pt x="298" y="11"/>
                      </a:lnTo>
                      <a:lnTo>
                        <a:pt x="298" y="11"/>
                      </a:lnTo>
                      <a:lnTo>
                        <a:pt x="296" y="13"/>
                      </a:lnTo>
                      <a:lnTo>
                        <a:pt x="296" y="15"/>
                      </a:lnTo>
                      <a:lnTo>
                        <a:pt x="296" y="16"/>
                      </a:lnTo>
                      <a:lnTo>
                        <a:pt x="296" y="18"/>
                      </a:lnTo>
                      <a:lnTo>
                        <a:pt x="296" y="18"/>
                      </a:lnTo>
                      <a:lnTo>
                        <a:pt x="296" y="19"/>
                      </a:lnTo>
                      <a:lnTo>
                        <a:pt x="292" y="20"/>
                      </a:lnTo>
                      <a:lnTo>
                        <a:pt x="290" y="18"/>
                      </a:lnTo>
                      <a:lnTo>
                        <a:pt x="289" y="18"/>
                      </a:lnTo>
                      <a:lnTo>
                        <a:pt x="289" y="16"/>
                      </a:lnTo>
                      <a:lnTo>
                        <a:pt x="287" y="16"/>
                      </a:lnTo>
                      <a:lnTo>
                        <a:pt x="285" y="19"/>
                      </a:lnTo>
                      <a:lnTo>
                        <a:pt x="286" y="21"/>
                      </a:lnTo>
                      <a:lnTo>
                        <a:pt x="285" y="22"/>
                      </a:lnTo>
                      <a:lnTo>
                        <a:pt x="285" y="25"/>
                      </a:lnTo>
                      <a:lnTo>
                        <a:pt x="285" y="25"/>
                      </a:lnTo>
                      <a:lnTo>
                        <a:pt x="282" y="24"/>
                      </a:lnTo>
                      <a:lnTo>
                        <a:pt x="282" y="25"/>
                      </a:lnTo>
                      <a:lnTo>
                        <a:pt x="282" y="26"/>
                      </a:lnTo>
                      <a:lnTo>
                        <a:pt x="281" y="29"/>
                      </a:lnTo>
                      <a:lnTo>
                        <a:pt x="281" y="30"/>
                      </a:lnTo>
                      <a:lnTo>
                        <a:pt x="281" y="31"/>
                      </a:lnTo>
                      <a:lnTo>
                        <a:pt x="281" y="33"/>
                      </a:lnTo>
                      <a:lnTo>
                        <a:pt x="279" y="37"/>
                      </a:lnTo>
                      <a:lnTo>
                        <a:pt x="281" y="38"/>
                      </a:lnTo>
                      <a:lnTo>
                        <a:pt x="279" y="38"/>
                      </a:lnTo>
                      <a:lnTo>
                        <a:pt x="276" y="44"/>
                      </a:lnTo>
                      <a:lnTo>
                        <a:pt x="276" y="45"/>
                      </a:lnTo>
                      <a:lnTo>
                        <a:pt x="273" y="45"/>
                      </a:lnTo>
                      <a:lnTo>
                        <a:pt x="273" y="44"/>
                      </a:lnTo>
                      <a:lnTo>
                        <a:pt x="272" y="44"/>
                      </a:lnTo>
                      <a:lnTo>
                        <a:pt x="272" y="43"/>
                      </a:lnTo>
                      <a:lnTo>
                        <a:pt x="271" y="38"/>
                      </a:lnTo>
                      <a:lnTo>
                        <a:pt x="270" y="37"/>
                      </a:lnTo>
                      <a:lnTo>
                        <a:pt x="272" y="34"/>
                      </a:lnTo>
                      <a:lnTo>
                        <a:pt x="269" y="33"/>
                      </a:lnTo>
                      <a:lnTo>
                        <a:pt x="269" y="33"/>
                      </a:lnTo>
                      <a:lnTo>
                        <a:pt x="271" y="33"/>
                      </a:lnTo>
                      <a:lnTo>
                        <a:pt x="272" y="30"/>
                      </a:lnTo>
                      <a:lnTo>
                        <a:pt x="269" y="29"/>
                      </a:lnTo>
                      <a:lnTo>
                        <a:pt x="269" y="30"/>
                      </a:lnTo>
                      <a:lnTo>
                        <a:pt x="268" y="29"/>
                      </a:lnTo>
                      <a:lnTo>
                        <a:pt x="267" y="29"/>
                      </a:lnTo>
                      <a:lnTo>
                        <a:pt x="265" y="20"/>
                      </a:lnTo>
                      <a:lnTo>
                        <a:pt x="261" y="20"/>
                      </a:lnTo>
                      <a:lnTo>
                        <a:pt x="259" y="22"/>
                      </a:lnTo>
                      <a:lnTo>
                        <a:pt x="258" y="22"/>
                      </a:lnTo>
                      <a:lnTo>
                        <a:pt x="259" y="18"/>
                      </a:lnTo>
                      <a:lnTo>
                        <a:pt x="259" y="16"/>
                      </a:lnTo>
                      <a:lnTo>
                        <a:pt x="255" y="13"/>
                      </a:lnTo>
                      <a:lnTo>
                        <a:pt x="255" y="13"/>
                      </a:lnTo>
                      <a:lnTo>
                        <a:pt x="255" y="14"/>
                      </a:lnTo>
                      <a:lnTo>
                        <a:pt x="254" y="13"/>
                      </a:lnTo>
                      <a:lnTo>
                        <a:pt x="253" y="16"/>
                      </a:lnTo>
                      <a:lnTo>
                        <a:pt x="251" y="16"/>
                      </a:lnTo>
                      <a:lnTo>
                        <a:pt x="250" y="17"/>
                      </a:lnTo>
                      <a:lnTo>
                        <a:pt x="249" y="20"/>
                      </a:lnTo>
                      <a:lnTo>
                        <a:pt x="247" y="20"/>
                      </a:lnTo>
                      <a:lnTo>
                        <a:pt x="245" y="23"/>
                      </a:lnTo>
                      <a:lnTo>
                        <a:pt x="246" y="25"/>
                      </a:lnTo>
                      <a:lnTo>
                        <a:pt x="244" y="26"/>
                      </a:lnTo>
                      <a:lnTo>
                        <a:pt x="245" y="29"/>
                      </a:lnTo>
                      <a:lnTo>
                        <a:pt x="244" y="30"/>
                      </a:lnTo>
                      <a:lnTo>
                        <a:pt x="241" y="31"/>
                      </a:lnTo>
                      <a:lnTo>
                        <a:pt x="241" y="34"/>
                      </a:lnTo>
                      <a:lnTo>
                        <a:pt x="241" y="35"/>
                      </a:lnTo>
                      <a:lnTo>
                        <a:pt x="241" y="37"/>
                      </a:lnTo>
                      <a:lnTo>
                        <a:pt x="241" y="37"/>
                      </a:lnTo>
                      <a:lnTo>
                        <a:pt x="239" y="38"/>
                      </a:lnTo>
                      <a:lnTo>
                        <a:pt x="238" y="40"/>
                      </a:lnTo>
                      <a:lnTo>
                        <a:pt x="236" y="41"/>
                      </a:lnTo>
                      <a:lnTo>
                        <a:pt x="236" y="44"/>
                      </a:lnTo>
                      <a:lnTo>
                        <a:pt x="235" y="46"/>
                      </a:lnTo>
                      <a:lnTo>
                        <a:pt x="234" y="44"/>
                      </a:lnTo>
                      <a:lnTo>
                        <a:pt x="234" y="46"/>
                      </a:lnTo>
                      <a:lnTo>
                        <a:pt x="232" y="46"/>
                      </a:lnTo>
                      <a:lnTo>
                        <a:pt x="231" y="47"/>
                      </a:lnTo>
                      <a:lnTo>
                        <a:pt x="229" y="46"/>
                      </a:lnTo>
                      <a:lnTo>
                        <a:pt x="227" y="46"/>
                      </a:lnTo>
                      <a:lnTo>
                        <a:pt x="227" y="46"/>
                      </a:lnTo>
                      <a:lnTo>
                        <a:pt x="225" y="47"/>
                      </a:lnTo>
                      <a:lnTo>
                        <a:pt x="224" y="46"/>
                      </a:lnTo>
                      <a:lnTo>
                        <a:pt x="223" y="44"/>
                      </a:lnTo>
                      <a:lnTo>
                        <a:pt x="221" y="44"/>
                      </a:lnTo>
                      <a:lnTo>
                        <a:pt x="218" y="44"/>
                      </a:lnTo>
                      <a:lnTo>
                        <a:pt x="216" y="44"/>
                      </a:lnTo>
                      <a:lnTo>
                        <a:pt x="215" y="44"/>
                      </a:lnTo>
                      <a:lnTo>
                        <a:pt x="213" y="46"/>
                      </a:lnTo>
                      <a:lnTo>
                        <a:pt x="214" y="48"/>
                      </a:lnTo>
                      <a:lnTo>
                        <a:pt x="213" y="49"/>
                      </a:lnTo>
                      <a:lnTo>
                        <a:pt x="210" y="48"/>
                      </a:lnTo>
                      <a:lnTo>
                        <a:pt x="210" y="47"/>
                      </a:lnTo>
                      <a:lnTo>
                        <a:pt x="210" y="43"/>
                      </a:lnTo>
                      <a:lnTo>
                        <a:pt x="208" y="40"/>
                      </a:lnTo>
                      <a:lnTo>
                        <a:pt x="207" y="40"/>
                      </a:lnTo>
                      <a:lnTo>
                        <a:pt x="206" y="40"/>
                      </a:lnTo>
                      <a:lnTo>
                        <a:pt x="207" y="39"/>
                      </a:lnTo>
                      <a:lnTo>
                        <a:pt x="208" y="37"/>
                      </a:lnTo>
                      <a:lnTo>
                        <a:pt x="208" y="34"/>
                      </a:lnTo>
                      <a:lnTo>
                        <a:pt x="208" y="31"/>
                      </a:lnTo>
                      <a:lnTo>
                        <a:pt x="210" y="30"/>
                      </a:lnTo>
                      <a:lnTo>
                        <a:pt x="210" y="29"/>
                      </a:lnTo>
                      <a:lnTo>
                        <a:pt x="209" y="28"/>
                      </a:lnTo>
                      <a:lnTo>
                        <a:pt x="209" y="27"/>
                      </a:lnTo>
                      <a:lnTo>
                        <a:pt x="208" y="27"/>
                      </a:lnTo>
                      <a:lnTo>
                        <a:pt x="207" y="26"/>
                      </a:lnTo>
                      <a:lnTo>
                        <a:pt x="206" y="24"/>
                      </a:lnTo>
                      <a:lnTo>
                        <a:pt x="205" y="23"/>
                      </a:lnTo>
                      <a:lnTo>
                        <a:pt x="203" y="20"/>
                      </a:lnTo>
                      <a:lnTo>
                        <a:pt x="203" y="16"/>
                      </a:lnTo>
                      <a:lnTo>
                        <a:pt x="204" y="16"/>
                      </a:lnTo>
                      <a:lnTo>
                        <a:pt x="203" y="13"/>
                      </a:lnTo>
                      <a:lnTo>
                        <a:pt x="203" y="11"/>
                      </a:lnTo>
                      <a:lnTo>
                        <a:pt x="202" y="9"/>
                      </a:lnTo>
                      <a:lnTo>
                        <a:pt x="199" y="7"/>
                      </a:lnTo>
                      <a:lnTo>
                        <a:pt x="197" y="9"/>
                      </a:lnTo>
                      <a:lnTo>
                        <a:pt x="197" y="9"/>
                      </a:lnTo>
                      <a:lnTo>
                        <a:pt x="193" y="10"/>
                      </a:lnTo>
                      <a:lnTo>
                        <a:pt x="191" y="10"/>
                      </a:lnTo>
                      <a:lnTo>
                        <a:pt x="190" y="8"/>
                      </a:lnTo>
                      <a:lnTo>
                        <a:pt x="189" y="8"/>
                      </a:lnTo>
                      <a:lnTo>
                        <a:pt x="187" y="10"/>
                      </a:lnTo>
                      <a:lnTo>
                        <a:pt x="184" y="11"/>
                      </a:lnTo>
                      <a:lnTo>
                        <a:pt x="183" y="13"/>
                      </a:lnTo>
                      <a:lnTo>
                        <a:pt x="182" y="13"/>
                      </a:lnTo>
                      <a:lnTo>
                        <a:pt x="182" y="13"/>
                      </a:lnTo>
                      <a:lnTo>
                        <a:pt x="179" y="13"/>
                      </a:lnTo>
                      <a:lnTo>
                        <a:pt x="179" y="13"/>
                      </a:lnTo>
                      <a:lnTo>
                        <a:pt x="177" y="14"/>
                      </a:lnTo>
                      <a:lnTo>
                        <a:pt x="176" y="12"/>
                      </a:lnTo>
                      <a:lnTo>
                        <a:pt x="175" y="10"/>
                      </a:lnTo>
                      <a:lnTo>
                        <a:pt x="173" y="10"/>
                      </a:lnTo>
                      <a:lnTo>
                        <a:pt x="173" y="10"/>
                      </a:lnTo>
                      <a:lnTo>
                        <a:pt x="172" y="6"/>
                      </a:lnTo>
                      <a:lnTo>
                        <a:pt x="171" y="6"/>
                      </a:lnTo>
                      <a:lnTo>
                        <a:pt x="170" y="5"/>
                      </a:lnTo>
                      <a:lnTo>
                        <a:pt x="169" y="5"/>
                      </a:lnTo>
                      <a:lnTo>
                        <a:pt x="167" y="3"/>
                      </a:lnTo>
                      <a:lnTo>
                        <a:pt x="166" y="2"/>
                      </a:lnTo>
                      <a:lnTo>
                        <a:pt x="165" y="1"/>
                      </a:lnTo>
                      <a:lnTo>
                        <a:pt x="164" y="1"/>
                      </a:lnTo>
                      <a:lnTo>
                        <a:pt x="161" y="1"/>
                      </a:lnTo>
                      <a:lnTo>
                        <a:pt x="160" y="2"/>
                      </a:lnTo>
                      <a:lnTo>
                        <a:pt x="159" y="2"/>
                      </a:lnTo>
                      <a:lnTo>
                        <a:pt x="159" y="0"/>
                      </a:lnTo>
                      <a:lnTo>
                        <a:pt x="157" y="0"/>
                      </a:lnTo>
                      <a:lnTo>
                        <a:pt x="154" y="1"/>
                      </a:lnTo>
                      <a:lnTo>
                        <a:pt x="154" y="3"/>
                      </a:lnTo>
                      <a:lnTo>
                        <a:pt x="152" y="3"/>
                      </a:lnTo>
                      <a:lnTo>
                        <a:pt x="152" y="3"/>
                      </a:lnTo>
                      <a:lnTo>
                        <a:pt x="148" y="5"/>
                      </a:lnTo>
                      <a:lnTo>
                        <a:pt x="149" y="10"/>
                      </a:lnTo>
                      <a:lnTo>
                        <a:pt x="149" y="10"/>
                      </a:lnTo>
                      <a:lnTo>
                        <a:pt x="149" y="12"/>
                      </a:lnTo>
                      <a:lnTo>
                        <a:pt x="150" y="14"/>
                      </a:lnTo>
                      <a:lnTo>
                        <a:pt x="148" y="16"/>
                      </a:lnTo>
                      <a:lnTo>
                        <a:pt x="149" y="17"/>
                      </a:lnTo>
                      <a:lnTo>
                        <a:pt x="150" y="18"/>
                      </a:lnTo>
                      <a:lnTo>
                        <a:pt x="150" y="19"/>
                      </a:lnTo>
                      <a:lnTo>
                        <a:pt x="148" y="20"/>
                      </a:lnTo>
                      <a:lnTo>
                        <a:pt x="148" y="20"/>
                      </a:lnTo>
                      <a:lnTo>
                        <a:pt x="148" y="22"/>
                      </a:lnTo>
                      <a:lnTo>
                        <a:pt x="144" y="23"/>
                      </a:lnTo>
                      <a:lnTo>
                        <a:pt x="144" y="27"/>
                      </a:lnTo>
                      <a:lnTo>
                        <a:pt x="143" y="27"/>
                      </a:lnTo>
                      <a:lnTo>
                        <a:pt x="141" y="27"/>
                      </a:lnTo>
                      <a:lnTo>
                        <a:pt x="139" y="28"/>
                      </a:lnTo>
                      <a:lnTo>
                        <a:pt x="138" y="29"/>
                      </a:lnTo>
                      <a:lnTo>
                        <a:pt x="139" y="30"/>
                      </a:lnTo>
                      <a:lnTo>
                        <a:pt x="140" y="31"/>
                      </a:lnTo>
                      <a:lnTo>
                        <a:pt x="141" y="35"/>
                      </a:lnTo>
                      <a:lnTo>
                        <a:pt x="138" y="34"/>
                      </a:lnTo>
                      <a:lnTo>
                        <a:pt x="138" y="37"/>
                      </a:lnTo>
                      <a:lnTo>
                        <a:pt x="137" y="37"/>
                      </a:lnTo>
                      <a:lnTo>
                        <a:pt x="135" y="39"/>
                      </a:lnTo>
                      <a:lnTo>
                        <a:pt x="132" y="40"/>
                      </a:lnTo>
                      <a:lnTo>
                        <a:pt x="132" y="41"/>
                      </a:lnTo>
                      <a:lnTo>
                        <a:pt x="126" y="43"/>
                      </a:lnTo>
                      <a:lnTo>
                        <a:pt x="126" y="44"/>
                      </a:lnTo>
                      <a:lnTo>
                        <a:pt x="126" y="47"/>
                      </a:lnTo>
                      <a:lnTo>
                        <a:pt x="125" y="48"/>
                      </a:lnTo>
                      <a:lnTo>
                        <a:pt x="125" y="48"/>
                      </a:lnTo>
                      <a:lnTo>
                        <a:pt x="123" y="51"/>
                      </a:lnTo>
                      <a:lnTo>
                        <a:pt x="123" y="54"/>
                      </a:lnTo>
                      <a:lnTo>
                        <a:pt x="120" y="54"/>
                      </a:lnTo>
                      <a:lnTo>
                        <a:pt x="118" y="55"/>
                      </a:lnTo>
                      <a:lnTo>
                        <a:pt x="118" y="55"/>
                      </a:lnTo>
                      <a:lnTo>
                        <a:pt x="115" y="57"/>
                      </a:lnTo>
                      <a:lnTo>
                        <a:pt x="114" y="56"/>
                      </a:lnTo>
                      <a:lnTo>
                        <a:pt x="113" y="57"/>
                      </a:lnTo>
                      <a:lnTo>
                        <a:pt x="115" y="61"/>
                      </a:lnTo>
                      <a:lnTo>
                        <a:pt x="114" y="64"/>
                      </a:lnTo>
                      <a:lnTo>
                        <a:pt x="115" y="65"/>
                      </a:lnTo>
                      <a:lnTo>
                        <a:pt x="115" y="67"/>
                      </a:lnTo>
                      <a:lnTo>
                        <a:pt x="118" y="70"/>
                      </a:lnTo>
                      <a:lnTo>
                        <a:pt x="118" y="70"/>
                      </a:lnTo>
                      <a:lnTo>
                        <a:pt x="118" y="73"/>
                      </a:lnTo>
                      <a:lnTo>
                        <a:pt x="118" y="75"/>
                      </a:lnTo>
                      <a:lnTo>
                        <a:pt x="119" y="76"/>
                      </a:lnTo>
                      <a:lnTo>
                        <a:pt x="118" y="78"/>
                      </a:lnTo>
                      <a:lnTo>
                        <a:pt x="115" y="78"/>
                      </a:lnTo>
                      <a:lnTo>
                        <a:pt x="113" y="77"/>
                      </a:lnTo>
                      <a:lnTo>
                        <a:pt x="111" y="79"/>
                      </a:lnTo>
                      <a:lnTo>
                        <a:pt x="110" y="78"/>
                      </a:lnTo>
                      <a:lnTo>
                        <a:pt x="109" y="79"/>
                      </a:lnTo>
                      <a:lnTo>
                        <a:pt x="107" y="75"/>
                      </a:lnTo>
                      <a:lnTo>
                        <a:pt x="107" y="75"/>
                      </a:lnTo>
                      <a:lnTo>
                        <a:pt x="104" y="76"/>
                      </a:lnTo>
                      <a:lnTo>
                        <a:pt x="104" y="79"/>
                      </a:lnTo>
                      <a:lnTo>
                        <a:pt x="104" y="82"/>
                      </a:lnTo>
                      <a:lnTo>
                        <a:pt x="104" y="82"/>
                      </a:lnTo>
                      <a:lnTo>
                        <a:pt x="103" y="83"/>
                      </a:lnTo>
                      <a:lnTo>
                        <a:pt x="104" y="85"/>
                      </a:lnTo>
                      <a:lnTo>
                        <a:pt x="107" y="85"/>
                      </a:lnTo>
                      <a:lnTo>
                        <a:pt x="107" y="85"/>
                      </a:lnTo>
                      <a:lnTo>
                        <a:pt x="109" y="88"/>
                      </a:lnTo>
                      <a:lnTo>
                        <a:pt x="109" y="89"/>
                      </a:lnTo>
                      <a:lnTo>
                        <a:pt x="107" y="89"/>
                      </a:lnTo>
                      <a:lnTo>
                        <a:pt x="107" y="92"/>
                      </a:lnTo>
                      <a:lnTo>
                        <a:pt x="107" y="93"/>
                      </a:lnTo>
                      <a:lnTo>
                        <a:pt x="106" y="96"/>
                      </a:lnTo>
                      <a:lnTo>
                        <a:pt x="102" y="96"/>
                      </a:lnTo>
                      <a:lnTo>
                        <a:pt x="101" y="99"/>
                      </a:lnTo>
                      <a:lnTo>
                        <a:pt x="102" y="99"/>
                      </a:lnTo>
                      <a:lnTo>
                        <a:pt x="103" y="99"/>
                      </a:lnTo>
                      <a:lnTo>
                        <a:pt x="104" y="99"/>
                      </a:lnTo>
                      <a:lnTo>
                        <a:pt x="104" y="99"/>
                      </a:lnTo>
                      <a:lnTo>
                        <a:pt x="104" y="102"/>
                      </a:lnTo>
                      <a:lnTo>
                        <a:pt x="104" y="103"/>
                      </a:lnTo>
                      <a:lnTo>
                        <a:pt x="103" y="104"/>
                      </a:lnTo>
                      <a:lnTo>
                        <a:pt x="101" y="104"/>
                      </a:lnTo>
                      <a:lnTo>
                        <a:pt x="99" y="103"/>
                      </a:lnTo>
                      <a:lnTo>
                        <a:pt x="97" y="103"/>
                      </a:lnTo>
                      <a:lnTo>
                        <a:pt x="97" y="106"/>
                      </a:lnTo>
                      <a:lnTo>
                        <a:pt x="95" y="106"/>
                      </a:lnTo>
                      <a:lnTo>
                        <a:pt x="92" y="108"/>
                      </a:lnTo>
                      <a:lnTo>
                        <a:pt x="92" y="111"/>
                      </a:lnTo>
                      <a:lnTo>
                        <a:pt x="89" y="112"/>
                      </a:lnTo>
                      <a:lnTo>
                        <a:pt x="87" y="115"/>
                      </a:lnTo>
                      <a:lnTo>
                        <a:pt x="85" y="116"/>
                      </a:lnTo>
                      <a:lnTo>
                        <a:pt x="83" y="113"/>
                      </a:lnTo>
                      <a:lnTo>
                        <a:pt x="82" y="113"/>
                      </a:lnTo>
                      <a:lnTo>
                        <a:pt x="80" y="110"/>
                      </a:lnTo>
                      <a:lnTo>
                        <a:pt x="79" y="110"/>
                      </a:lnTo>
                      <a:lnTo>
                        <a:pt x="76" y="112"/>
                      </a:lnTo>
                      <a:lnTo>
                        <a:pt x="75" y="112"/>
                      </a:lnTo>
                      <a:lnTo>
                        <a:pt x="75" y="111"/>
                      </a:lnTo>
                      <a:lnTo>
                        <a:pt x="73" y="110"/>
                      </a:lnTo>
                      <a:lnTo>
                        <a:pt x="73" y="112"/>
                      </a:lnTo>
                      <a:lnTo>
                        <a:pt x="70" y="111"/>
                      </a:lnTo>
                      <a:lnTo>
                        <a:pt x="69" y="112"/>
                      </a:lnTo>
                      <a:lnTo>
                        <a:pt x="68" y="113"/>
                      </a:lnTo>
                      <a:lnTo>
                        <a:pt x="67" y="116"/>
                      </a:lnTo>
                      <a:lnTo>
                        <a:pt x="56" y="117"/>
                      </a:lnTo>
                      <a:lnTo>
                        <a:pt x="56" y="118"/>
                      </a:lnTo>
                      <a:lnTo>
                        <a:pt x="56" y="119"/>
                      </a:lnTo>
                      <a:lnTo>
                        <a:pt x="53" y="117"/>
                      </a:lnTo>
                      <a:lnTo>
                        <a:pt x="50" y="117"/>
                      </a:lnTo>
                      <a:lnTo>
                        <a:pt x="50" y="116"/>
                      </a:lnTo>
                      <a:lnTo>
                        <a:pt x="49" y="115"/>
                      </a:lnTo>
                      <a:lnTo>
                        <a:pt x="47" y="117"/>
                      </a:lnTo>
                      <a:lnTo>
                        <a:pt x="46" y="117"/>
                      </a:lnTo>
                      <a:lnTo>
                        <a:pt x="45" y="117"/>
                      </a:lnTo>
                      <a:lnTo>
                        <a:pt x="44" y="121"/>
                      </a:lnTo>
                      <a:lnTo>
                        <a:pt x="42" y="120"/>
                      </a:lnTo>
                      <a:lnTo>
                        <a:pt x="42" y="117"/>
                      </a:lnTo>
                      <a:lnTo>
                        <a:pt x="41" y="117"/>
                      </a:lnTo>
                      <a:lnTo>
                        <a:pt x="40" y="119"/>
                      </a:lnTo>
                      <a:lnTo>
                        <a:pt x="36" y="119"/>
                      </a:lnTo>
                      <a:lnTo>
                        <a:pt x="36" y="120"/>
                      </a:lnTo>
                      <a:lnTo>
                        <a:pt x="36" y="122"/>
                      </a:lnTo>
                      <a:lnTo>
                        <a:pt x="35" y="122"/>
                      </a:lnTo>
                      <a:lnTo>
                        <a:pt x="36" y="127"/>
                      </a:lnTo>
                      <a:lnTo>
                        <a:pt x="36" y="128"/>
                      </a:lnTo>
                      <a:lnTo>
                        <a:pt x="33" y="129"/>
                      </a:lnTo>
                      <a:lnTo>
                        <a:pt x="32" y="127"/>
                      </a:lnTo>
                      <a:lnTo>
                        <a:pt x="29" y="124"/>
                      </a:lnTo>
                      <a:lnTo>
                        <a:pt x="31" y="123"/>
                      </a:lnTo>
                      <a:lnTo>
                        <a:pt x="31" y="121"/>
                      </a:lnTo>
                      <a:lnTo>
                        <a:pt x="28" y="120"/>
                      </a:lnTo>
                      <a:lnTo>
                        <a:pt x="27" y="121"/>
                      </a:lnTo>
                      <a:lnTo>
                        <a:pt x="22" y="123"/>
                      </a:lnTo>
                      <a:lnTo>
                        <a:pt x="22" y="125"/>
                      </a:lnTo>
                      <a:lnTo>
                        <a:pt x="21" y="123"/>
                      </a:lnTo>
                      <a:lnTo>
                        <a:pt x="18" y="123"/>
                      </a:lnTo>
                      <a:lnTo>
                        <a:pt x="18" y="124"/>
                      </a:lnTo>
                      <a:lnTo>
                        <a:pt x="17" y="123"/>
                      </a:lnTo>
                      <a:lnTo>
                        <a:pt x="16" y="123"/>
                      </a:lnTo>
                      <a:lnTo>
                        <a:pt x="13" y="127"/>
                      </a:lnTo>
                      <a:lnTo>
                        <a:pt x="12" y="127"/>
                      </a:lnTo>
                      <a:lnTo>
                        <a:pt x="11" y="128"/>
                      </a:lnTo>
                      <a:lnTo>
                        <a:pt x="12" y="129"/>
                      </a:lnTo>
                      <a:lnTo>
                        <a:pt x="12" y="130"/>
                      </a:lnTo>
                      <a:lnTo>
                        <a:pt x="14" y="130"/>
                      </a:lnTo>
                      <a:lnTo>
                        <a:pt x="15" y="131"/>
                      </a:lnTo>
                      <a:lnTo>
                        <a:pt x="13" y="132"/>
                      </a:lnTo>
                      <a:lnTo>
                        <a:pt x="13" y="133"/>
                      </a:lnTo>
                      <a:lnTo>
                        <a:pt x="14" y="135"/>
                      </a:lnTo>
                      <a:lnTo>
                        <a:pt x="14" y="137"/>
                      </a:lnTo>
                      <a:lnTo>
                        <a:pt x="13" y="138"/>
                      </a:lnTo>
                      <a:lnTo>
                        <a:pt x="12" y="138"/>
                      </a:lnTo>
                      <a:lnTo>
                        <a:pt x="11" y="140"/>
                      </a:lnTo>
                      <a:lnTo>
                        <a:pt x="12" y="144"/>
                      </a:lnTo>
                      <a:lnTo>
                        <a:pt x="12" y="144"/>
                      </a:lnTo>
                      <a:lnTo>
                        <a:pt x="12" y="145"/>
                      </a:lnTo>
                      <a:lnTo>
                        <a:pt x="13" y="145"/>
                      </a:lnTo>
                      <a:lnTo>
                        <a:pt x="13" y="147"/>
                      </a:lnTo>
                      <a:lnTo>
                        <a:pt x="13" y="147"/>
                      </a:lnTo>
                      <a:lnTo>
                        <a:pt x="12" y="149"/>
                      </a:lnTo>
                      <a:lnTo>
                        <a:pt x="8" y="150"/>
                      </a:lnTo>
                      <a:lnTo>
                        <a:pt x="9" y="151"/>
                      </a:lnTo>
                      <a:lnTo>
                        <a:pt x="8" y="152"/>
                      </a:lnTo>
                      <a:lnTo>
                        <a:pt x="8" y="153"/>
                      </a:lnTo>
                      <a:lnTo>
                        <a:pt x="9" y="154"/>
                      </a:lnTo>
                      <a:lnTo>
                        <a:pt x="9" y="155"/>
                      </a:lnTo>
                      <a:lnTo>
                        <a:pt x="8" y="157"/>
                      </a:lnTo>
                      <a:lnTo>
                        <a:pt x="8" y="158"/>
                      </a:lnTo>
                      <a:lnTo>
                        <a:pt x="6" y="158"/>
                      </a:lnTo>
                      <a:lnTo>
                        <a:pt x="6" y="160"/>
                      </a:lnTo>
                      <a:lnTo>
                        <a:pt x="8" y="160"/>
                      </a:lnTo>
                      <a:lnTo>
                        <a:pt x="8" y="162"/>
                      </a:lnTo>
                      <a:lnTo>
                        <a:pt x="9" y="163"/>
                      </a:lnTo>
                      <a:lnTo>
                        <a:pt x="12" y="163"/>
                      </a:lnTo>
                      <a:lnTo>
                        <a:pt x="12" y="164"/>
                      </a:lnTo>
                      <a:lnTo>
                        <a:pt x="15" y="163"/>
                      </a:lnTo>
                      <a:lnTo>
                        <a:pt x="15" y="163"/>
                      </a:lnTo>
                      <a:lnTo>
                        <a:pt x="16" y="165"/>
                      </a:lnTo>
                      <a:lnTo>
                        <a:pt x="21" y="165"/>
                      </a:lnTo>
                      <a:lnTo>
                        <a:pt x="22" y="167"/>
                      </a:lnTo>
                      <a:lnTo>
                        <a:pt x="22" y="168"/>
                      </a:lnTo>
                      <a:lnTo>
                        <a:pt x="24" y="168"/>
                      </a:lnTo>
                      <a:lnTo>
                        <a:pt x="24" y="170"/>
                      </a:lnTo>
                      <a:lnTo>
                        <a:pt x="25" y="171"/>
                      </a:lnTo>
                      <a:lnTo>
                        <a:pt x="25" y="172"/>
                      </a:lnTo>
                      <a:lnTo>
                        <a:pt x="25" y="172"/>
                      </a:lnTo>
                      <a:lnTo>
                        <a:pt x="25" y="173"/>
                      </a:lnTo>
                      <a:lnTo>
                        <a:pt x="25" y="175"/>
                      </a:lnTo>
                      <a:lnTo>
                        <a:pt x="27" y="177"/>
                      </a:lnTo>
                      <a:lnTo>
                        <a:pt x="27" y="178"/>
                      </a:lnTo>
                      <a:lnTo>
                        <a:pt x="26" y="178"/>
                      </a:lnTo>
                      <a:lnTo>
                        <a:pt x="23" y="178"/>
                      </a:lnTo>
                      <a:lnTo>
                        <a:pt x="23" y="182"/>
                      </a:lnTo>
                      <a:lnTo>
                        <a:pt x="24" y="182"/>
                      </a:lnTo>
                      <a:lnTo>
                        <a:pt x="23" y="184"/>
                      </a:lnTo>
                      <a:lnTo>
                        <a:pt x="25" y="185"/>
                      </a:lnTo>
                      <a:lnTo>
                        <a:pt x="25" y="183"/>
                      </a:lnTo>
                      <a:lnTo>
                        <a:pt x="27" y="182"/>
                      </a:lnTo>
                      <a:lnTo>
                        <a:pt x="28" y="181"/>
                      </a:lnTo>
                      <a:lnTo>
                        <a:pt x="28" y="181"/>
                      </a:lnTo>
                      <a:lnTo>
                        <a:pt x="28" y="182"/>
                      </a:lnTo>
                      <a:lnTo>
                        <a:pt x="29" y="182"/>
                      </a:lnTo>
                      <a:lnTo>
                        <a:pt x="28" y="185"/>
                      </a:lnTo>
                      <a:lnTo>
                        <a:pt x="28" y="189"/>
                      </a:lnTo>
                      <a:lnTo>
                        <a:pt x="29" y="189"/>
                      </a:lnTo>
                      <a:lnTo>
                        <a:pt x="29" y="190"/>
                      </a:lnTo>
                      <a:lnTo>
                        <a:pt x="31" y="191"/>
                      </a:lnTo>
                      <a:lnTo>
                        <a:pt x="31" y="192"/>
                      </a:lnTo>
                      <a:lnTo>
                        <a:pt x="31" y="192"/>
                      </a:lnTo>
                      <a:lnTo>
                        <a:pt x="31" y="193"/>
                      </a:lnTo>
                      <a:lnTo>
                        <a:pt x="29" y="194"/>
                      </a:lnTo>
                      <a:lnTo>
                        <a:pt x="26" y="194"/>
                      </a:lnTo>
                      <a:lnTo>
                        <a:pt x="25" y="195"/>
                      </a:lnTo>
                      <a:lnTo>
                        <a:pt x="25" y="196"/>
                      </a:lnTo>
                      <a:lnTo>
                        <a:pt x="24" y="199"/>
                      </a:lnTo>
                      <a:lnTo>
                        <a:pt x="26" y="200"/>
                      </a:lnTo>
                      <a:lnTo>
                        <a:pt x="25" y="200"/>
                      </a:lnTo>
                      <a:lnTo>
                        <a:pt x="25" y="203"/>
                      </a:lnTo>
                      <a:lnTo>
                        <a:pt x="24" y="206"/>
                      </a:lnTo>
                      <a:lnTo>
                        <a:pt x="22" y="206"/>
                      </a:lnTo>
                      <a:lnTo>
                        <a:pt x="22" y="211"/>
                      </a:lnTo>
                      <a:lnTo>
                        <a:pt x="19" y="211"/>
                      </a:lnTo>
                      <a:lnTo>
                        <a:pt x="19" y="212"/>
                      </a:lnTo>
                      <a:lnTo>
                        <a:pt x="19" y="212"/>
                      </a:lnTo>
                      <a:lnTo>
                        <a:pt x="18" y="211"/>
                      </a:lnTo>
                      <a:lnTo>
                        <a:pt x="18" y="210"/>
                      </a:lnTo>
                      <a:lnTo>
                        <a:pt x="18" y="212"/>
                      </a:lnTo>
                      <a:lnTo>
                        <a:pt x="17" y="214"/>
                      </a:lnTo>
                      <a:lnTo>
                        <a:pt x="16" y="214"/>
                      </a:lnTo>
                      <a:lnTo>
                        <a:pt x="15" y="216"/>
                      </a:lnTo>
                      <a:lnTo>
                        <a:pt x="13" y="218"/>
                      </a:lnTo>
                      <a:lnTo>
                        <a:pt x="11" y="218"/>
                      </a:lnTo>
                      <a:lnTo>
                        <a:pt x="11" y="219"/>
                      </a:lnTo>
                      <a:lnTo>
                        <a:pt x="11" y="224"/>
                      </a:lnTo>
                      <a:lnTo>
                        <a:pt x="11" y="224"/>
                      </a:lnTo>
                      <a:lnTo>
                        <a:pt x="12" y="224"/>
                      </a:lnTo>
                      <a:lnTo>
                        <a:pt x="8" y="227"/>
                      </a:lnTo>
                      <a:lnTo>
                        <a:pt x="7" y="226"/>
                      </a:lnTo>
                      <a:lnTo>
                        <a:pt x="4" y="227"/>
                      </a:lnTo>
                      <a:lnTo>
                        <a:pt x="4" y="230"/>
                      </a:lnTo>
                      <a:lnTo>
                        <a:pt x="3" y="230"/>
                      </a:lnTo>
                      <a:lnTo>
                        <a:pt x="3" y="235"/>
                      </a:lnTo>
                      <a:lnTo>
                        <a:pt x="4" y="237"/>
                      </a:lnTo>
                      <a:lnTo>
                        <a:pt x="3" y="239"/>
                      </a:lnTo>
                      <a:lnTo>
                        <a:pt x="2" y="239"/>
                      </a:lnTo>
                      <a:lnTo>
                        <a:pt x="0" y="240"/>
                      </a:lnTo>
                      <a:lnTo>
                        <a:pt x="0" y="248"/>
                      </a:lnTo>
                      <a:lnTo>
                        <a:pt x="4" y="251"/>
                      </a:lnTo>
                      <a:lnTo>
                        <a:pt x="6" y="251"/>
                      </a:lnTo>
                      <a:lnTo>
                        <a:pt x="7" y="252"/>
                      </a:lnTo>
                      <a:lnTo>
                        <a:pt x="7" y="252"/>
                      </a:lnTo>
                      <a:lnTo>
                        <a:pt x="11" y="255"/>
                      </a:lnTo>
                      <a:lnTo>
                        <a:pt x="13" y="254"/>
                      </a:lnTo>
                      <a:lnTo>
                        <a:pt x="14" y="257"/>
                      </a:lnTo>
                      <a:lnTo>
                        <a:pt x="18" y="263"/>
                      </a:lnTo>
                      <a:lnTo>
                        <a:pt x="21" y="263"/>
                      </a:lnTo>
                      <a:lnTo>
                        <a:pt x="21" y="266"/>
                      </a:lnTo>
                      <a:lnTo>
                        <a:pt x="26" y="268"/>
                      </a:lnTo>
                      <a:lnTo>
                        <a:pt x="28" y="265"/>
                      </a:lnTo>
                      <a:lnTo>
                        <a:pt x="31" y="266"/>
                      </a:lnTo>
                      <a:lnTo>
                        <a:pt x="33" y="265"/>
                      </a:lnTo>
                      <a:lnTo>
                        <a:pt x="34" y="264"/>
                      </a:lnTo>
                      <a:lnTo>
                        <a:pt x="35" y="265"/>
                      </a:lnTo>
                      <a:lnTo>
                        <a:pt x="39" y="263"/>
                      </a:lnTo>
                      <a:lnTo>
                        <a:pt x="41" y="262"/>
                      </a:lnTo>
                      <a:lnTo>
                        <a:pt x="44" y="263"/>
                      </a:lnTo>
                      <a:lnTo>
                        <a:pt x="49" y="265"/>
                      </a:lnTo>
                      <a:lnTo>
                        <a:pt x="49" y="268"/>
                      </a:lnTo>
                      <a:lnTo>
                        <a:pt x="51" y="269"/>
                      </a:lnTo>
                      <a:lnTo>
                        <a:pt x="53" y="268"/>
                      </a:lnTo>
                      <a:lnTo>
                        <a:pt x="53" y="266"/>
                      </a:lnTo>
                      <a:lnTo>
                        <a:pt x="56" y="264"/>
                      </a:lnTo>
                      <a:lnTo>
                        <a:pt x="59" y="265"/>
                      </a:lnTo>
                      <a:lnTo>
                        <a:pt x="59" y="268"/>
                      </a:lnTo>
                      <a:lnTo>
                        <a:pt x="62" y="268"/>
                      </a:lnTo>
                      <a:lnTo>
                        <a:pt x="67" y="268"/>
                      </a:lnTo>
                      <a:lnTo>
                        <a:pt x="70" y="268"/>
                      </a:lnTo>
                      <a:lnTo>
                        <a:pt x="72" y="266"/>
                      </a:lnTo>
                      <a:lnTo>
                        <a:pt x="76" y="268"/>
                      </a:lnTo>
                      <a:lnTo>
                        <a:pt x="76" y="268"/>
                      </a:lnTo>
                      <a:lnTo>
                        <a:pt x="76" y="266"/>
                      </a:lnTo>
                      <a:lnTo>
                        <a:pt x="77" y="268"/>
                      </a:lnTo>
                      <a:lnTo>
                        <a:pt x="83" y="268"/>
                      </a:lnTo>
                      <a:lnTo>
                        <a:pt x="83" y="268"/>
                      </a:lnTo>
                      <a:lnTo>
                        <a:pt x="82" y="261"/>
                      </a:lnTo>
                      <a:lnTo>
                        <a:pt x="81" y="261"/>
                      </a:lnTo>
                      <a:lnTo>
                        <a:pt x="82" y="259"/>
                      </a:lnTo>
                      <a:lnTo>
                        <a:pt x="81" y="258"/>
                      </a:lnTo>
                      <a:lnTo>
                        <a:pt x="82" y="257"/>
                      </a:lnTo>
                      <a:lnTo>
                        <a:pt x="82" y="256"/>
                      </a:lnTo>
                      <a:lnTo>
                        <a:pt x="82" y="255"/>
                      </a:lnTo>
                      <a:lnTo>
                        <a:pt x="82" y="252"/>
                      </a:lnTo>
                      <a:lnTo>
                        <a:pt x="82" y="252"/>
                      </a:lnTo>
                      <a:lnTo>
                        <a:pt x="83" y="250"/>
                      </a:lnTo>
                      <a:lnTo>
                        <a:pt x="87" y="249"/>
                      </a:lnTo>
                      <a:lnTo>
                        <a:pt x="93" y="252"/>
                      </a:lnTo>
                      <a:lnTo>
                        <a:pt x="94" y="251"/>
                      </a:lnTo>
                      <a:lnTo>
                        <a:pt x="99" y="252"/>
                      </a:lnTo>
                      <a:lnTo>
                        <a:pt x="104" y="257"/>
                      </a:lnTo>
                      <a:lnTo>
                        <a:pt x="106" y="257"/>
                      </a:lnTo>
                      <a:lnTo>
                        <a:pt x="107" y="256"/>
                      </a:lnTo>
                      <a:lnTo>
                        <a:pt x="109" y="258"/>
                      </a:lnTo>
                      <a:lnTo>
                        <a:pt x="111" y="257"/>
                      </a:lnTo>
                      <a:lnTo>
                        <a:pt x="114" y="258"/>
                      </a:lnTo>
                      <a:lnTo>
                        <a:pt x="118" y="258"/>
                      </a:lnTo>
                      <a:lnTo>
                        <a:pt x="121" y="261"/>
                      </a:lnTo>
                      <a:lnTo>
                        <a:pt x="122" y="265"/>
                      </a:lnTo>
                      <a:lnTo>
                        <a:pt x="125" y="268"/>
                      </a:lnTo>
                      <a:lnTo>
                        <a:pt x="130" y="265"/>
                      </a:lnTo>
                      <a:lnTo>
                        <a:pt x="132" y="266"/>
                      </a:lnTo>
                      <a:lnTo>
                        <a:pt x="139" y="265"/>
                      </a:lnTo>
                      <a:lnTo>
                        <a:pt x="141" y="265"/>
                      </a:lnTo>
                      <a:lnTo>
                        <a:pt x="140" y="268"/>
                      </a:lnTo>
                      <a:lnTo>
                        <a:pt x="142" y="269"/>
                      </a:lnTo>
                      <a:lnTo>
                        <a:pt x="148" y="279"/>
                      </a:lnTo>
                      <a:lnTo>
                        <a:pt x="152" y="279"/>
                      </a:lnTo>
                      <a:lnTo>
                        <a:pt x="150" y="275"/>
                      </a:lnTo>
                      <a:lnTo>
                        <a:pt x="152" y="274"/>
                      </a:lnTo>
                      <a:lnTo>
                        <a:pt x="152" y="275"/>
                      </a:lnTo>
                      <a:lnTo>
                        <a:pt x="154" y="275"/>
                      </a:lnTo>
                      <a:lnTo>
                        <a:pt x="154" y="275"/>
                      </a:lnTo>
                      <a:lnTo>
                        <a:pt x="157" y="274"/>
                      </a:lnTo>
                      <a:lnTo>
                        <a:pt x="159" y="275"/>
                      </a:lnTo>
                      <a:lnTo>
                        <a:pt x="161" y="276"/>
                      </a:lnTo>
                      <a:lnTo>
                        <a:pt x="173" y="278"/>
                      </a:lnTo>
                      <a:lnTo>
                        <a:pt x="173" y="279"/>
                      </a:lnTo>
                      <a:lnTo>
                        <a:pt x="172" y="282"/>
                      </a:lnTo>
                      <a:lnTo>
                        <a:pt x="176" y="282"/>
                      </a:lnTo>
                      <a:lnTo>
                        <a:pt x="176" y="283"/>
                      </a:lnTo>
                      <a:lnTo>
                        <a:pt x="176" y="283"/>
                      </a:lnTo>
                      <a:lnTo>
                        <a:pt x="175" y="285"/>
                      </a:lnTo>
                      <a:lnTo>
                        <a:pt x="173" y="285"/>
                      </a:lnTo>
                      <a:lnTo>
                        <a:pt x="171" y="289"/>
                      </a:lnTo>
                      <a:lnTo>
                        <a:pt x="172" y="292"/>
                      </a:lnTo>
                      <a:lnTo>
                        <a:pt x="182" y="294"/>
                      </a:lnTo>
                      <a:lnTo>
                        <a:pt x="185" y="298"/>
                      </a:lnTo>
                      <a:lnTo>
                        <a:pt x="186" y="297"/>
                      </a:lnTo>
                      <a:lnTo>
                        <a:pt x="188" y="298"/>
                      </a:lnTo>
                      <a:lnTo>
                        <a:pt x="189" y="297"/>
                      </a:lnTo>
                      <a:lnTo>
                        <a:pt x="190" y="298"/>
                      </a:lnTo>
                      <a:lnTo>
                        <a:pt x="190" y="300"/>
                      </a:lnTo>
                      <a:lnTo>
                        <a:pt x="191" y="301"/>
                      </a:lnTo>
                      <a:lnTo>
                        <a:pt x="192" y="305"/>
                      </a:lnTo>
                      <a:lnTo>
                        <a:pt x="193" y="307"/>
                      </a:lnTo>
                      <a:lnTo>
                        <a:pt x="197" y="309"/>
                      </a:lnTo>
                      <a:lnTo>
                        <a:pt x="197" y="308"/>
                      </a:lnTo>
                      <a:lnTo>
                        <a:pt x="203" y="307"/>
                      </a:lnTo>
                      <a:lnTo>
                        <a:pt x="203" y="306"/>
                      </a:lnTo>
                      <a:lnTo>
                        <a:pt x="204" y="305"/>
                      </a:lnTo>
                      <a:lnTo>
                        <a:pt x="204" y="303"/>
                      </a:lnTo>
                      <a:lnTo>
                        <a:pt x="206" y="302"/>
                      </a:lnTo>
                      <a:lnTo>
                        <a:pt x="208" y="301"/>
                      </a:lnTo>
                      <a:lnTo>
                        <a:pt x="212" y="302"/>
                      </a:lnTo>
                      <a:lnTo>
                        <a:pt x="217" y="299"/>
                      </a:lnTo>
                      <a:lnTo>
                        <a:pt x="221" y="301"/>
                      </a:lnTo>
                      <a:lnTo>
                        <a:pt x="231" y="303"/>
                      </a:lnTo>
                      <a:lnTo>
                        <a:pt x="235" y="309"/>
                      </a:lnTo>
                      <a:lnTo>
                        <a:pt x="236" y="310"/>
                      </a:lnTo>
                      <a:lnTo>
                        <a:pt x="238" y="309"/>
                      </a:lnTo>
                      <a:lnTo>
                        <a:pt x="239" y="310"/>
                      </a:lnTo>
                      <a:lnTo>
                        <a:pt x="241" y="310"/>
                      </a:lnTo>
                      <a:lnTo>
                        <a:pt x="241" y="308"/>
                      </a:lnTo>
                      <a:lnTo>
                        <a:pt x="245" y="308"/>
                      </a:lnTo>
                      <a:lnTo>
                        <a:pt x="247" y="309"/>
                      </a:lnTo>
                      <a:lnTo>
                        <a:pt x="252" y="309"/>
                      </a:lnTo>
                      <a:lnTo>
                        <a:pt x="251" y="307"/>
                      </a:lnTo>
                      <a:lnTo>
                        <a:pt x="251" y="306"/>
                      </a:lnTo>
                      <a:lnTo>
                        <a:pt x="250" y="304"/>
                      </a:lnTo>
                      <a:lnTo>
                        <a:pt x="251" y="304"/>
                      </a:lnTo>
                      <a:lnTo>
                        <a:pt x="252" y="302"/>
                      </a:lnTo>
                      <a:lnTo>
                        <a:pt x="255" y="301"/>
                      </a:lnTo>
                      <a:lnTo>
                        <a:pt x="257" y="300"/>
                      </a:lnTo>
                      <a:lnTo>
                        <a:pt x="258" y="300"/>
                      </a:lnTo>
                      <a:lnTo>
                        <a:pt x="260" y="302"/>
                      </a:lnTo>
                      <a:lnTo>
                        <a:pt x="266" y="296"/>
                      </a:lnTo>
                      <a:lnTo>
                        <a:pt x="268" y="296"/>
                      </a:lnTo>
                      <a:lnTo>
                        <a:pt x="269" y="296"/>
                      </a:lnTo>
                      <a:lnTo>
                        <a:pt x="269" y="296"/>
                      </a:lnTo>
                      <a:lnTo>
                        <a:pt x="272" y="296"/>
                      </a:lnTo>
                      <a:lnTo>
                        <a:pt x="273" y="295"/>
                      </a:lnTo>
                      <a:lnTo>
                        <a:pt x="275" y="293"/>
                      </a:lnTo>
                      <a:lnTo>
                        <a:pt x="276" y="296"/>
                      </a:lnTo>
                      <a:lnTo>
                        <a:pt x="279" y="295"/>
                      </a:lnTo>
                      <a:lnTo>
                        <a:pt x="281" y="296"/>
                      </a:lnTo>
                      <a:lnTo>
                        <a:pt x="282" y="295"/>
                      </a:lnTo>
                      <a:lnTo>
                        <a:pt x="286" y="300"/>
                      </a:lnTo>
                      <a:lnTo>
                        <a:pt x="289" y="299"/>
                      </a:lnTo>
                      <a:lnTo>
                        <a:pt x="294" y="298"/>
                      </a:lnTo>
                      <a:lnTo>
                        <a:pt x="293" y="296"/>
                      </a:lnTo>
                      <a:lnTo>
                        <a:pt x="293" y="294"/>
                      </a:lnTo>
                      <a:lnTo>
                        <a:pt x="290" y="293"/>
                      </a:lnTo>
                      <a:lnTo>
                        <a:pt x="290" y="291"/>
                      </a:lnTo>
                      <a:lnTo>
                        <a:pt x="291" y="290"/>
                      </a:lnTo>
                      <a:lnTo>
                        <a:pt x="291" y="289"/>
                      </a:lnTo>
                      <a:lnTo>
                        <a:pt x="290" y="289"/>
                      </a:lnTo>
                      <a:lnTo>
                        <a:pt x="287" y="289"/>
                      </a:lnTo>
                      <a:lnTo>
                        <a:pt x="286" y="288"/>
                      </a:lnTo>
                      <a:lnTo>
                        <a:pt x="285" y="287"/>
                      </a:lnTo>
                      <a:lnTo>
                        <a:pt x="283" y="286"/>
                      </a:lnTo>
                      <a:lnTo>
                        <a:pt x="282" y="282"/>
                      </a:lnTo>
                      <a:lnTo>
                        <a:pt x="282" y="280"/>
                      </a:lnTo>
                      <a:lnTo>
                        <a:pt x="282" y="275"/>
                      </a:lnTo>
                      <a:lnTo>
                        <a:pt x="282" y="252"/>
                      </a:lnTo>
                      <a:lnTo>
                        <a:pt x="283" y="243"/>
                      </a:lnTo>
                      <a:lnTo>
                        <a:pt x="282" y="242"/>
                      </a:lnTo>
                      <a:lnTo>
                        <a:pt x="282" y="242"/>
                      </a:lnTo>
                      <a:lnTo>
                        <a:pt x="279" y="241"/>
                      </a:lnTo>
                      <a:lnTo>
                        <a:pt x="278" y="239"/>
                      </a:lnTo>
                      <a:lnTo>
                        <a:pt x="279" y="237"/>
                      </a:lnTo>
                      <a:lnTo>
                        <a:pt x="281" y="237"/>
                      </a:lnTo>
                      <a:lnTo>
                        <a:pt x="281" y="239"/>
                      </a:lnTo>
                      <a:lnTo>
                        <a:pt x="281" y="240"/>
                      </a:lnTo>
                      <a:lnTo>
                        <a:pt x="282" y="241"/>
                      </a:lnTo>
                      <a:lnTo>
                        <a:pt x="282" y="237"/>
                      </a:lnTo>
                      <a:lnTo>
                        <a:pt x="282" y="237"/>
                      </a:lnTo>
                      <a:lnTo>
                        <a:pt x="286" y="227"/>
                      </a:lnTo>
                      <a:lnTo>
                        <a:pt x="285" y="227"/>
                      </a:lnTo>
                      <a:lnTo>
                        <a:pt x="283" y="228"/>
                      </a:lnTo>
                      <a:lnTo>
                        <a:pt x="282" y="227"/>
                      </a:lnTo>
                      <a:lnTo>
                        <a:pt x="281" y="226"/>
                      </a:lnTo>
                      <a:lnTo>
                        <a:pt x="282" y="222"/>
                      </a:lnTo>
                      <a:lnTo>
                        <a:pt x="282" y="222"/>
                      </a:lnTo>
                      <a:lnTo>
                        <a:pt x="282" y="224"/>
                      </a:lnTo>
                      <a:lnTo>
                        <a:pt x="285" y="224"/>
                      </a:lnTo>
                      <a:lnTo>
                        <a:pt x="285" y="227"/>
                      </a:lnTo>
                      <a:lnTo>
                        <a:pt x="286" y="227"/>
                      </a:lnTo>
                      <a:lnTo>
                        <a:pt x="291" y="218"/>
                      </a:lnTo>
                      <a:lnTo>
                        <a:pt x="293" y="214"/>
                      </a:lnTo>
                      <a:lnTo>
                        <a:pt x="298" y="210"/>
                      </a:lnTo>
                      <a:lnTo>
                        <a:pt x="301" y="207"/>
                      </a:lnTo>
                      <a:lnTo>
                        <a:pt x="304" y="206"/>
                      </a:lnTo>
                      <a:lnTo>
                        <a:pt x="305" y="205"/>
                      </a:lnTo>
                      <a:lnTo>
                        <a:pt x="306" y="203"/>
                      </a:lnTo>
                      <a:lnTo>
                        <a:pt x="309" y="203"/>
                      </a:lnTo>
                      <a:lnTo>
                        <a:pt x="314" y="201"/>
                      </a:lnTo>
                      <a:lnTo>
                        <a:pt x="321" y="203"/>
                      </a:lnTo>
                      <a:lnTo>
                        <a:pt x="322" y="202"/>
                      </a:lnTo>
                      <a:lnTo>
                        <a:pt x="323" y="199"/>
                      </a:lnTo>
                      <a:lnTo>
                        <a:pt x="324" y="198"/>
                      </a:lnTo>
                      <a:lnTo>
                        <a:pt x="326" y="196"/>
                      </a:lnTo>
                      <a:lnTo>
                        <a:pt x="332" y="190"/>
                      </a:lnTo>
                      <a:lnTo>
                        <a:pt x="333" y="189"/>
                      </a:lnTo>
                      <a:lnTo>
                        <a:pt x="336" y="188"/>
                      </a:lnTo>
                      <a:lnTo>
                        <a:pt x="339" y="185"/>
                      </a:lnTo>
                      <a:lnTo>
                        <a:pt x="345" y="182"/>
                      </a:lnTo>
                      <a:lnTo>
                        <a:pt x="347" y="180"/>
                      </a:lnTo>
                      <a:lnTo>
                        <a:pt x="354" y="174"/>
                      </a:lnTo>
                      <a:lnTo>
                        <a:pt x="360" y="171"/>
                      </a:lnTo>
                      <a:lnTo>
                        <a:pt x="364" y="169"/>
                      </a:lnTo>
                      <a:lnTo>
                        <a:pt x="370" y="169"/>
                      </a:lnTo>
                      <a:lnTo>
                        <a:pt x="373" y="173"/>
                      </a:lnTo>
                      <a:lnTo>
                        <a:pt x="372" y="175"/>
                      </a:lnTo>
                      <a:lnTo>
                        <a:pt x="373" y="177"/>
                      </a:lnTo>
                      <a:lnTo>
                        <a:pt x="376" y="179"/>
                      </a:lnTo>
                      <a:lnTo>
                        <a:pt x="381" y="180"/>
                      </a:lnTo>
                      <a:lnTo>
                        <a:pt x="382" y="176"/>
                      </a:lnTo>
                      <a:lnTo>
                        <a:pt x="382" y="175"/>
                      </a:lnTo>
                      <a:lnTo>
                        <a:pt x="389" y="172"/>
                      </a:lnTo>
                      <a:lnTo>
                        <a:pt x="388" y="170"/>
                      </a:lnTo>
                      <a:lnTo>
                        <a:pt x="389" y="168"/>
                      </a:lnTo>
                      <a:lnTo>
                        <a:pt x="389" y="170"/>
                      </a:lnTo>
                      <a:lnTo>
                        <a:pt x="389" y="171"/>
                      </a:lnTo>
                      <a:lnTo>
                        <a:pt x="391" y="170"/>
                      </a:lnTo>
                      <a:lnTo>
                        <a:pt x="392" y="170"/>
                      </a:lnTo>
                      <a:lnTo>
                        <a:pt x="396" y="167"/>
                      </a:lnTo>
                      <a:lnTo>
                        <a:pt x="396" y="166"/>
                      </a:lnTo>
                      <a:lnTo>
                        <a:pt x="397" y="165"/>
                      </a:lnTo>
                      <a:lnTo>
                        <a:pt x="399" y="165"/>
                      </a:lnTo>
                      <a:lnTo>
                        <a:pt x="401" y="162"/>
                      </a:lnTo>
                      <a:lnTo>
                        <a:pt x="400" y="161"/>
                      </a:lnTo>
                      <a:lnTo>
                        <a:pt x="399" y="161"/>
                      </a:lnTo>
                      <a:lnTo>
                        <a:pt x="399" y="162"/>
                      </a:lnTo>
                      <a:lnTo>
                        <a:pt x="397" y="161"/>
                      </a:lnTo>
                      <a:lnTo>
                        <a:pt x="400" y="155"/>
                      </a:lnTo>
                      <a:lnTo>
                        <a:pt x="401" y="155"/>
                      </a:lnTo>
                      <a:lnTo>
                        <a:pt x="402" y="152"/>
                      </a:lnTo>
                      <a:lnTo>
                        <a:pt x="406" y="151"/>
                      </a:lnTo>
                      <a:lnTo>
                        <a:pt x="410" y="153"/>
                      </a:lnTo>
                      <a:lnTo>
                        <a:pt x="413" y="153"/>
                      </a:lnTo>
                      <a:lnTo>
                        <a:pt x="412" y="149"/>
                      </a:lnTo>
                      <a:lnTo>
                        <a:pt x="413" y="145"/>
                      </a:lnTo>
                      <a:lnTo>
                        <a:pt x="416" y="141"/>
                      </a:lnTo>
                      <a:lnTo>
                        <a:pt x="414" y="137"/>
                      </a:lnTo>
                      <a:lnTo>
                        <a:pt x="416" y="135"/>
                      </a:lnTo>
                      <a:lnTo>
                        <a:pt x="416" y="134"/>
                      </a:lnTo>
                      <a:lnTo>
                        <a:pt x="414" y="134"/>
                      </a:lnTo>
                      <a:lnTo>
                        <a:pt x="414" y="132"/>
                      </a:lnTo>
                      <a:lnTo>
                        <a:pt x="416" y="132"/>
                      </a:lnTo>
                      <a:lnTo>
                        <a:pt x="419" y="129"/>
                      </a:lnTo>
                      <a:lnTo>
                        <a:pt x="421" y="126"/>
                      </a:lnTo>
                      <a:lnTo>
                        <a:pt x="422" y="126"/>
                      </a:lnTo>
                      <a:lnTo>
                        <a:pt x="422" y="125"/>
                      </a:lnTo>
                      <a:lnTo>
                        <a:pt x="425" y="123"/>
                      </a:lnTo>
                      <a:lnTo>
                        <a:pt x="426" y="122"/>
                      </a:lnTo>
                      <a:lnTo>
                        <a:pt x="427" y="121"/>
                      </a:lnTo>
                      <a:lnTo>
                        <a:pt x="427" y="118"/>
                      </a:lnTo>
                      <a:lnTo>
                        <a:pt x="430" y="119"/>
                      </a:lnTo>
                      <a:lnTo>
                        <a:pt x="430" y="117"/>
                      </a:lnTo>
                      <a:lnTo>
                        <a:pt x="430" y="116"/>
                      </a:lnTo>
                      <a:lnTo>
                        <a:pt x="429" y="114"/>
                      </a:lnTo>
                      <a:close/>
                    </a:path>
                  </a:pathLst>
                </a:custGeom>
                <a:solidFill>
                  <a:srgbClr val="74BAEF"/>
                </a:solidFill>
                <a:ln w="3175">
                  <a:solidFill>
                    <a:schemeClr val="dk1"/>
                  </a:solidFill>
                  <a:round/>
                  <a:headEnd/>
                  <a:tailEnd/>
                </a:ln>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z="800" dirty="0">
                    <a:solidFill>
                      <a:srgbClr val="000000"/>
                    </a:solidFill>
                  </a:endParaRPr>
                </a:p>
              </p:txBody>
            </p:sp>
            <p:sp>
              <p:nvSpPr>
                <p:cNvPr id="56" name="Nouvelle-Aquitaine" descr="{&quot;Key&quot;:&quot;nouvelle-aquitaine&quot;,&quot;Name&quot;:&quot;Nouvelle-Aquitaine&quot;,&quot;Value&quot;:1.0,&quot;Formula&quot;:&quot;&quot;,&quot;Text&quot;:&quot;1&quot;,&quot;OfficeApplication&quot;:0,&quot;HasValue&quot;:true}">
                  <a:extLst>
                    <a:ext uri="{FF2B5EF4-FFF2-40B4-BE49-F238E27FC236}">
                      <a16:creationId xmlns:a16="http://schemas.microsoft.com/office/drawing/2014/main" id="{B47E6DD4-C348-B912-9276-20180385A3E9}"/>
                    </a:ext>
                  </a:extLst>
                </p:cNvPr>
                <p:cNvSpPr>
                  <a:spLocks noEditPoints="1"/>
                </p:cNvSpPr>
                <p:nvPr/>
              </p:nvSpPr>
              <p:spPr bwMode="auto">
                <a:xfrm>
                  <a:off x="4115469" y="3513981"/>
                  <a:ext cx="1859393" cy="2427631"/>
                </a:xfrm>
                <a:custGeom>
                  <a:avLst/>
                  <a:gdLst>
                    <a:gd name="T0" fmla="*/ 355 w 366"/>
                    <a:gd name="T1" fmla="*/ 103 h 499"/>
                    <a:gd name="T2" fmla="*/ 342 w 366"/>
                    <a:gd name="T3" fmla="*/ 93 h 499"/>
                    <a:gd name="T4" fmla="*/ 318 w 366"/>
                    <a:gd name="T5" fmla="*/ 88 h 499"/>
                    <a:gd name="T6" fmla="*/ 297 w 366"/>
                    <a:gd name="T7" fmla="*/ 90 h 499"/>
                    <a:gd name="T8" fmla="*/ 280 w 366"/>
                    <a:gd name="T9" fmla="*/ 88 h 499"/>
                    <a:gd name="T10" fmla="*/ 263 w 366"/>
                    <a:gd name="T11" fmla="*/ 93 h 499"/>
                    <a:gd name="T12" fmla="*/ 251 w 366"/>
                    <a:gd name="T13" fmla="*/ 85 h 499"/>
                    <a:gd name="T14" fmla="*/ 231 w 366"/>
                    <a:gd name="T15" fmla="*/ 63 h 499"/>
                    <a:gd name="T16" fmla="*/ 223 w 366"/>
                    <a:gd name="T17" fmla="*/ 39 h 499"/>
                    <a:gd name="T18" fmla="*/ 205 w 366"/>
                    <a:gd name="T19" fmla="*/ 21 h 499"/>
                    <a:gd name="T20" fmla="*/ 185 w 366"/>
                    <a:gd name="T21" fmla="*/ 21 h 499"/>
                    <a:gd name="T22" fmla="*/ 173 w 366"/>
                    <a:gd name="T23" fmla="*/ 6 h 499"/>
                    <a:gd name="T24" fmla="*/ 154 w 366"/>
                    <a:gd name="T25" fmla="*/ 9 h 499"/>
                    <a:gd name="T26" fmla="*/ 134 w 366"/>
                    <a:gd name="T27" fmla="*/ 8 h 499"/>
                    <a:gd name="T28" fmla="*/ 112 w 366"/>
                    <a:gd name="T29" fmla="*/ 19 h 499"/>
                    <a:gd name="T30" fmla="*/ 93 w 366"/>
                    <a:gd name="T31" fmla="*/ 21 h 499"/>
                    <a:gd name="T32" fmla="*/ 104 w 366"/>
                    <a:gd name="T33" fmla="*/ 45 h 499"/>
                    <a:gd name="T34" fmla="*/ 112 w 366"/>
                    <a:gd name="T35" fmla="*/ 65 h 499"/>
                    <a:gd name="T36" fmla="*/ 115 w 366"/>
                    <a:gd name="T37" fmla="*/ 86 h 499"/>
                    <a:gd name="T38" fmla="*/ 95 w 366"/>
                    <a:gd name="T39" fmla="*/ 95 h 499"/>
                    <a:gd name="T40" fmla="*/ 76 w 366"/>
                    <a:gd name="T41" fmla="*/ 91 h 499"/>
                    <a:gd name="T42" fmla="*/ 65 w 366"/>
                    <a:gd name="T43" fmla="*/ 114 h 499"/>
                    <a:gd name="T44" fmla="*/ 73 w 366"/>
                    <a:gd name="T45" fmla="*/ 135 h 499"/>
                    <a:gd name="T46" fmla="*/ 67 w 366"/>
                    <a:gd name="T47" fmla="*/ 155 h 499"/>
                    <a:gd name="T48" fmla="*/ 70 w 366"/>
                    <a:gd name="T49" fmla="*/ 172 h 499"/>
                    <a:gd name="T50" fmla="*/ 88 w 366"/>
                    <a:gd name="T51" fmla="*/ 186 h 499"/>
                    <a:gd name="T52" fmla="*/ 101 w 366"/>
                    <a:gd name="T53" fmla="*/ 227 h 499"/>
                    <a:gd name="T54" fmla="*/ 107 w 366"/>
                    <a:gd name="T55" fmla="*/ 242 h 499"/>
                    <a:gd name="T56" fmla="*/ 99 w 366"/>
                    <a:gd name="T57" fmla="*/ 236 h 499"/>
                    <a:gd name="T58" fmla="*/ 76 w 366"/>
                    <a:gd name="T59" fmla="*/ 191 h 499"/>
                    <a:gd name="T60" fmla="*/ 62 w 366"/>
                    <a:gd name="T61" fmla="*/ 200 h 499"/>
                    <a:gd name="T62" fmla="*/ 68 w 366"/>
                    <a:gd name="T63" fmla="*/ 279 h 499"/>
                    <a:gd name="T64" fmla="*/ 50 w 366"/>
                    <a:gd name="T65" fmla="*/ 304 h 499"/>
                    <a:gd name="T66" fmla="*/ 26 w 366"/>
                    <a:gd name="T67" fmla="*/ 406 h 499"/>
                    <a:gd name="T68" fmla="*/ 4 w 366"/>
                    <a:gd name="T69" fmla="*/ 426 h 499"/>
                    <a:gd name="T70" fmla="*/ 22 w 366"/>
                    <a:gd name="T71" fmla="*/ 437 h 499"/>
                    <a:gd name="T72" fmla="*/ 42 w 366"/>
                    <a:gd name="T73" fmla="*/ 459 h 499"/>
                    <a:gd name="T74" fmla="*/ 73 w 366"/>
                    <a:gd name="T75" fmla="*/ 479 h 499"/>
                    <a:gd name="T76" fmla="*/ 99 w 366"/>
                    <a:gd name="T77" fmla="*/ 497 h 499"/>
                    <a:gd name="T78" fmla="*/ 129 w 366"/>
                    <a:gd name="T79" fmla="*/ 472 h 499"/>
                    <a:gd name="T80" fmla="*/ 143 w 366"/>
                    <a:gd name="T81" fmla="*/ 456 h 499"/>
                    <a:gd name="T82" fmla="*/ 149 w 366"/>
                    <a:gd name="T83" fmla="*/ 434 h 499"/>
                    <a:gd name="T84" fmla="*/ 148 w 366"/>
                    <a:gd name="T85" fmla="*/ 422 h 499"/>
                    <a:gd name="T86" fmla="*/ 130 w 366"/>
                    <a:gd name="T87" fmla="*/ 408 h 499"/>
                    <a:gd name="T88" fmla="*/ 134 w 366"/>
                    <a:gd name="T89" fmla="*/ 390 h 499"/>
                    <a:gd name="T90" fmla="*/ 132 w 366"/>
                    <a:gd name="T91" fmla="*/ 372 h 499"/>
                    <a:gd name="T92" fmla="*/ 157 w 366"/>
                    <a:gd name="T93" fmla="*/ 373 h 499"/>
                    <a:gd name="T94" fmla="*/ 171 w 366"/>
                    <a:gd name="T95" fmla="*/ 362 h 499"/>
                    <a:gd name="T96" fmla="*/ 203 w 366"/>
                    <a:gd name="T97" fmla="*/ 358 h 499"/>
                    <a:gd name="T98" fmla="*/ 225 w 366"/>
                    <a:gd name="T99" fmla="*/ 344 h 499"/>
                    <a:gd name="T100" fmla="*/ 225 w 366"/>
                    <a:gd name="T101" fmla="*/ 327 h 499"/>
                    <a:gd name="T102" fmla="*/ 236 w 366"/>
                    <a:gd name="T103" fmla="*/ 312 h 499"/>
                    <a:gd name="T104" fmla="*/ 247 w 366"/>
                    <a:gd name="T105" fmla="*/ 288 h 499"/>
                    <a:gd name="T106" fmla="*/ 269 w 366"/>
                    <a:gd name="T107" fmla="*/ 268 h 499"/>
                    <a:gd name="T108" fmla="*/ 275 w 366"/>
                    <a:gd name="T109" fmla="*/ 248 h 499"/>
                    <a:gd name="T110" fmla="*/ 294 w 366"/>
                    <a:gd name="T111" fmla="*/ 255 h 499"/>
                    <a:gd name="T112" fmla="*/ 318 w 366"/>
                    <a:gd name="T113" fmla="*/ 254 h 499"/>
                    <a:gd name="T114" fmla="*/ 335 w 366"/>
                    <a:gd name="T115" fmla="*/ 231 h 499"/>
                    <a:gd name="T116" fmla="*/ 345 w 366"/>
                    <a:gd name="T117" fmla="*/ 211 h 499"/>
                    <a:gd name="T118" fmla="*/ 357 w 366"/>
                    <a:gd name="T119" fmla="*/ 200 h 499"/>
                    <a:gd name="T120" fmla="*/ 359 w 366"/>
                    <a:gd name="T121" fmla="*/ 175 h 499"/>
                    <a:gd name="T122" fmla="*/ 352 w 366"/>
                    <a:gd name="T123" fmla="*/ 153 h 499"/>
                    <a:gd name="T124" fmla="*/ 251 w 366"/>
                    <a:gd name="T125" fmla="*/ 91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6" h="499">
                      <a:moveTo>
                        <a:pt x="365" y="138"/>
                      </a:moveTo>
                      <a:lnTo>
                        <a:pt x="365" y="134"/>
                      </a:lnTo>
                      <a:lnTo>
                        <a:pt x="366" y="131"/>
                      </a:lnTo>
                      <a:lnTo>
                        <a:pt x="362" y="131"/>
                      </a:lnTo>
                      <a:lnTo>
                        <a:pt x="362" y="126"/>
                      </a:lnTo>
                      <a:lnTo>
                        <a:pt x="362" y="123"/>
                      </a:lnTo>
                      <a:lnTo>
                        <a:pt x="362" y="121"/>
                      </a:lnTo>
                      <a:lnTo>
                        <a:pt x="362" y="120"/>
                      </a:lnTo>
                      <a:lnTo>
                        <a:pt x="362" y="117"/>
                      </a:lnTo>
                      <a:lnTo>
                        <a:pt x="359" y="115"/>
                      </a:lnTo>
                      <a:lnTo>
                        <a:pt x="359" y="113"/>
                      </a:lnTo>
                      <a:lnTo>
                        <a:pt x="358" y="110"/>
                      </a:lnTo>
                      <a:lnTo>
                        <a:pt x="358" y="109"/>
                      </a:lnTo>
                      <a:lnTo>
                        <a:pt x="356" y="107"/>
                      </a:lnTo>
                      <a:lnTo>
                        <a:pt x="355" y="104"/>
                      </a:lnTo>
                      <a:lnTo>
                        <a:pt x="355" y="103"/>
                      </a:lnTo>
                      <a:lnTo>
                        <a:pt x="352" y="103"/>
                      </a:lnTo>
                      <a:lnTo>
                        <a:pt x="352" y="103"/>
                      </a:lnTo>
                      <a:lnTo>
                        <a:pt x="352" y="103"/>
                      </a:lnTo>
                      <a:lnTo>
                        <a:pt x="352" y="103"/>
                      </a:lnTo>
                      <a:lnTo>
                        <a:pt x="351" y="101"/>
                      </a:lnTo>
                      <a:lnTo>
                        <a:pt x="348" y="98"/>
                      </a:lnTo>
                      <a:lnTo>
                        <a:pt x="347" y="101"/>
                      </a:lnTo>
                      <a:lnTo>
                        <a:pt x="346" y="101"/>
                      </a:lnTo>
                      <a:lnTo>
                        <a:pt x="346" y="99"/>
                      </a:lnTo>
                      <a:lnTo>
                        <a:pt x="344" y="99"/>
                      </a:lnTo>
                      <a:lnTo>
                        <a:pt x="342" y="97"/>
                      </a:lnTo>
                      <a:lnTo>
                        <a:pt x="342" y="96"/>
                      </a:lnTo>
                      <a:lnTo>
                        <a:pt x="344" y="95"/>
                      </a:lnTo>
                      <a:lnTo>
                        <a:pt x="344" y="93"/>
                      </a:lnTo>
                      <a:lnTo>
                        <a:pt x="344" y="93"/>
                      </a:lnTo>
                      <a:lnTo>
                        <a:pt x="342" y="93"/>
                      </a:lnTo>
                      <a:lnTo>
                        <a:pt x="342" y="93"/>
                      </a:lnTo>
                      <a:lnTo>
                        <a:pt x="340" y="92"/>
                      </a:lnTo>
                      <a:lnTo>
                        <a:pt x="340" y="90"/>
                      </a:lnTo>
                      <a:lnTo>
                        <a:pt x="339" y="88"/>
                      </a:lnTo>
                      <a:lnTo>
                        <a:pt x="337" y="88"/>
                      </a:lnTo>
                      <a:lnTo>
                        <a:pt x="335" y="89"/>
                      </a:lnTo>
                      <a:lnTo>
                        <a:pt x="333" y="88"/>
                      </a:lnTo>
                      <a:lnTo>
                        <a:pt x="331" y="88"/>
                      </a:lnTo>
                      <a:lnTo>
                        <a:pt x="331" y="88"/>
                      </a:lnTo>
                      <a:lnTo>
                        <a:pt x="328" y="89"/>
                      </a:lnTo>
                      <a:lnTo>
                        <a:pt x="327" y="88"/>
                      </a:lnTo>
                      <a:lnTo>
                        <a:pt x="325" y="90"/>
                      </a:lnTo>
                      <a:lnTo>
                        <a:pt x="324" y="90"/>
                      </a:lnTo>
                      <a:lnTo>
                        <a:pt x="323" y="89"/>
                      </a:lnTo>
                      <a:lnTo>
                        <a:pt x="320" y="88"/>
                      </a:lnTo>
                      <a:lnTo>
                        <a:pt x="318" y="88"/>
                      </a:lnTo>
                      <a:lnTo>
                        <a:pt x="317" y="87"/>
                      </a:lnTo>
                      <a:lnTo>
                        <a:pt x="316" y="86"/>
                      </a:lnTo>
                      <a:lnTo>
                        <a:pt x="314" y="86"/>
                      </a:lnTo>
                      <a:lnTo>
                        <a:pt x="311" y="87"/>
                      </a:lnTo>
                      <a:lnTo>
                        <a:pt x="310" y="86"/>
                      </a:lnTo>
                      <a:lnTo>
                        <a:pt x="309" y="86"/>
                      </a:lnTo>
                      <a:lnTo>
                        <a:pt x="308" y="87"/>
                      </a:lnTo>
                      <a:lnTo>
                        <a:pt x="305" y="87"/>
                      </a:lnTo>
                      <a:lnTo>
                        <a:pt x="305" y="88"/>
                      </a:lnTo>
                      <a:lnTo>
                        <a:pt x="303" y="87"/>
                      </a:lnTo>
                      <a:lnTo>
                        <a:pt x="301" y="85"/>
                      </a:lnTo>
                      <a:lnTo>
                        <a:pt x="297" y="85"/>
                      </a:lnTo>
                      <a:lnTo>
                        <a:pt x="297" y="85"/>
                      </a:lnTo>
                      <a:lnTo>
                        <a:pt x="298" y="86"/>
                      </a:lnTo>
                      <a:lnTo>
                        <a:pt x="299" y="87"/>
                      </a:lnTo>
                      <a:lnTo>
                        <a:pt x="297" y="90"/>
                      </a:lnTo>
                      <a:lnTo>
                        <a:pt x="296" y="92"/>
                      </a:lnTo>
                      <a:lnTo>
                        <a:pt x="295" y="92"/>
                      </a:lnTo>
                      <a:lnTo>
                        <a:pt x="293" y="89"/>
                      </a:lnTo>
                      <a:lnTo>
                        <a:pt x="292" y="89"/>
                      </a:lnTo>
                      <a:lnTo>
                        <a:pt x="291" y="90"/>
                      </a:lnTo>
                      <a:lnTo>
                        <a:pt x="290" y="92"/>
                      </a:lnTo>
                      <a:lnTo>
                        <a:pt x="290" y="92"/>
                      </a:lnTo>
                      <a:lnTo>
                        <a:pt x="288" y="92"/>
                      </a:lnTo>
                      <a:lnTo>
                        <a:pt x="287" y="90"/>
                      </a:lnTo>
                      <a:lnTo>
                        <a:pt x="288" y="89"/>
                      </a:lnTo>
                      <a:lnTo>
                        <a:pt x="287" y="88"/>
                      </a:lnTo>
                      <a:lnTo>
                        <a:pt x="286" y="90"/>
                      </a:lnTo>
                      <a:lnTo>
                        <a:pt x="283" y="90"/>
                      </a:lnTo>
                      <a:lnTo>
                        <a:pt x="281" y="90"/>
                      </a:lnTo>
                      <a:lnTo>
                        <a:pt x="281" y="88"/>
                      </a:lnTo>
                      <a:lnTo>
                        <a:pt x="280" y="88"/>
                      </a:lnTo>
                      <a:lnTo>
                        <a:pt x="278" y="90"/>
                      </a:lnTo>
                      <a:lnTo>
                        <a:pt x="277" y="90"/>
                      </a:lnTo>
                      <a:lnTo>
                        <a:pt x="277" y="90"/>
                      </a:lnTo>
                      <a:lnTo>
                        <a:pt x="276" y="90"/>
                      </a:lnTo>
                      <a:lnTo>
                        <a:pt x="275" y="93"/>
                      </a:lnTo>
                      <a:lnTo>
                        <a:pt x="273" y="93"/>
                      </a:lnTo>
                      <a:lnTo>
                        <a:pt x="273" y="95"/>
                      </a:lnTo>
                      <a:lnTo>
                        <a:pt x="271" y="96"/>
                      </a:lnTo>
                      <a:lnTo>
                        <a:pt x="270" y="93"/>
                      </a:lnTo>
                      <a:lnTo>
                        <a:pt x="269" y="92"/>
                      </a:lnTo>
                      <a:lnTo>
                        <a:pt x="268" y="90"/>
                      </a:lnTo>
                      <a:lnTo>
                        <a:pt x="267" y="90"/>
                      </a:lnTo>
                      <a:lnTo>
                        <a:pt x="267" y="90"/>
                      </a:lnTo>
                      <a:lnTo>
                        <a:pt x="264" y="90"/>
                      </a:lnTo>
                      <a:lnTo>
                        <a:pt x="264" y="92"/>
                      </a:lnTo>
                      <a:lnTo>
                        <a:pt x="263" y="93"/>
                      </a:lnTo>
                      <a:lnTo>
                        <a:pt x="259" y="93"/>
                      </a:lnTo>
                      <a:lnTo>
                        <a:pt x="258" y="93"/>
                      </a:lnTo>
                      <a:lnTo>
                        <a:pt x="256" y="93"/>
                      </a:lnTo>
                      <a:lnTo>
                        <a:pt x="256" y="92"/>
                      </a:lnTo>
                      <a:lnTo>
                        <a:pt x="256" y="90"/>
                      </a:lnTo>
                      <a:lnTo>
                        <a:pt x="254" y="93"/>
                      </a:lnTo>
                      <a:lnTo>
                        <a:pt x="253" y="92"/>
                      </a:lnTo>
                      <a:lnTo>
                        <a:pt x="253" y="92"/>
                      </a:lnTo>
                      <a:lnTo>
                        <a:pt x="255" y="90"/>
                      </a:lnTo>
                      <a:lnTo>
                        <a:pt x="254" y="89"/>
                      </a:lnTo>
                      <a:lnTo>
                        <a:pt x="256" y="86"/>
                      </a:lnTo>
                      <a:lnTo>
                        <a:pt x="256" y="86"/>
                      </a:lnTo>
                      <a:lnTo>
                        <a:pt x="253" y="87"/>
                      </a:lnTo>
                      <a:lnTo>
                        <a:pt x="253" y="85"/>
                      </a:lnTo>
                      <a:lnTo>
                        <a:pt x="252" y="85"/>
                      </a:lnTo>
                      <a:lnTo>
                        <a:pt x="251" y="85"/>
                      </a:lnTo>
                      <a:lnTo>
                        <a:pt x="250" y="83"/>
                      </a:lnTo>
                      <a:lnTo>
                        <a:pt x="251" y="82"/>
                      </a:lnTo>
                      <a:lnTo>
                        <a:pt x="250" y="79"/>
                      </a:lnTo>
                      <a:lnTo>
                        <a:pt x="251" y="79"/>
                      </a:lnTo>
                      <a:lnTo>
                        <a:pt x="249" y="76"/>
                      </a:lnTo>
                      <a:lnTo>
                        <a:pt x="246" y="75"/>
                      </a:lnTo>
                      <a:lnTo>
                        <a:pt x="241" y="75"/>
                      </a:lnTo>
                      <a:lnTo>
                        <a:pt x="241" y="73"/>
                      </a:lnTo>
                      <a:lnTo>
                        <a:pt x="240" y="70"/>
                      </a:lnTo>
                      <a:lnTo>
                        <a:pt x="238" y="70"/>
                      </a:lnTo>
                      <a:lnTo>
                        <a:pt x="238" y="70"/>
                      </a:lnTo>
                      <a:lnTo>
                        <a:pt x="234" y="69"/>
                      </a:lnTo>
                      <a:lnTo>
                        <a:pt x="234" y="68"/>
                      </a:lnTo>
                      <a:lnTo>
                        <a:pt x="232" y="68"/>
                      </a:lnTo>
                      <a:lnTo>
                        <a:pt x="232" y="65"/>
                      </a:lnTo>
                      <a:lnTo>
                        <a:pt x="231" y="63"/>
                      </a:lnTo>
                      <a:lnTo>
                        <a:pt x="232" y="62"/>
                      </a:lnTo>
                      <a:lnTo>
                        <a:pt x="232" y="58"/>
                      </a:lnTo>
                      <a:lnTo>
                        <a:pt x="233" y="56"/>
                      </a:lnTo>
                      <a:lnTo>
                        <a:pt x="233" y="55"/>
                      </a:lnTo>
                      <a:lnTo>
                        <a:pt x="232" y="52"/>
                      </a:lnTo>
                      <a:lnTo>
                        <a:pt x="231" y="52"/>
                      </a:lnTo>
                      <a:lnTo>
                        <a:pt x="229" y="52"/>
                      </a:lnTo>
                      <a:lnTo>
                        <a:pt x="228" y="49"/>
                      </a:lnTo>
                      <a:lnTo>
                        <a:pt x="228" y="49"/>
                      </a:lnTo>
                      <a:lnTo>
                        <a:pt x="228" y="48"/>
                      </a:lnTo>
                      <a:lnTo>
                        <a:pt x="228" y="48"/>
                      </a:lnTo>
                      <a:lnTo>
                        <a:pt x="226" y="46"/>
                      </a:lnTo>
                      <a:lnTo>
                        <a:pt x="225" y="45"/>
                      </a:lnTo>
                      <a:lnTo>
                        <a:pt x="225" y="42"/>
                      </a:lnTo>
                      <a:lnTo>
                        <a:pt x="225" y="41"/>
                      </a:lnTo>
                      <a:lnTo>
                        <a:pt x="223" y="39"/>
                      </a:lnTo>
                      <a:lnTo>
                        <a:pt x="224" y="38"/>
                      </a:lnTo>
                      <a:lnTo>
                        <a:pt x="222" y="38"/>
                      </a:lnTo>
                      <a:lnTo>
                        <a:pt x="222" y="37"/>
                      </a:lnTo>
                      <a:lnTo>
                        <a:pt x="221" y="36"/>
                      </a:lnTo>
                      <a:lnTo>
                        <a:pt x="220" y="37"/>
                      </a:lnTo>
                      <a:lnTo>
                        <a:pt x="218" y="34"/>
                      </a:lnTo>
                      <a:lnTo>
                        <a:pt x="216" y="31"/>
                      </a:lnTo>
                      <a:lnTo>
                        <a:pt x="216" y="29"/>
                      </a:lnTo>
                      <a:lnTo>
                        <a:pt x="216" y="26"/>
                      </a:lnTo>
                      <a:lnTo>
                        <a:pt x="216" y="24"/>
                      </a:lnTo>
                      <a:lnTo>
                        <a:pt x="213" y="24"/>
                      </a:lnTo>
                      <a:lnTo>
                        <a:pt x="213" y="23"/>
                      </a:lnTo>
                      <a:lnTo>
                        <a:pt x="211" y="23"/>
                      </a:lnTo>
                      <a:lnTo>
                        <a:pt x="210" y="21"/>
                      </a:lnTo>
                      <a:lnTo>
                        <a:pt x="210" y="21"/>
                      </a:lnTo>
                      <a:lnTo>
                        <a:pt x="205" y="21"/>
                      </a:lnTo>
                      <a:lnTo>
                        <a:pt x="205" y="23"/>
                      </a:lnTo>
                      <a:lnTo>
                        <a:pt x="208" y="24"/>
                      </a:lnTo>
                      <a:lnTo>
                        <a:pt x="208" y="25"/>
                      </a:lnTo>
                      <a:lnTo>
                        <a:pt x="201" y="25"/>
                      </a:lnTo>
                      <a:lnTo>
                        <a:pt x="200" y="26"/>
                      </a:lnTo>
                      <a:lnTo>
                        <a:pt x="195" y="28"/>
                      </a:lnTo>
                      <a:lnTo>
                        <a:pt x="195" y="28"/>
                      </a:lnTo>
                      <a:lnTo>
                        <a:pt x="193" y="28"/>
                      </a:lnTo>
                      <a:lnTo>
                        <a:pt x="191" y="27"/>
                      </a:lnTo>
                      <a:lnTo>
                        <a:pt x="190" y="26"/>
                      </a:lnTo>
                      <a:lnTo>
                        <a:pt x="189" y="28"/>
                      </a:lnTo>
                      <a:lnTo>
                        <a:pt x="186" y="28"/>
                      </a:lnTo>
                      <a:lnTo>
                        <a:pt x="185" y="25"/>
                      </a:lnTo>
                      <a:lnTo>
                        <a:pt x="185" y="24"/>
                      </a:lnTo>
                      <a:lnTo>
                        <a:pt x="184" y="21"/>
                      </a:lnTo>
                      <a:lnTo>
                        <a:pt x="185" y="21"/>
                      </a:lnTo>
                      <a:lnTo>
                        <a:pt x="185" y="18"/>
                      </a:lnTo>
                      <a:lnTo>
                        <a:pt x="186" y="17"/>
                      </a:lnTo>
                      <a:lnTo>
                        <a:pt x="185" y="14"/>
                      </a:lnTo>
                      <a:lnTo>
                        <a:pt x="182" y="14"/>
                      </a:lnTo>
                      <a:lnTo>
                        <a:pt x="182" y="13"/>
                      </a:lnTo>
                      <a:lnTo>
                        <a:pt x="180" y="12"/>
                      </a:lnTo>
                      <a:lnTo>
                        <a:pt x="177" y="14"/>
                      </a:lnTo>
                      <a:lnTo>
                        <a:pt x="177" y="13"/>
                      </a:lnTo>
                      <a:lnTo>
                        <a:pt x="175" y="14"/>
                      </a:lnTo>
                      <a:lnTo>
                        <a:pt x="175" y="12"/>
                      </a:lnTo>
                      <a:lnTo>
                        <a:pt x="177" y="10"/>
                      </a:lnTo>
                      <a:lnTo>
                        <a:pt x="177" y="8"/>
                      </a:lnTo>
                      <a:lnTo>
                        <a:pt x="177" y="7"/>
                      </a:lnTo>
                      <a:lnTo>
                        <a:pt x="174" y="8"/>
                      </a:lnTo>
                      <a:lnTo>
                        <a:pt x="173" y="8"/>
                      </a:lnTo>
                      <a:lnTo>
                        <a:pt x="173" y="6"/>
                      </a:lnTo>
                      <a:lnTo>
                        <a:pt x="170" y="5"/>
                      </a:lnTo>
                      <a:lnTo>
                        <a:pt x="170" y="6"/>
                      </a:lnTo>
                      <a:lnTo>
                        <a:pt x="168" y="6"/>
                      </a:lnTo>
                      <a:lnTo>
                        <a:pt x="168" y="3"/>
                      </a:lnTo>
                      <a:lnTo>
                        <a:pt x="167" y="3"/>
                      </a:lnTo>
                      <a:lnTo>
                        <a:pt x="167" y="0"/>
                      </a:lnTo>
                      <a:lnTo>
                        <a:pt x="165" y="1"/>
                      </a:lnTo>
                      <a:lnTo>
                        <a:pt x="164" y="0"/>
                      </a:lnTo>
                      <a:lnTo>
                        <a:pt x="163" y="0"/>
                      </a:lnTo>
                      <a:lnTo>
                        <a:pt x="162" y="1"/>
                      </a:lnTo>
                      <a:lnTo>
                        <a:pt x="160" y="5"/>
                      </a:lnTo>
                      <a:lnTo>
                        <a:pt x="160" y="6"/>
                      </a:lnTo>
                      <a:lnTo>
                        <a:pt x="160" y="9"/>
                      </a:lnTo>
                      <a:lnTo>
                        <a:pt x="157" y="9"/>
                      </a:lnTo>
                      <a:lnTo>
                        <a:pt x="156" y="8"/>
                      </a:lnTo>
                      <a:lnTo>
                        <a:pt x="154" y="9"/>
                      </a:lnTo>
                      <a:lnTo>
                        <a:pt x="154" y="10"/>
                      </a:lnTo>
                      <a:lnTo>
                        <a:pt x="153" y="12"/>
                      </a:lnTo>
                      <a:lnTo>
                        <a:pt x="152" y="13"/>
                      </a:lnTo>
                      <a:lnTo>
                        <a:pt x="149" y="12"/>
                      </a:lnTo>
                      <a:lnTo>
                        <a:pt x="149" y="12"/>
                      </a:lnTo>
                      <a:lnTo>
                        <a:pt x="149" y="10"/>
                      </a:lnTo>
                      <a:lnTo>
                        <a:pt x="149" y="9"/>
                      </a:lnTo>
                      <a:lnTo>
                        <a:pt x="151" y="9"/>
                      </a:lnTo>
                      <a:lnTo>
                        <a:pt x="151" y="8"/>
                      </a:lnTo>
                      <a:lnTo>
                        <a:pt x="148" y="7"/>
                      </a:lnTo>
                      <a:lnTo>
                        <a:pt x="146" y="8"/>
                      </a:lnTo>
                      <a:lnTo>
                        <a:pt x="144" y="7"/>
                      </a:lnTo>
                      <a:lnTo>
                        <a:pt x="143" y="7"/>
                      </a:lnTo>
                      <a:lnTo>
                        <a:pt x="139" y="8"/>
                      </a:lnTo>
                      <a:lnTo>
                        <a:pt x="136" y="9"/>
                      </a:lnTo>
                      <a:lnTo>
                        <a:pt x="134" y="8"/>
                      </a:lnTo>
                      <a:lnTo>
                        <a:pt x="133" y="9"/>
                      </a:lnTo>
                      <a:lnTo>
                        <a:pt x="132" y="8"/>
                      </a:lnTo>
                      <a:lnTo>
                        <a:pt x="131" y="10"/>
                      </a:lnTo>
                      <a:lnTo>
                        <a:pt x="126" y="10"/>
                      </a:lnTo>
                      <a:lnTo>
                        <a:pt x="125" y="12"/>
                      </a:lnTo>
                      <a:lnTo>
                        <a:pt x="123" y="10"/>
                      </a:lnTo>
                      <a:lnTo>
                        <a:pt x="125" y="10"/>
                      </a:lnTo>
                      <a:lnTo>
                        <a:pt x="125" y="9"/>
                      </a:lnTo>
                      <a:lnTo>
                        <a:pt x="122" y="9"/>
                      </a:lnTo>
                      <a:lnTo>
                        <a:pt x="119" y="10"/>
                      </a:lnTo>
                      <a:lnTo>
                        <a:pt x="119" y="14"/>
                      </a:lnTo>
                      <a:lnTo>
                        <a:pt x="120" y="14"/>
                      </a:lnTo>
                      <a:lnTo>
                        <a:pt x="118" y="14"/>
                      </a:lnTo>
                      <a:lnTo>
                        <a:pt x="115" y="17"/>
                      </a:lnTo>
                      <a:lnTo>
                        <a:pt x="115" y="18"/>
                      </a:lnTo>
                      <a:lnTo>
                        <a:pt x="112" y="19"/>
                      </a:lnTo>
                      <a:lnTo>
                        <a:pt x="112" y="18"/>
                      </a:lnTo>
                      <a:lnTo>
                        <a:pt x="110" y="18"/>
                      </a:lnTo>
                      <a:lnTo>
                        <a:pt x="108" y="18"/>
                      </a:lnTo>
                      <a:lnTo>
                        <a:pt x="108" y="19"/>
                      </a:lnTo>
                      <a:lnTo>
                        <a:pt x="107" y="18"/>
                      </a:lnTo>
                      <a:lnTo>
                        <a:pt x="106" y="19"/>
                      </a:lnTo>
                      <a:lnTo>
                        <a:pt x="104" y="17"/>
                      </a:lnTo>
                      <a:lnTo>
                        <a:pt x="104" y="18"/>
                      </a:lnTo>
                      <a:lnTo>
                        <a:pt x="100" y="17"/>
                      </a:lnTo>
                      <a:lnTo>
                        <a:pt x="98" y="18"/>
                      </a:lnTo>
                      <a:lnTo>
                        <a:pt x="95" y="18"/>
                      </a:lnTo>
                      <a:lnTo>
                        <a:pt x="95" y="19"/>
                      </a:lnTo>
                      <a:lnTo>
                        <a:pt x="95" y="21"/>
                      </a:lnTo>
                      <a:lnTo>
                        <a:pt x="92" y="19"/>
                      </a:lnTo>
                      <a:lnTo>
                        <a:pt x="91" y="21"/>
                      </a:lnTo>
                      <a:lnTo>
                        <a:pt x="93" y="21"/>
                      </a:lnTo>
                      <a:lnTo>
                        <a:pt x="94" y="22"/>
                      </a:lnTo>
                      <a:lnTo>
                        <a:pt x="93" y="24"/>
                      </a:lnTo>
                      <a:lnTo>
                        <a:pt x="95" y="24"/>
                      </a:lnTo>
                      <a:lnTo>
                        <a:pt x="97" y="25"/>
                      </a:lnTo>
                      <a:lnTo>
                        <a:pt x="97" y="26"/>
                      </a:lnTo>
                      <a:lnTo>
                        <a:pt x="98" y="27"/>
                      </a:lnTo>
                      <a:lnTo>
                        <a:pt x="96" y="30"/>
                      </a:lnTo>
                      <a:lnTo>
                        <a:pt x="97" y="31"/>
                      </a:lnTo>
                      <a:lnTo>
                        <a:pt x="100" y="34"/>
                      </a:lnTo>
                      <a:lnTo>
                        <a:pt x="101" y="36"/>
                      </a:lnTo>
                      <a:lnTo>
                        <a:pt x="101" y="37"/>
                      </a:lnTo>
                      <a:lnTo>
                        <a:pt x="105" y="38"/>
                      </a:lnTo>
                      <a:lnTo>
                        <a:pt x="106" y="39"/>
                      </a:lnTo>
                      <a:lnTo>
                        <a:pt x="105" y="40"/>
                      </a:lnTo>
                      <a:lnTo>
                        <a:pt x="104" y="41"/>
                      </a:lnTo>
                      <a:lnTo>
                        <a:pt x="104" y="45"/>
                      </a:lnTo>
                      <a:lnTo>
                        <a:pt x="105" y="46"/>
                      </a:lnTo>
                      <a:lnTo>
                        <a:pt x="106" y="46"/>
                      </a:lnTo>
                      <a:lnTo>
                        <a:pt x="106" y="48"/>
                      </a:lnTo>
                      <a:lnTo>
                        <a:pt x="108" y="49"/>
                      </a:lnTo>
                      <a:lnTo>
                        <a:pt x="108" y="52"/>
                      </a:lnTo>
                      <a:lnTo>
                        <a:pt x="108" y="53"/>
                      </a:lnTo>
                      <a:lnTo>
                        <a:pt x="108" y="54"/>
                      </a:lnTo>
                      <a:lnTo>
                        <a:pt x="108" y="55"/>
                      </a:lnTo>
                      <a:lnTo>
                        <a:pt x="110" y="55"/>
                      </a:lnTo>
                      <a:lnTo>
                        <a:pt x="110" y="56"/>
                      </a:lnTo>
                      <a:lnTo>
                        <a:pt x="108" y="58"/>
                      </a:lnTo>
                      <a:lnTo>
                        <a:pt x="108" y="59"/>
                      </a:lnTo>
                      <a:lnTo>
                        <a:pt x="110" y="59"/>
                      </a:lnTo>
                      <a:lnTo>
                        <a:pt x="112" y="62"/>
                      </a:lnTo>
                      <a:lnTo>
                        <a:pt x="111" y="63"/>
                      </a:lnTo>
                      <a:lnTo>
                        <a:pt x="112" y="65"/>
                      </a:lnTo>
                      <a:lnTo>
                        <a:pt x="111" y="66"/>
                      </a:lnTo>
                      <a:lnTo>
                        <a:pt x="112" y="68"/>
                      </a:lnTo>
                      <a:lnTo>
                        <a:pt x="112" y="68"/>
                      </a:lnTo>
                      <a:lnTo>
                        <a:pt x="112" y="71"/>
                      </a:lnTo>
                      <a:lnTo>
                        <a:pt x="110" y="72"/>
                      </a:lnTo>
                      <a:lnTo>
                        <a:pt x="110" y="76"/>
                      </a:lnTo>
                      <a:lnTo>
                        <a:pt x="112" y="80"/>
                      </a:lnTo>
                      <a:lnTo>
                        <a:pt x="111" y="81"/>
                      </a:lnTo>
                      <a:lnTo>
                        <a:pt x="110" y="83"/>
                      </a:lnTo>
                      <a:lnTo>
                        <a:pt x="108" y="84"/>
                      </a:lnTo>
                      <a:lnTo>
                        <a:pt x="110" y="85"/>
                      </a:lnTo>
                      <a:lnTo>
                        <a:pt x="110" y="86"/>
                      </a:lnTo>
                      <a:lnTo>
                        <a:pt x="110" y="87"/>
                      </a:lnTo>
                      <a:lnTo>
                        <a:pt x="112" y="85"/>
                      </a:lnTo>
                      <a:lnTo>
                        <a:pt x="112" y="85"/>
                      </a:lnTo>
                      <a:lnTo>
                        <a:pt x="115" y="86"/>
                      </a:lnTo>
                      <a:lnTo>
                        <a:pt x="115" y="87"/>
                      </a:lnTo>
                      <a:lnTo>
                        <a:pt x="117" y="88"/>
                      </a:lnTo>
                      <a:lnTo>
                        <a:pt x="115" y="91"/>
                      </a:lnTo>
                      <a:lnTo>
                        <a:pt x="115" y="92"/>
                      </a:lnTo>
                      <a:lnTo>
                        <a:pt x="112" y="91"/>
                      </a:lnTo>
                      <a:lnTo>
                        <a:pt x="110" y="93"/>
                      </a:lnTo>
                      <a:lnTo>
                        <a:pt x="108" y="93"/>
                      </a:lnTo>
                      <a:lnTo>
                        <a:pt x="108" y="96"/>
                      </a:lnTo>
                      <a:lnTo>
                        <a:pt x="105" y="96"/>
                      </a:lnTo>
                      <a:lnTo>
                        <a:pt x="104" y="95"/>
                      </a:lnTo>
                      <a:lnTo>
                        <a:pt x="102" y="96"/>
                      </a:lnTo>
                      <a:lnTo>
                        <a:pt x="101" y="97"/>
                      </a:lnTo>
                      <a:lnTo>
                        <a:pt x="100" y="97"/>
                      </a:lnTo>
                      <a:lnTo>
                        <a:pt x="100" y="96"/>
                      </a:lnTo>
                      <a:lnTo>
                        <a:pt x="98" y="96"/>
                      </a:lnTo>
                      <a:lnTo>
                        <a:pt x="95" y="95"/>
                      </a:lnTo>
                      <a:lnTo>
                        <a:pt x="95" y="93"/>
                      </a:lnTo>
                      <a:lnTo>
                        <a:pt x="93" y="93"/>
                      </a:lnTo>
                      <a:lnTo>
                        <a:pt x="92" y="96"/>
                      </a:lnTo>
                      <a:lnTo>
                        <a:pt x="91" y="96"/>
                      </a:lnTo>
                      <a:lnTo>
                        <a:pt x="89" y="93"/>
                      </a:lnTo>
                      <a:lnTo>
                        <a:pt x="88" y="95"/>
                      </a:lnTo>
                      <a:lnTo>
                        <a:pt x="88" y="96"/>
                      </a:lnTo>
                      <a:lnTo>
                        <a:pt x="84" y="96"/>
                      </a:lnTo>
                      <a:lnTo>
                        <a:pt x="84" y="93"/>
                      </a:lnTo>
                      <a:lnTo>
                        <a:pt x="84" y="93"/>
                      </a:lnTo>
                      <a:lnTo>
                        <a:pt x="85" y="90"/>
                      </a:lnTo>
                      <a:lnTo>
                        <a:pt x="85" y="89"/>
                      </a:lnTo>
                      <a:lnTo>
                        <a:pt x="84" y="90"/>
                      </a:lnTo>
                      <a:lnTo>
                        <a:pt x="82" y="90"/>
                      </a:lnTo>
                      <a:lnTo>
                        <a:pt x="82" y="90"/>
                      </a:lnTo>
                      <a:lnTo>
                        <a:pt x="76" y="91"/>
                      </a:lnTo>
                      <a:lnTo>
                        <a:pt x="75" y="93"/>
                      </a:lnTo>
                      <a:lnTo>
                        <a:pt x="74" y="93"/>
                      </a:lnTo>
                      <a:lnTo>
                        <a:pt x="70" y="95"/>
                      </a:lnTo>
                      <a:lnTo>
                        <a:pt x="70" y="96"/>
                      </a:lnTo>
                      <a:lnTo>
                        <a:pt x="71" y="100"/>
                      </a:lnTo>
                      <a:lnTo>
                        <a:pt x="70" y="102"/>
                      </a:lnTo>
                      <a:lnTo>
                        <a:pt x="69" y="103"/>
                      </a:lnTo>
                      <a:lnTo>
                        <a:pt x="66" y="104"/>
                      </a:lnTo>
                      <a:lnTo>
                        <a:pt x="64" y="107"/>
                      </a:lnTo>
                      <a:lnTo>
                        <a:pt x="63" y="107"/>
                      </a:lnTo>
                      <a:lnTo>
                        <a:pt x="64" y="109"/>
                      </a:lnTo>
                      <a:lnTo>
                        <a:pt x="62" y="109"/>
                      </a:lnTo>
                      <a:lnTo>
                        <a:pt x="61" y="112"/>
                      </a:lnTo>
                      <a:lnTo>
                        <a:pt x="63" y="114"/>
                      </a:lnTo>
                      <a:lnTo>
                        <a:pt x="65" y="113"/>
                      </a:lnTo>
                      <a:lnTo>
                        <a:pt x="65" y="114"/>
                      </a:lnTo>
                      <a:lnTo>
                        <a:pt x="66" y="115"/>
                      </a:lnTo>
                      <a:lnTo>
                        <a:pt x="67" y="117"/>
                      </a:lnTo>
                      <a:lnTo>
                        <a:pt x="67" y="118"/>
                      </a:lnTo>
                      <a:lnTo>
                        <a:pt x="69" y="120"/>
                      </a:lnTo>
                      <a:lnTo>
                        <a:pt x="70" y="119"/>
                      </a:lnTo>
                      <a:lnTo>
                        <a:pt x="70" y="120"/>
                      </a:lnTo>
                      <a:lnTo>
                        <a:pt x="71" y="124"/>
                      </a:lnTo>
                      <a:lnTo>
                        <a:pt x="74" y="125"/>
                      </a:lnTo>
                      <a:lnTo>
                        <a:pt x="74" y="128"/>
                      </a:lnTo>
                      <a:lnTo>
                        <a:pt x="74" y="130"/>
                      </a:lnTo>
                      <a:lnTo>
                        <a:pt x="74" y="131"/>
                      </a:lnTo>
                      <a:lnTo>
                        <a:pt x="72" y="131"/>
                      </a:lnTo>
                      <a:lnTo>
                        <a:pt x="70" y="131"/>
                      </a:lnTo>
                      <a:lnTo>
                        <a:pt x="71" y="133"/>
                      </a:lnTo>
                      <a:lnTo>
                        <a:pt x="72" y="135"/>
                      </a:lnTo>
                      <a:lnTo>
                        <a:pt x="73" y="135"/>
                      </a:lnTo>
                      <a:lnTo>
                        <a:pt x="73" y="137"/>
                      </a:lnTo>
                      <a:lnTo>
                        <a:pt x="71" y="137"/>
                      </a:lnTo>
                      <a:lnTo>
                        <a:pt x="71" y="138"/>
                      </a:lnTo>
                      <a:lnTo>
                        <a:pt x="72" y="138"/>
                      </a:lnTo>
                      <a:lnTo>
                        <a:pt x="72" y="139"/>
                      </a:lnTo>
                      <a:lnTo>
                        <a:pt x="71" y="142"/>
                      </a:lnTo>
                      <a:lnTo>
                        <a:pt x="70" y="144"/>
                      </a:lnTo>
                      <a:lnTo>
                        <a:pt x="70" y="147"/>
                      </a:lnTo>
                      <a:lnTo>
                        <a:pt x="68" y="148"/>
                      </a:lnTo>
                      <a:lnTo>
                        <a:pt x="64" y="148"/>
                      </a:lnTo>
                      <a:lnTo>
                        <a:pt x="64" y="148"/>
                      </a:lnTo>
                      <a:lnTo>
                        <a:pt x="66" y="151"/>
                      </a:lnTo>
                      <a:lnTo>
                        <a:pt x="67" y="152"/>
                      </a:lnTo>
                      <a:lnTo>
                        <a:pt x="66" y="153"/>
                      </a:lnTo>
                      <a:lnTo>
                        <a:pt x="67" y="153"/>
                      </a:lnTo>
                      <a:lnTo>
                        <a:pt x="67" y="155"/>
                      </a:lnTo>
                      <a:lnTo>
                        <a:pt x="65" y="155"/>
                      </a:lnTo>
                      <a:lnTo>
                        <a:pt x="66" y="153"/>
                      </a:lnTo>
                      <a:lnTo>
                        <a:pt x="65" y="153"/>
                      </a:lnTo>
                      <a:lnTo>
                        <a:pt x="63" y="153"/>
                      </a:lnTo>
                      <a:lnTo>
                        <a:pt x="60" y="153"/>
                      </a:lnTo>
                      <a:lnTo>
                        <a:pt x="57" y="153"/>
                      </a:lnTo>
                      <a:lnTo>
                        <a:pt x="58" y="154"/>
                      </a:lnTo>
                      <a:lnTo>
                        <a:pt x="57" y="163"/>
                      </a:lnTo>
                      <a:lnTo>
                        <a:pt x="58" y="165"/>
                      </a:lnTo>
                      <a:lnTo>
                        <a:pt x="59" y="168"/>
                      </a:lnTo>
                      <a:lnTo>
                        <a:pt x="60" y="168"/>
                      </a:lnTo>
                      <a:lnTo>
                        <a:pt x="60" y="166"/>
                      </a:lnTo>
                      <a:lnTo>
                        <a:pt x="62" y="166"/>
                      </a:lnTo>
                      <a:lnTo>
                        <a:pt x="65" y="168"/>
                      </a:lnTo>
                      <a:lnTo>
                        <a:pt x="66" y="169"/>
                      </a:lnTo>
                      <a:lnTo>
                        <a:pt x="70" y="172"/>
                      </a:lnTo>
                      <a:lnTo>
                        <a:pt x="72" y="173"/>
                      </a:lnTo>
                      <a:lnTo>
                        <a:pt x="74" y="174"/>
                      </a:lnTo>
                      <a:lnTo>
                        <a:pt x="74" y="173"/>
                      </a:lnTo>
                      <a:lnTo>
                        <a:pt x="76" y="176"/>
                      </a:lnTo>
                      <a:lnTo>
                        <a:pt x="76" y="176"/>
                      </a:lnTo>
                      <a:lnTo>
                        <a:pt x="77" y="176"/>
                      </a:lnTo>
                      <a:lnTo>
                        <a:pt x="77" y="179"/>
                      </a:lnTo>
                      <a:lnTo>
                        <a:pt x="78" y="179"/>
                      </a:lnTo>
                      <a:lnTo>
                        <a:pt x="78" y="181"/>
                      </a:lnTo>
                      <a:lnTo>
                        <a:pt x="81" y="182"/>
                      </a:lnTo>
                      <a:lnTo>
                        <a:pt x="82" y="182"/>
                      </a:lnTo>
                      <a:lnTo>
                        <a:pt x="82" y="182"/>
                      </a:lnTo>
                      <a:lnTo>
                        <a:pt x="84" y="183"/>
                      </a:lnTo>
                      <a:lnTo>
                        <a:pt x="84" y="185"/>
                      </a:lnTo>
                      <a:lnTo>
                        <a:pt x="84" y="186"/>
                      </a:lnTo>
                      <a:lnTo>
                        <a:pt x="88" y="186"/>
                      </a:lnTo>
                      <a:lnTo>
                        <a:pt x="91" y="191"/>
                      </a:lnTo>
                      <a:lnTo>
                        <a:pt x="93" y="193"/>
                      </a:lnTo>
                      <a:lnTo>
                        <a:pt x="94" y="194"/>
                      </a:lnTo>
                      <a:lnTo>
                        <a:pt x="95" y="195"/>
                      </a:lnTo>
                      <a:lnTo>
                        <a:pt x="95" y="196"/>
                      </a:lnTo>
                      <a:lnTo>
                        <a:pt x="96" y="200"/>
                      </a:lnTo>
                      <a:lnTo>
                        <a:pt x="97" y="204"/>
                      </a:lnTo>
                      <a:lnTo>
                        <a:pt x="98" y="209"/>
                      </a:lnTo>
                      <a:lnTo>
                        <a:pt x="99" y="209"/>
                      </a:lnTo>
                      <a:lnTo>
                        <a:pt x="99" y="209"/>
                      </a:lnTo>
                      <a:lnTo>
                        <a:pt x="98" y="209"/>
                      </a:lnTo>
                      <a:lnTo>
                        <a:pt x="99" y="213"/>
                      </a:lnTo>
                      <a:lnTo>
                        <a:pt x="100" y="219"/>
                      </a:lnTo>
                      <a:lnTo>
                        <a:pt x="101" y="222"/>
                      </a:lnTo>
                      <a:lnTo>
                        <a:pt x="101" y="225"/>
                      </a:lnTo>
                      <a:lnTo>
                        <a:pt x="101" y="227"/>
                      </a:lnTo>
                      <a:lnTo>
                        <a:pt x="101" y="229"/>
                      </a:lnTo>
                      <a:lnTo>
                        <a:pt x="101" y="230"/>
                      </a:lnTo>
                      <a:lnTo>
                        <a:pt x="102" y="233"/>
                      </a:lnTo>
                      <a:lnTo>
                        <a:pt x="104" y="236"/>
                      </a:lnTo>
                      <a:lnTo>
                        <a:pt x="104" y="238"/>
                      </a:lnTo>
                      <a:lnTo>
                        <a:pt x="105" y="240"/>
                      </a:lnTo>
                      <a:lnTo>
                        <a:pt x="106" y="241"/>
                      </a:lnTo>
                      <a:lnTo>
                        <a:pt x="107" y="241"/>
                      </a:lnTo>
                      <a:lnTo>
                        <a:pt x="108" y="241"/>
                      </a:lnTo>
                      <a:lnTo>
                        <a:pt x="111" y="242"/>
                      </a:lnTo>
                      <a:lnTo>
                        <a:pt x="113" y="244"/>
                      </a:lnTo>
                      <a:lnTo>
                        <a:pt x="115" y="245"/>
                      </a:lnTo>
                      <a:lnTo>
                        <a:pt x="115" y="246"/>
                      </a:lnTo>
                      <a:lnTo>
                        <a:pt x="115" y="246"/>
                      </a:lnTo>
                      <a:lnTo>
                        <a:pt x="112" y="245"/>
                      </a:lnTo>
                      <a:lnTo>
                        <a:pt x="107" y="242"/>
                      </a:lnTo>
                      <a:lnTo>
                        <a:pt x="106" y="242"/>
                      </a:lnTo>
                      <a:lnTo>
                        <a:pt x="106" y="242"/>
                      </a:lnTo>
                      <a:lnTo>
                        <a:pt x="112" y="248"/>
                      </a:lnTo>
                      <a:lnTo>
                        <a:pt x="112" y="250"/>
                      </a:lnTo>
                      <a:lnTo>
                        <a:pt x="111" y="248"/>
                      </a:lnTo>
                      <a:lnTo>
                        <a:pt x="111" y="248"/>
                      </a:lnTo>
                      <a:lnTo>
                        <a:pt x="110" y="247"/>
                      </a:lnTo>
                      <a:lnTo>
                        <a:pt x="107" y="245"/>
                      </a:lnTo>
                      <a:lnTo>
                        <a:pt x="105" y="244"/>
                      </a:lnTo>
                      <a:lnTo>
                        <a:pt x="105" y="243"/>
                      </a:lnTo>
                      <a:lnTo>
                        <a:pt x="103" y="242"/>
                      </a:lnTo>
                      <a:lnTo>
                        <a:pt x="102" y="241"/>
                      </a:lnTo>
                      <a:lnTo>
                        <a:pt x="101" y="241"/>
                      </a:lnTo>
                      <a:lnTo>
                        <a:pt x="101" y="239"/>
                      </a:lnTo>
                      <a:lnTo>
                        <a:pt x="100" y="238"/>
                      </a:lnTo>
                      <a:lnTo>
                        <a:pt x="99" y="236"/>
                      </a:lnTo>
                      <a:lnTo>
                        <a:pt x="98" y="234"/>
                      </a:lnTo>
                      <a:lnTo>
                        <a:pt x="97" y="230"/>
                      </a:lnTo>
                      <a:lnTo>
                        <a:pt x="96" y="226"/>
                      </a:lnTo>
                      <a:lnTo>
                        <a:pt x="95" y="224"/>
                      </a:lnTo>
                      <a:lnTo>
                        <a:pt x="95" y="219"/>
                      </a:lnTo>
                      <a:lnTo>
                        <a:pt x="94" y="214"/>
                      </a:lnTo>
                      <a:lnTo>
                        <a:pt x="93" y="210"/>
                      </a:lnTo>
                      <a:lnTo>
                        <a:pt x="92" y="207"/>
                      </a:lnTo>
                      <a:lnTo>
                        <a:pt x="91" y="206"/>
                      </a:lnTo>
                      <a:lnTo>
                        <a:pt x="89" y="204"/>
                      </a:lnTo>
                      <a:lnTo>
                        <a:pt x="88" y="203"/>
                      </a:lnTo>
                      <a:lnTo>
                        <a:pt x="87" y="201"/>
                      </a:lnTo>
                      <a:lnTo>
                        <a:pt x="84" y="199"/>
                      </a:lnTo>
                      <a:lnTo>
                        <a:pt x="81" y="195"/>
                      </a:lnTo>
                      <a:lnTo>
                        <a:pt x="77" y="193"/>
                      </a:lnTo>
                      <a:lnTo>
                        <a:pt x="76" y="191"/>
                      </a:lnTo>
                      <a:lnTo>
                        <a:pt x="74" y="189"/>
                      </a:lnTo>
                      <a:lnTo>
                        <a:pt x="74" y="189"/>
                      </a:lnTo>
                      <a:lnTo>
                        <a:pt x="73" y="188"/>
                      </a:lnTo>
                      <a:lnTo>
                        <a:pt x="70" y="186"/>
                      </a:lnTo>
                      <a:lnTo>
                        <a:pt x="71" y="183"/>
                      </a:lnTo>
                      <a:lnTo>
                        <a:pt x="73" y="183"/>
                      </a:lnTo>
                      <a:lnTo>
                        <a:pt x="73" y="183"/>
                      </a:lnTo>
                      <a:lnTo>
                        <a:pt x="71" y="180"/>
                      </a:lnTo>
                      <a:lnTo>
                        <a:pt x="69" y="181"/>
                      </a:lnTo>
                      <a:lnTo>
                        <a:pt x="67" y="186"/>
                      </a:lnTo>
                      <a:lnTo>
                        <a:pt x="65" y="186"/>
                      </a:lnTo>
                      <a:lnTo>
                        <a:pt x="63" y="189"/>
                      </a:lnTo>
                      <a:lnTo>
                        <a:pt x="64" y="191"/>
                      </a:lnTo>
                      <a:lnTo>
                        <a:pt x="64" y="193"/>
                      </a:lnTo>
                      <a:lnTo>
                        <a:pt x="63" y="198"/>
                      </a:lnTo>
                      <a:lnTo>
                        <a:pt x="62" y="200"/>
                      </a:lnTo>
                      <a:lnTo>
                        <a:pt x="62" y="212"/>
                      </a:lnTo>
                      <a:lnTo>
                        <a:pt x="61" y="217"/>
                      </a:lnTo>
                      <a:lnTo>
                        <a:pt x="60" y="230"/>
                      </a:lnTo>
                      <a:lnTo>
                        <a:pt x="59" y="238"/>
                      </a:lnTo>
                      <a:lnTo>
                        <a:pt x="56" y="254"/>
                      </a:lnTo>
                      <a:lnTo>
                        <a:pt x="54" y="265"/>
                      </a:lnTo>
                      <a:lnTo>
                        <a:pt x="51" y="282"/>
                      </a:lnTo>
                      <a:lnTo>
                        <a:pt x="50" y="287"/>
                      </a:lnTo>
                      <a:lnTo>
                        <a:pt x="52" y="288"/>
                      </a:lnTo>
                      <a:lnTo>
                        <a:pt x="53" y="284"/>
                      </a:lnTo>
                      <a:lnTo>
                        <a:pt x="54" y="278"/>
                      </a:lnTo>
                      <a:lnTo>
                        <a:pt x="60" y="272"/>
                      </a:lnTo>
                      <a:lnTo>
                        <a:pt x="62" y="273"/>
                      </a:lnTo>
                      <a:lnTo>
                        <a:pt x="67" y="276"/>
                      </a:lnTo>
                      <a:lnTo>
                        <a:pt x="70" y="279"/>
                      </a:lnTo>
                      <a:lnTo>
                        <a:pt x="68" y="279"/>
                      </a:lnTo>
                      <a:lnTo>
                        <a:pt x="67" y="279"/>
                      </a:lnTo>
                      <a:lnTo>
                        <a:pt x="70" y="282"/>
                      </a:lnTo>
                      <a:lnTo>
                        <a:pt x="70" y="284"/>
                      </a:lnTo>
                      <a:lnTo>
                        <a:pt x="68" y="284"/>
                      </a:lnTo>
                      <a:lnTo>
                        <a:pt x="64" y="285"/>
                      </a:lnTo>
                      <a:lnTo>
                        <a:pt x="62" y="285"/>
                      </a:lnTo>
                      <a:lnTo>
                        <a:pt x="62" y="283"/>
                      </a:lnTo>
                      <a:lnTo>
                        <a:pt x="60" y="283"/>
                      </a:lnTo>
                      <a:lnTo>
                        <a:pt x="60" y="282"/>
                      </a:lnTo>
                      <a:lnTo>
                        <a:pt x="57" y="282"/>
                      </a:lnTo>
                      <a:lnTo>
                        <a:pt x="56" y="283"/>
                      </a:lnTo>
                      <a:lnTo>
                        <a:pt x="56" y="285"/>
                      </a:lnTo>
                      <a:lnTo>
                        <a:pt x="55" y="289"/>
                      </a:lnTo>
                      <a:lnTo>
                        <a:pt x="51" y="294"/>
                      </a:lnTo>
                      <a:lnTo>
                        <a:pt x="49" y="295"/>
                      </a:lnTo>
                      <a:lnTo>
                        <a:pt x="50" y="304"/>
                      </a:lnTo>
                      <a:lnTo>
                        <a:pt x="48" y="320"/>
                      </a:lnTo>
                      <a:lnTo>
                        <a:pt x="47" y="323"/>
                      </a:lnTo>
                      <a:lnTo>
                        <a:pt x="46" y="327"/>
                      </a:lnTo>
                      <a:lnTo>
                        <a:pt x="43" y="344"/>
                      </a:lnTo>
                      <a:lnTo>
                        <a:pt x="42" y="348"/>
                      </a:lnTo>
                      <a:lnTo>
                        <a:pt x="40" y="358"/>
                      </a:lnTo>
                      <a:lnTo>
                        <a:pt x="36" y="371"/>
                      </a:lnTo>
                      <a:lnTo>
                        <a:pt x="36" y="375"/>
                      </a:lnTo>
                      <a:lnTo>
                        <a:pt x="33" y="380"/>
                      </a:lnTo>
                      <a:lnTo>
                        <a:pt x="33" y="382"/>
                      </a:lnTo>
                      <a:lnTo>
                        <a:pt x="32" y="386"/>
                      </a:lnTo>
                      <a:lnTo>
                        <a:pt x="31" y="394"/>
                      </a:lnTo>
                      <a:lnTo>
                        <a:pt x="30" y="396"/>
                      </a:lnTo>
                      <a:lnTo>
                        <a:pt x="28" y="402"/>
                      </a:lnTo>
                      <a:lnTo>
                        <a:pt x="27" y="405"/>
                      </a:lnTo>
                      <a:lnTo>
                        <a:pt x="26" y="406"/>
                      </a:lnTo>
                      <a:lnTo>
                        <a:pt x="23" y="411"/>
                      </a:lnTo>
                      <a:lnTo>
                        <a:pt x="22" y="411"/>
                      </a:lnTo>
                      <a:lnTo>
                        <a:pt x="21" y="415"/>
                      </a:lnTo>
                      <a:lnTo>
                        <a:pt x="19" y="417"/>
                      </a:lnTo>
                      <a:lnTo>
                        <a:pt x="18" y="418"/>
                      </a:lnTo>
                      <a:lnTo>
                        <a:pt x="17" y="420"/>
                      </a:lnTo>
                      <a:lnTo>
                        <a:pt x="16" y="422"/>
                      </a:lnTo>
                      <a:lnTo>
                        <a:pt x="15" y="423"/>
                      </a:lnTo>
                      <a:lnTo>
                        <a:pt x="15" y="423"/>
                      </a:lnTo>
                      <a:lnTo>
                        <a:pt x="11" y="424"/>
                      </a:lnTo>
                      <a:lnTo>
                        <a:pt x="11" y="426"/>
                      </a:lnTo>
                      <a:lnTo>
                        <a:pt x="10" y="426"/>
                      </a:lnTo>
                      <a:lnTo>
                        <a:pt x="9" y="426"/>
                      </a:lnTo>
                      <a:lnTo>
                        <a:pt x="5" y="427"/>
                      </a:lnTo>
                      <a:lnTo>
                        <a:pt x="4" y="426"/>
                      </a:lnTo>
                      <a:lnTo>
                        <a:pt x="4" y="426"/>
                      </a:lnTo>
                      <a:lnTo>
                        <a:pt x="2" y="427"/>
                      </a:lnTo>
                      <a:lnTo>
                        <a:pt x="0" y="427"/>
                      </a:lnTo>
                      <a:lnTo>
                        <a:pt x="1" y="431"/>
                      </a:lnTo>
                      <a:lnTo>
                        <a:pt x="2" y="430"/>
                      </a:lnTo>
                      <a:lnTo>
                        <a:pt x="2" y="431"/>
                      </a:lnTo>
                      <a:lnTo>
                        <a:pt x="5" y="435"/>
                      </a:lnTo>
                      <a:lnTo>
                        <a:pt x="5" y="436"/>
                      </a:lnTo>
                      <a:lnTo>
                        <a:pt x="6" y="435"/>
                      </a:lnTo>
                      <a:lnTo>
                        <a:pt x="9" y="435"/>
                      </a:lnTo>
                      <a:lnTo>
                        <a:pt x="12" y="436"/>
                      </a:lnTo>
                      <a:lnTo>
                        <a:pt x="13" y="436"/>
                      </a:lnTo>
                      <a:lnTo>
                        <a:pt x="13" y="439"/>
                      </a:lnTo>
                      <a:lnTo>
                        <a:pt x="15" y="441"/>
                      </a:lnTo>
                      <a:lnTo>
                        <a:pt x="17" y="442"/>
                      </a:lnTo>
                      <a:lnTo>
                        <a:pt x="19" y="438"/>
                      </a:lnTo>
                      <a:lnTo>
                        <a:pt x="22" y="437"/>
                      </a:lnTo>
                      <a:lnTo>
                        <a:pt x="23" y="437"/>
                      </a:lnTo>
                      <a:lnTo>
                        <a:pt x="25" y="439"/>
                      </a:lnTo>
                      <a:lnTo>
                        <a:pt x="28" y="441"/>
                      </a:lnTo>
                      <a:lnTo>
                        <a:pt x="31" y="441"/>
                      </a:lnTo>
                      <a:lnTo>
                        <a:pt x="33" y="443"/>
                      </a:lnTo>
                      <a:lnTo>
                        <a:pt x="33" y="445"/>
                      </a:lnTo>
                      <a:lnTo>
                        <a:pt x="31" y="455"/>
                      </a:lnTo>
                      <a:lnTo>
                        <a:pt x="30" y="458"/>
                      </a:lnTo>
                      <a:lnTo>
                        <a:pt x="25" y="461"/>
                      </a:lnTo>
                      <a:lnTo>
                        <a:pt x="25" y="461"/>
                      </a:lnTo>
                      <a:lnTo>
                        <a:pt x="26" y="464"/>
                      </a:lnTo>
                      <a:lnTo>
                        <a:pt x="27" y="466"/>
                      </a:lnTo>
                      <a:lnTo>
                        <a:pt x="33" y="468"/>
                      </a:lnTo>
                      <a:lnTo>
                        <a:pt x="34" y="469"/>
                      </a:lnTo>
                      <a:lnTo>
                        <a:pt x="37" y="459"/>
                      </a:lnTo>
                      <a:lnTo>
                        <a:pt x="42" y="459"/>
                      </a:lnTo>
                      <a:lnTo>
                        <a:pt x="41" y="461"/>
                      </a:lnTo>
                      <a:lnTo>
                        <a:pt x="39" y="464"/>
                      </a:lnTo>
                      <a:lnTo>
                        <a:pt x="41" y="465"/>
                      </a:lnTo>
                      <a:lnTo>
                        <a:pt x="42" y="468"/>
                      </a:lnTo>
                      <a:lnTo>
                        <a:pt x="43" y="467"/>
                      </a:lnTo>
                      <a:lnTo>
                        <a:pt x="46" y="467"/>
                      </a:lnTo>
                      <a:lnTo>
                        <a:pt x="50" y="468"/>
                      </a:lnTo>
                      <a:lnTo>
                        <a:pt x="52" y="469"/>
                      </a:lnTo>
                      <a:lnTo>
                        <a:pt x="53" y="472"/>
                      </a:lnTo>
                      <a:lnTo>
                        <a:pt x="53" y="472"/>
                      </a:lnTo>
                      <a:lnTo>
                        <a:pt x="55" y="471"/>
                      </a:lnTo>
                      <a:lnTo>
                        <a:pt x="57" y="472"/>
                      </a:lnTo>
                      <a:lnTo>
                        <a:pt x="63" y="474"/>
                      </a:lnTo>
                      <a:lnTo>
                        <a:pt x="67" y="478"/>
                      </a:lnTo>
                      <a:lnTo>
                        <a:pt x="67" y="479"/>
                      </a:lnTo>
                      <a:lnTo>
                        <a:pt x="73" y="479"/>
                      </a:lnTo>
                      <a:lnTo>
                        <a:pt x="79" y="480"/>
                      </a:lnTo>
                      <a:lnTo>
                        <a:pt x="81" y="479"/>
                      </a:lnTo>
                      <a:lnTo>
                        <a:pt x="85" y="479"/>
                      </a:lnTo>
                      <a:lnTo>
                        <a:pt x="85" y="479"/>
                      </a:lnTo>
                      <a:lnTo>
                        <a:pt x="85" y="480"/>
                      </a:lnTo>
                      <a:lnTo>
                        <a:pt x="87" y="482"/>
                      </a:lnTo>
                      <a:lnTo>
                        <a:pt x="88" y="484"/>
                      </a:lnTo>
                      <a:lnTo>
                        <a:pt x="85" y="484"/>
                      </a:lnTo>
                      <a:lnTo>
                        <a:pt x="88" y="488"/>
                      </a:lnTo>
                      <a:lnTo>
                        <a:pt x="90" y="487"/>
                      </a:lnTo>
                      <a:lnTo>
                        <a:pt x="91" y="489"/>
                      </a:lnTo>
                      <a:lnTo>
                        <a:pt x="92" y="491"/>
                      </a:lnTo>
                      <a:lnTo>
                        <a:pt x="94" y="491"/>
                      </a:lnTo>
                      <a:lnTo>
                        <a:pt x="96" y="492"/>
                      </a:lnTo>
                      <a:lnTo>
                        <a:pt x="97" y="497"/>
                      </a:lnTo>
                      <a:lnTo>
                        <a:pt x="99" y="497"/>
                      </a:lnTo>
                      <a:lnTo>
                        <a:pt x="98" y="499"/>
                      </a:lnTo>
                      <a:lnTo>
                        <a:pt x="100" y="499"/>
                      </a:lnTo>
                      <a:lnTo>
                        <a:pt x="101" y="499"/>
                      </a:lnTo>
                      <a:lnTo>
                        <a:pt x="105" y="495"/>
                      </a:lnTo>
                      <a:lnTo>
                        <a:pt x="110" y="499"/>
                      </a:lnTo>
                      <a:lnTo>
                        <a:pt x="121" y="492"/>
                      </a:lnTo>
                      <a:lnTo>
                        <a:pt x="121" y="485"/>
                      </a:lnTo>
                      <a:lnTo>
                        <a:pt x="122" y="484"/>
                      </a:lnTo>
                      <a:lnTo>
                        <a:pt x="124" y="484"/>
                      </a:lnTo>
                      <a:lnTo>
                        <a:pt x="125" y="482"/>
                      </a:lnTo>
                      <a:lnTo>
                        <a:pt x="124" y="480"/>
                      </a:lnTo>
                      <a:lnTo>
                        <a:pt x="124" y="475"/>
                      </a:lnTo>
                      <a:lnTo>
                        <a:pt x="125" y="475"/>
                      </a:lnTo>
                      <a:lnTo>
                        <a:pt x="125" y="472"/>
                      </a:lnTo>
                      <a:lnTo>
                        <a:pt x="128" y="471"/>
                      </a:lnTo>
                      <a:lnTo>
                        <a:pt x="129" y="472"/>
                      </a:lnTo>
                      <a:lnTo>
                        <a:pt x="132" y="469"/>
                      </a:lnTo>
                      <a:lnTo>
                        <a:pt x="132" y="469"/>
                      </a:lnTo>
                      <a:lnTo>
                        <a:pt x="132" y="469"/>
                      </a:lnTo>
                      <a:lnTo>
                        <a:pt x="132" y="464"/>
                      </a:lnTo>
                      <a:lnTo>
                        <a:pt x="132" y="463"/>
                      </a:lnTo>
                      <a:lnTo>
                        <a:pt x="134" y="463"/>
                      </a:lnTo>
                      <a:lnTo>
                        <a:pt x="136" y="461"/>
                      </a:lnTo>
                      <a:lnTo>
                        <a:pt x="137" y="459"/>
                      </a:lnTo>
                      <a:lnTo>
                        <a:pt x="137" y="459"/>
                      </a:lnTo>
                      <a:lnTo>
                        <a:pt x="139" y="456"/>
                      </a:lnTo>
                      <a:lnTo>
                        <a:pt x="139" y="455"/>
                      </a:lnTo>
                      <a:lnTo>
                        <a:pt x="139" y="456"/>
                      </a:lnTo>
                      <a:lnTo>
                        <a:pt x="139" y="456"/>
                      </a:lnTo>
                      <a:lnTo>
                        <a:pt x="140" y="456"/>
                      </a:lnTo>
                      <a:lnTo>
                        <a:pt x="140" y="456"/>
                      </a:lnTo>
                      <a:lnTo>
                        <a:pt x="143" y="456"/>
                      </a:lnTo>
                      <a:lnTo>
                        <a:pt x="143" y="451"/>
                      </a:lnTo>
                      <a:lnTo>
                        <a:pt x="145" y="451"/>
                      </a:lnTo>
                      <a:lnTo>
                        <a:pt x="146" y="448"/>
                      </a:lnTo>
                      <a:lnTo>
                        <a:pt x="146" y="445"/>
                      </a:lnTo>
                      <a:lnTo>
                        <a:pt x="147" y="445"/>
                      </a:lnTo>
                      <a:lnTo>
                        <a:pt x="145" y="444"/>
                      </a:lnTo>
                      <a:lnTo>
                        <a:pt x="146" y="441"/>
                      </a:lnTo>
                      <a:lnTo>
                        <a:pt x="146" y="439"/>
                      </a:lnTo>
                      <a:lnTo>
                        <a:pt x="147" y="439"/>
                      </a:lnTo>
                      <a:lnTo>
                        <a:pt x="149" y="439"/>
                      </a:lnTo>
                      <a:lnTo>
                        <a:pt x="152" y="438"/>
                      </a:lnTo>
                      <a:lnTo>
                        <a:pt x="152" y="437"/>
                      </a:lnTo>
                      <a:lnTo>
                        <a:pt x="152" y="437"/>
                      </a:lnTo>
                      <a:lnTo>
                        <a:pt x="152" y="436"/>
                      </a:lnTo>
                      <a:lnTo>
                        <a:pt x="149" y="435"/>
                      </a:lnTo>
                      <a:lnTo>
                        <a:pt x="149" y="434"/>
                      </a:lnTo>
                      <a:lnTo>
                        <a:pt x="149" y="434"/>
                      </a:lnTo>
                      <a:lnTo>
                        <a:pt x="149" y="430"/>
                      </a:lnTo>
                      <a:lnTo>
                        <a:pt x="149" y="427"/>
                      </a:lnTo>
                      <a:lnTo>
                        <a:pt x="149" y="427"/>
                      </a:lnTo>
                      <a:lnTo>
                        <a:pt x="149" y="426"/>
                      </a:lnTo>
                      <a:lnTo>
                        <a:pt x="149" y="426"/>
                      </a:lnTo>
                      <a:lnTo>
                        <a:pt x="148" y="427"/>
                      </a:lnTo>
                      <a:lnTo>
                        <a:pt x="146" y="428"/>
                      </a:lnTo>
                      <a:lnTo>
                        <a:pt x="146" y="430"/>
                      </a:lnTo>
                      <a:lnTo>
                        <a:pt x="144" y="428"/>
                      </a:lnTo>
                      <a:lnTo>
                        <a:pt x="145" y="427"/>
                      </a:lnTo>
                      <a:lnTo>
                        <a:pt x="144" y="427"/>
                      </a:lnTo>
                      <a:lnTo>
                        <a:pt x="144" y="423"/>
                      </a:lnTo>
                      <a:lnTo>
                        <a:pt x="147" y="423"/>
                      </a:lnTo>
                      <a:lnTo>
                        <a:pt x="148" y="423"/>
                      </a:lnTo>
                      <a:lnTo>
                        <a:pt x="148" y="422"/>
                      </a:lnTo>
                      <a:lnTo>
                        <a:pt x="146" y="420"/>
                      </a:lnTo>
                      <a:lnTo>
                        <a:pt x="146" y="418"/>
                      </a:lnTo>
                      <a:lnTo>
                        <a:pt x="146" y="417"/>
                      </a:lnTo>
                      <a:lnTo>
                        <a:pt x="146" y="417"/>
                      </a:lnTo>
                      <a:lnTo>
                        <a:pt x="146" y="416"/>
                      </a:lnTo>
                      <a:lnTo>
                        <a:pt x="145" y="415"/>
                      </a:lnTo>
                      <a:lnTo>
                        <a:pt x="145" y="413"/>
                      </a:lnTo>
                      <a:lnTo>
                        <a:pt x="143" y="413"/>
                      </a:lnTo>
                      <a:lnTo>
                        <a:pt x="143" y="412"/>
                      </a:lnTo>
                      <a:lnTo>
                        <a:pt x="142" y="410"/>
                      </a:lnTo>
                      <a:lnTo>
                        <a:pt x="137" y="410"/>
                      </a:lnTo>
                      <a:lnTo>
                        <a:pt x="136" y="408"/>
                      </a:lnTo>
                      <a:lnTo>
                        <a:pt x="136" y="408"/>
                      </a:lnTo>
                      <a:lnTo>
                        <a:pt x="133" y="409"/>
                      </a:lnTo>
                      <a:lnTo>
                        <a:pt x="132" y="408"/>
                      </a:lnTo>
                      <a:lnTo>
                        <a:pt x="130" y="408"/>
                      </a:lnTo>
                      <a:lnTo>
                        <a:pt x="129" y="407"/>
                      </a:lnTo>
                      <a:lnTo>
                        <a:pt x="129" y="405"/>
                      </a:lnTo>
                      <a:lnTo>
                        <a:pt x="127" y="405"/>
                      </a:lnTo>
                      <a:lnTo>
                        <a:pt x="127" y="403"/>
                      </a:lnTo>
                      <a:lnTo>
                        <a:pt x="129" y="403"/>
                      </a:lnTo>
                      <a:lnTo>
                        <a:pt x="129" y="402"/>
                      </a:lnTo>
                      <a:lnTo>
                        <a:pt x="130" y="400"/>
                      </a:lnTo>
                      <a:lnTo>
                        <a:pt x="130" y="399"/>
                      </a:lnTo>
                      <a:lnTo>
                        <a:pt x="129" y="398"/>
                      </a:lnTo>
                      <a:lnTo>
                        <a:pt x="129" y="397"/>
                      </a:lnTo>
                      <a:lnTo>
                        <a:pt x="130" y="396"/>
                      </a:lnTo>
                      <a:lnTo>
                        <a:pt x="129" y="395"/>
                      </a:lnTo>
                      <a:lnTo>
                        <a:pt x="132" y="394"/>
                      </a:lnTo>
                      <a:lnTo>
                        <a:pt x="134" y="392"/>
                      </a:lnTo>
                      <a:lnTo>
                        <a:pt x="134" y="392"/>
                      </a:lnTo>
                      <a:lnTo>
                        <a:pt x="134" y="390"/>
                      </a:lnTo>
                      <a:lnTo>
                        <a:pt x="132" y="390"/>
                      </a:lnTo>
                      <a:lnTo>
                        <a:pt x="132" y="389"/>
                      </a:lnTo>
                      <a:lnTo>
                        <a:pt x="133" y="389"/>
                      </a:lnTo>
                      <a:lnTo>
                        <a:pt x="132" y="385"/>
                      </a:lnTo>
                      <a:lnTo>
                        <a:pt x="132" y="383"/>
                      </a:lnTo>
                      <a:lnTo>
                        <a:pt x="134" y="383"/>
                      </a:lnTo>
                      <a:lnTo>
                        <a:pt x="135" y="382"/>
                      </a:lnTo>
                      <a:lnTo>
                        <a:pt x="135" y="380"/>
                      </a:lnTo>
                      <a:lnTo>
                        <a:pt x="134" y="378"/>
                      </a:lnTo>
                      <a:lnTo>
                        <a:pt x="134" y="377"/>
                      </a:lnTo>
                      <a:lnTo>
                        <a:pt x="136" y="376"/>
                      </a:lnTo>
                      <a:lnTo>
                        <a:pt x="135" y="375"/>
                      </a:lnTo>
                      <a:lnTo>
                        <a:pt x="133" y="375"/>
                      </a:lnTo>
                      <a:lnTo>
                        <a:pt x="132" y="374"/>
                      </a:lnTo>
                      <a:lnTo>
                        <a:pt x="132" y="373"/>
                      </a:lnTo>
                      <a:lnTo>
                        <a:pt x="132" y="372"/>
                      </a:lnTo>
                      <a:lnTo>
                        <a:pt x="134" y="372"/>
                      </a:lnTo>
                      <a:lnTo>
                        <a:pt x="137" y="368"/>
                      </a:lnTo>
                      <a:lnTo>
                        <a:pt x="137" y="368"/>
                      </a:lnTo>
                      <a:lnTo>
                        <a:pt x="139" y="369"/>
                      </a:lnTo>
                      <a:lnTo>
                        <a:pt x="139" y="368"/>
                      </a:lnTo>
                      <a:lnTo>
                        <a:pt x="141" y="368"/>
                      </a:lnTo>
                      <a:lnTo>
                        <a:pt x="143" y="370"/>
                      </a:lnTo>
                      <a:lnTo>
                        <a:pt x="143" y="368"/>
                      </a:lnTo>
                      <a:lnTo>
                        <a:pt x="148" y="366"/>
                      </a:lnTo>
                      <a:lnTo>
                        <a:pt x="149" y="365"/>
                      </a:lnTo>
                      <a:lnTo>
                        <a:pt x="152" y="366"/>
                      </a:lnTo>
                      <a:lnTo>
                        <a:pt x="152" y="368"/>
                      </a:lnTo>
                      <a:lnTo>
                        <a:pt x="149" y="369"/>
                      </a:lnTo>
                      <a:lnTo>
                        <a:pt x="153" y="372"/>
                      </a:lnTo>
                      <a:lnTo>
                        <a:pt x="154" y="374"/>
                      </a:lnTo>
                      <a:lnTo>
                        <a:pt x="157" y="373"/>
                      </a:lnTo>
                      <a:lnTo>
                        <a:pt x="157" y="372"/>
                      </a:lnTo>
                      <a:lnTo>
                        <a:pt x="156" y="367"/>
                      </a:lnTo>
                      <a:lnTo>
                        <a:pt x="157" y="367"/>
                      </a:lnTo>
                      <a:lnTo>
                        <a:pt x="157" y="365"/>
                      </a:lnTo>
                      <a:lnTo>
                        <a:pt x="157" y="364"/>
                      </a:lnTo>
                      <a:lnTo>
                        <a:pt x="160" y="364"/>
                      </a:lnTo>
                      <a:lnTo>
                        <a:pt x="162" y="362"/>
                      </a:lnTo>
                      <a:lnTo>
                        <a:pt x="163" y="362"/>
                      </a:lnTo>
                      <a:lnTo>
                        <a:pt x="163" y="365"/>
                      </a:lnTo>
                      <a:lnTo>
                        <a:pt x="165" y="366"/>
                      </a:lnTo>
                      <a:lnTo>
                        <a:pt x="165" y="362"/>
                      </a:lnTo>
                      <a:lnTo>
                        <a:pt x="167" y="362"/>
                      </a:lnTo>
                      <a:lnTo>
                        <a:pt x="168" y="362"/>
                      </a:lnTo>
                      <a:lnTo>
                        <a:pt x="169" y="360"/>
                      </a:lnTo>
                      <a:lnTo>
                        <a:pt x="171" y="361"/>
                      </a:lnTo>
                      <a:lnTo>
                        <a:pt x="171" y="362"/>
                      </a:lnTo>
                      <a:lnTo>
                        <a:pt x="173" y="362"/>
                      </a:lnTo>
                      <a:lnTo>
                        <a:pt x="177" y="364"/>
                      </a:lnTo>
                      <a:lnTo>
                        <a:pt x="177" y="363"/>
                      </a:lnTo>
                      <a:lnTo>
                        <a:pt x="177" y="362"/>
                      </a:lnTo>
                      <a:lnTo>
                        <a:pt x="188" y="361"/>
                      </a:lnTo>
                      <a:lnTo>
                        <a:pt x="189" y="358"/>
                      </a:lnTo>
                      <a:lnTo>
                        <a:pt x="190" y="357"/>
                      </a:lnTo>
                      <a:lnTo>
                        <a:pt x="191" y="356"/>
                      </a:lnTo>
                      <a:lnTo>
                        <a:pt x="193" y="357"/>
                      </a:lnTo>
                      <a:lnTo>
                        <a:pt x="194" y="355"/>
                      </a:lnTo>
                      <a:lnTo>
                        <a:pt x="195" y="356"/>
                      </a:lnTo>
                      <a:lnTo>
                        <a:pt x="195" y="357"/>
                      </a:lnTo>
                      <a:lnTo>
                        <a:pt x="197" y="357"/>
                      </a:lnTo>
                      <a:lnTo>
                        <a:pt x="200" y="355"/>
                      </a:lnTo>
                      <a:lnTo>
                        <a:pt x="201" y="355"/>
                      </a:lnTo>
                      <a:lnTo>
                        <a:pt x="203" y="358"/>
                      </a:lnTo>
                      <a:lnTo>
                        <a:pt x="204" y="358"/>
                      </a:lnTo>
                      <a:lnTo>
                        <a:pt x="205" y="361"/>
                      </a:lnTo>
                      <a:lnTo>
                        <a:pt x="208" y="360"/>
                      </a:lnTo>
                      <a:lnTo>
                        <a:pt x="210" y="357"/>
                      </a:lnTo>
                      <a:lnTo>
                        <a:pt x="213" y="356"/>
                      </a:lnTo>
                      <a:lnTo>
                        <a:pt x="213" y="353"/>
                      </a:lnTo>
                      <a:lnTo>
                        <a:pt x="216" y="351"/>
                      </a:lnTo>
                      <a:lnTo>
                        <a:pt x="218" y="351"/>
                      </a:lnTo>
                      <a:lnTo>
                        <a:pt x="218" y="348"/>
                      </a:lnTo>
                      <a:lnTo>
                        <a:pt x="220" y="348"/>
                      </a:lnTo>
                      <a:lnTo>
                        <a:pt x="222" y="349"/>
                      </a:lnTo>
                      <a:lnTo>
                        <a:pt x="223" y="349"/>
                      </a:lnTo>
                      <a:lnTo>
                        <a:pt x="225" y="348"/>
                      </a:lnTo>
                      <a:lnTo>
                        <a:pt x="225" y="347"/>
                      </a:lnTo>
                      <a:lnTo>
                        <a:pt x="225" y="344"/>
                      </a:lnTo>
                      <a:lnTo>
                        <a:pt x="225" y="344"/>
                      </a:lnTo>
                      <a:lnTo>
                        <a:pt x="224" y="344"/>
                      </a:lnTo>
                      <a:lnTo>
                        <a:pt x="223" y="344"/>
                      </a:lnTo>
                      <a:lnTo>
                        <a:pt x="222" y="344"/>
                      </a:lnTo>
                      <a:lnTo>
                        <a:pt x="223" y="341"/>
                      </a:lnTo>
                      <a:lnTo>
                        <a:pt x="227" y="341"/>
                      </a:lnTo>
                      <a:lnTo>
                        <a:pt x="228" y="338"/>
                      </a:lnTo>
                      <a:lnTo>
                        <a:pt x="228" y="337"/>
                      </a:lnTo>
                      <a:lnTo>
                        <a:pt x="228" y="334"/>
                      </a:lnTo>
                      <a:lnTo>
                        <a:pt x="229" y="334"/>
                      </a:lnTo>
                      <a:lnTo>
                        <a:pt x="230" y="333"/>
                      </a:lnTo>
                      <a:lnTo>
                        <a:pt x="228" y="330"/>
                      </a:lnTo>
                      <a:lnTo>
                        <a:pt x="228" y="330"/>
                      </a:lnTo>
                      <a:lnTo>
                        <a:pt x="225" y="330"/>
                      </a:lnTo>
                      <a:lnTo>
                        <a:pt x="224" y="328"/>
                      </a:lnTo>
                      <a:lnTo>
                        <a:pt x="225" y="327"/>
                      </a:lnTo>
                      <a:lnTo>
                        <a:pt x="225" y="327"/>
                      </a:lnTo>
                      <a:lnTo>
                        <a:pt x="225" y="324"/>
                      </a:lnTo>
                      <a:lnTo>
                        <a:pt x="225" y="321"/>
                      </a:lnTo>
                      <a:lnTo>
                        <a:pt x="228" y="320"/>
                      </a:lnTo>
                      <a:lnTo>
                        <a:pt x="228" y="320"/>
                      </a:lnTo>
                      <a:lnTo>
                        <a:pt x="229" y="324"/>
                      </a:lnTo>
                      <a:lnTo>
                        <a:pt x="231" y="323"/>
                      </a:lnTo>
                      <a:lnTo>
                        <a:pt x="232" y="324"/>
                      </a:lnTo>
                      <a:lnTo>
                        <a:pt x="234" y="322"/>
                      </a:lnTo>
                      <a:lnTo>
                        <a:pt x="236" y="323"/>
                      </a:lnTo>
                      <a:lnTo>
                        <a:pt x="239" y="323"/>
                      </a:lnTo>
                      <a:lnTo>
                        <a:pt x="240" y="321"/>
                      </a:lnTo>
                      <a:lnTo>
                        <a:pt x="239" y="320"/>
                      </a:lnTo>
                      <a:lnTo>
                        <a:pt x="239" y="318"/>
                      </a:lnTo>
                      <a:lnTo>
                        <a:pt x="239" y="315"/>
                      </a:lnTo>
                      <a:lnTo>
                        <a:pt x="239" y="315"/>
                      </a:lnTo>
                      <a:lnTo>
                        <a:pt x="236" y="312"/>
                      </a:lnTo>
                      <a:lnTo>
                        <a:pt x="236" y="310"/>
                      </a:lnTo>
                      <a:lnTo>
                        <a:pt x="235" y="309"/>
                      </a:lnTo>
                      <a:lnTo>
                        <a:pt x="236" y="306"/>
                      </a:lnTo>
                      <a:lnTo>
                        <a:pt x="233" y="302"/>
                      </a:lnTo>
                      <a:lnTo>
                        <a:pt x="235" y="301"/>
                      </a:lnTo>
                      <a:lnTo>
                        <a:pt x="236" y="302"/>
                      </a:lnTo>
                      <a:lnTo>
                        <a:pt x="239" y="300"/>
                      </a:lnTo>
                      <a:lnTo>
                        <a:pt x="239" y="300"/>
                      </a:lnTo>
                      <a:lnTo>
                        <a:pt x="241" y="299"/>
                      </a:lnTo>
                      <a:lnTo>
                        <a:pt x="244" y="299"/>
                      </a:lnTo>
                      <a:lnTo>
                        <a:pt x="244" y="296"/>
                      </a:lnTo>
                      <a:lnTo>
                        <a:pt x="246" y="293"/>
                      </a:lnTo>
                      <a:lnTo>
                        <a:pt x="246" y="293"/>
                      </a:lnTo>
                      <a:lnTo>
                        <a:pt x="247" y="292"/>
                      </a:lnTo>
                      <a:lnTo>
                        <a:pt x="246" y="289"/>
                      </a:lnTo>
                      <a:lnTo>
                        <a:pt x="247" y="288"/>
                      </a:lnTo>
                      <a:lnTo>
                        <a:pt x="253" y="286"/>
                      </a:lnTo>
                      <a:lnTo>
                        <a:pt x="253" y="285"/>
                      </a:lnTo>
                      <a:lnTo>
                        <a:pt x="256" y="284"/>
                      </a:lnTo>
                      <a:lnTo>
                        <a:pt x="257" y="282"/>
                      </a:lnTo>
                      <a:lnTo>
                        <a:pt x="259" y="282"/>
                      </a:lnTo>
                      <a:lnTo>
                        <a:pt x="259" y="279"/>
                      </a:lnTo>
                      <a:lnTo>
                        <a:pt x="261" y="281"/>
                      </a:lnTo>
                      <a:lnTo>
                        <a:pt x="261" y="276"/>
                      </a:lnTo>
                      <a:lnTo>
                        <a:pt x="260" y="275"/>
                      </a:lnTo>
                      <a:lnTo>
                        <a:pt x="259" y="274"/>
                      </a:lnTo>
                      <a:lnTo>
                        <a:pt x="260" y="273"/>
                      </a:lnTo>
                      <a:lnTo>
                        <a:pt x="262" y="272"/>
                      </a:lnTo>
                      <a:lnTo>
                        <a:pt x="264" y="272"/>
                      </a:lnTo>
                      <a:lnTo>
                        <a:pt x="265" y="272"/>
                      </a:lnTo>
                      <a:lnTo>
                        <a:pt x="265" y="268"/>
                      </a:lnTo>
                      <a:lnTo>
                        <a:pt x="269" y="268"/>
                      </a:lnTo>
                      <a:lnTo>
                        <a:pt x="269" y="265"/>
                      </a:lnTo>
                      <a:lnTo>
                        <a:pt x="269" y="265"/>
                      </a:lnTo>
                      <a:lnTo>
                        <a:pt x="271" y="264"/>
                      </a:lnTo>
                      <a:lnTo>
                        <a:pt x="271" y="263"/>
                      </a:lnTo>
                      <a:lnTo>
                        <a:pt x="270" y="262"/>
                      </a:lnTo>
                      <a:lnTo>
                        <a:pt x="269" y="261"/>
                      </a:lnTo>
                      <a:lnTo>
                        <a:pt x="271" y="259"/>
                      </a:lnTo>
                      <a:lnTo>
                        <a:pt x="270" y="257"/>
                      </a:lnTo>
                      <a:lnTo>
                        <a:pt x="270" y="255"/>
                      </a:lnTo>
                      <a:lnTo>
                        <a:pt x="270" y="255"/>
                      </a:lnTo>
                      <a:lnTo>
                        <a:pt x="269" y="250"/>
                      </a:lnTo>
                      <a:lnTo>
                        <a:pt x="273" y="248"/>
                      </a:lnTo>
                      <a:lnTo>
                        <a:pt x="273" y="248"/>
                      </a:lnTo>
                      <a:lnTo>
                        <a:pt x="273" y="248"/>
                      </a:lnTo>
                      <a:lnTo>
                        <a:pt x="273" y="248"/>
                      </a:lnTo>
                      <a:lnTo>
                        <a:pt x="275" y="248"/>
                      </a:lnTo>
                      <a:lnTo>
                        <a:pt x="275" y="246"/>
                      </a:lnTo>
                      <a:lnTo>
                        <a:pt x="278" y="245"/>
                      </a:lnTo>
                      <a:lnTo>
                        <a:pt x="280" y="245"/>
                      </a:lnTo>
                      <a:lnTo>
                        <a:pt x="280" y="247"/>
                      </a:lnTo>
                      <a:lnTo>
                        <a:pt x="281" y="247"/>
                      </a:lnTo>
                      <a:lnTo>
                        <a:pt x="282" y="246"/>
                      </a:lnTo>
                      <a:lnTo>
                        <a:pt x="285" y="246"/>
                      </a:lnTo>
                      <a:lnTo>
                        <a:pt x="286" y="246"/>
                      </a:lnTo>
                      <a:lnTo>
                        <a:pt x="287" y="247"/>
                      </a:lnTo>
                      <a:lnTo>
                        <a:pt x="288" y="248"/>
                      </a:lnTo>
                      <a:lnTo>
                        <a:pt x="290" y="250"/>
                      </a:lnTo>
                      <a:lnTo>
                        <a:pt x="291" y="250"/>
                      </a:lnTo>
                      <a:lnTo>
                        <a:pt x="292" y="251"/>
                      </a:lnTo>
                      <a:lnTo>
                        <a:pt x="293" y="251"/>
                      </a:lnTo>
                      <a:lnTo>
                        <a:pt x="294" y="255"/>
                      </a:lnTo>
                      <a:lnTo>
                        <a:pt x="294" y="255"/>
                      </a:lnTo>
                      <a:lnTo>
                        <a:pt x="296" y="255"/>
                      </a:lnTo>
                      <a:lnTo>
                        <a:pt x="297" y="256"/>
                      </a:lnTo>
                      <a:lnTo>
                        <a:pt x="298" y="259"/>
                      </a:lnTo>
                      <a:lnTo>
                        <a:pt x="300" y="258"/>
                      </a:lnTo>
                      <a:lnTo>
                        <a:pt x="300" y="258"/>
                      </a:lnTo>
                      <a:lnTo>
                        <a:pt x="303" y="258"/>
                      </a:lnTo>
                      <a:lnTo>
                        <a:pt x="303" y="258"/>
                      </a:lnTo>
                      <a:lnTo>
                        <a:pt x="304" y="258"/>
                      </a:lnTo>
                      <a:lnTo>
                        <a:pt x="305" y="256"/>
                      </a:lnTo>
                      <a:lnTo>
                        <a:pt x="308" y="255"/>
                      </a:lnTo>
                      <a:lnTo>
                        <a:pt x="310" y="253"/>
                      </a:lnTo>
                      <a:lnTo>
                        <a:pt x="311" y="253"/>
                      </a:lnTo>
                      <a:lnTo>
                        <a:pt x="312" y="255"/>
                      </a:lnTo>
                      <a:lnTo>
                        <a:pt x="314" y="255"/>
                      </a:lnTo>
                      <a:lnTo>
                        <a:pt x="318" y="254"/>
                      </a:lnTo>
                      <a:lnTo>
                        <a:pt x="318" y="254"/>
                      </a:lnTo>
                      <a:lnTo>
                        <a:pt x="320" y="252"/>
                      </a:lnTo>
                      <a:lnTo>
                        <a:pt x="323" y="254"/>
                      </a:lnTo>
                      <a:lnTo>
                        <a:pt x="324" y="252"/>
                      </a:lnTo>
                      <a:lnTo>
                        <a:pt x="328" y="252"/>
                      </a:lnTo>
                      <a:lnTo>
                        <a:pt x="328" y="250"/>
                      </a:lnTo>
                      <a:lnTo>
                        <a:pt x="327" y="248"/>
                      </a:lnTo>
                      <a:lnTo>
                        <a:pt x="326" y="246"/>
                      </a:lnTo>
                      <a:lnTo>
                        <a:pt x="324" y="244"/>
                      </a:lnTo>
                      <a:lnTo>
                        <a:pt x="325" y="244"/>
                      </a:lnTo>
                      <a:lnTo>
                        <a:pt x="328" y="241"/>
                      </a:lnTo>
                      <a:lnTo>
                        <a:pt x="331" y="241"/>
                      </a:lnTo>
                      <a:lnTo>
                        <a:pt x="331" y="234"/>
                      </a:lnTo>
                      <a:lnTo>
                        <a:pt x="334" y="234"/>
                      </a:lnTo>
                      <a:lnTo>
                        <a:pt x="334" y="232"/>
                      </a:lnTo>
                      <a:lnTo>
                        <a:pt x="335" y="232"/>
                      </a:lnTo>
                      <a:lnTo>
                        <a:pt x="335" y="231"/>
                      </a:lnTo>
                      <a:lnTo>
                        <a:pt x="334" y="231"/>
                      </a:lnTo>
                      <a:lnTo>
                        <a:pt x="334" y="228"/>
                      </a:lnTo>
                      <a:lnTo>
                        <a:pt x="333" y="226"/>
                      </a:lnTo>
                      <a:lnTo>
                        <a:pt x="333" y="225"/>
                      </a:lnTo>
                      <a:lnTo>
                        <a:pt x="334" y="224"/>
                      </a:lnTo>
                      <a:lnTo>
                        <a:pt x="335" y="224"/>
                      </a:lnTo>
                      <a:lnTo>
                        <a:pt x="337" y="220"/>
                      </a:lnTo>
                      <a:lnTo>
                        <a:pt x="338" y="219"/>
                      </a:lnTo>
                      <a:lnTo>
                        <a:pt x="338" y="219"/>
                      </a:lnTo>
                      <a:lnTo>
                        <a:pt x="339" y="217"/>
                      </a:lnTo>
                      <a:lnTo>
                        <a:pt x="341" y="217"/>
                      </a:lnTo>
                      <a:lnTo>
                        <a:pt x="342" y="215"/>
                      </a:lnTo>
                      <a:lnTo>
                        <a:pt x="342" y="213"/>
                      </a:lnTo>
                      <a:lnTo>
                        <a:pt x="345" y="213"/>
                      </a:lnTo>
                      <a:lnTo>
                        <a:pt x="346" y="211"/>
                      </a:lnTo>
                      <a:lnTo>
                        <a:pt x="345" y="211"/>
                      </a:lnTo>
                      <a:lnTo>
                        <a:pt x="346" y="210"/>
                      </a:lnTo>
                      <a:lnTo>
                        <a:pt x="346" y="206"/>
                      </a:lnTo>
                      <a:lnTo>
                        <a:pt x="345" y="204"/>
                      </a:lnTo>
                      <a:lnTo>
                        <a:pt x="346" y="203"/>
                      </a:lnTo>
                      <a:lnTo>
                        <a:pt x="348" y="204"/>
                      </a:lnTo>
                      <a:lnTo>
                        <a:pt x="350" y="206"/>
                      </a:lnTo>
                      <a:lnTo>
                        <a:pt x="352" y="207"/>
                      </a:lnTo>
                      <a:lnTo>
                        <a:pt x="353" y="207"/>
                      </a:lnTo>
                      <a:lnTo>
                        <a:pt x="355" y="207"/>
                      </a:lnTo>
                      <a:lnTo>
                        <a:pt x="355" y="209"/>
                      </a:lnTo>
                      <a:lnTo>
                        <a:pt x="355" y="209"/>
                      </a:lnTo>
                      <a:lnTo>
                        <a:pt x="356" y="207"/>
                      </a:lnTo>
                      <a:lnTo>
                        <a:pt x="359" y="207"/>
                      </a:lnTo>
                      <a:lnTo>
                        <a:pt x="359" y="204"/>
                      </a:lnTo>
                      <a:lnTo>
                        <a:pt x="356" y="203"/>
                      </a:lnTo>
                      <a:lnTo>
                        <a:pt x="357" y="200"/>
                      </a:lnTo>
                      <a:lnTo>
                        <a:pt x="357" y="200"/>
                      </a:lnTo>
                      <a:lnTo>
                        <a:pt x="357" y="198"/>
                      </a:lnTo>
                      <a:lnTo>
                        <a:pt x="357" y="196"/>
                      </a:lnTo>
                      <a:lnTo>
                        <a:pt x="359" y="194"/>
                      </a:lnTo>
                      <a:lnTo>
                        <a:pt x="358" y="193"/>
                      </a:lnTo>
                      <a:lnTo>
                        <a:pt x="359" y="191"/>
                      </a:lnTo>
                      <a:lnTo>
                        <a:pt x="358" y="190"/>
                      </a:lnTo>
                      <a:lnTo>
                        <a:pt x="359" y="187"/>
                      </a:lnTo>
                      <a:lnTo>
                        <a:pt x="359" y="187"/>
                      </a:lnTo>
                      <a:lnTo>
                        <a:pt x="357" y="187"/>
                      </a:lnTo>
                      <a:lnTo>
                        <a:pt x="354" y="182"/>
                      </a:lnTo>
                      <a:lnTo>
                        <a:pt x="355" y="181"/>
                      </a:lnTo>
                      <a:lnTo>
                        <a:pt x="355" y="177"/>
                      </a:lnTo>
                      <a:lnTo>
                        <a:pt x="359" y="177"/>
                      </a:lnTo>
                      <a:lnTo>
                        <a:pt x="359" y="176"/>
                      </a:lnTo>
                      <a:lnTo>
                        <a:pt x="359" y="175"/>
                      </a:lnTo>
                      <a:lnTo>
                        <a:pt x="358" y="173"/>
                      </a:lnTo>
                      <a:lnTo>
                        <a:pt x="360" y="172"/>
                      </a:lnTo>
                      <a:lnTo>
                        <a:pt x="359" y="171"/>
                      </a:lnTo>
                      <a:lnTo>
                        <a:pt x="359" y="171"/>
                      </a:lnTo>
                      <a:lnTo>
                        <a:pt x="359" y="169"/>
                      </a:lnTo>
                      <a:lnTo>
                        <a:pt x="357" y="166"/>
                      </a:lnTo>
                      <a:lnTo>
                        <a:pt x="356" y="166"/>
                      </a:lnTo>
                      <a:lnTo>
                        <a:pt x="354" y="164"/>
                      </a:lnTo>
                      <a:lnTo>
                        <a:pt x="352" y="163"/>
                      </a:lnTo>
                      <a:lnTo>
                        <a:pt x="352" y="161"/>
                      </a:lnTo>
                      <a:lnTo>
                        <a:pt x="348" y="155"/>
                      </a:lnTo>
                      <a:lnTo>
                        <a:pt x="349" y="155"/>
                      </a:lnTo>
                      <a:lnTo>
                        <a:pt x="350" y="155"/>
                      </a:lnTo>
                      <a:lnTo>
                        <a:pt x="351" y="155"/>
                      </a:lnTo>
                      <a:lnTo>
                        <a:pt x="352" y="155"/>
                      </a:lnTo>
                      <a:lnTo>
                        <a:pt x="352" y="153"/>
                      </a:lnTo>
                      <a:lnTo>
                        <a:pt x="353" y="153"/>
                      </a:lnTo>
                      <a:lnTo>
                        <a:pt x="352" y="152"/>
                      </a:lnTo>
                      <a:lnTo>
                        <a:pt x="354" y="151"/>
                      </a:lnTo>
                      <a:lnTo>
                        <a:pt x="356" y="152"/>
                      </a:lnTo>
                      <a:lnTo>
                        <a:pt x="357" y="150"/>
                      </a:lnTo>
                      <a:lnTo>
                        <a:pt x="362" y="146"/>
                      </a:lnTo>
                      <a:lnTo>
                        <a:pt x="362" y="146"/>
                      </a:lnTo>
                      <a:lnTo>
                        <a:pt x="361" y="145"/>
                      </a:lnTo>
                      <a:lnTo>
                        <a:pt x="362" y="143"/>
                      </a:lnTo>
                      <a:lnTo>
                        <a:pt x="362" y="142"/>
                      </a:lnTo>
                      <a:lnTo>
                        <a:pt x="362" y="141"/>
                      </a:lnTo>
                      <a:lnTo>
                        <a:pt x="366" y="140"/>
                      </a:lnTo>
                      <a:lnTo>
                        <a:pt x="366" y="139"/>
                      </a:lnTo>
                      <a:lnTo>
                        <a:pt x="365" y="138"/>
                      </a:lnTo>
                      <a:close/>
                      <a:moveTo>
                        <a:pt x="251" y="91"/>
                      </a:moveTo>
                      <a:lnTo>
                        <a:pt x="251" y="91"/>
                      </a:lnTo>
                      <a:lnTo>
                        <a:pt x="249" y="94"/>
                      </a:lnTo>
                      <a:lnTo>
                        <a:pt x="249" y="94"/>
                      </a:lnTo>
                      <a:lnTo>
                        <a:pt x="251" y="91"/>
                      </a:lnTo>
                      <a:close/>
                    </a:path>
                  </a:pathLst>
                </a:custGeom>
                <a:solidFill>
                  <a:srgbClr val="74BAEF"/>
                </a:solidFill>
                <a:ln w="3175">
                  <a:solidFill>
                    <a:schemeClr val="dk1"/>
                  </a:solidFill>
                  <a:round/>
                  <a:headEnd/>
                  <a:tailEnd/>
                </a:ln>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z="800" dirty="0">
                    <a:solidFill>
                      <a:srgbClr val="000000"/>
                    </a:solidFill>
                  </a:endParaRPr>
                </a:p>
              </p:txBody>
            </p:sp>
            <p:sp>
              <p:nvSpPr>
                <p:cNvPr id="57" name="Corse" descr="{&quot;Key&quot;:&quot;corse&quot;,&quot;Name&quot;:&quot;Corse&quot;,&quot;Value&quot;:1.0,&quot;Formula&quot;:&quot;&quot;,&quot;Text&quot;:&quot;1&quot;,&quot;OfficeApplication&quot;:0,&quot;HasValue&quot;:true}">
                  <a:extLst>
                    <a:ext uri="{FF2B5EF4-FFF2-40B4-BE49-F238E27FC236}">
                      <a16:creationId xmlns:a16="http://schemas.microsoft.com/office/drawing/2014/main" id="{E6D425A1-C871-2BE4-DD2D-9B624F7CC37B}"/>
                    </a:ext>
                  </a:extLst>
                </p:cNvPr>
                <p:cNvSpPr>
                  <a:spLocks/>
                </p:cNvSpPr>
                <p:nvPr/>
              </p:nvSpPr>
              <p:spPr bwMode="gray">
                <a:xfrm>
                  <a:off x="8147625" y="5305094"/>
                  <a:ext cx="491049" cy="1155865"/>
                </a:xfrm>
                <a:custGeom>
                  <a:avLst/>
                  <a:gdLst>
                    <a:gd name="T0" fmla="*/ 94 w 98"/>
                    <a:gd name="T1" fmla="*/ 81 h 251"/>
                    <a:gd name="T2" fmla="*/ 85 w 98"/>
                    <a:gd name="T3" fmla="*/ 45 h 251"/>
                    <a:gd name="T4" fmla="*/ 84 w 98"/>
                    <a:gd name="T5" fmla="*/ 4 h 251"/>
                    <a:gd name="T6" fmla="*/ 72 w 98"/>
                    <a:gd name="T7" fmla="*/ 5 h 251"/>
                    <a:gd name="T8" fmla="*/ 71 w 98"/>
                    <a:gd name="T9" fmla="*/ 20 h 251"/>
                    <a:gd name="T10" fmla="*/ 70 w 98"/>
                    <a:gd name="T11" fmla="*/ 48 h 251"/>
                    <a:gd name="T12" fmla="*/ 51 w 98"/>
                    <a:gd name="T13" fmla="*/ 42 h 251"/>
                    <a:gd name="T14" fmla="*/ 40 w 98"/>
                    <a:gd name="T15" fmla="*/ 55 h 251"/>
                    <a:gd name="T16" fmla="*/ 29 w 98"/>
                    <a:gd name="T17" fmla="*/ 60 h 251"/>
                    <a:gd name="T18" fmla="*/ 21 w 98"/>
                    <a:gd name="T19" fmla="*/ 68 h 251"/>
                    <a:gd name="T20" fmla="*/ 14 w 98"/>
                    <a:gd name="T21" fmla="*/ 70 h 251"/>
                    <a:gd name="T22" fmla="*/ 11 w 98"/>
                    <a:gd name="T23" fmla="*/ 80 h 251"/>
                    <a:gd name="T24" fmla="*/ 10 w 98"/>
                    <a:gd name="T25" fmla="*/ 88 h 251"/>
                    <a:gd name="T26" fmla="*/ 0 w 98"/>
                    <a:gd name="T27" fmla="*/ 93 h 251"/>
                    <a:gd name="T28" fmla="*/ 5 w 98"/>
                    <a:gd name="T29" fmla="*/ 99 h 251"/>
                    <a:gd name="T30" fmla="*/ 14 w 98"/>
                    <a:gd name="T31" fmla="*/ 110 h 251"/>
                    <a:gd name="T32" fmla="*/ 3 w 98"/>
                    <a:gd name="T33" fmla="*/ 129 h 251"/>
                    <a:gd name="T34" fmla="*/ 10 w 98"/>
                    <a:gd name="T35" fmla="*/ 134 h 251"/>
                    <a:gd name="T36" fmla="*/ 16 w 98"/>
                    <a:gd name="T37" fmla="*/ 136 h 251"/>
                    <a:gd name="T38" fmla="*/ 17 w 98"/>
                    <a:gd name="T39" fmla="*/ 147 h 251"/>
                    <a:gd name="T40" fmla="*/ 8 w 98"/>
                    <a:gd name="T41" fmla="*/ 157 h 251"/>
                    <a:gd name="T42" fmla="*/ 19 w 98"/>
                    <a:gd name="T43" fmla="*/ 165 h 251"/>
                    <a:gd name="T44" fmla="*/ 29 w 98"/>
                    <a:gd name="T45" fmla="*/ 167 h 251"/>
                    <a:gd name="T46" fmla="*/ 24 w 98"/>
                    <a:gd name="T47" fmla="*/ 175 h 251"/>
                    <a:gd name="T48" fmla="*/ 20 w 98"/>
                    <a:gd name="T49" fmla="*/ 183 h 251"/>
                    <a:gd name="T50" fmla="*/ 14 w 98"/>
                    <a:gd name="T51" fmla="*/ 189 h 251"/>
                    <a:gd name="T52" fmla="*/ 25 w 98"/>
                    <a:gd name="T53" fmla="*/ 191 h 251"/>
                    <a:gd name="T54" fmla="*/ 37 w 98"/>
                    <a:gd name="T55" fmla="*/ 202 h 251"/>
                    <a:gd name="T56" fmla="*/ 29 w 98"/>
                    <a:gd name="T57" fmla="*/ 220 h 251"/>
                    <a:gd name="T58" fmla="*/ 39 w 98"/>
                    <a:gd name="T59" fmla="*/ 231 h 251"/>
                    <a:gd name="T60" fmla="*/ 52 w 98"/>
                    <a:gd name="T61" fmla="*/ 236 h 251"/>
                    <a:gd name="T62" fmla="*/ 56 w 98"/>
                    <a:gd name="T63" fmla="*/ 237 h 251"/>
                    <a:gd name="T64" fmla="*/ 57 w 98"/>
                    <a:gd name="T65" fmla="*/ 243 h 251"/>
                    <a:gd name="T66" fmla="*/ 70 w 98"/>
                    <a:gd name="T67" fmla="*/ 251 h 251"/>
                    <a:gd name="T68" fmla="*/ 72 w 98"/>
                    <a:gd name="T69" fmla="*/ 239 h 251"/>
                    <a:gd name="T70" fmla="*/ 76 w 98"/>
                    <a:gd name="T71" fmla="*/ 224 h 251"/>
                    <a:gd name="T72" fmla="*/ 83 w 98"/>
                    <a:gd name="T73" fmla="*/ 213 h 251"/>
                    <a:gd name="T74" fmla="*/ 78 w 98"/>
                    <a:gd name="T75" fmla="*/ 210 h 251"/>
                    <a:gd name="T76" fmla="*/ 88 w 98"/>
                    <a:gd name="T77" fmla="*/ 195 h 251"/>
                    <a:gd name="T78" fmla="*/ 98 w 98"/>
                    <a:gd name="T79" fmla="*/ 134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8" h="251">
                      <a:moveTo>
                        <a:pt x="98" y="134"/>
                      </a:moveTo>
                      <a:cubicBezTo>
                        <a:pt x="98" y="134"/>
                        <a:pt x="92" y="82"/>
                        <a:pt x="94" y="81"/>
                      </a:cubicBezTo>
                      <a:cubicBezTo>
                        <a:pt x="95" y="79"/>
                        <a:pt x="94" y="72"/>
                        <a:pt x="94" y="69"/>
                      </a:cubicBezTo>
                      <a:cubicBezTo>
                        <a:pt x="84" y="61"/>
                        <a:pt x="87" y="46"/>
                        <a:pt x="85" y="45"/>
                      </a:cubicBezTo>
                      <a:cubicBezTo>
                        <a:pt x="88" y="40"/>
                        <a:pt x="87" y="17"/>
                        <a:pt x="84" y="12"/>
                      </a:cubicBezTo>
                      <a:cubicBezTo>
                        <a:pt x="82" y="7"/>
                        <a:pt x="84" y="4"/>
                        <a:pt x="84" y="4"/>
                      </a:cubicBezTo>
                      <a:cubicBezTo>
                        <a:pt x="79" y="0"/>
                        <a:pt x="79" y="0"/>
                        <a:pt x="79" y="0"/>
                      </a:cubicBezTo>
                      <a:cubicBezTo>
                        <a:pt x="79" y="0"/>
                        <a:pt x="74" y="2"/>
                        <a:pt x="72" y="5"/>
                      </a:cubicBezTo>
                      <a:cubicBezTo>
                        <a:pt x="70" y="8"/>
                        <a:pt x="71" y="8"/>
                        <a:pt x="73" y="11"/>
                      </a:cubicBezTo>
                      <a:cubicBezTo>
                        <a:pt x="75" y="15"/>
                        <a:pt x="70" y="16"/>
                        <a:pt x="71" y="20"/>
                      </a:cubicBezTo>
                      <a:cubicBezTo>
                        <a:pt x="71" y="23"/>
                        <a:pt x="71" y="28"/>
                        <a:pt x="71" y="28"/>
                      </a:cubicBezTo>
                      <a:cubicBezTo>
                        <a:pt x="75" y="34"/>
                        <a:pt x="70" y="48"/>
                        <a:pt x="70" y="48"/>
                      </a:cubicBezTo>
                      <a:cubicBezTo>
                        <a:pt x="62" y="43"/>
                        <a:pt x="62" y="43"/>
                        <a:pt x="62" y="43"/>
                      </a:cubicBezTo>
                      <a:cubicBezTo>
                        <a:pt x="51" y="42"/>
                        <a:pt x="51" y="42"/>
                        <a:pt x="51" y="42"/>
                      </a:cubicBezTo>
                      <a:cubicBezTo>
                        <a:pt x="46" y="51"/>
                        <a:pt x="46" y="51"/>
                        <a:pt x="46" y="51"/>
                      </a:cubicBezTo>
                      <a:cubicBezTo>
                        <a:pt x="40" y="55"/>
                        <a:pt x="40" y="55"/>
                        <a:pt x="40" y="55"/>
                      </a:cubicBezTo>
                      <a:cubicBezTo>
                        <a:pt x="33" y="55"/>
                        <a:pt x="33" y="55"/>
                        <a:pt x="33" y="55"/>
                      </a:cubicBezTo>
                      <a:cubicBezTo>
                        <a:pt x="29" y="60"/>
                        <a:pt x="29" y="60"/>
                        <a:pt x="29" y="60"/>
                      </a:cubicBezTo>
                      <a:cubicBezTo>
                        <a:pt x="23" y="60"/>
                        <a:pt x="23" y="60"/>
                        <a:pt x="23" y="60"/>
                      </a:cubicBezTo>
                      <a:cubicBezTo>
                        <a:pt x="21" y="68"/>
                        <a:pt x="21" y="68"/>
                        <a:pt x="21" y="68"/>
                      </a:cubicBezTo>
                      <a:cubicBezTo>
                        <a:pt x="15" y="64"/>
                        <a:pt x="15" y="64"/>
                        <a:pt x="15" y="64"/>
                      </a:cubicBezTo>
                      <a:cubicBezTo>
                        <a:pt x="14" y="70"/>
                        <a:pt x="14" y="70"/>
                        <a:pt x="14" y="70"/>
                      </a:cubicBezTo>
                      <a:cubicBezTo>
                        <a:pt x="8" y="79"/>
                        <a:pt x="8" y="79"/>
                        <a:pt x="8" y="79"/>
                      </a:cubicBezTo>
                      <a:cubicBezTo>
                        <a:pt x="8" y="79"/>
                        <a:pt x="9" y="78"/>
                        <a:pt x="11" y="80"/>
                      </a:cubicBezTo>
                      <a:cubicBezTo>
                        <a:pt x="14" y="82"/>
                        <a:pt x="10" y="83"/>
                        <a:pt x="10" y="83"/>
                      </a:cubicBezTo>
                      <a:cubicBezTo>
                        <a:pt x="10" y="88"/>
                        <a:pt x="10" y="88"/>
                        <a:pt x="10" y="88"/>
                      </a:cubicBezTo>
                      <a:cubicBezTo>
                        <a:pt x="5" y="89"/>
                        <a:pt x="5" y="89"/>
                        <a:pt x="5" y="89"/>
                      </a:cubicBezTo>
                      <a:cubicBezTo>
                        <a:pt x="5" y="92"/>
                        <a:pt x="0" y="93"/>
                        <a:pt x="0" y="93"/>
                      </a:cubicBezTo>
                      <a:cubicBezTo>
                        <a:pt x="0" y="100"/>
                        <a:pt x="0" y="100"/>
                        <a:pt x="0" y="100"/>
                      </a:cubicBezTo>
                      <a:cubicBezTo>
                        <a:pt x="0" y="100"/>
                        <a:pt x="3" y="99"/>
                        <a:pt x="5" y="99"/>
                      </a:cubicBezTo>
                      <a:cubicBezTo>
                        <a:pt x="8" y="99"/>
                        <a:pt x="6" y="104"/>
                        <a:pt x="7" y="104"/>
                      </a:cubicBezTo>
                      <a:cubicBezTo>
                        <a:pt x="8" y="104"/>
                        <a:pt x="14" y="110"/>
                        <a:pt x="14" y="110"/>
                      </a:cubicBezTo>
                      <a:cubicBezTo>
                        <a:pt x="6" y="111"/>
                        <a:pt x="3" y="116"/>
                        <a:pt x="3" y="116"/>
                      </a:cubicBezTo>
                      <a:cubicBezTo>
                        <a:pt x="3" y="129"/>
                        <a:pt x="3" y="129"/>
                        <a:pt x="3" y="129"/>
                      </a:cubicBezTo>
                      <a:cubicBezTo>
                        <a:pt x="5" y="132"/>
                        <a:pt x="5" y="132"/>
                        <a:pt x="5" y="132"/>
                      </a:cubicBezTo>
                      <a:cubicBezTo>
                        <a:pt x="10" y="134"/>
                        <a:pt x="10" y="134"/>
                        <a:pt x="10" y="134"/>
                      </a:cubicBezTo>
                      <a:cubicBezTo>
                        <a:pt x="10" y="134"/>
                        <a:pt x="11" y="135"/>
                        <a:pt x="13" y="137"/>
                      </a:cubicBezTo>
                      <a:cubicBezTo>
                        <a:pt x="14" y="134"/>
                        <a:pt x="15" y="137"/>
                        <a:pt x="16" y="136"/>
                      </a:cubicBezTo>
                      <a:cubicBezTo>
                        <a:pt x="16" y="141"/>
                        <a:pt x="21" y="143"/>
                        <a:pt x="21" y="143"/>
                      </a:cubicBezTo>
                      <a:cubicBezTo>
                        <a:pt x="17" y="147"/>
                        <a:pt x="17" y="147"/>
                        <a:pt x="17" y="147"/>
                      </a:cubicBezTo>
                      <a:cubicBezTo>
                        <a:pt x="12" y="148"/>
                        <a:pt x="13" y="156"/>
                        <a:pt x="13" y="156"/>
                      </a:cubicBezTo>
                      <a:cubicBezTo>
                        <a:pt x="8" y="157"/>
                        <a:pt x="8" y="157"/>
                        <a:pt x="8" y="157"/>
                      </a:cubicBezTo>
                      <a:cubicBezTo>
                        <a:pt x="9" y="166"/>
                        <a:pt x="9" y="166"/>
                        <a:pt x="9" y="166"/>
                      </a:cubicBezTo>
                      <a:cubicBezTo>
                        <a:pt x="19" y="165"/>
                        <a:pt x="19" y="165"/>
                        <a:pt x="19" y="165"/>
                      </a:cubicBezTo>
                      <a:cubicBezTo>
                        <a:pt x="23" y="163"/>
                        <a:pt x="23" y="163"/>
                        <a:pt x="23" y="163"/>
                      </a:cubicBezTo>
                      <a:cubicBezTo>
                        <a:pt x="29" y="167"/>
                        <a:pt x="29" y="167"/>
                        <a:pt x="29" y="167"/>
                      </a:cubicBezTo>
                      <a:cubicBezTo>
                        <a:pt x="27" y="169"/>
                        <a:pt x="27" y="169"/>
                        <a:pt x="27" y="169"/>
                      </a:cubicBezTo>
                      <a:cubicBezTo>
                        <a:pt x="24" y="175"/>
                        <a:pt x="24" y="175"/>
                        <a:pt x="24" y="175"/>
                      </a:cubicBezTo>
                      <a:cubicBezTo>
                        <a:pt x="24" y="179"/>
                        <a:pt x="24" y="179"/>
                        <a:pt x="24" y="179"/>
                      </a:cubicBezTo>
                      <a:cubicBezTo>
                        <a:pt x="20" y="183"/>
                        <a:pt x="20" y="183"/>
                        <a:pt x="20" y="183"/>
                      </a:cubicBezTo>
                      <a:cubicBezTo>
                        <a:pt x="21" y="186"/>
                        <a:pt x="21" y="186"/>
                        <a:pt x="21" y="186"/>
                      </a:cubicBezTo>
                      <a:cubicBezTo>
                        <a:pt x="14" y="189"/>
                        <a:pt x="14" y="189"/>
                        <a:pt x="14" y="189"/>
                      </a:cubicBezTo>
                      <a:cubicBezTo>
                        <a:pt x="20" y="194"/>
                        <a:pt x="20" y="194"/>
                        <a:pt x="20" y="194"/>
                      </a:cubicBezTo>
                      <a:cubicBezTo>
                        <a:pt x="25" y="191"/>
                        <a:pt x="25" y="191"/>
                        <a:pt x="25" y="191"/>
                      </a:cubicBezTo>
                      <a:cubicBezTo>
                        <a:pt x="27" y="196"/>
                        <a:pt x="27" y="196"/>
                        <a:pt x="27" y="196"/>
                      </a:cubicBezTo>
                      <a:cubicBezTo>
                        <a:pt x="27" y="196"/>
                        <a:pt x="37" y="199"/>
                        <a:pt x="37" y="202"/>
                      </a:cubicBezTo>
                      <a:cubicBezTo>
                        <a:pt x="37" y="204"/>
                        <a:pt x="29" y="208"/>
                        <a:pt x="29" y="208"/>
                      </a:cubicBezTo>
                      <a:cubicBezTo>
                        <a:pt x="29" y="208"/>
                        <a:pt x="29" y="218"/>
                        <a:pt x="29" y="220"/>
                      </a:cubicBezTo>
                      <a:cubicBezTo>
                        <a:pt x="29" y="221"/>
                        <a:pt x="33" y="227"/>
                        <a:pt x="35" y="226"/>
                      </a:cubicBezTo>
                      <a:cubicBezTo>
                        <a:pt x="37" y="223"/>
                        <a:pt x="39" y="231"/>
                        <a:pt x="39" y="231"/>
                      </a:cubicBezTo>
                      <a:cubicBezTo>
                        <a:pt x="47" y="231"/>
                        <a:pt x="47" y="231"/>
                        <a:pt x="47" y="231"/>
                      </a:cubicBezTo>
                      <a:cubicBezTo>
                        <a:pt x="52" y="236"/>
                        <a:pt x="52" y="236"/>
                        <a:pt x="52" y="236"/>
                      </a:cubicBezTo>
                      <a:cubicBezTo>
                        <a:pt x="56" y="232"/>
                        <a:pt x="56" y="232"/>
                        <a:pt x="56" y="232"/>
                      </a:cubicBezTo>
                      <a:cubicBezTo>
                        <a:pt x="56" y="237"/>
                        <a:pt x="56" y="237"/>
                        <a:pt x="56" y="237"/>
                      </a:cubicBezTo>
                      <a:cubicBezTo>
                        <a:pt x="61" y="238"/>
                        <a:pt x="61" y="238"/>
                        <a:pt x="61" y="238"/>
                      </a:cubicBezTo>
                      <a:cubicBezTo>
                        <a:pt x="57" y="243"/>
                        <a:pt x="57" y="243"/>
                        <a:pt x="57" y="243"/>
                      </a:cubicBezTo>
                      <a:cubicBezTo>
                        <a:pt x="57" y="243"/>
                        <a:pt x="60" y="249"/>
                        <a:pt x="60" y="246"/>
                      </a:cubicBezTo>
                      <a:cubicBezTo>
                        <a:pt x="60" y="243"/>
                        <a:pt x="70" y="251"/>
                        <a:pt x="70" y="251"/>
                      </a:cubicBezTo>
                      <a:cubicBezTo>
                        <a:pt x="74" y="242"/>
                        <a:pt x="74" y="242"/>
                        <a:pt x="74" y="242"/>
                      </a:cubicBezTo>
                      <a:cubicBezTo>
                        <a:pt x="74" y="242"/>
                        <a:pt x="71" y="239"/>
                        <a:pt x="72" y="239"/>
                      </a:cubicBezTo>
                      <a:cubicBezTo>
                        <a:pt x="74" y="239"/>
                        <a:pt x="77" y="232"/>
                        <a:pt x="77" y="232"/>
                      </a:cubicBezTo>
                      <a:cubicBezTo>
                        <a:pt x="76" y="224"/>
                        <a:pt x="76" y="224"/>
                        <a:pt x="76" y="224"/>
                      </a:cubicBezTo>
                      <a:cubicBezTo>
                        <a:pt x="76" y="224"/>
                        <a:pt x="78" y="223"/>
                        <a:pt x="82" y="221"/>
                      </a:cubicBezTo>
                      <a:cubicBezTo>
                        <a:pt x="86" y="219"/>
                        <a:pt x="84" y="215"/>
                        <a:pt x="83" y="213"/>
                      </a:cubicBezTo>
                      <a:cubicBezTo>
                        <a:pt x="81" y="212"/>
                        <a:pt x="77" y="216"/>
                        <a:pt x="76" y="217"/>
                      </a:cubicBezTo>
                      <a:cubicBezTo>
                        <a:pt x="75" y="217"/>
                        <a:pt x="78" y="210"/>
                        <a:pt x="78" y="210"/>
                      </a:cubicBezTo>
                      <a:cubicBezTo>
                        <a:pt x="78" y="210"/>
                        <a:pt x="85" y="210"/>
                        <a:pt x="85" y="206"/>
                      </a:cubicBezTo>
                      <a:cubicBezTo>
                        <a:pt x="85" y="203"/>
                        <a:pt x="88" y="195"/>
                        <a:pt x="88" y="195"/>
                      </a:cubicBezTo>
                      <a:cubicBezTo>
                        <a:pt x="88" y="195"/>
                        <a:pt x="87" y="161"/>
                        <a:pt x="86" y="160"/>
                      </a:cubicBezTo>
                      <a:cubicBezTo>
                        <a:pt x="92" y="155"/>
                        <a:pt x="98" y="134"/>
                        <a:pt x="98" y="134"/>
                      </a:cubicBezTo>
                      <a:close/>
                    </a:path>
                  </a:pathLst>
                </a:custGeom>
                <a:solidFill>
                  <a:srgbClr val="74BAEF"/>
                </a:solidFill>
                <a:ln w="3175">
                  <a:solidFill>
                    <a:schemeClr val="dk1"/>
                  </a:solidFill>
                  <a:round/>
                  <a:headEnd/>
                  <a:tailEnd/>
                </a:ln>
              </p:spPr>
              <p:txBody>
                <a:bodyPr vert="horz" wrap="square" lIns="91440" tIns="45720" rIns="91440" bIns="45720" numCol="1" anchor="ctr" anchorCtr="0" compatLnSpc="1">
                  <a:prstTxWarp prst="textNoShape">
                    <a:avLst/>
                  </a:prstTxWarp>
                </a:bodyPr>
                <a:lstStyle/>
                <a:p>
                  <a:pPr algn="ctr"/>
                  <a:endParaRPr lang="en-US" sz="800" dirty="0"/>
                </a:p>
              </p:txBody>
            </p:sp>
            <p:sp>
              <p:nvSpPr>
                <p:cNvPr id="58" name="Grand Est" descr="{&quot;Key&quot;:&quot;grand est&quot;,&quot;Name&quot;:&quot;Grand Est&quot;,&quot;Value&quot;:1.0,&quot;Formula&quot;:&quot;&quot;,&quot;Text&quot;:&quot;1&quot;,&quot;OfficeApplication&quot;:0,&quot;HasValue&quot;:true}">
                  <a:extLst>
                    <a:ext uri="{FF2B5EF4-FFF2-40B4-BE49-F238E27FC236}">
                      <a16:creationId xmlns:a16="http://schemas.microsoft.com/office/drawing/2014/main" id="{1A322F8C-787C-B969-2EEC-B48E86FE04C8}"/>
                    </a:ext>
                  </a:extLst>
                </p:cNvPr>
                <p:cNvSpPr>
                  <a:spLocks/>
                </p:cNvSpPr>
                <p:nvPr/>
              </p:nvSpPr>
              <p:spPr bwMode="auto">
                <a:xfrm>
                  <a:off x="6278458" y="1842110"/>
                  <a:ext cx="1854170" cy="1483823"/>
                </a:xfrm>
                <a:custGeom>
                  <a:avLst/>
                  <a:gdLst>
                    <a:gd name="T0" fmla="*/ 335 w 364"/>
                    <a:gd name="T1" fmla="*/ 118 h 305"/>
                    <a:gd name="T2" fmla="*/ 312 w 364"/>
                    <a:gd name="T3" fmla="*/ 115 h 305"/>
                    <a:gd name="T4" fmla="*/ 294 w 364"/>
                    <a:gd name="T5" fmla="*/ 108 h 305"/>
                    <a:gd name="T6" fmla="*/ 278 w 364"/>
                    <a:gd name="T7" fmla="*/ 109 h 305"/>
                    <a:gd name="T8" fmla="*/ 267 w 364"/>
                    <a:gd name="T9" fmla="*/ 102 h 305"/>
                    <a:gd name="T10" fmla="*/ 255 w 364"/>
                    <a:gd name="T11" fmla="*/ 109 h 305"/>
                    <a:gd name="T12" fmla="*/ 242 w 364"/>
                    <a:gd name="T13" fmla="*/ 95 h 305"/>
                    <a:gd name="T14" fmla="*/ 234 w 364"/>
                    <a:gd name="T15" fmla="*/ 80 h 305"/>
                    <a:gd name="T16" fmla="*/ 220 w 364"/>
                    <a:gd name="T17" fmla="*/ 76 h 305"/>
                    <a:gd name="T18" fmla="*/ 203 w 364"/>
                    <a:gd name="T19" fmla="*/ 74 h 305"/>
                    <a:gd name="T20" fmla="*/ 181 w 364"/>
                    <a:gd name="T21" fmla="*/ 71 h 305"/>
                    <a:gd name="T22" fmla="*/ 165 w 364"/>
                    <a:gd name="T23" fmla="*/ 73 h 305"/>
                    <a:gd name="T24" fmla="*/ 151 w 364"/>
                    <a:gd name="T25" fmla="*/ 64 h 305"/>
                    <a:gd name="T26" fmla="*/ 141 w 364"/>
                    <a:gd name="T27" fmla="*/ 61 h 305"/>
                    <a:gd name="T28" fmla="*/ 130 w 364"/>
                    <a:gd name="T29" fmla="*/ 53 h 305"/>
                    <a:gd name="T30" fmla="*/ 117 w 364"/>
                    <a:gd name="T31" fmla="*/ 42 h 305"/>
                    <a:gd name="T32" fmla="*/ 102 w 364"/>
                    <a:gd name="T33" fmla="*/ 24 h 305"/>
                    <a:gd name="T34" fmla="*/ 108 w 364"/>
                    <a:gd name="T35" fmla="*/ 4 h 305"/>
                    <a:gd name="T36" fmla="*/ 93 w 364"/>
                    <a:gd name="T37" fmla="*/ 12 h 305"/>
                    <a:gd name="T38" fmla="*/ 60 w 364"/>
                    <a:gd name="T39" fmla="*/ 25 h 305"/>
                    <a:gd name="T40" fmla="*/ 59 w 364"/>
                    <a:gd name="T41" fmla="*/ 47 h 305"/>
                    <a:gd name="T42" fmla="*/ 52 w 364"/>
                    <a:gd name="T43" fmla="*/ 62 h 305"/>
                    <a:gd name="T44" fmla="*/ 48 w 364"/>
                    <a:gd name="T45" fmla="*/ 75 h 305"/>
                    <a:gd name="T46" fmla="*/ 48 w 364"/>
                    <a:gd name="T47" fmla="*/ 94 h 305"/>
                    <a:gd name="T48" fmla="*/ 33 w 364"/>
                    <a:gd name="T49" fmla="*/ 94 h 305"/>
                    <a:gd name="T50" fmla="*/ 17 w 364"/>
                    <a:gd name="T51" fmla="*/ 102 h 305"/>
                    <a:gd name="T52" fmla="*/ 22 w 364"/>
                    <a:gd name="T53" fmla="*/ 112 h 305"/>
                    <a:gd name="T54" fmla="*/ 15 w 364"/>
                    <a:gd name="T55" fmla="*/ 123 h 305"/>
                    <a:gd name="T56" fmla="*/ 20 w 364"/>
                    <a:gd name="T57" fmla="*/ 131 h 305"/>
                    <a:gd name="T58" fmla="*/ 7 w 364"/>
                    <a:gd name="T59" fmla="*/ 157 h 305"/>
                    <a:gd name="T60" fmla="*/ 3 w 364"/>
                    <a:gd name="T61" fmla="*/ 166 h 305"/>
                    <a:gd name="T62" fmla="*/ 13 w 364"/>
                    <a:gd name="T63" fmla="*/ 180 h 305"/>
                    <a:gd name="T64" fmla="*/ 0 w 364"/>
                    <a:gd name="T65" fmla="*/ 195 h 305"/>
                    <a:gd name="T66" fmla="*/ 12 w 364"/>
                    <a:gd name="T67" fmla="*/ 214 h 305"/>
                    <a:gd name="T68" fmla="*/ 15 w 364"/>
                    <a:gd name="T69" fmla="*/ 228 h 305"/>
                    <a:gd name="T70" fmla="*/ 28 w 364"/>
                    <a:gd name="T71" fmla="*/ 234 h 305"/>
                    <a:gd name="T72" fmla="*/ 36 w 364"/>
                    <a:gd name="T73" fmla="*/ 249 h 305"/>
                    <a:gd name="T74" fmla="*/ 46 w 364"/>
                    <a:gd name="T75" fmla="*/ 257 h 305"/>
                    <a:gd name="T76" fmla="*/ 62 w 364"/>
                    <a:gd name="T77" fmla="*/ 255 h 305"/>
                    <a:gd name="T78" fmla="*/ 80 w 364"/>
                    <a:gd name="T79" fmla="*/ 253 h 305"/>
                    <a:gd name="T80" fmla="*/ 102 w 364"/>
                    <a:gd name="T81" fmla="*/ 246 h 305"/>
                    <a:gd name="T82" fmla="*/ 113 w 364"/>
                    <a:gd name="T83" fmla="*/ 260 h 305"/>
                    <a:gd name="T84" fmla="*/ 119 w 364"/>
                    <a:gd name="T85" fmla="*/ 273 h 305"/>
                    <a:gd name="T86" fmla="*/ 130 w 364"/>
                    <a:gd name="T87" fmla="*/ 282 h 305"/>
                    <a:gd name="T88" fmla="*/ 145 w 364"/>
                    <a:gd name="T89" fmla="*/ 290 h 305"/>
                    <a:gd name="T90" fmla="*/ 158 w 364"/>
                    <a:gd name="T91" fmla="*/ 284 h 305"/>
                    <a:gd name="T92" fmla="*/ 179 w 364"/>
                    <a:gd name="T93" fmla="*/ 281 h 305"/>
                    <a:gd name="T94" fmla="*/ 184 w 364"/>
                    <a:gd name="T95" fmla="*/ 260 h 305"/>
                    <a:gd name="T96" fmla="*/ 194 w 364"/>
                    <a:gd name="T97" fmla="*/ 253 h 305"/>
                    <a:gd name="T98" fmla="*/ 203 w 364"/>
                    <a:gd name="T99" fmla="*/ 247 h 305"/>
                    <a:gd name="T100" fmla="*/ 217 w 364"/>
                    <a:gd name="T101" fmla="*/ 251 h 305"/>
                    <a:gd name="T102" fmla="*/ 238 w 364"/>
                    <a:gd name="T103" fmla="*/ 255 h 305"/>
                    <a:gd name="T104" fmla="*/ 262 w 364"/>
                    <a:gd name="T105" fmla="*/ 258 h 305"/>
                    <a:gd name="T106" fmla="*/ 281 w 364"/>
                    <a:gd name="T107" fmla="*/ 270 h 305"/>
                    <a:gd name="T108" fmla="*/ 282 w 364"/>
                    <a:gd name="T109" fmla="*/ 282 h 305"/>
                    <a:gd name="T110" fmla="*/ 291 w 364"/>
                    <a:gd name="T111" fmla="*/ 292 h 305"/>
                    <a:gd name="T112" fmla="*/ 306 w 364"/>
                    <a:gd name="T113" fmla="*/ 303 h 305"/>
                    <a:gd name="T114" fmla="*/ 322 w 364"/>
                    <a:gd name="T115" fmla="*/ 293 h 305"/>
                    <a:gd name="T116" fmla="*/ 323 w 364"/>
                    <a:gd name="T117" fmla="*/ 279 h 305"/>
                    <a:gd name="T118" fmla="*/ 323 w 364"/>
                    <a:gd name="T119" fmla="*/ 249 h 305"/>
                    <a:gd name="T120" fmla="*/ 322 w 364"/>
                    <a:gd name="T121" fmla="*/ 220 h 305"/>
                    <a:gd name="T122" fmla="*/ 332 w 364"/>
                    <a:gd name="T123" fmla="*/ 187 h 305"/>
                    <a:gd name="T124" fmla="*/ 349 w 364"/>
                    <a:gd name="T125" fmla="*/ 149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4" h="305">
                      <a:moveTo>
                        <a:pt x="363" y="123"/>
                      </a:moveTo>
                      <a:lnTo>
                        <a:pt x="360" y="123"/>
                      </a:lnTo>
                      <a:lnTo>
                        <a:pt x="360" y="123"/>
                      </a:lnTo>
                      <a:lnTo>
                        <a:pt x="355" y="123"/>
                      </a:lnTo>
                      <a:lnTo>
                        <a:pt x="353" y="123"/>
                      </a:lnTo>
                      <a:lnTo>
                        <a:pt x="351" y="121"/>
                      </a:lnTo>
                      <a:lnTo>
                        <a:pt x="341" y="116"/>
                      </a:lnTo>
                      <a:lnTo>
                        <a:pt x="340" y="116"/>
                      </a:lnTo>
                      <a:lnTo>
                        <a:pt x="340" y="117"/>
                      </a:lnTo>
                      <a:lnTo>
                        <a:pt x="338" y="116"/>
                      </a:lnTo>
                      <a:lnTo>
                        <a:pt x="336" y="116"/>
                      </a:lnTo>
                      <a:lnTo>
                        <a:pt x="336" y="118"/>
                      </a:lnTo>
                      <a:lnTo>
                        <a:pt x="335" y="118"/>
                      </a:lnTo>
                      <a:lnTo>
                        <a:pt x="330" y="116"/>
                      </a:lnTo>
                      <a:lnTo>
                        <a:pt x="330" y="116"/>
                      </a:lnTo>
                      <a:lnTo>
                        <a:pt x="326" y="118"/>
                      </a:lnTo>
                      <a:lnTo>
                        <a:pt x="325" y="116"/>
                      </a:lnTo>
                      <a:lnTo>
                        <a:pt x="323" y="117"/>
                      </a:lnTo>
                      <a:lnTo>
                        <a:pt x="323" y="117"/>
                      </a:lnTo>
                      <a:lnTo>
                        <a:pt x="319" y="117"/>
                      </a:lnTo>
                      <a:lnTo>
                        <a:pt x="319" y="117"/>
                      </a:lnTo>
                      <a:lnTo>
                        <a:pt x="319" y="117"/>
                      </a:lnTo>
                      <a:lnTo>
                        <a:pt x="319" y="117"/>
                      </a:lnTo>
                      <a:lnTo>
                        <a:pt x="317" y="116"/>
                      </a:lnTo>
                      <a:lnTo>
                        <a:pt x="315" y="114"/>
                      </a:lnTo>
                      <a:lnTo>
                        <a:pt x="312" y="115"/>
                      </a:lnTo>
                      <a:lnTo>
                        <a:pt x="309" y="112"/>
                      </a:lnTo>
                      <a:lnTo>
                        <a:pt x="308" y="109"/>
                      </a:lnTo>
                      <a:lnTo>
                        <a:pt x="307" y="109"/>
                      </a:lnTo>
                      <a:lnTo>
                        <a:pt x="308" y="107"/>
                      </a:lnTo>
                      <a:lnTo>
                        <a:pt x="306" y="105"/>
                      </a:lnTo>
                      <a:lnTo>
                        <a:pt x="303" y="105"/>
                      </a:lnTo>
                      <a:lnTo>
                        <a:pt x="303" y="105"/>
                      </a:lnTo>
                      <a:lnTo>
                        <a:pt x="302" y="103"/>
                      </a:lnTo>
                      <a:lnTo>
                        <a:pt x="299" y="104"/>
                      </a:lnTo>
                      <a:lnTo>
                        <a:pt x="296" y="105"/>
                      </a:lnTo>
                      <a:lnTo>
                        <a:pt x="297" y="108"/>
                      </a:lnTo>
                      <a:lnTo>
                        <a:pt x="297" y="109"/>
                      </a:lnTo>
                      <a:lnTo>
                        <a:pt x="294" y="108"/>
                      </a:lnTo>
                      <a:lnTo>
                        <a:pt x="293" y="110"/>
                      </a:lnTo>
                      <a:lnTo>
                        <a:pt x="292" y="112"/>
                      </a:lnTo>
                      <a:lnTo>
                        <a:pt x="291" y="112"/>
                      </a:lnTo>
                      <a:lnTo>
                        <a:pt x="291" y="111"/>
                      </a:lnTo>
                      <a:lnTo>
                        <a:pt x="288" y="110"/>
                      </a:lnTo>
                      <a:lnTo>
                        <a:pt x="285" y="111"/>
                      </a:lnTo>
                      <a:lnTo>
                        <a:pt x="285" y="112"/>
                      </a:lnTo>
                      <a:lnTo>
                        <a:pt x="284" y="110"/>
                      </a:lnTo>
                      <a:lnTo>
                        <a:pt x="282" y="110"/>
                      </a:lnTo>
                      <a:lnTo>
                        <a:pt x="282" y="112"/>
                      </a:lnTo>
                      <a:lnTo>
                        <a:pt x="280" y="111"/>
                      </a:lnTo>
                      <a:lnTo>
                        <a:pt x="279" y="109"/>
                      </a:lnTo>
                      <a:lnTo>
                        <a:pt x="278" y="109"/>
                      </a:lnTo>
                      <a:lnTo>
                        <a:pt x="278" y="108"/>
                      </a:lnTo>
                      <a:lnTo>
                        <a:pt x="276" y="109"/>
                      </a:lnTo>
                      <a:lnTo>
                        <a:pt x="276" y="110"/>
                      </a:lnTo>
                      <a:lnTo>
                        <a:pt x="275" y="112"/>
                      </a:lnTo>
                      <a:lnTo>
                        <a:pt x="275" y="112"/>
                      </a:lnTo>
                      <a:lnTo>
                        <a:pt x="274" y="112"/>
                      </a:lnTo>
                      <a:lnTo>
                        <a:pt x="273" y="111"/>
                      </a:lnTo>
                      <a:lnTo>
                        <a:pt x="273" y="110"/>
                      </a:lnTo>
                      <a:lnTo>
                        <a:pt x="272" y="108"/>
                      </a:lnTo>
                      <a:lnTo>
                        <a:pt x="271" y="104"/>
                      </a:lnTo>
                      <a:lnTo>
                        <a:pt x="269" y="104"/>
                      </a:lnTo>
                      <a:lnTo>
                        <a:pt x="268" y="102"/>
                      </a:lnTo>
                      <a:lnTo>
                        <a:pt x="267" y="102"/>
                      </a:lnTo>
                      <a:lnTo>
                        <a:pt x="266" y="103"/>
                      </a:lnTo>
                      <a:lnTo>
                        <a:pt x="266" y="102"/>
                      </a:lnTo>
                      <a:lnTo>
                        <a:pt x="265" y="102"/>
                      </a:lnTo>
                      <a:lnTo>
                        <a:pt x="265" y="102"/>
                      </a:lnTo>
                      <a:lnTo>
                        <a:pt x="263" y="102"/>
                      </a:lnTo>
                      <a:lnTo>
                        <a:pt x="262" y="102"/>
                      </a:lnTo>
                      <a:lnTo>
                        <a:pt x="261" y="103"/>
                      </a:lnTo>
                      <a:lnTo>
                        <a:pt x="259" y="102"/>
                      </a:lnTo>
                      <a:lnTo>
                        <a:pt x="258" y="102"/>
                      </a:lnTo>
                      <a:lnTo>
                        <a:pt x="259" y="107"/>
                      </a:lnTo>
                      <a:lnTo>
                        <a:pt x="258" y="107"/>
                      </a:lnTo>
                      <a:lnTo>
                        <a:pt x="258" y="109"/>
                      </a:lnTo>
                      <a:lnTo>
                        <a:pt x="255" y="109"/>
                      </a:lnTo>
                      <a:lnTo>
                        <a:pt x="253" y="108"/>
                      </a:lnTo>
                      <a:lnTo>
                        <a:pt x="252" y="109"/>
                      </a:lnTo>
                      <a:lnTo>
                        <a:pt x="250" y="108"/>
                      </a:lnTo>
                      <a:lnTo>
                        <a:pt x="248" y="106"/>
                      </a:lnTo>
                      <a:lnTo>
                        <a:pt x="247" y="106"/>
                      </a:lnTo>
                      <a:lnTo>
                        <a:pt x="249" y="104"/>
                      </a:lnTo>
                      <a:lnTo>
                        <a:pt x="248" y="102"/>
                      </a:lnTo>
                      <a:lnTo>
                        <a:pt x="247" y="103"/>
                      </a:lnTo>
                      <a:lnTo>
                        <a:pt x="245" y="100"/>
                      </a:lnTo>
                      <a:lnTo>
                        <a:pt x="245" y="99"/>
                      </a:lnTo>
                      <a:lnTo>
                        <a:pt x="244" y="99"/>
                      </a:lnTo>
                      <a:lnTo>
                        <a:pt x="244" y="95"/>
                      </a:lnTo>
                      <a:lnTo>
                        <a:pt x="242" y="95"/>
                      </a:lnTo>
                      <a:lnTo>
                        <a:pt x="238" y="92"/>
                      </a:lnTo>
                      <a:lnTo>
                        <a:pt x="238" y="89"/>
                      </a:lnTo>
                      <a:lnTo>
                        <a:pt x="237" y="89"/>
                      </a:lnTo>
                      <a:lnTo>
                        <a:pt x="236" y="88"/>
                      </a:lnTo>
                      <a:lnTo>
                        <a:pt x="237" y="88"/>
                      </a:lnTo>
                      <a:lnTo>
                        <a:pt x="238" y="88"/>
                      </a:lnTo>
                      <a:lnTo>
                        <a:pt x="238" y="86"/>
                      </a:lnTo>
                      <a:lnTo>
                        <a:pt x="237" y="85"/>
                      </a:lnTo>
                      <a:lnTo>
                        <a:pt x="237" y="84"/>
                      </a:lnTo>
                      <a:lnTo>
                        <a:pt x="234" y="83"/>
                      </a:lnTo>
                      <a:lnTo>
                        <a:pt x="234" y="83"/>
                      </a:lnTo>
                      <a:lnTo>
                        <a:pt x="233" y="81"/>
                      </a:lnTo>
                      <a:lnTo>
                        <a:pt x="234" y="80"/>
                      </a:lnTo>
                      <a:lnTo>
                        <a:pt x="234" y="79"/>
                      </a:lnTo>
                      <a:lnTo>
                        <a:pt x="233" y="79"/>
                      </a:lnTo>
                      <a:lnTo>
                        <a:pt x="230" y="76"/>
                      </a:lnTo>
                      <a:lnTo>
                        <a:pt x="228" y="75"/>
                      </a:lnTo>
                      <a:lnTo>
                        <a:pt x="226" y="75"/>
                      </a:lnTo>
                      <a:lnTo>
                        <a:pt x="225" y="74"/>
                      </a:lnTo>
                      <a:lnTo>
                        <a:pt x="224" y="74"/>
                      </a:lnTo>
                      <a:lnTo>
                        <a:pt x="223" y="74"/>
                      </a:lnTo>
                      <a:lnTo>
                        <a:pt x="223" y="75"/>
                      </a:lnTo>
                      <a:lnTo>
                        <a:pt x="222" y="75"/>
                      </a:lnTo>
                      <a:lnTo>
                        <a:pt x="221" y="75"/>
                      </a:lnTo>
                      <a:lnTo>
                        <a:pt x="220" y="75"/>
                      </a:lnTo>
                      <a:lnTo>
                        <a:pt x="220" y="76"/>
                      </a:lnTo>
                      <a:lnTo>
                        <a:pt x="220" y="76"/>
                      </a:lnTo>
                      <a:lnTo>
                        <a:pt x="219" y="75"/>
                      </a:lnTo>
                      <a:lnTo>
                        <a:pt x="217" y="75"/>
                      </a:lnTo>
                      <a:lnTo>
                        <a:pt x="215" y="73"/>
                      </a:lnTo>
                      <a:lnTo>
                        <a:pt x="214" y="73"/>
                      </a:lnTo>
                      <a:lnTo>
                        <a:pt x="214" y="71"/>
                      </a:lnTo>
                      <a:lnTo>
                        <a:pt x="211" y="71"/>
                      </a:lnTo>
                      <a:lnTo>
                        <a:pt x="210" y="71"/>
                      </a:lnTo>
                      <a:lnTo>
                        <a:pt x="209" y="71"/>
                      </a:lnTo>
                      <a:lnTo>
                        <a:pt x="206" y="71"/>
                      </a:lnTo>
                      <a:lnTo>
                        <a:pt x="204" y="72"/>
                      </a:lnTo>
                      <a:lnTo>
                        <a:pt x="204" y="73"/>
                      </a:lnTo>
                      <a:lnTo>
                        <a:pt x="203" y="74"/>
                      </a:lnTo>
                      <a:lnTo>
                        <a:pt x="203" y="73"/>
                      </a:lnTo>
                      <a:lnTo>
                        <a:pt x="202" y="76"/>
                      </a:lnTo>
                      <a:lnTo>
                        <a:pt x="201" y="76"/>
                      </a:lnTo>
                      <a:lnTo>
                        <a:pt x="201" y="78"/>
                      </a:lnTo>
                      <a:lnTo>
                        <a:pt x="197" y="77"/>
                      </a:lnTo>
                      <a:lnTo>
                        <a:pt x="196" y="79"/>
                      </a:lnTo>
                      <a:lnTo>
                        <a:pt x="195" y="78"/>
                      </a:lnTo>
                      <a:lnTo>
                        <a:pt x="192" y="79"/>
                      </a:lnTo>
                      <a:lnTo>
                        <a:pt x="191" y="74"/>
                      </a:lnTo>
                      <a:lnTo>
                        <a:pt x="191" y="74"/>
                      </a:lnTo>
                      <a:lnTo>
                        <a:pt x="189" y="73"/>
                      </a:lnTo>
                      <a:lnTo>
                        <a:pt x="183" y="73"/>
                      </a:lnTo>
                      <a:lnTo>
                        <a:pt x="181" y="71"/>
                      </a:lnTo>
                      <a:lnTo>
                        <a:pt x="181" y="70"/>
                      </a:lnTo>
                      <a:lnTo>
                        <a:pt x="180" y="68"/>
                      </a:lnTo>
                      <a:lnTo>
                        <a:pt x="180" y="69"/>
                      </a:lnTo>
                      <a:lnTo>
                        <a:pt x="179" y="68"/>
                      </a:lnTo>
                      <a:lnTo>
                        <a:pt x="175" y="67"/>
                      </a:lnTo>
                      <a:lnTo>
                        <a:pt x="175" y="67"/>
                      </a:lnTo>
                      <a:lnTo>
                        <a:pt x="175" y="68"/>
                      </a:lnTo>
                      <a:lnTo>
                        <a:pt x="170" y="69"/>
                      </a:lnTo>
                      <a:lnTo>
                        <a:pt x="168" y="68"/>
                      </a:lnTo>
                      <a:lnTo>
                        <a:pt x="166" y="68"/>
                      </a:lnTo>
                      <a:lnTo>
                        <a:pt x="165" y="70"/>
                      </a:lnTo>
                      <a:lnTo>
                        <a:pt x="165" y="71"/>
                      </a:lnTo>
                      <a:lnTo>
                        <a:pt x="165" y="73"/>
                      </a:lnTo>
                      <a:lnTo>
                        <a:pt x="164" y="73"/>
                      </a:lnTo>
                      <a:lnTo>
                        <a:pt x="163" y="72"/>
                      </a:lnTo>
                      <a:lnTo>
                        <a:pt x="161" y="71"/>
                      </a:lnTo>
                      <a:lnTo>
                        <a:pt x="159" y="71"/>
                      </a:lnTo>
                      <a:lnTo>
                        <a:pt x="158" y="73"/>
                      </a:lnTo>
                      <a:lnTo>
                        <a:pt x="155" y="74"/>
                      </a:lnTo>
                      <a:lnTo>
                        <a:pt x="154" y="72"/>
                      </a:lnTo>
                      <a:lnTo>
                        <a:pt x="154" y="71"/>
                      </a:lnTo>
                      <a:lnTo>
                        <a:pt x="151" y="69"/>
                      </a:lnTo>
                      <a:lnTo>
                        <a:pt x="152" y="67"/>
                      </a:lnTo>
                      <a:lnTo>
                        <a:pt x="151" y="67"/>
                      </a:lnTo>
                      <a:lnTo>
                        <a:pt x="151" y="64"/>
                      </a:lnTo>
                      <a:lnTo>
                        <a:pt x="151" y="64"/>
                      </a:lnTo>
                      <a:lnTo>
                        <a:pt x="148" y="62"/>
                      </a:lnTo>
                      <a:lnTo>
                        <a:pt x="148" y="62"/>
                      </a:lnTo>
                      <a:lnTo>
                        <a:pt x="146" y="63"/>
                      </a:lnTo>
                      <a:lnTo>
                        <a:pt x="146" y="64"/>
                      </a:lnTo>
                      <a:lnTo>
                        <a:pt x="146" y="64"/>
                      </a:lnTo>
                      <a:lnTo>
                        <a:pt x="146" y="63"/>
                      </a:lnTo>
                      <a:lnTo>
                        <a:pt x="148" y="62"/>
                      </a:lnTo>
                      <a:lnTo>
                        <a:pt x="145" y="60"/>
                      </a:lnTo>
                      <a:lnTo>
                        <a:pt x="144" y="60"/>
                      </a:lnTo>
                      <a:lnTo>
                        <a:pt x="143" y="62"/>
                      </a:lnTo>
                      <a:lnTo>
                        <a:pt x="142" y="62"/>
                      </a:lnTo>
                      <a:lnTo>
                        <a:pt x="141" y="61"/>
                      </a:lnTo>
                      <a:lnTo>
                        <a:pt x="141" y="61"/>
                      </a:lnTo>
                      <a:lnTo>
                        <a:pt x="142" y="57"/>
                      </a:lnTo>
                      <a:lnTo>
                        <a:pt x="141" y="57"/>
                      </a:lnTo>
                      <a:lnTo>
                        <a:pt x="141" y="56"/>
                      </a:lnTo>
                      <a:lnTo>
                        <a:pt x="139" y="55"/>
                      </a:lnTo>
                      <a:lnTo>
                        <a:pt x="138" y="55"/>
                      </a:lnTo>
                      <a:lnTo>
                        <a:pt x="138" y="53"/>
                      </a:lnTo>
                      <a:lnTo>
                        <a:pt x="137" y="53"/>
                      </a:lnTo>
                      <a:lnTo>
                        <a:pt x="137" y="54"/>
                      </a:lnTo>
                      <a:lnTo>
                        <a:pt x="135" y="53"/>
                      </a:lnTo>
                      <a:lnTo>
                        <a:pt x="134" y="54"/>
                      </a:lnTo>
                      <a:lnTo>
                        <a:pt x="134" y="53"/>
                      </a:lnTo>
                      <a:lnTo>
                        <a:pt x="132" y="53"/>
                      </a:lnTo>
                      <a:lnTo>
                        <a:pt x="130" y="53"/>
                      </a:lnTo>
                      <a:lnTo>
                        <a:pt x="130" y="51"/>
                      </a:lnTo>
                      <a:lnTo>
                        <a:pt x="128" y="52"/>
                      </a:lnTo>
                      <a:lnTo>
                        <a:pt x="127" y="51"/>
                      </a:lnTo>
                      <a:lnTo>
                        <a:pt x="127" y="50"/>
                      </a:lnTo>
                      <a:lnTo>
                        <a:pt x="127" y="50"/>
                      </a:lnTo>
                      <a:lnTo>
                        <a:pt x="127" y="48"/>
                      </a:lnTo>
                      <a:lnTo>
                        <a:pt x="124" y="47"/>
                      </a:lnTo>
                      <a:lnTo>
                        <a:pt x="124" y="45"/>
                      </a:lnTo>
                      <a:lnTo>
                        <a:pt x="123" y="46"/>
                      </a:lnTo>
                      <a:lnTo>
                        <a:pt x="121" y="45"/>
                      </a:lnTo>
                      <a:lnTo>
                        <a:pt x="118" y="44"/>
                      </a:lnTo>
                      <a:lnTo>
                        <a:pt x="117" y="43"/>
                      </a:lnTo>
                      <a:lnTo>
                        <a:pt x="117" y="42"/>
                      </a:lnTo>
                      <a:lnTo>
                        <a:pt x="113" y="42"/>
                      </a:lnTo>
                      <a:lnTo>
                        <a:pt x="113" y="43"/>
                      </a:lnTo>
                      <a:lnTo>
                        <a:pt x="112" y="43"/>
                      </a:lnTo>
                      <a:lnTo>
                        <a:pt x="110" y="43"/>
                      </a:lnTo>
                      <a:lnTo>
                        <a:pt x="107" y="43"/>
                      </a:lnTo>
                      <a:lnTo>
                        <a:pt x="106" y="43"/>
                      </a:lnTo>
                      <a:lnTo>
                        <a:pt x="108" y="40"/>
                      </a:lnTo>
                      <a:lnTo>
                        <a:pt x="106" y="37"/>
                      </a:lnTo>
                      <a:lnTo>
                        <a:pt x="106" y="35"/>
                      </a:lnTo>
                      <a:lnTo>
                        <a:pt x="108" y="30"/>
                      </a:lnTo>
                      <a:lnTo>
                        <a:pt x="106" y="25"/>
                      </a:lnTo>
                      <a:lnTo>
                        <a:pt x="103" y="24"/>
                      </a:lnTo>
                      <a:lnTo>
                        <a:pt x="102" y="24"/>
                      </a:lnTo>
                      <a:lnTo>
                        <a:pt x="102" y="22"/>
                      </a:lnTo>
                      <a:lnTo>
                        <a:pt x="103" y="21"/>
                      </a:lnTo>
                      <a:lnTo>
                        <a:pt x="103" y="16"/>
                      </a:lnTo>
                      <a:lnTo>
                        <a:pt x="105" y="15"/>
                      </a:lnTo>
                      <a:lnTo>
                        <a:pt x="103" y="12"/>
                      </a:lnTo>
                      <a:lnTo>
                        <a:pt x="103" y="12"/>
                      </a:lnTo>
                      <a:lnTo>
                        <a:pt x="104" y="12"/>
                      </a:lnTo>
                      <a:lnTo>
                        <a:pt x="105" y="9"/>
                      </a:lnTo>
                      <a:lnTo>
                        <a:pt x="105" y="7"/>
                      </a:lnTo>
                      <a:lnTo>
                        <a:pt x="106" y="9"/>
                      </a:lnTo>
                      <a:lnTo>
                        <a:pt x="107" y="9"/>
                      </a:lnTo>
                      <a:lnTo>
                        <a:pt x="106" y="6"/>
                      </a:lnTo>
                      <a:lnTo>
                        <a:pt x="108" y="4"/>
                      </a:lnTo>
                      <a:lnTo>
                        <a:pt x="108" y="3"/>
                      </a:lnTo>
                      <a:lnTo>
                        <a:pt x="107" y="2"/>
                      </a:lnTo>
                      <a:lnTo>
                        <a:pt x="103" y="2"/>
                      </a:lnTo>
                      <a:lnTo>
                        <a:pt x="103" y="1"/>
                      </a:lnTo>
                      <a:lnTo>
                        <a:pt x="103" y="0"/>
                      </a:lnTo>
                      <a:lnTo>
                        <a:pt x="100" y="3"/>
                      </a:lnTo>
                      <a:lnTo>
                        <a:pt x="99" y="3"/>
                      </a:lnTo>
                      <a:lnTo>
                        <a:pt x="98" y="6"/>
                      </a:lnTo>
                      <a:lnTo>
                        <a:pt x="98" y="6"/>
                      </a:lnTo>
                      <a:lnTo>
                        <a:pt x="95" y="7"/>
                      </a:lnTo>
                      <a:lnTo>
                        <a:pt x="95" y="8"/>
                      </a:lnTo>
                      <a:lnTo>
                        <a:pt x="93" y="8"/>
                      </a:lnTo>
                      <a:lnTo>
                        <a:pt x="93" y="12"/>
                      </a:lnTo>
                      <a:lnTo>
                        <a:pt x="93" y="12"/>
                      </a:lnTo>
                      <a:lnTo>
                        <a:pt x="93" y="19"/>
                      </a:lnTo>
                      <a:lnTo>
                        <a:pt x="86" y="23"/>
                      </a:lnTo>
                      <a:lnTo>
                        <a:pt x="86" y="23"/>
                      </a:lnTo>
                      <a:lnTo>
                        <a:pt x="85" y="23"/>
                      </a:lnTo>
                      <a:lnTo>
                        <a:pt x="82" y="23"/>
                      </a:lnTo>
                      <a:lnTo>
                        <a:pt x="82" y="25"/>
                      </a:lnTo>
                      <a:lnTo>
                        <a:pt x="76" y="27"/>
                      </a:lnTo>
                      <a:lnTo>
                        <a:pt x="72" y="26"/>
                      </a:lnTo>
                      <a:lnTo>
                        <a:pt x="72" y="25"/>
                      </a:lnTo>
                      <a:lnTo>
                        <a:pt x="69" y="25"/>
                      </a:lnTo>
                      <a:lnTo>
                        <a:pt x="65" y="24"/>
                      </a:lnTo>
                      <a:lnTo>
                        <a:pt x="60" y="25"/>
                      </a:lnTo>
                      <a:lnTo>
                        <a:pt x="60" y="25"/>
                      </a:lnTo>
                      <a:lnTo>
                        <a:pt x="59" y="31"/>
                      </a:lnTo>
                      <a:lnTo>
                        <a:pt x="61" y="31"/>
                      </a:lnTo>
                      <a:lnTo>
                        <a:pt x="61" y="31"/>
                      </a:lnTo>
                      <a:lnTo>
                        <a:pt x="62" y="31"/>
                      </a:lnTo>
                      <a:lnTo>
                        <a:pt x="62" y="36"/>
                      </a:lnTo>
                      <a:lnTo>
                        <a:pt x="62" y="37"/>
                      </a:lnTo>
                      <a:lnTo>
                        <a:pt x="61" y="38"/>
                      </a:lnTo>
                      <a:lnTo>
                        <a:pt x="60" y="40"/>
                      </a:lnTo>
                      <a:lnTo>
                        <a:pt x="59" y="43"/>
                      </a:lnTo>
                      <a:lnTo>
                        <a:pt x="60" y="44"/>
                      </a:lnTo>
                      <a:lnTo>
                        <a:pt x="58" y="45"/>
                      </a:lnTo>
                      <a:lnTo>
                        <a:pt x="59" y="47"/>
                      </a:lnTo>
                      <a:lnTo>
                        <a:pt x="61" y="47"/>
                      </a:lnTo>
                      <a:lnTo>
                        <a:pt x="62" y="48"/>
                      </a:lnTo>
                      <a:lnTo>
                        <a:pt x="60" y="50"/>
                      </a:lnTo>
                      <a:lnTo>
                        <a:pt x="60" y="51"/>
                      </a:lnTo>
                      <a:lnTo>
                        <a:pt x="58" y="52"/>
                      </a:lnTo>
                      <a:lnTo>
                        <a:pt x="58" y="53"/>
                      </a:lnTo>
                      <a:lnTo>
                        <a:pt x="58" y="55"/>
                      </a:lnTo>
                      <a:lnTo>
                        <a:pt x="56" y="55"/>
                      </a:lnTo>
                      <a:lnTo>
                        <a:pt x="55" y="56"/>
                      </a:lnTo>
                      <a:lnTo>
                        <a:pt x="55" y="57"/>
                      </a:lnTo>
                      <a:lnTo>
                        <a:pt x="53" y="57"/>
                      </a:lnTo>
                      <a:lnTo>
                        <a:pt x="52" y="61"/>
                      </a:lnTo>
                      <a:lnTo>
                        <a:pt x="52" y="62"/>
                      </a:lnTo>
                      <a:lnTo>
                        <a:pt x="52" y="63"/>
                      </a:lnTo>
                      <a:lnTo>
                        <a:pt x="50" y="63"/>
                      </a:lnTo>
                      <a:lnTo>
                        <a:pt x="48" y="62"/>
                      </a:lnTo>
                      <a:lnTo>
                        <a:pt x="46" y="64"/>
                      </a:lnTo>
                      <a:lnTo>
                        <a:pt x="46" y="66"/>
                      </a:lnTo>
                      <a:lnTo>
                        <a:pt x="49" y="67"/>
                      </a:lnTo>
                      <a:lnTo>
                        <a:pt x="49" y="69"/>
                      </a:lnTo>
                      <a:lnTo>
                        <a:pt x="50" y="70"/>
                      </a:lnTo>
                      <a:lnTo>
                        <a:pt x="48" y="72"/>
                      </a:lnTo>
                      <a:lnTo>
                        <a:pt x="48" y="73"/>
                      </a:lnTo>
                      <a:lnTo>
                        <a:pt x="50" y="73"/>
                      </a:lnTo>
                      <a:lnTo>
                        <a:pt x="50" y="75"/>
                      </a:lnTo>
                      <a:lnTo>
                        <a:pt x="48" y="75"/>
                      </a:lnTo>
                      <a:lnTo>
                        <a:pt x="49" y="77"/>
                      </a:lnTo>
                      <a:lnTo>
                        <a:pt x="48" y="77"/>
                      </a:lnTo>
                      <a:lnTo>
                        <a:pt x="47" y="78"/>
                      </a:lnTo>
                      <a:lnTo>
                        <a:pt x="48" y="80"/>
                      </a:lnTo>
                      <a:lnTo>
                        <a:pt x="48" y="81"/>
                      </a:lnTo>
                      <a:lnTo>
                        <a:pt x="48" y="83"/>
                      </a:lnTo>
                      <a:lnTo>
                        <a:pt x="49" y="85"/>
                      </a:lnTo>
                      <a:lnTo>
                        <a:pt x="47" y="85"/>
                      </a:lnTo>
                      <a:lnTo>
                        <a:pt x="48" y="87"/>
                      </a:lnTo>
                      <a:lnTo>
                        <a:pt x="48" y="87"/>
                      </a:lnTo>
                      <a:lnTo>
                        <a:pt x="48" y="89"/>
                      </a:lnTo>
                      <a:lnTo>
                        <a:pt x="48" y="92"/>
                      </a:lnTo>
                      <a:lnTo>
                        <a:pt x="48" y="94"/>
                      </a:lnTo>
                      <a:lnTo>
                        <a:pt x="47" y="95"/>
                      </a:lnTo>
                      <a:lnTo>
                        <a:pt x="45" y="95"/>
                      </a:lnTo>
                      <a:lnTo>
                        <a:pt x="45" y="94"/>
                      </a:lnTo>
                      <a:lnTo>
                        <a:pt x="44" y="92"/>
                      </a:lnTo>
                      <a:lnTo>
                        <a:pt x="41" y="92"/>
                      </a:lnTo>
                      <a:lnTo>
                        <a:pt x="39" y="89"/>
                      </a:lnTo>
                      <a:lnTo>
                        <a:pt x="39" y="89"/>
                      </a:lnTo>
                      <a:lnTo>
                        <a:pt x="38" y="89"/>
                      </a:lnTo>
                      <a:lnTo>
                        <a:pt x="38" y="90"/>
                      </a:lnTo>
                      <a:lnTo>
                        <a:pt x="36" y="91"/>
                      </a:lnTo>
                      <a:lnTo>
                        <a:pt x="34" y="92"/>
                      </a:lnTo>
                      <a:lnTo>
                        <a:pt x="34" y="93"/>
                      </a:lnTo>
                      <a:lnTo>
                        <a:pt x="33" y="94"/>
                      </a:lnTo>
                      <a:lnTo>
                        <a:pt x="34" y="95"/>
                      </a:lnTo>
                      <a:lnTo>
                        <a:pt x="34" y="96"/>
                      </a:lnTo>
                      <a:lnTo>
                        <a:pt x="31" y="95"/>
                      </a:lnTo>
                      <a:lnTo>
                        <a:pt x="31" y="95"/>
                      </a:lnTo>
                      <a:lnTo>
                        <a:pt x="28" y="95"/>
                      </a:lnTo>
                      <a:lnTo>
                        <a:pt x="27" y="96"/>
                      </a:lnTo>
                      <a:lnTo>
                        <a:pt x="25" y="96"/>
                      </a:lnTo>
                      <a:lnTo>
                        <a:pt x="25" y="97"/>
                      </a:lnTo>
                      <a:lnTo>
                        <a:pt x="22" y="97"/>
                      </a:lnTo>
                      <a:lnTo>
                        <a:pt x="21" y="98"/>
                      </a:lnTo>
                      <a:lnTo>
                        <a:pt x="20" y="99"/>
                      </a:lnTo>
                      <a:lnTo>
                        <a:pt x="18" y="99"/>
                      </a:lnTo>
                      <a:lnTo>
                        <a:pt x="17" y="102"/>
                      </a:lnTo>
                      <a:lnTo>
                        <a:pt x="18" y="102"/>
                      </a:lnTo>
                      <a:lnTo>
                        <a:pt x="19" y="103"/>
                      </a:lnTo>
                      <a:lnTo>
                        <a:pt x="18" y="104"/>
                      </a:lnTo>
                      <a:lnTo>
                        <a:pt x="19" y="105"/>
                      </a:lnTo>
                      <a:lnTo>
                        <a:pt x="18" y="106"/>
                      </a:lnTo>
                      <a:lnTo>
                        <a:pt x="20" y="108"/>
                      </a:lnTo>
                      <a:lnTo>
                        <a:pt x="20" y="109"/>
                      </a:lnTo>
                      <a:lnTo>
                        <a:pt x="19" y="110"/>
                      </a:lnTo>
                      <a:lnTo>
                        <a:pt x="20" y="112"/>
                      </a:lnTo>
                      <a:lnTo>
                        <a:pt x="20" y="112"/>
                      </a:lnTo>
                      <a:lnTo>
                        <a:pt x="21" y="112"/>
                      </a:lnTo>
                      <a:lnTo>
                        <a:pt x="21" y="112"/>
                      </a:lnTo>
                      <a:lnTo>
                        <a:pt x="22" y="112"/>
                      </a:lnTo>
                      <a:lnTo>
                        <a:pt x="22" y="112"/>
                      </a:lnTo>
                      <a:lnTo>
                        <a:pt x="22" y="114"/>
                      </a:lnTo>
                      <a:lnTo>
                        <a:pt x="22" y="116"/>
                      </a:lnTo>
                      <a:lnTo>
                        <a:pt x="24" y="116"/>
                      </a:lnTo>
                      <a:lnTo>
                        <a:pt x="26" y="116"/>
                      </a:lnTo>
                      <a:lnTo>
                        <a:pt x="26" y="117"/>
                      </a:lnTo>
                      <a:lnTo>
                        <a:pt x="25" y="118"/>
                      </a:lnTo>
                      <a:lnTo>
                        <a:pt x="24" y="119"/>
                      </a:lnTo>
                      <a:lnTo>
                        <a:pt x="22" y="119"/>
                      </a:lnTo>
                      <a:lnTo>
                        <a:pt x="21" y="118"/>
                      </a:lnTo>
                      <a:lnTo>
                        <a:pt x="17" y="119"/>
                      </a:lnTo>
                      <a:lnTo>
                        <a:pt x="17" y="119"/>
                      </a:lnTo>
                      <a:lnTo>
                        <a:pt x="15" y="123"/>
                      </a:lnTo>
                      <a:lnTo>
                        <a:pt x="16" y="124"/>
                      </a:lnTo>
                      <a:lnTo>
                        <a:pt x="17" y="125"/>
                      </a:lnTo>
                      <a:lnTo>
                        <a:pt x="18" y="126"/>
                      </a:lnTo>
                      <a:lnTo>
                        <a:pt x="18" y="127"/>
                      </a:lnTo>
                      <a:lnTo>
                        <a:pt x="15" y="127"/>
                      </a:lnTo>
                      <a:lnTo>
                        <a:pt x="15" y="128"/>
                      </a:lnTo>
                      <a:lnTo>
                        <a:pt x="14" y="128"/>
                      </a:lnTo>
                      <a:lnTo>
                        <a:pt x="14" y="130"/>
                      </a:lnTo>
                      <a:lnTo>
                        <a:pt x="14" y="131"/>
                      </a:lnTo>
                      <a:lnTo>
                        <a:pt x="14" y="132"/>
                      </a:lnTo>
                      <a:lnTo>
                        <a:pt x="16" y="132"/>
                      </a:lnTo>
                      <a:lnTo>
                        <a:pt x="16" y="131"/>
                      </a:lnTo>
                      <a:lnTo>
                        <a:pt x="20" y="131"/>
                      </a:lnTo>
                      <a:lnTo>
                        <a:pt x="21" y="134"/>
                      </a:lnTo>
                      <a:lnTo>
                        <a:pt x="20" y="135"/>
                      </a:lnTo>
                      <a:lnTo>
                        <a:pt x="18" y="136"/>
                      </a:lnTo>
                      <a:lnTo>
                        <a:pt x="17" y="140"/>
                      </a:lnTo>
                      <a:lnTo>
                        <a:pt x="15" y="140"/>
                      </a:lnTo>
                      <a:lnTo>
                        <a:pt x="15" y="143"/>
                      </a:lnTo>
                      <a:lnTo>
                        <a:pt x="14" y="143"/>
                      </a:lnTo>
                      <a:lnTo>
                        <a:pt x="14" y="145"/>
                      </a:lnTo>
                      <a:lnTo>
                        <a:pt x="10" y="146"/>
                      </a:lnTo>
                      <a:lnTo>
                        <a:pt x="9" y="147"/>
                      </a:lnTo>
                      <a:lnTo>
                        <a:pt x="7" y="150"/>
                      </a:lnTo>
                      <a:lnTo>
                        <a:pt x="7" y="150"/>
                      </a:lnTo>
                      <a:lnTo>
                        <a:pt x="7" y="157"/>
                      </a:lnTo>
                      <a:lnTo>
                        <a:pt x="7" y="158"/>
                      </a:lnTo>
                      <a:lnTo>
                        <a:pt x="6" y="157"/>
                      </a:lnTo>
                      <a:lnTo>
                        <a:pt x="3" y="158"/>
                      </a:lnTo>
                      <a:lnTo>
                        <a:pt x="1" y="157"/>
                      </a:lnTo>
                      <a:lnTo>
                        <a:pt x="1" y="158"/>
                      </a:lnTo>
                      <a:lnTo>
                        <a:pt x="2" y="159"/>
                      </a:lnTo>
                      <a:lnTo>
                        <a:pt x="3" y="159"/>
                      </a:lnTo>
                      <a:lnTo>
                        <a:pt x="3" y="161"/>
                      </a:lnTo>
                      <a:lnTo>
                        <a:pt x="3" y="161"/>
                      </a:lnTo>
                      <a:lnTo>
                        <a:pt x="1" y="161"/>
                      </a:lnTo>
                      <a:lnTo>
                        <a:pt x="1" y="164"/>
                      </a:lnTo>
                      <a:lnTo>
                        <a:pt x="3" y="164"/>
                      </a:lnTo>
                      <a:lnTo>
                        <a:pt x="3" y="166"/>
                      </a:lnTo>
                      <a:lnTo>
                        <a:pt x="6" y="167"/>
                      </a:lnTo>
                      <a:lnTo>
                        <a:pt x="5" y="168"/>
                      </a:lnTo>
                      <a:lnTo>
                        <a:pt x="7" y="171"/>
                      </a:lnTo>
                      <a:lnTo>
                        <a:pt x="7" y="171"/>
                      </a:lnTo>
                      <a:lnTo>
                        <a:pt x="3" y="174"/>
                      </a:lnTo>
                      <a:lnTo>
                        <a:pt x="5" y="176"/>
                      </a:lnTo>
                      <a:lnTo>
                        <a:pt x="4" y="178"/>
                      </a:lnTo>
                      <a:lnTo>
                        <a:pt x="7" y="177"/>
                      </a:lnTo>
                      <a:lnTo>
                        <a:pt x="7" y="176"/>
                      </a:lnTo>
                      <a:lnTo>
                        <a:pt x="10" y="176"/>
                      </a:lnTo>
                      <a:lnTo>
                        <a:pt x="10" y="178"/>
                      </a:lnTo>
                      <a:lnTo>
                        <a:pt x="11" y="178"/>
                      </a:lnTo>
                      <a:lnTo>
                        <a:pt x="13" y="180"/>
                      </a:lnTo>
                      <a:lnTo>
                        <a:pt x="8" y="181"/>
                      </a:lnTo>
                      <a:lnTo>
                        <a:pt x="10" y="182"/>
                      </a:lnTo>
                      <a:lnTo>
                        <a:pt x="7" y="182"/>
                      </a:lnTo>
                      <a:lnTo>
                        <a:pt x="7" y="184"/>
                      </a:lnTo>
                      <a:lnTo>
                        <a:pt x="6" y="185"/>
                      </a:lnTo>
                      <a:lnTo>
                        <a:pt x="7" y="188"/>
                      </a:lnTo>
                      <a:lnTo>
                        <a:pt x="4" y="191"/>
                      </a:lnTo>
                      <a:lnTo>
                        <a:pt x="2" y="189"/>
                      </a:lnTo>
                      <a:lnTo>
                        <a:pt x="2" y="191"/>
                      </a:lnTo>
                      <a:lnTo>
                        <a:pt x="3" y="192"/>
                      </a:lnTo>
                      <a:lnTo>
                        <a:pt x="3" y="195"/>
                      </a:lnTo>
                      <a:lnTo>
                        <a:pt x="2" y="195"/>
                      </a:lnTo>
                      <a:lnTo>
                        <a:pt x="0" y="195"/>
                      </a:lnTo>
                      <a:lnTo>
                        <a:pt x="2" y="199"/>
                      </a:lnTo>
                      <a:lnTo>
                        <a:pt x="1" y="200"/>
                      </a:lnTo>
                      <a:lnTo>
                        <a:pt x="1" y="202"/>
                      </a:lnTo>
                      <a:lnTo>
                        <a:pt x="2" y="202"/>
                      </a:lnTo>
                      <a:lnTo>
                        <a:pt x="2" y="204"/>
                      </a:lnTo>
                      <a:lnTo>
                        <a:pt x="2" y="205"/>
                      </a:lnTo>
                      <a:lnTo>
                        <a:pt x="3" y="208"/>
                      </a:lnTo>
                      <a:lnTo>
                        <a:pt x="3" y="209"/>
                      </a:lnTo>
                      <a:lnTo>
                        <a:pt x="7" y="208"/>
                      </a:lnTo>
                      <a:lnTo>
                        <a:pt x="7" y="208"/>
                      </a:lnTo>
                      <a:lnTo>
                        <a:pt x="8" y="208"/>
                      </a:lnTo>
                      <a:lnTo>
                        <a:pt x="12" y="212"/>
                      </a:lnTo>
                      <a:lnTo>
                        <a:pt x="12" y="214"/>
                      </a:lnTo>
                      <a:lnTo>
                        <a:pt x="14" y="214"/>
                      </a:lnTo>
                      <a:lnTo>
                        <a:pt x="14" y="215"/>
                      </a:lnTo>
                      <a:lnTo>
                        <a:pt x="15" y="216"/>
                      </a:lnTo>
                      <a:lnTo>
                        <a:pt x="15" y="217"/>
                      </a:lnTo>
                      <a:lnTo>
                        <a:pt x="17" y="219"/>
                      </a:lnTo>
                      <a:lnTo>
                        <a:pt x="17" y="219"/>
                      </a:lnTo>
                      <a:lnTo>
                        <a:pt x="18" y="219"/>
                      </a:lnTo>
                      <a:lnTo>
                        <a:pt x="18" y="221"/>
                      </a:lnTo>
                      <a:lnTo>
                        <a:pt x="17" y="223"/>
                      </a:lnTo>
                      <a:lnTo>
                        <a:pt x="17" y="224"/>
                      </a:lnTo>
                      <a:lnTo>
                        <a:pt x="18" y="224"/>
                      </a:lnTo>
                      <a:lnTo>
                        <a:pt x="18" y="224"/>
                      </a:lnTo>
                      <a:lnTo>
                        <a:pt x="15" y="228"/>
                      </a:lnTo>
                      <a:lnTo>
                        <a:pt x="17" y="229"/>
                      </a:lnTo>
                      <a:lnTo>
                        <a:pt x="18" y="228"/>
                      </a:lnTo>
                      <a:lnTo>
                        <a:pt x="18" y="228"/>
                      </a:lnTo>
                      <a:lnTo>
                        <a:pt x="20" y="229"/>
                      </a:lnTo>
                      <a:lnTo>
                        <a:pt x="21" y="231"/>
                      </a:lnTo>
                      <a:lnTo>
                        <a:pt x="22" y="233"/>
                      </a:lnTo>
                      <a:lnTo>
                        <a:pt x="24" y="233"/>
                      </a:lnTo>
                      <a:lnTo>
                        <a:pt x="25" y="233"/>
                      </a:lnTo>
                      <a:lnTo>
                        <a:pt x="27" y="232"/>
                      </a:lnTo>
                      <a:lnTo>
                        <a:pt x="26" y="230"/>
                      </a:lnTo>
                      <a:lnTo>
                        <a:pt x="28" y="231"/>
                      </a:lnTo>
                      <a:lnTo>
                        <a:pt x="29" y="233"/>
                      </a:lnTo>
                      <a:lnTo>
                        <a:pt x="28" y="234"/>
                      </a:lnTo>
                      <a:lnTo>
                        <a:pt x="29" y="236"/>
                      </a:lnTo>
                      <a:lnTo>
                        <a:pt x="30" y="235"/>
                      </a:lnTo>
                      <a:lnTo>
                        <a:pt x="32" y="238"/>
                      </a:lnTo>
                      <a:lnTo>
                        <a:pt x="33" y="238"/>
                      </a:lnTo>
                      <a:lnTo>
                        <a:pt x="32" y="240"/>
                      </a:lnTo>
                      <a:lnTo>
                        <a:pt x="33" y="240"/>
                      </a:lnTo>
                      <a:lnTo>
                        <a:pt x="34" y="243"/>
                      </a:lnTo>
                      <a:lnTo>
                        <a:pt x="34" y="245"/>
                      </a:lnTo>
                      <a:lnTo>
                        <a:pt x="34" y="246"/>
                      </a:lnTo>
                      <a:lnTo>
                        <a:pt x="36" y="246"/>
                      </a:lnTo>
                      <a:lnTo>
                        <a:pt x="38" y="247"/>
                      </a:lnTo>
                      <a:lnTo>
                        <a:pt x="38" y="249"/>
                      </a:lnTo>
                      <a:lnTo>
                        <a:pt x="36" y="249"/>
                      </a:lnTo>
                      <a:lnTo>
                        <a:pt x="36" y="251"/>
                      </a:lnTo>
                      <a:lnTo>
                        <a:pt x="37" y="252"/>
                      </a:lnTo>
                      <a:lnTo>
                        <a:pt x="38" y="252"/>
                      </a:lnTo>
                      <a:lnTo>
                        <a:pt x="39" y="252"/>
                      </a:lnTo>
                      <a:lnTo>
                        <a:pt x="39" y="250"/>
                      </a:lnTo>
                      <a:lnTo>
                        <a:pt x="40" y="250"/>
                      </a:lnTo>
                      <a:lnTo>
                        <a:pt x="41" y="251"/>
                      </a:lnTo>
                      <a:lnTo>
                        <a:pt x="41" y="253"/>
                      </a:lnTo>
                      <a:lnTo>
                        <a:pt x="40" y="257"/>
                      </a:lnTo>
                      <a:lnTo>
                        <a:pt x="40" y="258"/>
                      </a:lnTo>
                      <a:lnTo>
                        <a:pt x="42" y="257"/>
                      </a:lnTo>
                      <a:lnTo>
                        <a:pt x="43" y="257"/>
                      </a:lnTo>
                      <a:lnTo>
                        <a:pt x="46" y="257"/>
                      </a:lnTo>
                      <a:lnTo>
                        <a:pt x="48" y="256"/>
                      </a:lnTo>
                      <a:lnTo>
                        <a:pt x="49" y="257"/>
                      </a:lnTo>
                      <a:lnTo>
                        <a:pt x="50" y="257"/>
                      </a:lnTo>
                      <a:lnTo>
                        <a:pt x="51" y="258"/>
                      </a:lnTo>
                      <a:lnTo>
                        <a:pt x="52" y="257"/>
                      </a:lnTo>
                      <a:lnTo>
                        <a:pt x="52" y="256"/>
                      </a:lnTo>
                      <a:lnTo>
                        <a:pt x="55" y="256"/>
                      </a:lnTo>
                      <a:lnTo>
                        <a:pt x="55" y="257"/>
                      </a:lnTo>
                      <a:lnTo>
                        <a:pt x="58" y="257"/>
                      </a:lnTo>
                      <a:lnTo>
                        <a:pt x="58" y="257"/>
                      </a:lnTo>
                      <a:lnTo>
                        <a:pt x="59" y="256"/>
                      </a:lnTo>
                      <a:lnTo>
                        <a:pt x="61" y="254"/>
                      </a:lnTo>
                      <a:lnTo>
                        <a:pt x="62" y="255"/>
                      </a:lnTo>
                      <a:lnTo>
                        <a:pt x="62" y="256"/>
                      </a:lnTo>
                      <a:lnTo>
                        <a:pt x="63" y="256"/>
                      </a:lnTo>
                      <a:lnTo>
                        <a:pt x="63" y="253"/>
                      </a:lnTo>
                      <a:lnTo>
                        <a:pt x="63" y="252"/>
                      </a:lnTo>
                      <a:lnTo>
                        <a:pt x="65" y="252"/>
                      </a:lnTo>
                      <a:lnTo>
                        <a:pt x="65" y="255"/>
                      </a:lnTo>
                      <a:lnTo>
                        <a:pt x="68" y="257"/>
                      </a:lnTo>
                      <a:lnTo>
                        <a:pt x="71" y="257"/>
                      </a:lnTo>
                      <a:lnTo>
                        <a:pt x="71" y="255"/>
                      </a:lnTo>
                      <a:lnTo>
                        <a:pt x="72" y="254"/>
                      </a:lnTo>
                      <a:lnTo>
                        <a:pt x="72" y="254"/>
                      </a:lnTo>
                      <a:lnTo>
                        <a:pt x="76" y="254"/>
                      </a:lnTo>
                      <a:lnTo>
                        <a:pt x="80" y="253"/>
                      </a:lnTo>
                      <a:lnTo>
                        <a:pt x="80" y="253"/>
                      </a:lnTo>
                      <a:lnTo>
                        <a:pt x="82" y="254"/>
                      </a:lnTo>
                      <a:lnTo>
                        <a:pt x="86" y="252"/>
                      </a:lnTo>
                      <a:lnTo>
                        <a:pt x="90" y="252"/>
                      </a:lnTo>
                      <a:lnTo>
                        <a:pt x="91" y="252"/>
                      </a:lnTo>
                      <a:lnTo>
                        <a:pt x="89" y="247"/>
                      </a:lnTo>
                      <a:lnTo>
                        <a:pt x="90" y="247"/>
                      </a:lnTo>
                      <a:lnTo>
                        <a:pt x="90" y="247"/>
                      </a:lnTo>
                      <a:lnTo>
                        <a:pt x="93" y="246"/>
                      </a:lnTo>
                      <a:lnTo>
                        <a:pt x="95" y="245"/>
                      </a:lnTo>
                      <a:lnTo>
                        <a:pt x="96" y="246"/>
                      </a:lnTo>
                      <a:lnTo>
                        <a:pt x="100" y="247"/>
                      </a:lnTo>
                      <a:lnTo>
                        <a:pt x="102" y="246"/>
                      </a:lnTo>
                      <a:lnTo>
                        <a:pt x="103" y="247"/>
                      </a:lnTo>
                      <a:lnTo>
                        <a:pt x="108" y="247"/>
                      </a:lnTo>
                      <a:lnTo>
                        <a:pt x="109" y="249"/>
                      </a:lnTo>
                      <a:lnTo>
                        <a:pt x="110" y="249"/>
                      </a:lnTo>
                      <a:lnTo>
                        <a:pt x="110" y="249"/>
                      </a:lnTo>
                      <a:lnTo>
                        <a:pt x="109" y="250"/>
                      </a:lnTo>
                      <a:lnTo>
                        <a:pt x="108" y="252"/>
                      </a:lnTo>
                      <a:lnTo>
                        <a:pt x="110" y="252"/>
                      </a:lnTo>
                      <a:lnTo>
                        <a:pt x="113" y="252"/>
                      </a:lnTo>
                      <a:lnTo>
                        <a:pt x="113" y="253"/>
                      </a:lnTo>
                      <a:lnTo>
                        <a:pt x="114" y="255"/>
                      </a:lnTo>
                      <a:lnTo>
                        <a:pt x="112" y="257"/>
                      </a:lnTo>
                      <a:lnTo>
                        <a:pt x="113" y="260"/>
                      </a:lnTo>
                      <a:lnTo>
                        <a:pt x="115" y="257"/>
                      </a:lnTo>
                      <a:lnTo>
                        <a:pt x="118" y="257"/>
                      </a:lnTo>
                      <a:lnTo>
                        <a:pt x="119" y="260"/>
                      </a:lnTo>
                      <a:lnTo>
                        <a:pt x="119" y="262"/>
                      </a:lnTo>
                      <a:lnTo>
                        <a:pt x="121" y="262"/>
                      </a:lnTo>
                      <a:lnTo>
                        <a:pt x="123" y="267"/>
                      </a:lnTo>
                      <a:lnTo>
                        <a:pt x="124" y="267"/>
                      </a:lnTo>
                      <a:lnTo>
                        <a:pt x="124" y="268"/>
                      </a:lnTo>
                      <a:lnTo>
                        <a:pt x="124" y="268"/>
                      </a:lnTo>
                      <a:lnTo>
                        <a:pt x="124" y="270"/>
                      </a:lnTo>
                      <a:lnTo>
                        <a:pt x="122" y="271"/>
                      </a:lnTo>
                      <a:lnTo>
                        <a:pt x="121" y="272"/>
                      </a:lnTo>
                      <a:lnTo>
                        <a:pt x="119" y="273"/>
                      </a:lnTo>
                      <a:lnTo>
                        <a:pt x="119" y="274"/>
                      </a:lnTo>
                      <a:lnTo>
                        <a:pt x="121" y="275"/>
                      </a:lnTo>
                      <a:lnTo>
                        <a:pt x="123" y="275"/>
                      </a:lnTo>
                      <a:lnTo>
                        <a:pt x="123" y="278"/>
                      </a:lnTo>
                      <a:lnTo>
                        <a:pt x="124" y="278"/>
                      </a:lnTo>
                      <a:lnTo>
                        <a:pt x="123" y="281"/>
                      </a:lnTo>
                      <a:lnTo>
                        <a:pt x="123" y="281"/>
                      </a:lnTo>
                      <a:lnTo>
                        <a:pt x="124" y="283"/>
                      </a:lnTo>
                      <a:lnTo>
                        <a:pt x="126" y="282"/>
                      </a:lnTo>
                      <a:lnTo>
                        <a:pt x="126" y="281"/>
                      </a:lnTo>
                      <a:lnTo>
                        <a:pt x="128" y="281"/>
                      </a:lnTo>
                      <a:lnTo>
                        <a:pt x="128" y="282"/>
                      </a:lnTo>
                      <a:lnTo>
                        <a:pt x="130" y="282"/>
                      </a:lnTo>
                      <a:lnTo>
                        <a:pt x="130" y="283"/>
                      </a:lnTo>
                      <a:lnTo>
                        <a:pt x="130" y="284"/>
                      </a:lnTo>
                      <a:lnTo>
                        <a:pt x="130" y="286"/>
                      </a:lnTo>
                      <a:lnTo>
                        <a:pt x="130" y="286"/>
                      </a:lnTo>
                      <a:lnTo>
                        <a:pt x="135" y="288"/>
                      </a:lnTo>
                      <a:lnTo>
                        <a:pt x="137" y="288"/>
                      </a:lnTo>
                      <a:lnTo>
                        <a:pt x="138" y="284"/>
                      </a:lnTo>
                      <a:lnTo>
                        <a:pt x="139" y="284"/>
                      </a:lnTo>
                      <a:lnTo>
                        <a:pt x="139" y="287"/>
                      </a:lnTo>
                      <a:lnTo>
                        <a:pt x="141" y="288"/>
                      </a:lnTo>
                      <a:lnTo>
                        <a:pt x="142" y="288"/>
                      </a:lnTo>
                      <a:lnTo>
                        <a:pt x="144" y="290"/>
                      </a:lnTo>
                      <a:lnTo>
                        <a:pt x="145" y="290"/>
                      </a:lnTo>
                      <a:lnTo>
                        <a:pt x="145" y="293"/>
                      </a:lnTo>
                      <a:lnTo>
                        <a:pt x="145" y="295"/>
                      </a:lnTo>
                      <a:lnTo>
                        <a:pt x="146" y="295"/>
                      </a:lnTo>
                      <a:lnTo>
                        <a:pt x="148" y="295"/>
                      </a:lnTo>
                      <a:lnTo>
                        <a:pt x="150" y="291"/>
                      </a:lnTo>
                      <a:lnTo>
                        <a:pt x="152" y="291"/>
                      </a:lnTo>
                      <a:lnTo>
                        <a:pt x="152" y="292"/>
                      </a:lnTo>
                      <a:lnTo>
                        <a:pt x="154" y="293"/>
                      </a:lnTo>
                      <a:lnTo>
                        <a:pt x="155" y="291"/>
                      </a:lnTo>
                      <a:lnTo>
                        <a:pt x="155" y="289"/>
                      </a:lnTo>
                      <a:lnTo>
                        <a:pt x="158" y="287"/>
                      </a:lnTo>
                      <a:lnTo>
                        <a:pt x="156" y="286"/>
                      </a:lnTo>
                      <a:lnTo>
                        <a:pt x="158" y="284"/>
                      </a:lnTo>
                      <a:lnTo>
                        <a:pt x="159" y="283"/>
                      </a:lnTo>
                      <a:lnTo>
                        <a:pt x="159" y="284"/>
                      </a:lnTo>
                      <a:lnTo>
                        <a:pt x="163" y="281"/>
                      </a:lnTo>
                      <a:lnTo>
                        <a:pt x="165" y="282"/>
                      </a:lnTo>
                      <a:lnTo>
                        <a:pt x="165" y="283"/>
                      </a:lnTo>
                      <a:lnTo>
                        <a:pt x="167" y="283"/>
                      </a:lnTo>
                      <a:lnTo>
                        <a:pt x="169" y="279"/>
                      </a:lnTo>
                      <a:lnTo>
                        <a:pt x="170" y="279"/>
                      </a:lnTo>
                      <a:lnTo>
                        <a:pt x="172" y="283"/>
                      </a:lnTo>
                      <a:lnTo>
                        <a:pt x="173" y="283"/>
                      </a:lnTo>
                      <a:lnTo>
                        <a:pt x="175" y="282"/>
                      </a:lnTo>
                      <a:lnTo>
                        <a:pt x="178" y="281"/>
                      </a:lnTo>
                      <a:lnTo>
                        <a:pt x="179" y="281"/>
                      </a:lnTo>
                      <a:lnTo>
                        <a:pt x="179" y="278"/>
                      </a:lnTo>
                      <a:lnTo>
                        <a:pt x="179" y="275"/>
                      </a:lnTo>
                      <a:lnTo>
                        <a:pt x="180" y="274"/>
                      </a:lnTo>
                      <a:lnTo>
                        <a:pt x="179" y="273"/>
                      </a:lnTo>
                      <a:lnTo>
                        <a:pt x="179" y="272"/>
                      </a:lnTo>
                      <a:lnTo>
                        <a:pt x="178" y="271"/>
                      </a:lnTo>
                      <a:lnTo>
                        <a:pt x="179" y="267"/>
                      </a:lnTo>
                      <a:lnTo>
                        <a:pt x="179" y="266"/>
                      </a:lnTo>
                      <a:lnTo>
                        <a:pt x="181" y="266"/>
                      </a:lnTo>
                      <a:lnTo>
                        <a:pt x="183" y="265"/>
                      </a:lnTo>
                      <a:lnTo>
                        <a:pt x="182" y="262"/>
                      </a:lnTo>
                      <a:lnTo>
                        <a:pt x="183" y="262"/>
                      </a:lnTo>
                      <a:lnTo>
                        <a:pt x="184" y="260"/>
                      </a:lnTo>
                      <a:lnTo>
                        <a:pt x="187" y="261"/>
                      </a:lnTo>
                      <a:lnTo>
                        <a:pt x="187" y="262"/>
                      </a:lnTo>
                      <a:lnTo>
                        <a:pt x="189" y="262"/>
                      </a:lnTo>
                      <a:lnTo>
                        <a:pt x="189" y="260"/>
                      </a:lnTo>
                      <a:lnTo>
                        <a:pt x="189" y="258"/>
                      </a:lnTo>
                      <a:lnTo>
                        <a:pt x="189" y="257"/>
                      </a:lnTo>
                      <a:lnTo>
                        <a:pt x="190" y="257"/>
                      </a:lnTo>
                      <a:lnTo>
                        <a:pt x="190" y="256"/>
                      </a:lnTo>
                      <a:lnTo>
                        <a:pt x="192" y="256"/>
                      </a:lnTo>
                      <a:lnTo>
                        <a:pt x="193" y="255"/>
                      </a:lnTo>
                      <a:lnTo>
                        <a:pt x="192" y="253"/>
                      </a:lnTo>
                      <a:lnTo>
                        <a:pt x="192" y="253"/>
                      </a:lnTo>
                      <a:lnTo>
                        <a:pt x="194" y="253"/>
                      </a:lnTo>
                      <a:lnTo>
                        <a:pt x="194" y="251"/>
                      </a:lnTo>
                      <a:lnTo>
                        <a:pt x="195" y="250"/>
                      </a:lnTo>
                      <a:lnTo>
                        <a:pt x="196" y="249"/>
                      </a:lnTo>
                      <a:lnTo>
                        <a:pt x="196" y="247"/>
                      </a:lnTo>
                      <a:lnTo>
                        <a:pt x="197" y="247"/>
                      </a:lnTo>
                      <a:lnTo>
                        <a:pt x="198" y="249"/>
                      </a:lnTo>
                      <a:lnTo>
                        <a:pt x="196" y="250"/>
                      </a:lnTo>
                      <a:lnTo>
                        <a:pt x="196" y="252"/>
                      </a:lnTo>
                      <a:lnTo>
                        <a:pt x="197" y="252"/>
                      </a:lnTo>
                      <a:lnTo>
                        <a:pt x="199" y="250"/>
                      </a:lnTo>
                      <a:lnTo>
                        <a:pt x="199" y="250"/>
                      </a:lnTo>
                      <a:lnTo>
                        <a:pt x="201" y="250"/>
                      </a:lnTo>
                      <a:lnTo>
                        <a:pt x="203" y="247"/>
                      </a:lnTo>
                      <a:lnTo>
                        <a:pt x="203" y="246"/>
                      </a:lnTo>
                      <a:lnTo>
                        <a:pt x="206" y="243"/>
                      </a:lnTo>
                      <a:lnTo>
                        <a:pt x="209" y="243"/>
                      </a:lnTo>
                      <a:lnTo>
                        <a:pt x="211" y="241"/>
                      </a:lnTo>
                      <a:lnTo>
                        <a:pt x="213" y="243"/>
                      </a:lnTo>
                      <a:lnTo>
                        <a:pt x="214" y="245"/>
                      </a:lnTo>
                      <a:lnTo>
                        <a:pt x="214" y="247"/>
                      </a:lnTo>
                      <a:lnTo>
                        <a:pt x="213" y="247"/>
                      </a:lnTo>
                      <a:lnTo>
                        <a:pt x="214" y="248"/>
                      </a:lnTo>
                      <a:lnTo>
                        <a:pt x="214" y="249"/>
                      </a:lnTo>
                      <a:lnTo>
                        <a:pt x="215" y="249"/>
                      </a:lnTo>
                      <a:lnTo>
                        <a:pt x="217" y="250"/>
                      </a:lnTo>
                      <a:lnTo>
                        <a:pt x="217" y="251"/>
                      </a:lnTo>
                      <a:lnTo>
                        <a:pt x="219" y="252"/>
                      </a:lnTo>
                      <a:lnTo>
                        <a:pt x="219" y="251"/>
                      </a:lnTo>
                      <a:lnTo>
                        <a:pt x="220" y="251"/>
                      </a:lnTo>
                      <a:lnTo>
                        <a:pt x="221" y="250"/>
                      </a:lnTo>
                      <a:lnTo>
                        <a:pt x="222" y="250"/>
                      </a:lnTo>
                      <a:lnTo>
                        <a:pt x="223" y="248"/>
                      </a:lnTo>
                      <a:lnTo>
                        <a:pt x="224" y="248"/>
                      </a:lnTo>
                      <a:lnTo>
                        <a:pt x="225" y="249"/>
                      </a:lnTo>
                      <a:lnTo>
                        <a:pt x="230" y="247"/>
                      </a:lnTo>
                      <a:lnTo>
                        <a:pt x="233" y="248"/>
                      </a:lnTo>
                      <a:lnTo>
                        <a:pt x="233" y="249"/>
                      </a:lnTo>
                      <a:lnTo>
                        <a:pt x="235" y="250"/>
                      </a:lnTo>
                      <a:lnTo>
                        <a:pt x="238" y="255"/>
                      </a:lnTo>
                      <a:lnTo>
                        <a:pt x="244" y="254"/>
                      </a:lnTo>
                      <a:lnTo>
                        <a:pt x="244" y="251"/>
                      </a:lnTo>
                      <a:lnTo>
                        <a:pt x="244" y="250"/>
                      </a:lnTo>
                      <a:lnTo>
                        <a:pt x="247" y="248"/>
                      </a:lnTo>
                      <a:lnTo>
                        <a:pt x="248" y="249"/>
                      </a:lnTo>
                      <a:lnTo>
                        <a:pt x="248" y="250"/>
                      </a:lnTo>
                      <a:lnTo>
                        <a:pt x="251" y="250"/>
                      </a:lnTo>
                      <a:lnTo>
                        <a:pt x="251" y="253"/>
                      </a:lnTo>
                      <a:lnTo>
                        <a:pt x="254" y="255"/>
                      </a:lnTo>
                      <a:lnTo>
                        <a:pt x="256" y="255"/>
                      </a:lnTo>
                      <a:lnTo>
                        <a:pt x="256" y="256"/>
                      </a:lnTo>
                      <a:lnTo>
                        <a:pt x="258" y="257"/>
                      </a:lnTo>
                      <a:lnTo>
                        <a:pt x="262" y="258"/>
                      </a:lnTo>
                      <a:lnTo>
                        <a:pt x="263" y="260"/>
                      </a:lnTo>
                      <a:lnTo>
                        <a:pt x="263" y="260"/>
                      </a:lnTo>
                      <a:lnTo>
                        <a:pt x="265" y="262"/>
                      </a:lnTo>
                      <a:lnTo>
                        <a:pt x="267" y="260"/>
                      </a:lnTo>
                      <a:lnTo>
                        <a:pt x="267" y="260"/>
                      </a:lnTo>
                      <a:lnTo>
                        <a:pt x="268" y="266"/>
                      </a:lnTo>
                      <a:lnTo>
                        <a:pt x="271" y="266"/>
                      </a:lnTo>
                      <a:lnTo>
                        <a:pt x="272" y="266"/>
                      </a:lnTo>
                      <a:lnTo>
                        <a:pt x="273" y="267"/>
                      </a:lnTo>
                      <a:lnTo>
                        <a:pt x="273" y="267"/>
                      </a:lnTo>
                      <a:lnTo>
                        <a:pt x="275" y="267"/>
                      </a:lnTo>
                      <a:lnTo>
                        <a:pt x="279" y="270"/>
                      </a:lnTo>
                      <a:lnTo>
                        <a:pt x="281" y="270"/>
                      </a:lnTo>
                      <a:lnTo>
                        <a:pt x="281" y="271"/>
                      </a:lnTo>
                      <a:lnTo>
                        <a:pt x="282" y="271"/>
                      </a:lnTo>
                      <a:lnTo>
                        <a:pt x="283" y="272"/>
                      </a:lnTo>
                      <a:lnTo>
                        <a:pt x="282" y="274"/>
                      </a:lnTo>
                      <a:lnTo>
                        <a:pt x="282" y="275"/>
                      </a:lnTo>
                      <a:lnTo>
                        <a:pt x="283" y="275"/>
                      </a:lnTo>
                      <a:lnTo>
                        <a:pt x="283" y="276"/>
                      </a:lnTo>
                      <a:lnTo>
                        <a:pt x="283" y="277"/>
                      </a:lnTo>
                      <a:lnTo>
                        <a:pt x="283" y="278"/>
                      </a:lnTo>
                      <a:lnTo>
                        <a:pt x="283" y="279"/>
                      </a:lnTo>
                      <a:lnTo>
                        <a:pt x="283" y="280"/>
                      </a:lnTo>
                      <a:lnTo>
                        <a:pt x="282" y="280"/>
                      </a:lnTo>
                      <a:lnTo>
                        <a:pt x="282" y="282"/>
                      </a:lnTo>
                      <a:lnTo>
                        <a:pt x="281" y="282"/>
                      </a:lnTo>
                      <a:lnTo>
                        <a:pt x="281" y="286"/>
                      </a:lnTo>
                      <a:lnTo>
                        <a:pt x="282" y="287"/>
                      </a:lnTo>
                      <a:lnTo>
                        <a:pt x="283" y="287"/>
                      </a:lnTo>
                      <a:lnTo>
                        <a:pt x="286" y="286"/>
                      </a:lnTo>
                      <a:lnTo>
                        <a:pt x="287" y="286"/>
                      </a:lnTo>
                      <a:lnTo>
                        <a:pt x="287" y="287"/>
                      </a:lnTo>
                      <a:lnTo>
                        <a:pt x="288" y="288"/>
                      </a:lnTo>
                      <a:lnTo>
                        <a:pt x="288" y="288"/>
                      </a:lnTo>
                      <a:lnTo>
                        <a:pt x="288" y="289"/>
                      </a:lnTo>
                      <a:lnTo>
                        <a:pt x="288" y="291"/>
                      </a:lnTo>
                      <a:lnTo>
                        <a:pt x="290" y="291"/>
                      </a:lnTo>
                      <a:lnTo>
                        <a:pt x="291" y="292"/>
                      </a:lnTo>
                      <a:lnTo>
                        <a:pt x="292" y="294"/>
                      </a:lnTo>
                      <a:lnTo>
                        <a:pt x="292" y="296"/>
                      </a:lnTo>
                      <a:lnTo>
                        <a:pt x="294" y="298"/>
                      </a:lnTo>
                      <a:lnTo>
                        <a:pt x="296" y="297"/>
                      </a:lnTo>
                      <a:lnTo>
                        <a:pt x="297" y="297"/>
                      </a:lnTo>
                      <a:lnTo>
                        <a:pt x="296" y="298"/>
                      </a:lnTo>
                      <a:lnTo>
                        <a:pt x="296" y="298"/>
                      </a:lnTo>
                      <a:lnTo>
                        <a:pt x="295" y="302"/>
                      </a:lnTo>
                      <a:lnTo>
                        <a:pt x="295" y="303"/>
                      </a:lnTo>
                      <a:lnTo>
                        <a:pt x="298" y="304"/>
                      </a:lnTo>
                      <a:lnTo>
                        <a:pt x="299" y="303"/>
                      </a:lnTo>
                      <a:lnTo>
                        <a:pt x="301" y="305"/>
                      </a:lnTo>
                      <a:lnTo>
                        <a:pt x="306" y="303"/>
                      </a:lnTo>
                      <a:lnTo>
                        <a:pt x="308" y="303"/>
                      </a:lnTo>
                      <a:lnTo>
                        <a:pt x="311" y="303"/>
                      </a:lnTo>
                      <a:lnTo>
                        <a:pt x="312" y="303"/>
                      </a:lnTo>
                      <a:lnTo>
                        <a:pt x="315" y="300"/>
                      </a:lnTo>
                      <a:lnTo>
                        <a:pt x="316" y="299"/>
                      </a:lnTo>
                      <a:lnTo>
                        <a:pt x="316" y="298"/>
                      </a:lnTo>
                      <a:lnTo>
                        <a:pt x="314" y="298"/>
                      </a:lnTo>
                      <a:lnTo>
                        <a:pt x="315" y="295"/>
                      </a:lnTo>
                      <a:lnTo>
                        <a:pt x="316" y="296"/>
                      </a:lnTo>
                      <a:lnTo>
                        <a:pt x="319" y="298"/>
                      </a:lnTo>
                      <a:lnTo>
                        <a:pt x="321" y="295"/>
                      </a:lnTo>
                      <a:lnTo>
                        <a:pt x="321" y="294"/>
                      </a:lnTo>
                      <a:lnTo>
                        <a:pt x="322" y="293"/>
                      </a:lnTo>
                      <a:lnTo>
                        <a:pt x="322" y="292"/>
                      </a:lnTo>
                      <a:lnTo>
                        <a:pt x="322" y="291"/>
                      </a:lnTo>
                      <a:lnTo>
                        <a:pt x="319" y="291"/>
                      </a:lnTo>
                      <a:lnTo>
                        <a:pt x="319" y="290"/>
                      </a:lnTo>
                      <a:lnTo>
                        <a:pt x="321" y="289"/>
                      </a:lnTo>
                      <a:lnTo>
                        <a:pt x="323" y="288"/>
                      </a:lnTo>
                      <a:lnTo>
                        <a:pt x="325" y="286"/>
                      </a:lnTo>
                      <a:lnTo>
                        <a:pt x="326" y="286"/>
                      </a:lnTo>
                      <a:lnTo>
                        <a:pt x="326" y="284"/>
                      </a:lnTo>
                      <a:lnTo>
                        <a:pt x="326" y="283"/>
                      </a:lnTo>
                      <a:lnTo>
                        <a:pt x="324" y="280"/>
                      </a:lnTo>
                      <a:lnTo>
                        <a:pt x="323" y="280"/>
                      </a:lnTo>
                      <a:lnTo>
                        <a:pt x="323" y="279"/>
                      </a:lnTo>
                      <a:lnTo>
                        <a:pt x="321" y="277"/>
                      </a:lnTo>
                      <a:lnTo>
                        <a:pt x="319" y="272"/>
                      </a:lnTo>
                      <a:lnTo>
                        <a:pt x="321" y="271"/>
                      </a:lnTo>
                      <a:lnTo>
                        <a:pt x="322" y="268"/>
                      </a:lnTo>
                      <a:lnTo>
                        <a:pt x="321" y="266"/>
                      </a:lnTo>
                      <a:lnTo>
                        <a:pt x="321" y="264"/>
                      </a:lnTo>
                      <a:lnTo>
                        <a:pt x="319" y="264"/>
                      </a:lnTo>
                      <a:lnTo>
                        <a:pt x="321" y="260"/>
                      </a:lnTo>
                      <a:lnTo>
                        <a:pt x="321" y="259"/>
                      </a:lnTo>
                      <a:lnTo>
                        <a:pt x="322" y="257"/>
                      </a:lnTo>
                      <a:lnTo>
                        <a:pt x="322" y="255"/>
                      </a:lnTo>
                      <a:lnTo>
                        <a:pt x="321" y="253"/>
                      </a:lnTo>
                      <a:lnTo>
                        <a:pt x="323" y="249"/>
                      </a:lnTo>
                      <a:lnTo>
                        <a:pt x="323" y="246"/>
                      </a:lnTo>
                      <a:lnTo>
                        <a:pt x="324" y="243"/>
                      </a:lnTo>
                      <a:lnTo>
                        <a:pt x="326" y="240"/>
                      </a:lnTo>
                      <a:lnTo>
                        <a:pt x="324" y="237"/>
                      </a:lnTo>
                      <a:lnTo>
                        <a:pt x="323" y="236"/>
                      </a:lnTo>
                      <a:lnTo>
                        <a:pt x="322" y="233"/>
                      </a:lnTo>
                      <a:lnTo>
                        <a:pt x="321" y="233"/>
                      </a:lnTo>
                      <a:lnTo>
                        <a:pt x="321" y="231"/>
                      </a:lnTo>
                      <a:lnTo>
                        <a:pt x="321" y="228"/>
                      </a:lnTo>
                      <a:lnTo>
                        <a:pt x="321" y="227"/>
                      </a:lnTo>
                      <a:lnTo>
                        <a:pt x="321" y="224"/>
                      </a:lnTo>
                      <a:lnTo>
                        <a:pt x="323" y="223"/>
                      </a:lnTo>
                      <a:lnTo>
                        <a:pt x="322" y="220"/>
                      </a:lnTo>
                      <a:lnTo>
                        <a:pt x="323" y="219"/>
                      </a:lnTo>
                      <a:lnTo>
                        <a:pt x="324" y="216"/>
                      </a:lnTo>
                      <a:lnTo>
                        <a:pt x="325" y="215"/>
                      </a:lnTo>
                      <a:lnTo>
                        <a:pt x="325" y="214"/>
                      </a:lnTo>
                      <a:lnTo>
                        <a:pt x="326" y="212"/>
                      </a:lnTo>
                      <a:lnTo>
                        <a:pt x="328" y="208"/>
                      </a:lnTo>
                      <a:lnTo>
                        <a:pt x="329" y="202"/>
                      </a:lnTo>
                      <a:lnTo>
                        <a:pt x="332" y="200"/>
                      </a:lnTo>
                      <a:lnTo>
                        <a:pt x="332" y="197"/>
                      </a:lnTo>
                      <a:lnTo>
                        <a:pt x="331" y="195"/>
                      </a:lnTo>
                      <a:lnTo>
                        <a:pt x="331" y="191"/>
                      </a:lnTo>
                      <a:lnTo>
                        <a:pt x="332" y="187"/>
                      </a:lnTo>
                      <a:lnTo>
                        <a:pt x="332" y="187"/>
                      </a:lnTo>
                      <a:lnTo>
                        <a:pt x="332" y="183"/>
                      </a:lnTo>
                      <a:lnTo>
                        <a:pt x="332" y="181"/>
                      </a:lnTo>
                      <a:lnTo>
                        <a:pt x="335" y="179"/>
                      </a:lnTo>
                      <a:lnTo>
                        <a:pt x="334" y="170"/>
                      </a:lnTo>
                      <a:lnTo>
                        <a:pt x="336" y="164"/>
                      </a:lnTo>
                      <a:lnTo>
                        <a:pt x="336" y="164"/>
                      </a:lnTo>
                      <a:lnTo>
                        <a:pt x="340" y="161"/>
                      </a:lnTo>
                      <a:lnTo>
                        <a:pt x="340" y="160"/>
                      </a:lnTo>
                      <a:lnTo>
                        <a:pt x="343" y="157"/>
                      </a:lnTo>
                      <a:lnTo>
                        <a:pt x="345" y="153"/>
                      </a:lnTo>
                      <a:lnTo>
                        <a:pt x="345" y="152"/>
                      </a:lnTo>
                      <a:lnTo>
                        <a:pt x="346" y="149"/>
                      </a:lnTo>
                      <a:lnTo>
                        <a:pt x="349" y="149"/>
                      </a:lnTo>
                      <a:lnTo>
                        <a:pt x="350" y="148"/>
                      </a:lnTo>
                      <a:lnTo>
                        <a:pt x="350" y="145"/>
                      </a:lnTo>
                      <a:lnTo>
                        <a:pt x="352" y="145"/>
                      </a:lnTo>
                      <a:lnTo>
                        <a:pt x="354" y="143"/>
                      </a:lnTo>
                      <a:lnTo>
                        <a:pt x="355" y="142"/>
                      </a:lnTo>
                      <a:lnTo>
                        <a:pt x="355" y="140"/>
                      </a:lnTo>
                      <a:lnTo>
                        <a:pt x="355" y="136"/>
                      </a:lnTo>
                      <a:lnTo>
                        <a:pt x="357" y="132"/>
                      </a:lnTo>
                      <a:lnTo>
                        <a:pt x="359" y="130"/>
                      </a:lnTo>
                      <a:lnTo>
                        <a:pt x="360" y="126"/>
                      </a:lnTo>
                      <a:lnTo>
                        <a:pt x="364" y="124"/>
                      </a:lnTo>
                      <a:lnTo>
                        <a:pt x="363" y="123"/>
                      </a:lnTo>
                      <a:close/>
                    </a:path>
                  </a:pathLst>
                </a:custGeom>
                <a:solidFill>
                  <a:srgbClr val="74BAEF"/>
                </a:solidFill>
                <a:ln w="3175">
                  <a:solidFill>
                    <a:schemeClr val="dk1"/>
                  </a:solidFill>
                  <a:round/>
                  <a:headEnd/>
                  <a:tailEnd/>
                </a:ln>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z="800" dirty="0">
                    <a:solidFill>
                      <a:srgbClr val="000000"/>
                    </a:solidFill>
                  </a:endParaRPr>
                </a:p>
              </p:txBody>
            </p:sp>
          </p:grpSp>
          <p:grpSp>
            <p:nvGrpSpPr>
              <p:cNvPr id="7" name="Etiquettes">
                <a:extLst>
                  <a:ext uri="{FF2B5EF4-FFF2-40B4-BE49-F238E27FC236}">
                    <a16:creationId xmlns:a16="http://schemas.microsoft.com/office/drawing/2014/main" id="{E78A4C31-6AEE-E874-2277-AF639ECC9C56}"/>
                  </a:ext>
                </a:extLst>
              </p:cNvPr>
              <p:cNvGrpSpPr/>
              <p:nvPr/>
            </p:nvGrpSpPr>
            <p:grpSpPr>
              <a:xfrm>
                <a:off x="3481257" y="1574796"/>
                <a:ext cx="5880582" cy="4371387"/>
                <a:chOff x="3481257" y="1574796"/>
                <a:chExt cx="5880582" cy="4371387"/>
              </a:xfrm>
              <a:grpFill/>
            </p:grpSpPr>
            <p:sp>
              <p:nvSpPr>
                <p:cNvPr id="33" name="Etiquette - Normandie" hidden="1">
                  <a:extLst>
                    <a:ext uri="{FF2B5EF4-FFF2-40B4-BE49-F238E27FC236}">
                      <a16:creationId xmlns:a16="http://schemas.microsoft.com/office/drawing/2014/main" id="{EBEE1191-CC6D-8CD2-79FB-F3D1E1C667F1}"/>
                    </a:ext>
                  </a:extLst>
                </p:cNvPr>
                <p:cNvSpPr>
                  <a:spLocks noChangeArrowheads="1"/>
                </p:cNvSpPr>
                <p:nvPr/>
              </p:nvSpPr>
              <p:spPr bwMode="auto">
                <a:xfrm>
                  <a:off x="4481095" y="2179296"/>
                  <a:ext cx="971466" cy="57100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800" u="none" strike="noStrike" cap="none" normalizeH="0" baseline="0" dirty="0" err="1">
                      <a:ln>
                        <a:noFill/>
                      </a:ln>
                      <a:solidFill>
                        <a:schemeClr val="lt2"/>
                      </a:solidFill>
                      <a:effectLst/>
                      <a:latin typeface="+mn-lt"/>
                      <a:cs typeface="Arial" pitchFamily="34" charset="0"/>
                    </a:rPr>
                    <a:t>Normandie</a:t>
                  </a:r>
                  <a:endParaRPr kumimoji="0" lang="en-US" altLang="fr-FR" sz="800" u="none" strike="noStrike" cap="none" normalizeH="0" baseline="0" dirty="0">
                    <a:ln>
                      <a:noFill/>
                    </a:ln>
                    <a:solidFill>
                      <a:schemeClr val="lt2"/>
                    </a:solidFill>
                    <a:effectLst/>
                    <a:latin typeface="+mn-lt"/>
                    <a:cs typeface="Arial" pitchFamily="34" charset="0"/>
                  </a:endParaRPr>
                </a:p>
              </p:txBody>
            </p:sp>
            <p:sp>
              <p:nvSpPr>
                <p:cNvPr id="34" name="Etiquette - Bretagne" hidden="1">
                  <a:extLst>
                    <a:ext uri="{FF2B5EF4-FFF2-40B4-BE49-F238E27FC236}">
                      <a16:creationId xmlns:a16="http://schemas.microsoft.com/office/drawing/2014/main" id="{866981E1-B0B2-EB8E-C804-4F29DA0337CD}"/>
                    </a:ext>
                  </a:extLst>
                </p:cNvPr>
                <p:cNvSpPr>
                  <a:spLocks noChangeArrowheads="1"/>
                </p:cNvSpPr>
                <p:nvPr/>
              </p:nvSpPr>
              <p:spPr bwMode="auto">
                <a:xfrm>
                  <a:off x="3481257" y="2584610"/>
                  <a:ext cx="971466" cy="57100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800" u="none" strike="noStrike" cap="none" normalizeH="0" baseline="0" dirty="0">
                      <a:ln>
                        <a:noFill/>
                      </a:ln>
                      <a:solidFill>
                        <a:schemeClr val="lt2"/>
                      </a:solidFill>
                      <a:effectLst/>
                      <a:latin typeface="+mn-lt"/>
                      <a:cs typeface="Arial" pitchFamily="34" charset="0"/>
                    </a:rPr>
                    <a:t>Bretagne</a:t>
                  </a:r>
                </a:p>
              </p:txBody>
            </p:sp>
            <p:sp>
              <p:nvSpPr>
                <p:cNvPr id="35" name="Etiquette - Pays de la Loire" hidden="1">
                  <a:extLst>
                    <a:ext uri="{FF2B5EF4-FFF2-40B4-BE49-F238E27FC236}">
                      <a16:creationId xmlns:a16="http://schemas.microsoft.com/office/drawing/2014/main" id="{265C8F73-A483-5E39-3C40-527355B9AD38}"/>
                    </a:ext>
                  </a:extLst>
                </p:cNvPr>
                <p:cNvSpPr>
                  <a:spLocks noChangeArrowheads="1"/>
                </p:cNvSpPr>
                <p:nvPr/>
              </p:nvSpPr>
              <p:spPr bwMode="auto">
                <a:xfrm>
                  <a:off x="4101472" y="3031690"/>
                  <a:ext cx="971466" cy="57100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800" u="none" strike="noStrike" cap="none" normalizeH="0" baseline="0" dirty="0">
                      <a:ln>
                        <a:noFill/>
                      </a:ln>
                      <a:solidFill>
                        <a:schemeClr val="lt2"/>
                      </a:solidFill>
                      <a:effectLst/>
                      <a:latin typeface="+mn-lt"/>
                      <a:cs typeface="Arial" pitchFamily="34" charset="0"/>
                    </a:rPr>
                    <a:t>Pays de la Loire</a:t>
                  </a:r>
                </a:p>
              </p:txBody>
            </p:sp>
            <p:sp>
              <p:nvSpPr>
                <p:cNvPr id="36" name="Etiquette - Nouvelle-Aquitaine" hidden="1">
                  <a:extLst>
                    <a:ext uri="{FF2B5EF4-FFF2-40B4-BE49-F238E27FC236}">
                      <a16:creationId xmlns:a16="http://schemas.microsoft.com/office/drawing/2014/main" id="{80F19AC4-89ED-F610-3436-53EF6CF9D2FD}"/>
                    </a:ext>
                  </a:extLst>
                </p:cNvPr>
                <p:cNvSpPr>
                  <a:spLocks noChangeArrowheads="1"/>
                </p:cNvSpPr>
                <p:nvPr/>
              </p:nvSpPr>
              <p:spPr bwMode="auto">
                <a:xfrm>
                  <a:off x="4436663" y="3995458"/>
                  <a:ext cx="1481175" cy="57100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800" u="none" strike="noStrike" cap="none" normalizeH="0" baseline="0" dirty="0">
                      <a:ln>
                        <a:noFill/>
                      </a:ln>
                      <a:solidFill>
                        <a:schemeClr val="lt2"/>
                      </a:solidFill>
                      <a:effectLst/>
                      <a:latin typeface="+mn-lt"/>
                      <a:cs typeface="Arial" pitchFamily="34" charset="0"/>
                    </a:rPr>
                    <a:t>Nouvelle-Aquitaine</a:t>
                  </a:r>
                </a:p>
              </p:txBody>
            </p:sp>
            <p:sp>
              <p:nvSpPr>
                <p:cNvPr id="37" name="Etiquette - Occitanie" hidden="1">
                  <a:extLst>
                    <a:ext uri="{FF2B5EF4-FFF2-40B4-BE49-F238E27FC236}">
                      <a16:creationId xmlns:a16="http://schemas.microsoft.com/office/drawing/2014/main" id="{A9E8EFF0-8A38-B3F7-94B2-BDB0299E0F61}"/>
                    </a:ext>
                  </a:extLst>
                </p:cNvPr>
                <p:cNvSpPr>
                  <a:spLocks noChangeArrowheads="1"/>
                </p:cNvSpPr>
                <p:nvPr/>
              </p:nvSpPr>
              <p:spPr bwMode="auto">
                <a:xfrm>
                  <a:off x="4954211" y="5255223"/>
                  <a:ext cx="1481175" cy="2855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800" u="none" strike="noStrike" cap="none" normalizeH="0" baseline="0" dirty="0" err="1">
                      <a:ln>
                        <a:noFill/>
                      </a:ln>
                      <a:solidFill>
                        <a:schemeClr val="lt2"/>
                      </a:solidFill>
                      <a:effectLst/>
                      <a:latin typeface="+mn-lt"/>
                      <a:cs typeface="Arial" pitchFamily="34" charset="0"/>
                    </a:rPr>
                    <a:t>Occitanie</a:t>
                  </a:r>
                  <a:endParaRPr kumimoji="0" lang="en-US" altLang="fr-FR" sz="800" u="none" strike="noStrike" cap="none" normalizeH="0" baseline="0" dirty="0">
                    <a:ln>
                      <a:noFill/>
                    </a:ln>
                    <a:solidFill>
                      <a:schemeClr val="lt2"/>
                    </a:solidFill>
                    <a:effectLst/>
                    <a:latin typeface="+mn-lt"/>
                    <a:cs typeface="Arial" pitchFamily="34" charset="0"/>
                  </a:endParaRPr>
                </a:p>
              </p:txBody>
            </p:sp>
            <p:sp>
              <p:nvSpPr>
                <p:cNvPr id="38" name="Etiquette - Auvergne-Rhône-Alpes" hidden="1">
                  <a:extLst>
                    <a:ext uri="{FF2B5EF4-FFF2-40B4-BE49-F238E27FC236}">
                      <a16:creationId xmlns:a16="http://schemas.microsoft.com/office/drawing/2014/main" id="{245141EF-04DA-64F3-4AA6-8E918A8B1E77}"/>
                    </a:ext>
                  </a:extLst>
                </p:cNvPr>
                <p:cNvSpPr>
                  <a:spLocks noChangeArrowheads="1"/>
                </p:cNvSpPr>
                <p:nvPr/>
              </p:nvSpPr>
              <p:spPr bwMode="auto">
                <a:xfrm>
                  <a:off x="6045130" y="3987543"/>
                  <a:ext cx="1481175" cy="85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800" u="none" strike="noStrike" cap="none" normalizeH="0" baseline="0" dirty="0">
                      <a:ln>
                        <a:noFill/>
                      </a:ln>
                      <a:solidFill>
                        <a:schemeClr val="lt2"/>
                      </a:solidFill>
                      <a:effectLst/>
                      <a:latin typeface="+mn-lt"/>
                      <a:cs typeface="Arial" pitchFamily="34" charset="0"/>
                    </a:rPr>
                    <a:t>Auvergne-Rhône-Alpes</a:t>
                  </a:r>
                </a:p>
              </p:txBody>
            </p:sp>
            <p:sp>
              <p:nvSpPr>
                <p:cNvPr id="39" name="Etiquette - Provence-Alpes Côte d'Azur" hidden="1">
                  <a:extLst>
                    <a:ext uri="{FF2B5EF4-FFF2-40B4-BE49-F238E27FC236}">
                      <a16:creationId xmlns:a16="http://schemas.microsoft.com/office/drawing/2014/main" id="{4FF62492-4283-2D6A-6925-6D3C5612258C}"/>
                    </a:ext>
                  </a:extLst>
                </p:cNvPr>
                <p:cNvSpPr>
                  <a:spLocks noChangeArrowheads="1"/>
                </p:cNvSpPr>
                <p:nvPr/>
              </p:nvSpPr>
              <p:spPr bwMode="auto">
                <a:xfrm>
                  <a:off x="6842998" y="4689721"/>
                  <a:ext cx="1346522" cy="11420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800" u="none" strike="noStrike" cap="none" normalizeH="0" baseline="0" dirty="0">
                      <a:ln>
                        <a:noFill/>
                      </a:ln>
                      <a:solidFill>
                        <a:schemeClr val="lt2"/>
                      </a:solidFill>
                      <a:effectLst/>
                      <a:latin typeface="+mn-lt"/>
                      <a:cs typeface="Arial" pitchFamily="34" charset="0"/>
                    </a:rPr>
                    <a:t>Provence-</a:t>
                  </a:r>
                  <a:r>
                    <a:rPr kumimoji="0" lang="en-US" altLang="fr-FR" sz="800" u="none" strike="noStrike" cap="none" normalizeH="0" baseline="0" dirty="0" err="1">
                      <a:ln>
                        <a:noFill/>
                      </a:ln>
                      <a:solidFill>
                        <a:schemeClr val="lt2"/>
                      </a:solidFill>
                      <a:effectLst/>
                      <a:latin typeface="+mn-lt"/>
                      <a:cs typeface="Arial" pitchFamily="34" charset="0"/>
                    </a:rPr>
                    <a:t>Alpes</a:t>
                  </a:r>
                  <a:r>
                    <a:rPr kumimoji="0" lang="en-US" altLang="fr-FR" sz="800" u="none" strike="noStrike" cap="none" normalizeH="0" baseline="0" dirty="0">
                      <a:ln>
                        <a:noFill/>
                      </a:ln>
                      <a:solidFill>
                        <a:schemeClr val="lt2"/>
                      </a:solidFill>
                      <a:effectLst/>
                      <a:latin typeface="+mn-lt"/>
                      <a:cs typeface="Arial" pitchFamily="34" charset="0"/>
                    </a:rPr>
                    <a:t>-Côte d’Azur</a:t>
                  </a:r>
                </a:p>
              </p:txBody>
            </p:sp>
            <p:sp>
              <p:nvSpPr>
                <p:cNvPr id="40" name="Etiquette - Corse" hidden="1">
                  <a:extLst>
                    <a:ext uri="{FF2B5EF4-FFF2-40B4-BE49-F238E27FC236}">
                      <a16:creationId xmlns:a16="http://schemas.microsoft.com/office/drawing/2014/main" id="{D273AC46-97FF-E588-2ABC-354DEC4FA55E}"/>
                    </a:ext>
                  </a:extLst>
                </p:cNvPr>
                <p:cNvSpPr>
                  <a:spLocks noChangeArrowheads="1"/>
                </p:cNvSpPr>
                <p:nvPr/>
              </p:nvSpPr>
              <p:spPr bwMode="auto">
                <a:xfrm>
                  <a:off x="7569620" y="5660678"/>
                  <a:ext cx="1792219" cy="2855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800" u="none" strike="noStrike" cap="none" normalizeH="0" baseline="0" dirty="0">
                      <a:ln>
                        <a:noFill/>
                      </a:ln>
                      <a:solidFill>
                        <a:schemeClr val="lt2"/>
                      </a:solidFill>
                      <a:effectLst/>
                      <a:latin typeface="+mn-lt"/>
                      <a:cs typeface="Arial" pitchFamily="34" charset="0"/>
                    </a:rPr>
                    <a:t>Corse</a:t>
                  </a:r>
                </a:p>
              </p:txBody>
            </p:sp>
            <p:sp>
              <p:nvSpPr>
                <p:cNvPr id="41" name="Etiquette - Centre-Val de Loire" hidden="1">
                  <a:extLst>
                    <a:ext uri="{FF2B5EF4-FFF2-40B4-BE49-F238E27FC236}">
                      <a16:creationId xmlns:a16="http://schemas.microsoft.com/office/drawing/2014/main" id="{C7737833-37D7-7C21-9A05-8A3D35FF3700}"/>
                    </a:ext>
                  </a:extLst>
                </p:cNvPr>
                <p:cNvSpPr>
                  <a:spLocks noChangeArrowheads="1"/>
                </p:cNvSpPr>
                <p:nvPr/>
              </p:nvSpPr>
              <p:spPr bwMode="auto">
                <a:xfrm>
                  <a:off x="5029650" y="3025531"/>
                  <a:ext cx="1175474" cy="85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800" u="none" strike="noStrike" cap="none" normalizeH="0" baseline="0" dirty="0">
                      <a:ln>
                        <a:noFill/>
                      </a:ln>
                      <a:solidFill>
                        <a:schemeClr val="lt2"/>
                      </a:solidFill>
                      <a:effectLst/>
                      <a:latin typeface="+mn-lt"/>
                      <a:cs typeface="Arial" pitchFamily="34" charset="0"/>
                    </a:rPr>
                    <a:t>Centre-Val de Loire</a:t>
                  </a:r>
                </a:p>
              </p:txBody>
            </p:sp>
            <p:sp>
              <p:nvSpPr>
                <p:cNvPr id="42" name="Etiquette - Bourgogne-Franche-Comté" hidden="1">
                  <a:extLst>
                    <a:ext uri="{FF2B5EF4-FFF2-40B4-BE49-F238E27FC236}">
                      <a16:creationId xmlns:a16="http://schemas.microsoft.com/office/drawing/2014/main" id="{BF7F296F-971B-6A77-C205-2758C2237256}"/>
                    </a:ext>
                  </a:extLst>
                </p:cNvPr>
                <p:cNvSpPr>
                  <a:spLocks noChangeArrowheads="1"/>
                </p:cNvSpPr>
                <p:nvPr/>
              </p:nvSpPr>
              <p:spPr bwMode="auto">
                <a:xfrm>
                  <a:off x="6081121" y="2949256"/>
                  <a:ext cx="1632118" cy="85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800" u="none" strike="noStrike" cap="none" normalizeH="0" baseline="0" dirty="0">
                      <a:ln>
                        <a:noFill/>
                      </a:ln>
                      <a:solidFill>
                        <a:schemeClr val="lt2"/>
                      </a:solidFill>
                      <a:effectLst/>
                      <a:latin typeface="+mn-lt"/>
                      <a:cs typeface="Arial" pitchFamily="34" charset="0"/>
                    </a:rPr>
                    <a:t>Bourgogne-Franche-Comté</a:t>
                  </a:r>
                </a:p>
              </p:txBody>
            </p:sp>
            <p:sp>
              <p:nvSpPr>
                <p:cNvPr id="43" name="Etiquette - Grand Est" hidden="1">
                  <a:extLst>
                    <a:ext uri="{FF2B5EF4-FFF2-40B4-BE49-F238E27FC236}">
                      <a16:creationId xmlns:a16="http://schemas.microsoft.com/office/drawing/2014/main" id="{49E70F95-741C-65E1-8548-4CDD5B25837A}"/>
                    </a:ext>
                  </a:extLst>
                </p:cNvPr>
                <p:cNvSpPr>
                  <a:spLocks noChangeArrowheads="1"/>
                </p:cNvSpPr>
                <p:nvPr/>
              </p:nvSpPr>
              <p:spPr bwMode="auto">
                <a:xfrm>
                  <a:off x="6289026" y="2425732"/>
                  <a:ext cx="1795328" cy="2855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800" u="none" strike="noStrike" cap="none" normalizeH="0" baseline="0" dirty="0">
                      <a:ln>
                        <a:noFill/>
                      </a:ln>
                      <a:solidFill>
                        <a:schemeClr val="lt2"/>
                      </a:solidFill>
                      <a:effectLst/>
                      <a:latin typeface="+mn-lt"/>
                      <a:cs typeface="Arial" pitchFamily="34" charset="0"/>
                    </a:rPr>
                    <a:t>Grand Est</a:t>
                  </a:r>
                </a:p>
              </p:txBody>
            </p:sp>
            <p:sp>
              <p:nvSpPr>
                <p:cNvPr id="44" name="Etiquette - Hauts-de-France" hidden="1">
                  <a:extLst>
                    <a:ext uri="{FF2B5EF4-FFF2-40B4-BE49-F238E27FC236}">
                      <a16:creationId xmlns:a16="http://schemas.microsoft.com/office/drawing/2014/main" id="{97377D24-94CD-2359-5CF9-8CC5C46298C0}"/>
                    </a:ext>
                  </a:extLst>
                </p:cNvPr>
                <p:cNvSpPr>
                  <a:spLocks noChangeArrowheads="1"/>
                </p:cNvSpPr>
                <p:nvPr/>
              </p:nvSpPr>
              <p:spPr bwMode="auto">
                <a:xfrm>
                  <a:off x="5421572" y="1574796"/>
                  <a:ext cx="1348859" cy="57100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fr-FR" sz="800" dirty="0" err="1">
                      <a:solidFill>
                        <a:schemeClr val="lt2"/>
                      </a:solidFill>
                      <a:latin typeface="+mn-lt"/>
                    </a:rPr>
                    <a:t>Hauts</a:t>
                  </a:r>
                  <a:r>
                    <a:rPr lang="en-US" altLang="fr-FR" sz="800" dirty="0">
                      <a:solidFill>
                        <a:schemeClr val="lt2"/>
                      </a:solidFill>
                      <a:latin typeface="+mn-lt"/>
                    </a:rPr>
                    <a:t>-de-France</a:t>
                  </a:r>
                  <a:endParaRPr kumimoji="0" lang="en-US" altLang="fr-FR" sz="800" u="none" strike="noStrike" cap="none" normalizeH="0" baseline="0" dirty="0">
                    <a:ln>
                      <a:noFill/>
                    </a:ln>
                    <a:solidFill>
                      <a:schemeClr val="lt2"/>
                    </a:solidFill>
                    <a:effectLst/>
                    <a:latin typeface="+mn-lt"/>
                  </a:endParaRPr>
                </a:p>
              </p:txBody>
            </p:sp>
            <p:sp>
              <p:nvSpPr>
                <p:cNvPr id="45" name="Etiquette - Île-de-France" hidden="1">
                  <a:extLst>
                    <a:ext uri="{FF2B5EF4-FFF2-40B4-BE49-F238E27FC236}">
                      <a16:creationId xmlns:a16="http://schemas.microsoft.com/office/drawing/2014/main" id="{EEC30B34-E26C-BEC0-EF8E-F0E560CFF357}"/>
                    </a:ext>
                  </a:extLst>
                </p:cNvPr>
                <p:cNvSpPr>
                  <a:spLocks noChangeArrowheads="1"/>
                </p:cNvSpPr>
                <p:nvPr/>
              </p:nvSpPr>
              <p:spPr bwMode="auto">
                <a:xfrm>
                  <a:off x="5541987" y="2261842"/>
                  <a:ext cx="837535" cy="85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fr-FR" sz="800" dirty="0">
                      <a:solidFill>
                        <a:schemeClr val="lt2"/>
                      </a:solidFill>
                      <a:latin typeface="+mn-lt"/>
                    </a:rPr>
                    <a:t>Ile-de-France</a:t>
                  </a:r>
                  <a:endParaRPr kumimoji="0" lang="en-US" altLang="fr-FR" sz="800" u="none" strike="noStrike" cap="none" normalizeH="0" baseline="0" dirty="0">
                    <a:ln>
                      <a:noFill/>
                    </a:ln>
                    <a:solidFill>
                      <a:schemeClr val="lt2"/>
                    </a:solidFill>
                    <a:effectLst/>
                    <a:latin typeface="+mn-lt"/>
                  </a:endParaRPr>
                </a:p>
              </p:txBody>
            </p:sp>
          </p:grpSp>
          <p:grpSp>
            <p:nvGrpSpPr>
              <p:cNvPr id="8" name="GradientColorLegend">
                <a:extLst>
                  <a:ext uri="{FF2B5EF4-FFF2-40B4-BE49-F238E27FC236}">
                    <a16:creationId xmlns:a16="http://schemas.microsoft.com/office/drawing/2014/main" id="{5150AEC7-D744-57DB-2984-1F59C405F1C8}"/>
                  </a:ext>
                </a:extLst>
              </p:cNvPr>
              <p:cNvGrpSpPr/>
              <p:nvPr/>
            </p:nvGrpSpPr>
            <p:grpSpPr>
              <a:xfrm>
                <a:off x="2320687" y="3076475"/>
                <a:ext cx="120073" cy="1700473"/>
                <a:chOff x="1066170" y="2413661"/>
                <a:chExt cx="120073" cy="1700473"/>
              </a:xfrm>
              <a:grpFill/>
            </p:grpSpPr>
            <p:sp>
              <p:nvSpPr>
                <p:cNvPr id="30" name="Etiquette - GradientColorLegend - DARK - Shape" hidden="1">
                  <a:extLst>
                    <a:ext uri="{FF2B5EF4-FFF2-40B4-BE49-F238E27FC236}">
                      <a16:creationId xmlns:a16="http://schemas.microsoft.com/office/drawing/2014/main" id="{C888C1DB-525B-4F8F-FCF0-5175942E43BE}"/>
                    </a:ext>
                  </a:extLst>
                </p:cNvPr>
                <p:cNvSpPr/>
                <p:nvPr/>
              </p:nvSpPr>
              <p:spPr>
                <a:xfrm>
                  <a:off x="1066170" y="2575168"/>
                  <a:ext cx="120073" cy="138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 name="Etiquette - GradientColorLegend - DARK - MaxValue" hidden="1">
                  <a:extLst>
                    <a:ext uri="{FF2B5EF4-FFF2-40B4-BE49-F238E27FC236}">
                      <a16:creationId xmlns:a16="http://schemas.microsoft.com/office/drawing/2014/main" id="{0FAA8B8E-D319-25E5-5AB0-974535F69989}"/>
                    </a:ext>
                  </a:extLst>
                </p:cNvPr>
                <p:cNvSpPr txBox="1"/>
                <p:nvPr/>
              </p:nvSpPr>
              <p:spPr>
                <a:xfrm>
                  <a:off x="1086115" y="2413661"/>
                  <a:ext cx="80183" cy="153952"/>
                </a:xfrm>
                <a:prstGeom prst="rect">
                  <a:avLst/>
                </a:prstGeom>
                <a:grpFill/>
              </p:spPr>
              <p:txBody>
                <a:bodyPr wrap="none" lIns="0" tIns="0" rIns="0" bIns="0" rtlCol="0" anchor="b">
                  <a:spAutoFit/>
                </a:bodyPr>
                <a:lstStyle/>
                <a:p>
                  <a:pPr algn="ctr"/>
                  <a:r>
                    <a:rPr lang="en-US" sz="800"/>
                    <a:t>1</a:t>
                  </a:r>
                  <a:endParaRPr lang="en-US" sz="800" dirty="0"/>
                </a:p>
              </p:txBody>
            </p:sp>
            <p:sp>
              <p:nvSpPr>
                <p:cNvPr id="32" name="Etiquette - GradientColorLegend - DARK - MinValue" hidden="1">
                  <a:extLst>
                    <a:ext uri="{FF2B5EF4-FFF2-40B4-BE49-F238E27FC236}">
                      <a16:creationId xmlns:a16="http://schemas.microsoft.com/office/drawing/2014/main" id="{FD819AB4-70A2-2F1E-AC24-373D5806EE69}"/>
                    </a:ext>
                  </a:extLst>
                </p:cNvPr>
                <p:cNvSpPr txBox="1"/>
                <p:nvPr/>
              </p:nvSpPr>
              <p:spPr>
                <a:xfrm>
                  <a:off x="1086114" y="3960182"/>
                  <a:ext cx="80183" cy="153952"/>
                </a:xfrm>
                <a:prstGeom prst="rect">
                  <a:avLst/>
                </a:prstGeom>
                <a:grpFill/>
              </p:spPr>
              <p:txBody>
                <a:bodyPr wrap="none" lIns="0" tIns="0" rIns="0" bIns="0" rtlCol="0">
                  <a:spAutoFit/>
                </a:bodyPr>
                <a:lstStyle/>
                <a:p>
                  <a:pPr algn="ctr"/>
                  <a:r>
                    <a:rPr lang="en-US" sz="800"/>
                    <a:t>1</a:t>
                  </a:r>
                  <a:endParaRPr lang="en-US" sz="800" dirty="0"/>
                </a:p>
              </p:txBody>
            </p:sp>
          </p:grpSp>
          <p:grpSp>
            <p:nvGrpSpPr>
              <p:cNvPr id="9" name="RangeColorLegend">
                <a:extLst>
                  <a:ext uri="{FF2B5EF4-FFF2-40B4-BE49-F238E27FC236}">
                    <a16:creationId xmlns:a16="http://schemas.microsoft.com/office/drawing/2014/main" id="{FACEE60F-D42B-7FC0-BC94-6BE3368ED2BE}"/>
                  </a:ext>
                </a:extLst>
              </p:cNvPr>
              <p:cNvGrpSpPr/>
              <p:nvPr/>
            </p:nvGrpSpPr>
            <p:grpSpPr>
              <a:xfrm>
                <a:off x="1815576" y="3530476"/>
                <a:ext cx="1270800" cy="1538880"/>
                <a:chOff x="9228362" y="4919762"/>
                <a:chExt cx="1270800" cy="1538880"/>
              </a:xfrm>
              <a:grpFill/>
            </p:grpSpPr>
            <p:sp>
              <p:nvSpPr>
                <p:cNvPr id="10" name="Etiquette - RangeColorLegend - DARK - Color - 2" hidden="1">
                  <a:extLst>
                    <a:ext uri="{FF2B5EF4-FFF2-40B4-BE49-F238E27FC236}">
                      <a16:creationId xmlns:a16="http://schemas.microsoft.com/office/drawing/2014/main" id="{CBF42755-DCC7-755C-317F-2DF915661C6B}"/>
                    </a:ext>
                  </a:extLst>
                </p:cNvPr>
                <p:cNvSpPr/>
                <p:nvPr/>
              </p:nvSpPr>
              <p:spPr>
                <a:xfrm>
                  <a:off x="9228362" y="5073650"/>
                  <a:ext cx="154800" cy="153888"/>
                </a:xfrm>
                <a:prstGeom prst="rect">
                  <a:avLst/>
                </a:prstGeom>
                <a:grpFill/>
                <a:ln>
                  <a:solidFill>
                    <a:schemeClr val="tx1"/>
                  </a:solidFill>
                </a:ln>
              </p:spPr>
              <p:txBody>
                <a:bodyPr wrap="square" lIns="0" tIns="0" rIns="0" bIns="0" anchor="ctr">
                  <a:noAutofit/>
                </a:bodyPr>
                <a:lstStyle/>
                <a:p>
                  <a:pPr algn="ctr"/>
                  <a:endParaRPr lang="en-US" sz="800" dirty="0"/>
                </a:p>
              </p:txBody>
            </p:sp>
            <p:sp>
              <p:nvSpPr>
                <p:cNvPr id="11" name="Etiquette - RangeColorLegend - DARK - Color - 1" hidden="1">
                  <a:extLst>
                    <a:ext uri="{FF2B5EF4-FFF2-40B4-BE49-F238E27FC236}">
                      <a16:creationId xmlns:a16="http://schemas.microsoft.com/office/drawing/2014/main" id="{7D7E7DEB-54F3-E925-7BB0-CD00899511BB}"/>
                    </a:ext>
                  </a:extLst>
                </p:cNvPr>
                <p:cNvSpPr/>
                <p:nvPr/>
              </p:nvSpPr>
              <p:spPr>
                <a:xfrm>
                  <a:off x="9228362" y="4919762"/>
                  <a:ext cx="154800" cy="153888"/>
                </a:xfrm>
                <a:prstGeom prst="rect">
                  <a:avLst/>
                </a:prstGeom>
                <a:grpFill/>
                <a:ln>
                  <a:solidFill>
                    <a:schemeClr val="tx1"/>
                  </a:solidFill>
                </a:ln>
              </p:spPr>
              <p:txBody>
                <a:bodyPr wrap="square" lIns="0" tIns="0" rIns="0" bIns="0" anchor="ctr">
                  <a:noAutofit/>
                </a:bodyPr>
                <a:lstStyle/>
                <a:p>
                  <a:pPr algn="ctr"/>
                  <a:endParaRPr lang="en-US" sz="800" dirty="0"/>
                </a:p>
              </p:txBody>
            </p:sp>
            <p:sp>
              <p:nvSpPr>
                <p:cNvPr id="12" name="Etiquette - RangeColorLegend - DARK - Number - 2" hidden="1">
                  <a:extLst>
                    <a:ext uri="{FF2B5EF4-FFF2-40B4-BE49-F238E27FC236}">
                      <a16:creationId xmlns:a16="http://schemas.microsoft.com/office/drawing/2014/main" id="{E276D0AE-1B71-1CEC-B9CB-62D932DC0F49}"/>
                    </a:ext>
                  </a:extLst>
                </p:cNvPr>
                <p:cNvSpPr/>
                <p:nvPr/>
              </p:nvSpPr>
              <p:spPr>
                <a:xfrm>
                  <a:off x="9383162" y="5073650"/>
                  <a:ext cx="1116000" cy="153888"/>
                </a:xfrm>
                <a:prstGeom prst="rect">
                  <a:avLst/>
                </a:prstGeom>
                <a:grpFill/>
                <a:ln>
                  <a:noFill/>
                </a:ln>
              </p:spPr>
              <p:txBody>
                <a:bodyPr wrap="none" lIns="72000" tIns="0" rIns="0" bIns="0" anchor="ctr">
                  <a:noAutofit/>
                </a:bodyPr>
                <a:lstStyle/>
                <a:p>
                  <a:r>
                    <a:rPr lang="en-US" sz="800"/>
                    <a:t>&lt; 1</a:t>
                  </a:r>
                  <a:endParaRPr lang="en-US" sz="800" dirty="0"/>
                </a:p>
              </p:txBody>
            </p:sp>
            <p:sp>
              <p:nvSpPr>
                <p:cNvPr id="13" name="Etiquette - RangeColorLegend - DARK - Number - 1" hidden="1">
                  <a:extLst>
                    <a:ext uri="{FF2B5EF4-FFF2-40B4-BE49-F238E27FC236}">
                      <a16:creationId xmlns:a16="http://schemas.microsoft.com/office/drawing/2014/main" id="{B0281873-5AB1-3F29-A028-EF10E3951252}"/>
                    </a:ext>
                  </a:extLst>
                </p:cNvPr>
                <p:cNvSpPr/>
                <p:nvPr/>
              </p:nvSpPr>
              <p:spPr>
                <a:xfrm>
                  <a:off x="9383162" y="4919762"/>
                  <a:ext cx="1116000" cy="153888"/>
                </a:xfrm>
                <a:prstGeom prst="rect">
                  <a:avLst/>
                </a:prstGeom>
                <a:grpFill/>
                <a:ln>
                  <a:noFill/>
                </a:ln>
              </p:spPr>
              <p:txBody>
                <a:bodyPr wrap="none" lIns="72000" tIns="0" rIns="0" bIns="0" anchor="ctr">
                  <a:noAutofit/>
                </a:bodyPr>
                <a:lstStyle/>
                <a:p>
                  <a:r>
                    <a:rPr lang="en-US" sz="800"/>
                    <a:t>1+</a:t>
                  </a:r>
                  <a:endParaRPr lang="en-US" sz="800" dirty="0"/>
                </a:p>
              </p:txBody>
            </p:sp>
            <p:sp>
              <p:nvSpPr>
                <p:cNvPr id="14" name="Etiquette - RangeColorLegend - DARK - Color - 4" hidden="1">
                  <a:extLst>
                    <a:ext uri="{FF2B5EF4-FFF2-40B4-BE49-F238E27FC236}">
                      <a16:creationId xmlns:a16="http://schemas.microsoft.com/office/drawing/2014/main" id="{090B5216-65AA-6E08-DAD8-FDF26390B721}"/>
                    </a:ext>
                  </a:extLst>
                </p:cNvPr>
                <p:cNvSpPr/>
                <p:nvPr/>
              </p:nvSpPr>
              <p:spPr>
                <a:xfrm>
                  <a:off x="9228362" y="5381426"/>
                  <a:ext cx="154800" cy="153888"/>
                </a:xfrm>
                <a:prstGeom prst="rect">
                  <a:avLst/>
                </a:prstGeom>
                <a:grpFill/>
                <a:ln>
                  <a:solidFill>
                    <a:schemeClr val="tx1"/>
                  </a:solidFill>
                </a:ln>
              </p:spPr>
              <p:txBody>
                <a:bodyPr wrap="square" lIns="0" tIns="0" rIns="0" bIns="0" anchor="ctr">
                  <a:noAutofit/>
                </a:bodyPr>
                <a:lstStyle/>
                <a:p>
                  <a:pPr algn="ctr"/>
                  <a:endParaRPr lang="en-US" sz="800" dirty="0"/>
                </a:p>
              </p:txBody>
            </p:sp>
            <p:sp>
              <p:nvSpPr>
                <p:cNvPr id="15" name="Etiquette - RangeColorLegend - DARK - Color - 3" hidden="1">
                  <a:extLst>
                    <a:ext uri="{FF2B5EF4-FFF2-40B4-BE49-F238E27FC236}">
                      <a16:creationId xmlns:a16="http://schemas.microsoft.com/office/drawing/2014/main" id="{1C7C1EF3-62D8-F496-2B64-396BCAA42067}"/>
                    </a:ext>
                  </a:extLst>
                </p:cNvPr>
                <p:cNvSpPr/>
                <p:nvPr/>
              </p:nvSpPr>
              <p:spPr>
                <a:xfrm>
                  <a:off x="9228362" y="5227538"/>
                  <a:ext cx="154800" cy="153888"/>
                </a:xfrm>
                <a:prstGeom prst="rect">
                  <a:avLst/>
                </a:prstGeom>
                <a:grpFill/>
                <a:ln>
                  <a:solidFill>
                    <a:schemeClr val="tx1"/>
                  </a:solidFill>
                </a:ln>
              </p:spPr>
              <p:txBody>
                <a:bodyPr wrap="square" lIns="0" tIns="0" rIns="0" bIns="0" anchor="ctr">
                  <a:noAutofit/>
                </a:bodyPr>
                <a:lstStyle/>
                <a:p>
                  <a:pPr algn="ctr"/>
                  <a:endParaRPr lang="en-US" sz="800" dirty="0"/>
                </a:p>
              </p:txBody>
            </p:sp>
            <p:sp>
              <p:nvSpPr>
                <p:cNvPr id="16" name="Etiquette - RangeColorLegend - DARK - Number - 4" hidden="1">
                  <a:extLst>
                    <a:ext uri="{FF2B5EF4-FFF2-40B4-BE49-F238E27FC236}">
                      <a16:creationId xmlns:a16="http://schemas.microsoft.com/office/drawing/2014/main" id="{B98325AF-1F17-6693-CCD9-45119DA79ECE}"/>
                    </a:ext>
                  </a:extLst>
                </p:cNvPr>
                <p:cNvSpPr/>
                <p:nvPr/>
              </p:nvSpPr>
              <p:spPr>
                <a:xfrm>
                  <a:off x="9383162" y="5381426"/>
                  <a:ext cx="1116000" cy="153888"/>
                </a:xfrm>
                <a:prstGeom prst="rect">
                  <a:avLst/>
                </a:prstGeom>
                <a:grpFill/>
                <a:ln>
                  <a:noFill/>
                </a:ln>
              </p:spPr>
              <p:txBody>
                <a:bodyPr wrap="none" lIns="72000" tIns="0" rIns="0" bIns="0" anchor="ctr">
                  <a:noAutofit/>
                </a:bodyPr>
                <a:lstStyle/>
                <a:p>
                  <a:r>
                    <a:rPr lang="en-US" sz="800" dirty="0"/>
                    <a:t>[300 to 400[</a:t>
                  </a:r>
                </a:p>
              </p:txBody>
            </p:sp>
            <p:sp>
              <p:nvSpPr>
                <p:cNvPr id="17" name="Etiquette - RangeColorLegend - DARK - Number - 3" hidden="1">
                  <a:extLst>
                    <a:ext uri="{FF2B5EF4-FFF2-40B4-BE49-F238E27FC236}">
                      <a16:creationId xmlns:a16="http://schemas.microsoft.com/office/drawing/2014/main" id="{F081CED8-756F-C5BC-5D8E-894AE150AC43}"/>
                    </a:ext>
                  </a:extLst>
                </p:cNvPr>
                <p:cNvSpPr/>
                <p:nvPr/>
              </p:nvSpPr>
              <p:spPr>
                <a:xfrm>
                  <a:off x="9383162" y="5227538"/>
                  <a:ext cx="1116000" cy="153888"/>
                </a:xfrm>
                <a:prstGeom prst="rect">
                  <a:avLst/>
                </a:prstGeom>
                <a:grpFill/>
                <a:ln>
                  <a:noFill/>
                </a:ln>
              </p:spPr>
              <p:txBody>
                <a:bodyPr wrap="none" lIns="72000" tIns="0" rIns="0" bIns="0" anchor="ctr">
                  <a:noAutofit/>
                </a:bodyPr>
                <a:lstStyle/>
                <a:p>
                  <a:r>
                    <a:rPr lang="en-US" sz="800" dirty="0"/>
                    <a:t>[200 to 300[</a:t>
                  </a:r>
                </a:p>
              </p:txBody>
            </p:sp>
            <p:sp>
              <p:nvSpPr>
                <p:cNvPr id="18" name="Etiquette - RangeColorLegend - DARK - Color - 5" hidden="1">
                  <a:extLst>
                    <a:ext uri="{FF2B5EF4-FFF2-40B4-BE49-F238E27FC236}">
                      <a16:creationId xmlns:a16="http://schemas.microsoft.com/office/drawing/2014/main" id="{2EC49027-1B08-C934-C2AD-BCBF89CA368A}"/>
                    </a:ext>
                  </a:extLst>
                </p:cNvPr>
                <p:cNvSpPr/>
                <p:nvPr/>
              </p:nvSpPr>
              <p:spPr>
                <a:xfrm>
                  <a:off x="9228362" y="5535314"/>
                  <a:ext cx="154800" cy="153888"/>
                </a:xfrm>
                <a:prstGeom prst="rect">
                  <a:avLst/>
                </a:prstGeom>
                <a:grpFill/>
                <a:ln>
                  <a:solidFill>
                    <a:schemeClr val="tx1"/>
                  </a:solidFill>
                </a:ln>
              </p:spPr>
              <p:txBody>
                <a:bodyPr wrap="square" lIns="0" tIns="0" rIns="0" bIns="0" anchor="ctr">
                  <a:noAutofit/>
                </a:bodyPr>
                <a:lstStyle/>
                <a:p>
                  <a:pPr algn="ctr"/>
                  <a:endParaRPr lang="en-US" sz="800" dirty="0"/>
                </a:p>
              </p:txBody>
            </p:sp>
            <p:sp>
              <p:nvSpPr>
                <p:cNvPr id="19" name="Etiquette - RangeColorLegend - DARK - Number - 5" hidden="1">
                  <a:extLst>
                    <a:ext uri="{FF2B5EF4-FFF2-40B4-BE49-F238E27FC236}">
                      <a16:creationId xmlns:a16="http://schemas.microsoft.com/office/drawing/2014/main" id="{F3F4F45C-8DCE-7E6B-8A5C-74A5B0364963}"/>
                    </a:ext>
                  </a:extLst>
                </p:cNvPr>
                <p:cNvSpPr/>
                <p:nvPr/>
              </p:nvSpPr>
              <p:spPr>
                <a:xfrm>
                  <a:off x="9383162" y="5535314"/>
                  <a:ext cx="1116000" cy="153888"/>
                </a:xfrm>
                <a:prstGeom prst="rect">
                  <a:avLst/>
                </a:prstGeom>
                <a:grpFill/>
                <a:ln>
                  <a:noFill/>
                </a:ln>
              </p:spPr>
              <p:txBody>
                <a:bodyPr wrap="none" lIns="72000" tIns="0" rIns="0" bIns="0" anchor="ctr">
                  <a:noAutofit/>
                </a:bodyPr>
                <a:lstStyle/>
                <a:p>
                  <a:r>
                    <a:rPr lang="en-US" sz="800" dirty="0"/>
                    <a:t>400+</a:t>
                  </a:r>
                </a:p>
              </p:txBody>
            </p:sp>
            <p:sp>
              <p:nvSpPr>
                <p:cNvPr id="20" name="Etiquette - RangeColorLegend - DARK - Color - 6" hidden="1">
                  <a:extLst>
                    <a:ext uri="{FF2B5EF4-FFF2-40B4-BE49-F238E27FC236}">
                      <a16:creationId xmlns:a16="http://schemas.microsoft.com/office/drawing/2014/main" id="{17551090-77D4-B54E-291A-F3AD8F9FBEC9}"/>
                    </a:ext>
                  </a:extLst>
                </p:cNvPr>
                <p:cNvSpPr/>
                <p:nvPr/>
              </p:nvSpPr>
              <p:spPr>
                <a:xfrm>
                  <a:off x="9228362" y="5689202"/>
                  <a:ext cx="154800" cy="153888"/>
                </a:xfrm>
                <a:prstGeom prst="rect">
                  <a:avLst/>
                </a:prstGeom>
                <a:grpFill/>
                <a:ln>
                  <a:solidFill>
                    <a:schemeClr val="tx1"/>
                  </a:solidFill>
                </a:ln>
              </p:spPr>
              <p:txBody>
                <a:bodyPr wrap="square" lIns="0" tIns="0" rIns="0" bIns="0" anchor="ctr">
                  <a:noAutofit/>
                </a:bodyPr>
                <a:lstStyle/>
                <a:p>
                  <a:pPr algn="ctr"/>
                  <a:endParaRPr lang="en-US" sz="800" dirty="0"/>
                </a:p>
              </p:txBody>
            </p:sp>
            <p:sp>
              <p:nvSpPr>
                <p:cNvPr id="21" name="Etiquette - RangeColorLegend - DARK - Number - 6" hidden="1">
                  <a:extLst>
                    <a:ext uri="{FF2B5EF4-FFF2-40B4-BE49-F238E27FC236}">
                      <a16:creationId xmlns:a16="http://schemas.microsoft.com/office/drawing/2014/main" id="{140091FE-B3B7-6E11-B7BC-1DF0C7710CC1}"/>
                    </a:ext>
                  </a:extLst>
                </p:cNvPr>
                <p:cNvSpPr/>
                <p:nvPr/>
              </p:nvSpPr>
              <p:spPr>
                <a:xfrm>
                  <a:off x="9383162" y="5689202"/>
                  <a:ext cx="1116000" cy="153888"/>
                </a:xfrm>
                <a:prstGeom prst="rect">
                  <a:avLst/>
                </a:prstGeom>
                <a:grpFill/>
                <a:ln>
                  <a:noFill/>
                </a:ln>
              </p:spPr>
              <p:txBody>
                <a:bodyPr wrap="none" lIns="72000" tIns="0" rIns="0" bIns="0" anchor="ctr">
                  <a:noAutofit/>
                </a:bodyPr>
                <a:lstStyle/>
                <a:p>
                  <a:r>
                    <a:rPr lang="en-US" sz="800" dirty="0"/>
                    <a:t>400+</a:t>
                  </a:r>
                </a:p>
              </p:txBody>
            </p:sp>
            <p:sp>
              <p:nvSpPr>
                <p:cNvPr id="22" name="Etiquette - RangeColorLegend - DARK - Color - 7" hidden="1">
                  <a:extLst>
                    <a:ext uri="{FF2B5EF4-FFF2-40B4-BE49-F238E27FC236}">
                      <a16:creationId xmlns:a16="http://schemas.microsoft.com/office/drawing/2014/main" id="{A99DDA82-53EC-364E-9A1F-C3785DF1DB3B}"/>
                    </a:ext>
                  </a:extLst>
                </p:cNvPr>
                <p:cNvSpPr/>
                <p:nvPr/>
              </p:nvSpPr>
              <p:spPr>
                <a:xfrm>
                  <a:off x="9228362" y="5843090"/>
                  <a:ext cx="154800" cy="153888"/>
                </a:xfrm>
                <a:prstGeom prst="rect">
                  <a:avLst/>
                </a:prstGeom>
                <a:grpFill/>
                <a:ln>
                  <a:solidFill>
                    <a:schemeClr val="tx1"/>
                  </a:solidFill>
                </a:ln>
              </p:spPr>
              <p:txBody>
                <a:bodyPr wrap="square" lIns="0" tIns="0" rIns="0" bIns="0" anchor="ctr">
                  <a:noAutofit/>
                </a:bodyPr>
                <a:lstStyle/>
                <a:p>
                  <a:pPr algn="ctr"/>
                  <a:endParaRPr lang="en-US" sz="800" dirty="0"/>
                </a:p>
              </p:txBody>
            </p:sp>
            <p:sp>
              <p:nvSpPr>
                <p:cNvPr id="23" name="Etiquette - RangeColorLegend - DARK - Number - 7" hidden="1">
                  <a:extLst>
                    <a:ext uri="{FF2B5EF4-FFF2-40B4-BE49-F238E27FC236}">
                      <a16:creationId xmlns:a16="http://schemas.microsoft.com/office/drawing/2014/main" id="{084F48F9-9B49-FE96-511F-CBB1265966AC}"/>
                    </a:ext>
                  </a:extLst>
                </p:cNvPr>
                <p:cNvSpPr/>
                <p:nvPr/>
              </p:nvSpPr>
              <p:spPr>
                <a:xfrm>
                  <a:off x="9383162" y="5843090"/>
                  <a:ext cx="1116000" cy="153888"/>
                </a:xfrm>
                <a:prstGeom prst="rect">
                  <a:avLst/>
                </a:prstGeom>
                <a:grpFill/>
                <a:ln>
                  <a:noFill/>
                </a:ln>
              </p:spPr>
              <p:txBody>
                <a:bodyPr wrap="none" lIns="72000" tIns="0" rIns="0" bIns="0" anchor="ctr">
                  <a:noAutofit/>
                </a:bodyPr>
                <a:lstStyle/>
                <a:p>
                  <a:r>
                    <a:rPr lang="en-US" sz="800" dirty="0"/>
                    <a:t>400+</a:t>
                  </a:r>
                </a:p>
              </p:txBody>
            </p:sp>
            <p:sp>
              <p:nvSpPr>
                <p:cNvPr id="24" name="Etiquette - RangeColorLegend - DARK - Color - 8" hidden="1">
                  <a:extLst>
                    <a:ext uri="{FF2B5EF4-FFF2-40B4-BE49-F238E27FC236}">
                      <a16:creationId xmlns:a16="http://schemas.microsoft.com/office/drawing/2014/main" id="{76991639-4138-69D2-A614-F29D9FD5E1E2}"/>
                    </a:ext>
                  </a:extLst>
                </p:cNvPr>
                <p:cNvSpPr/>
                <p:nvPr/>
              </p:nvSpPr>
              <p:spPr>
                <a:xfrm>
                  <a:off x="9228362" y="5996978"/>
                  <a:ext cx="154800" cy="153888"/>
                </a:xfrm>
                <a:prstGeom prst="rect">
                  <a:avLst/>
                </a:prstGeom>
                <a:grpFill/>
                <a:ln>
                  <a:solidFill>
                    <a:schemeClr val="tx1"/>
                  </a:solidFill>
                </a:ln>
              </p:spPr>
              <p:txBody>
                <a:bodyPr wrap="square" lIns="0" tIns="0" rIns="0" bIns="0" anchor="ctr">
                  <a:noAutofit/>
                </a:bodyPr>
                <a:lstStyle/>
                <a:p>
                  <a:pPr algn="ctr"/>
                  <a:endParaRPr lang="en-US" sz="800" dirty="0"/>
                </a:p>
              </p:txBody>
            </p:sp>
            <p:sp>
              <p:nvSpPr>
                <p:cNvPr id="25" name="Etiquette - RangeColorLegend - DARK - Number - 8" hidden="1">
                  <a:extLst>
                    <a:ext uri="{FF2B5EF4-FFF2-40B4-BE49-F238E27FC236}">
                      <a16:creationId xmlns:a16="http://schemas.microsoft.com/office/drawing/2014/main" id="{AE982C43-E4CC-F378-32B7-A3608040A16D}"/>
                    </a:ext>
                  </a:extLst>
                </p:cNvPr>
                <p:cNvSpPr/>
                <p:nvPr/>
              </p:nvSpPr>
              <p:spPr>
                <a:xfrm>
                  <a:off x="9383162" y="5996978"/>
                  <a:ext cx="1116000" cy="153888"/>
                </a:xfrm>
                <a:prstGeom prst="rect">
                  <a:avLst/>
                </a:prstGeom>
                <a:grpFill/>
                <a:ln>
                  <a:noFill/>
                </a:ln>
              </p:spPr>
              <p:txBody>
                <a:bodyPr wrap="none" lIns="72000" tIns="0" rIns="0" bIns="0" anchor="ctr">
                  <a:noAutofit/>
                </a:bodyPr>
                <a:lstStyle/>
                <a:p>
                  <a:r>
                    <a:rPr lang="en-US" sz="800" dirty="0"/>
                    <a:t>400+</a:t>
                  </a:r>
                </a:p>
              </p:txBody>
            </p:sp>
            <p:sp>
              <p:nvSpPr>
                <p:cNvPr id="26" name="Etiquette - RangeColorLegend - DARK - Color - 9" hidden="1">
                  <a:extLst>
                    <a:ext uri="{FF2B5EF4-FFF2-40B4-BE49-F238E27FC236}">
                      <a16:creationId xmlns:a16="http://schemas.microsoft.com/office/drawing/2014/main" id="{3101FB42-FF88-616D-2283-489344DCAC87}"/>
                    </a:ext>
                  </a:extLst>
                </p:cNvPr>
                <p:cNvSpPr/>
                <p:nvPr/>
              </p:nvSpPr>
              <p:spPr>
                <a:xfrm>
                  <a:off x="9228362" y="6150866"/>
                  <a:ext cx="154800" cy="153888"/>
                </a:xfrm>
                <a:prstGeom prst="rect">
                  <a:avLst/>
                </a:prstGeom>
                <a:grpFill/>
                <a:ln>
                  <a:solidFill>
                    <a:schemeClr val="tx1"/>
                  </a:solidFill>
                </a:ln>
              </p:spPr>
              <p:txBody>
                <a:bodyPr wrap="square" lIns="0" tIns="0" rIns="0" bIns="0" anchor="ctr">
                  <a:noAutofit/>
                </a:bodyPr>
                <a:lstStyle/>
                <a:p>
                  <a:pPr algn="ctr"/>
                  <a:endParaRPr lang="en-US" sz="800" dirty="0"/>
                </a:p>
              </p:txBody>
            </p:sp>
            <p:sp>
              <p:nvSpPr>
                <p:cNvPr id="27" name="Etiquette - RangeColorLegend - DARK - Number - 9" hidden="1">
                  <a:extLst>
                    <a:ext uri="{FF2B5EF4-FFF2-40B4-BE49-F238E27FC236}">
                      <a16:creationId xmlns:a16="http://schemas.microsoft.com/office/drawing/2014/main" id="{74367251-0686-2AEF-5914-6129F9358F78}"/>
                    </a:ext>
                  </a:extLst>
                </p:cNvPr>
                <p:cNvSpPr/>
                <p:nvPr/>
              </p:nvSpPr>
              <p:spPr>
                <a:xfrm>
                  <a:off x="9383162" y="6150866"/>
                  <a:ext cx="1116000" cy="153888"/>
                </a:xfrm>
                <a:prstGeom prst="rect">
                  <a:avLst/>
                </a:prstGeom>
                <a:grpFill/>
                <a:ln>
                  <a:noFill/>
                </a:ln>
              </p:spPr>
              <p:txBody>
                <a:bodyPr wrap="none" lIns="72000" tIns="0" rIns="0" bIns="0" anchor="ctr">
                  <a:noAutofit/>
                </a:bodyPr>
                <a:lstStyle/>
                <a:p>
                  <a:r>
                    <a:rPr lang="en-US" sz="800" dirty="0"/>
                    <a:t>400+</a:t>
                  </a:r>
                </a:p>
              </p:txBody>
            </p:sp>
            <p:sp>
              <p:nvSpPr>
                <p:cNvPr id="28" name="Etiquette - RangeColorLegend - DARK - Color - 10" hidden="1">
                  <a:extLst>
                    <a:ext uri="{FF2B5EF4-FFF2-40B4-BE49-F238E27FC236}">
                      <a16:creationId xmlns:a16="http://schemas.microsoft.com/office/drawing/2014/main" id="{45ADC8F9-65D8-E0F4-9FFE-E3508194065A}"/>
                    </a:ext>
                  </a:extLst>
                </p:cNvPr>
                <p:cNvSpPr/>
                <p:nvPr/>
              </p:nvSpPr>
              <p:spPr>
                <a:xfrm>
                  <a:off x="9228362" y="6304754"/>
                  <a:ext cx="154800" cy="153888"/>
                </a:xfrm>
                <a:prstGeom prst="rect">
                  <a:avLst/>
                </a:prstGeom>
                <a:grpFill/>
                <a:ln>
                  <a:solidFill>
                    <a:schemeClr val="tx1"/>
                  </a:solidFill>
                </a:ln>
              </p:spPr>
              <p:txBody>
                <a:bodyPr wrap="square" lIns="0" tIns="0" rIns="0" bIns="0" anchor="ctr">
                  <a:noAutofit/>
                </a:bodyPr>
                <a:lstStyle/>
                <a:p>
                  <a:pPr algn="ctr"/>
                  <a:endParaRPr lang="en-US" sz="800" dirty="0"/>
                </a:p>
              </p:txBody>
            </p:sp>
            <p:sp>
              <p:nvSpPr>
                <p:cNvPr id="29" name="Etiquette - RangeColorLegend - DARK - Number - 10" hidden="1">
                  <a:extLst>
                    <a:ext uri="{FF2B5EF4-FFF2-40B4-BE49-F238E27FC236}">
                      <a16:creationId xmlns:a16="http://schemas.microsoft.com/office/drawing/2014/main" id="{EA6C6B30-F56D-516B-7A76-5F885A2EA57F}"/>
                    </a:ext>
                  </a:extLst>
                </p:cNvPr>
                <p:cNvSpPr/>
                <p:nvPr/>
              </p:nvSpPr>
              <p:spPr>
                <a:xfrm>
                  <a:off x="9383162" y="6304754"/>
                  <a:ext cx="1116000" cy="153888"/>
                </a:xfrm>
                <a:prstGeom prst="rect">
                  <a:avLst/>
                </a:prstGeom>
                <a:grpFill/>
                <a:ln>
                  <a:noFill/>
                </a:ln>
              </p:spPr>
              <p:txBody>
                <a:bodyPr wrap="none" lIns="72000" tIns="0" rIns="0" bIns="0" anchor="ctr">
                  <a:noAutofit/>
                </a:bodyPr>
                <a:lstStyle/>
                <a:p>
                  <a:r>
                    <a:rPr lang="en-US" sz="800" dirty="0"/>
                    <a:t>400+</a:t>
                  </a:r>
                </a:p>
              </p:txBody>
            </p:sp>
          </p:grpSp>
        </p:grpSp>
        <p:sp>
          <p:nvSpPr>
            <p:cNvPr id="60" name="POWER_USER_DATA_MAP_STORAGE">
              <a:extLst>
                <a:ext uri="{FF2B5EF4-FFF2-40B4-BE49-F238E27FC236}">
                  <a16:creationId xmlns:a16="http://schemas.microsoft.com/office/drawing/2014/main" id="{782EA6C0-C578-5B8F-7BEA-36E0CE9F41EE}"/>
                </a:ext>
              </a:extLst>
            </p:cNvPr>
            <p:cNvSpPr/>
            <p:nvPr/>
          </p:nvSpPr>
          <p:spPr>
            <a:xfrm>
              <a:off x="1815576" y="1980881"/>
              <a:ext cx="0" cy="0"/>
            </a:xfrm>
            <a:prstGeom prst="rect">
              <a:avLst/>
            </a:prstGeom>
            <a:grp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sz="1200" dirty="0" err="1">
                <a:solidFill>
                  <a:schemeClr val="bg1"/>
                </a:solidFill>
              </a:endParaRPr>
            </a:p>
          </p:txBody>
        </p:sp>
      </p:grpSp>
      <p:sp>
        <p:nvSpPr>
          <p:cNvPr id="65" name="Content Placeholder 1">
            <a:extLst>
              <a:ext uri="{FF2B5EF4-FFF2-40B4-BE49-F238E27FC236}">
                <a16:creationId xmlns:a16="http://schemas.microsoft.com/office/drawing/2014/main" id="{DDD2B549-1EEC-D398-C362-F91D6BC86410}"/>
              </a:ext>
            </a:extLst>
          </p:cNvPr>
          <p:cNvSpPr txBox="1">
            <a:spLocks/>
          </p:cNvSpPr>
          <p:nvPr/>
        </p:nvSpPr>
        <p:spPr>
          <a:xfrm>
            <a:off x="2836113" y="1071879"/>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18</a:t>
            </a:r>
          </a:p>
        </p:txBody>
      </p:sp>
      <p:sp>
        <p:nvSpPr>
          <p:cNvPr id="66" name="Content Placeholder 1">
            <a:extLst>
              <a:ext uri="{FF2B5EF4-FFF2-40B4-BE49-F238E27FC236}">
                <a16:creationId xmlns:a16="http://schemas.microsoft.com/office/drawing/2014/main" id="{8B0606F0-5A99-55F9-3DC8-E82BB3DA5381}"/>
              </a:ext>
            </a:extLst>
          </p:cNvPr>
          <p:cNvSpPr txBox="1">
            <a:spLocks/>
          </p:cNvSpPr>
          <p:nvPr/>
        </p:nvSpPr>
        <p:spPr>
          <a:xfrm>
            <a:off x="3276101" y="1128716"/>
            <a:ext cx="2278048" cy="217844"/>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1200" b="1" dirty="0"/>
              <a:t>jaderných elektráren</a:t>
            </a:r>
          </a:p>
        </p:txBody>
      </p:sp>
      <p:sp>
        <p:nvSpPr>
          <p:cNvPr id="67" name="Content Placeholder 1">
            <a:extLst>
              <a:ext uri="{FF2B5EF4-FFF2-40B4-BE49-F238E27FC236}">
                <a16:creationId xmlns:a16="http://schemas.microsoft.com/office/drawing/2014/main" id="{AA3D5AF3-559E-E888-F18E-170B30472707}"/>
              </a:ext>
            </a:extLst>
          </p:cNvPr>
          <p:cNvSpPr txBox="1">
            <a:spLocks/>
          </p:cNvSpPr>
          <p:nvPr/>
        </p:nvSpPr>
        <p:spPr>
          <a:xfrm>
            <a:off x="2848686" y="1404267"/>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56</a:t>
            </a:r>
          </a:p>
        </p:txBody>
      </p:sp>
      <p:sp>
        <p:nvSpPr>
          <p:cNvPr id="68" name="Content Placeholder 1">
            <a:extLst>
              <a:ext uri="{FF2B5EF4-FFF2-40B4-BE49-F238E27FC236}">
                <a16:creationId xmlns:a16="http://schemas.microsoft.com/office/drawing/2014/main" id="{5D35A97C-B191-0067-ABA0-CFFF0B3B9CE7}"/>
              </a:ext>
            </a:extLst>
          </p:cNvPr>
          <p:cNvSpPr txBox="1">
            <a:spLocks/>
          </p:cNvSpPr>
          <p:nvPr/>
        </p:nvSpPr>
        <p:spPr>
          <a:xfrm>
            <a:off x="3276101" y="1461104"/>
            <a:ext cx="2278048" cy="217844"/>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1200" b="1" dirty="0"/>
              <a:t>reaktorů</a:t>
            </a:r>
          </a:p>
        </p:txBody>
      </p:sp>
      <p:sp>
        <p:nvSpPr>
          <p:cNvPr id="69" name="Content Placeholder 1">
            <a:extLst>
              <a:ext uri="{FF2B5EF4-FFF2-40B4-BE49-F238E27FC236}">
                <a16:creationId xmlns:a16="http://schemas.microsoft.com/office/drawing/2014/main" id="{410AC1B0-9801-7046-CAEC-AB858D6C3133}"/>
              </a:ext>
            </a:extLst>
          </p:cNvPr>
          <p:cNvSpPr txBox="1">
            <a:spLocks/>
          </p:cNvSpPr>
          <p:nvPr/>
        </p:nvSpPr>
        <p:spPr>
          <a:xfrm>
            <a:off x="2836777" y="1736655"/>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61</a:t>
            </a:r>
          </a:p>
        </p:txBody>
      </p:sp>
      <p:sp>
        <p:nvSpPr>
          <p:cNvPr id="70" name="Content Placeholder 1">
            <a:extLst>
              <a:ext uri="{FF2B5EF4-FFF2-40B4-BE49-F238E27FC236}">
                <a16:creationId xmlns:a16="http://schemas.microsoft.com/office/drawing/2014/main" id="{5B2BC164-1B09-CC5A-2DC6-2CC3E9F547DF}"/>
              </a:ext>
            </a:extLst>
          </p:cNvPr>
          <p:cNvSpPr txBox="1">
            <a:spLocks/>
          </p:cNvSpPr>
          <p:nvPr/>
        </p:nvSpPr>
        <p:spPr>
          <a:xfrm>
            <a:off x="3276101" y="1793492"/>
            <a:ext cx="2278048" cy="217844"/>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1200" b="1" dirty="0"/>
              <a:t>GW instalovaného výkonu</a:t>
            </a:r>
          </a:p>
        </p:txBody>
      </p:sp>
      <p:sp>
        <p:nvSpPr>
          <p:cNvPr id="71" name="Content Placeholder 1">
            <a:extLst>
              <a:ext uri="{FF2B5EF4-FFF2-40B4-BE49-F238E27FC236}">
                <a16:creationId xmlns:a16="http://schemas.microsoft.com/office/drawing/2014/main" id="{2C6D540A-8345-558A-B28F-06124CA104F8}"/>
              </a:ext>
            </a:extLst>
          </p:cNvPr>
          <p:cNvSpPr txBox="1">
            <a:spLocks/>
          </p:cNvSpPr>
          <p:nvPr/>
        </p:nvSpPr>
        <p:spPr>
          <a:xfrm>
            <a:off x="2831222" y="2069043"/>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63</a:t>
            </a:r>
          </a:p>
        </p:txBody>
      </p:sp>
      <p:sp>
        <p:nvSpPr>
          <p:cNvPr id="72" name="Content Placeholder 1">
            <a:extLst>
              <a:ext uri="{FF2B5EF4-FFF2-40B4-BE49-F238E27FC236}">
                <a16:creationId xmlns:a16="http://schemas.microsoft.com/office/drawing/2014/main" id="{DE7389C4-2406-0EA8-CA76-BEDF4F6F11A3}"/>
              </a:ext>
            </a:extLst>
          </p:cNvPr>
          <p:cNvSpPr txBox="1">
            <a:spLocks/>
          </p:cNvSpPr>
          <p:nvPr/>
        </p:nvSpPr>
        <p:spPr>
          <a:xfrm>
            <a:off x="3276101" y="2125880"/>
            <a:ext cx="2278048" cy="217844"/>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1200" b="1" dirty="0"/>
              <a:t>% celkové výroby elektřiny</a:t>
            </a:r>
          </a:p>
        </p:txBody>
      </p:sp>
      <p:sp>
        <p:nvSpPr>
          <p:cNvPr id="73" name="Content Placeholder 1">
            <a:extLst>
              <a:ext uri="{FF2B5EF4-FFF2-40B4-BE49-F238E27FC236}">
                <a16:creationId xmlns:a16="http://schemas.microsoft.com/office/drawing/2014/main" id="{968DC2A7-2FC7-99A6-2A9B-A20E3BBEB127}"/>
              </a:ext>
            </a:extLst>
          </p:cNvPr>
          <p:cNvSpPr txBox="1">
            <a:spLocks/>
          </p:cNvSpPr>
          <p:nvPr/>
        </p:nvSpPr>
        <p:spPr>
          <a:xfrm>
            <a:off x="2915646" y="2733819"/>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1</a:t>
            </a:r>
          </a:p>
        </p:txBody>
      </p:sp>
      <p:sp>
        <p:nvSpPr>
          <p:cNvPr id="74" name="Content Placeholder 1">
            <a:extLst>
              <a:ext uri="{FF2B5EF4-FFF2-40B4-BE49-F238E27FC236}">
                <a16:creationId xmlns:a16="http://schemas.microsoft.com/office/drawing/2014/main" id="{5C332BE3-B06E-F012-586A-53BB8CE2884A}"/>
              </a:ext>
            </a:extLst>
          </p:cNvPr>
          <p:cNvSpPr txBox="1">
            <a:spLocks/>
          </p:cNvSpPr>
          <p:nvPr/>
        </p:nvSpPr>
        <p:spPr>
          <a:xfrm>
            <a:off x="3276101" y="2718809"/>
            <a:ext cx="2278048" cy="217844"/>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dk2"/>
              </a:buClr>
              <a:buNone/>
            </a:pPr>
            <a:r>
              <a:rPr lang="cs-CZ" sz="1200" b="1" dirty="0"/>
              <a:t>nový reaktor EPR </a:t>
            </a:r>
            <a:br>
              <a:rPr lang="cs-CZ" sz="1200" b="1" dirty="0"/>
            </a:br>
            <a:r>
              <a:rPr lang="cs-CZ" sz="1100" dirty="0"/>
              <a:t>(</a:t>
            </a:r>
            <a:r>
              <a:rPr lang="cs-CZ" sz="900" dirty="0"/>
              <a:t>spuštěn letos v elektrárně </a:t>
            </a:r>
            <a:r>
              <a:rPr lang="cs-CZ" sz="900" dirty="0" err="1"/>
              <a:t>Flamanville</a:t>
            </a:r>
            <a:r>
              <a:rPr lang="cs-CZ" sz="1100" dirty="0"/>
              <a:t>)</a:t>
            </a:r>
            <a:endParaRPr lang="cs-CZ" sz="1200" dirty="0"/>
          </a:p>
        </p:txBody>
      </p:sp>
      <p:sp>
        <p:nvSpPr>
          <p:cNvPr id="80" name="Obdélník 75">
            <a:extLst>
              <a:ext uri="{FF2B5EF4-FFF2-40B4-BE49-F238E27FC236}">
                <a16:creationId xmlns:a16="http://schemas.microsoft.com/office/drawing/2014/main" id="{10BF8164-42B6-759E-F816-A3977BD060B4}"/>
              </a:ext>
            </a:extLst>
          </p:cNvPr>
          <p:cNvSpPr/>
          <p:nvPr/>
        </p:nvSpPr>
        <p:spPr>
          <a:xfrm>
            <a:off x="1034391" y="4335448"/>
            <a:ext cx="3421552" cy="271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cs-CZ" sz="1400" b="1" dirty="0">
                <a:solidFill>
                  <a:schemeClr val="bg1">
                    <a:lumMod val="60000"/>
                    <a:lumOff val="40000"/>
                  </a:schemeClr>
                </a:solidFill>
              </a:rPr>
              <a:t>Národní</a:t>
            </a:r>
            <a:r>
              <a:rPr lang="cs-CZ" sz="1400" b="1" dirty="0">
                <a:solidFill>
                  <a:schemeClr val="tx1">
                    <a:lumMod val="50000"/>
                  </a:schemeClr>
                </a:solidFill>
              </a:rPr>
              <a:t> nízkouhlíková strategie </a:t>
            </a:r>
            <a:r>
              <a:rPr lang="cs-CZ" sz="1000" b="1" dirty="0">
                <a:solidFill>
                  <a:schemeClr val="tx1">
                    <a:lumMod val="50000"/>
                  </a:schemeClr>
                </a:solidFill>
              </a:rPr>
              <a:t>(2020)</a:t>
            </a:r>
            <a:endParaRPr lang="cs-CZ" sz="1400" b="1" dirty="0">
              <a:solidFill>
                <a:schemeClr val="tx1">
                  <a:lumMod val="50000"/>
                </a:schemeClr>
              </a:solidFill>
            </a:endParaRPr>
          </a:p>
        </p:txBody>
      </p:sp>
      <p:grpSp>
        <p:nvGrpSpPr>
          <p:cNvPr id="81" name="Document2" descr="{&quot;Key&quot;:&quot;POWER_USER_SHAPE_ICON&quot;,&quot;Value&quot;:&quot;POWER_USER_SHAPE_ICON_STYLE_1&quot;}">
            <a:extLst>
              <a:ext uri="{FF2B5EF4-FFF2-40B4-BE49-F238E27FC236}">
                <a16:creationId xmlns:a16="http://schemas.microsoft.com/office/drawing/2014/main" id="{A10D5645-40A8-D0F6-E633-404EABBB62BF}"/>
              </a:ext>
            </a:extLst>
          </p:cNvPr>
          <p:cNvGrpSpPr>
            <a:grpSpLocks noChangeAspect="1"/>
          </p:cNvGrpSpPr>
          <p:nvPr>
            <p:custDataLst>
              <p:tags r:id="rId1"/>
            </p:custDataLst>
          </p:nvPr>
        </p:nvGrpSpPr>
        <p:grpSpPr bwMode="auto">
          <a:xfrm>
            <a:off x="750724" y="4325298"/>
            <a:ext cx="250208" cy="291332"/>
            <a:chOff x="176" y="141"/>
            <a:chExt cx="151" cy="198"/>
          </a:xfrm>
          <a:solidFill>
            <a:schemeClr val="tx1">
              <a:lumMod val="50000"/>
            </a:schemeClr>
          </a:solidFill>
        </p:grpSpPr>
        <p:sp>
          <p:nvSpPr>
            <p:cNvPr id="82" name="Document2">
              <a:extLst>
                <a:ext uri="{FF2B5EF4-FFF2-40B4-BE49-F238E27FC236}">
                  <a16:creationId xmlns:a16="http://schemas.microsoft.com/office/drawing/2014/main" id="{C1BE440F-D2DF-9489-AA8F-65C34EFD5198}"/>
                </a:ext>
              </a:extLst>
            </p:cNvPr>
            <p:cNvSpPr>
              <a:spLocks noEditPoints="1"/>
            </p:cNvSpPr>
            <p:nvPr>
              <p:custDataLst>
                <p:tags r:id="rId6"/>
              </p:custDataLst>
            </p:nvPr>
          </p:nvSpPr>
          <p:spPr bwMode="auto">
            <a:xfrm>
              <a:off x="176" y="141"/>
              <a:ext cx="151" cy="198"/>
            </a:xfrm>
            <a:custGeom>
              <a:avLst/>
              <a:gdLst>
                <a:gd name="T0" fmla="*/ 388 w 401"/>
                <a:gd name="T1" fmla="*/ 525 h 525"/>
                <a:gd name="T2" fmla="*/ 13 w 401"/>
                <a:gd name="T3" fmla="*/ 525 h 525"/>
                <a:gd name="T4" fmla="*/ 0 w 401"/>
                <a:gd name="T5" fmla="*/ 512 h 525"/>
                <a:gd name="T6" fmla="*/ 0 w 401"/>
                <a:gd name="T7" fmla="*/ 12 h 525"/>
                <a:gd name="T8" fmla="*/ 13 w 401"/>
                <a:gd name="T9" fmla="*/ 0 h 525"/>
                <a:gd name="T10" fmla="*/ 388 w 401"/>
                <a:gd name="T11" fmla="*/ 0 h 525"/>
                <a:gd name="T12" fmla="*/ 401 w 401"/>
                <a:gd name="T13" fmla="*/ 12 h 525"/>
                <a:gd name="T14" fmla="*/ 401 w 401"/>
                <a:gd name="T15" fmla="*/ 512 h 525"/>
                <a:gd name="T16" fmla="*/ 388 w 401"/>
                <a:gd name="T17" fmla="*/ 525 h 525"/>
                <a:gd name="T18" fmla="*/ 25 w 401"/>
                <a:gd name="T19" fmla="*/ 500 h 525"/>
                <a:gd name="T20" fmla="*/ 376 w 401"/>
                <a:gd name="T21" fmla="*/ 500 h 525"/>
                <a:gd name="T22" fmla="*/ 376 w 401"/>
                <a:gd name="T23" fmla="*/ 25 h 525"/>
                <a:gd name="T24" fmla="*/ 25 w 401"/>
                <a:gd name="T25" fmla="*/ 25 h 525"/>
                <a:gd name="T26" fmla="*/ 25 w 401"/>
                <a:gd name="T27" fmla="*/ 50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1" h="525">
                  <a:moveTo>
                    <a:pt x="388" y="525"/>
                  </a:moveTo>
                  <a:lnTo>
                    <a:pt x="13" y="525"/>
                  </a:lnTo>
                  <a:cubicBezTo>
                    <a:pt x="5" y="525"/>
                    <a:pt x="0" y="520"/>
                    <a:pt x="0" y="512"/>
                  </a:cubicBezTo>
                  <a:lnTo>
                    <a:pt x="0" y="12"/>
                  </a:lnTo>
                  <a:cubicBezTo>
                    <a:pt x="0" y="5"/>
                    <a:pt x="5" y="0"/>
                    <a:pt x="13" y="0"/>
                  </a:cubicBezTo>
                  <a:lnTo>
                    <a:pt x="388" y="0"/>
                  </a:lnTo>
                  <a:cubicBezTo>
                    <a:pt x="395" y="0"/>
                    <a:pt x="401" y="5"/>
                    <a:pt x="401" y="12"/>
                  </a:cubicBezTo>
                  <a:lnTo>
                    <a:pt x="401" y="512"/>
                  </a:lnTo>
                  <a:cubicBezTo>
                    <a:pt x="401" y="520"/>
                    <a:pt x="394" y="525"/>
                    <a:pt x="388" y="525"/>
                  </a:cubicBezTo>
                  <a:close/>
                  <a:moveTo>
                    <a:pt x="25" y="500"/>
                  </a:moveTo>
                  <a:lnTo>
                    <a:pt x="376" y="500"/>
                  </a:lnTo>
                  <a:lnTo>
                    <a:pt x="376" y="25"/>
                  </a:lnTo>
                  <a:lnTo>
                    <a:pt x="25" y="25"/>
                  </a:lnTo>
                  <a:lnTo>
                    <a:pt x="25" y="5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83" name="Document2">
              <a:extLst>
                <a:ext uri="{FF2B5EF4-FFF2-40B4-BE49-F238E27FC236}">
                  <a16:creationId xmlns:a16="http://schemas.microsoft.com/office/drawing/2014/main" id="{5342FFE8-780D-CB82-93B6-A577751F0424}"/>
                </a:ext>
              </a:extLst>
            </p:cNvPr>
            <p:cNvSpPr>
              <a:spLocks noChangeArrowheads="1"/>
            </p:cNvSpPr>
            <p:nvPr>
              <p:custDataLst>
                <p:tags r:id="rId7"/>
              </p:custDataLst>
            </p:nvPr>
          </p:nvSpPr>
          <p:spPr bwMode="auto">
            <a:xfrm>
              <a:off x="205" y="239"/>
              <a:ext cx="94"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84" name="Document2">
              <a:extLst>
                <a:ext uri="{FF2B5EF4-FFF2-40B4-BE49-F238E27FC236}">
                  <a16:creationId xmlns:a16="http://schemas.microsoft.com/office/drawing/2014/main" id="{1D36D74E-D929-52D1-87BD-004CA7CCF4B7}"/>
                </a:ext>
              </a:extLst>
            </p:cNvPr>
            <p:cNvSpPr>
              <a:spLocks noChangeArrowheads="1"/>
            </p:cNvSpPr>
            <p:nvPr>
              <p:custDataLst>
                <p:tags r:id="rId8"/>
              </p:custDataLst>
            </p:nvPr>
          </p:nvSpPr>
          <p:spPr bwMode="auto">
            <a:xfrm>
              <a:off x="205" y="267"/>
              <a:ext cx="94"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85" name="Document2">
              <a:extLst>
                <a:ext uri="{FF2B5EF4-FFF2-40B4-BE49-F238E27FC236}">
                  <a16:creationId xmlns:a16="http://schemas.microsoft.com/office/drawing/2014/main" id="{565E64BA-6AC8-E433-DC86-CDF178C137A3}"/>
                </a:ext>
              </a:extLst>
            </p:cNvPr>
            <p:cNvSpPr>
              <a:spLocks noChangeArrowheads="1"/>
            </p:cNvSpPr>
            <p:nvPr>
              <p:custDataLst>
                <p:tags r:id="rId9"/>
              </p:custDataLst>
            </p:nvPr>
          </p:nvSpPr>
          <p:spPr bwMode="auto">
            <a:xfrm>
              <a:off x="205" y="295"/>
              <a:ext cx="94" cy="1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86" name="Document2">
              <a:extLst>
                <a:ext uri="{FF2B5EF4-FFF2-40B4-BE49-F238E27FC236}">
                  <a16:creationId xmlns:a16="http://schemas.microsoft.com/office/drawing/2014/main" id="{9F1D9236-073B-B202-F962-74C21D4C4F8F}"/>
                </a:ext>
              </a:extLst>
            </p:cNvPr>
            <p:cNvSpPr>
              <a:spLocks noChangeArrowheads="1"/>
            </p:cNvSpPr>
            <p:nvPr>
              <p:custDataLst>
                <p:tags r:id="rId10"/>
              </p:custDataLst>
            </p:nvPr>
          </p:nvSpPr>
          <p:spPr bwMode="auto">
            <a:xfrm>
              <a:off x="252" y="182"/>
              <a:ext cx="47" cy="1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87" name="Document2">
              <a:extLst>
                <a:ext uri="{FF2B5EF4-FFF2-40B4-BE49-F238E27FC236}">
                  <a16:creationId xmlns:a16="http://schemas.microsoft.com/office/drawing/2014/main" id="{1F922656-6500-CFC1-1467-69623E24A727}"/>
                </a:ext>
              </a:extLst>
            </p:cNvPr>
            <p:cNvSpPr>
              <a:spLocks noChangeArrowheads="1"/>
            </p:cNvSpPr>
            <p:nvPr>
              <p:custDataLst>
                <p:tags r:id="rId11"/>
              </p:custDataLst>
            </p:nvPr>
          </p:nvSpPr>
          <p:spPr bwMode="auto">
            <a:xfrm>
              <a:off x="252" y="211"/>
              <a:ext cx="47" cy="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sp>
          <p:nvSpPr>
            <p:cNvPr id="88" name="Document2">
              <a:extLst>
                <a:ext uri="{FF2B5EF4-FFF2-40B4-BE49-F238E27FC236}">
                  <a16:creationId xmlns:a16="http://schemas.microsoft.com/office/drawing/2014/main" id="{39C89CFD-9319-8C34-0008-CFB1D351905E}"/>
                </a:ext>
              </a:extLst>
            </p:cNvPr>
            <p:cNvSpPr>
              <a:spLocks/>
            </p:cNvSpPr>
            <p:nvPr>
              <p:custDataLst>
                <p:tags r:id="rId12"/>
              </p:custDataLst>
            </p:nvPr>
          </p:nvSpPr>
          <p:spPr bwMode="auto">
            <a:xfrm>
              <a:off x="206" y="182"/>
              <a:ext cx="36" cy="37"/>
            </a:xfrm>
            <a:custGeom>
              <a:avLst/>
              <a:gdLst>
                <a:gd name="T0" fmla="*/ 49 w 98"/>
                <a:gd name="T1" fmla="*/ 97 h 97"/>
                <a:gd name="T2" fmla="*/ 49 w 98"/>
                <a:gd name="T3" fmla="*/ 97 h 97"/>
                <a:gd name="T4" fmla="*/ 0 w 98"/>
                <a:gd name="T5" fmla="*/ 48 h 97"/>
                <a:gd name="T6" fmla="*/ 0 w 98"/>
                <a:gd name="T7" fmla="*/ 48 h 97"/>
                <a:gd name="T8" fmla="*/ 49 w 98"/>
                <a:gd name="T9" fmla="*/ 0 h 97"/>
                <a:gd name="T10" fmla="*/ 49 w 98"/>
                <a:gd name="T11" fmla="*/ 0 h 97"/>
                <a:gd name="T12" fmla="*/ 98 w 98"/>
                <a:gd name="T13" fmla="*/ 48 h 97"/>
                <a:gd name="T14" fmla="*/ 98 w 98"/>
                <a:gd name="T15" fmla="*/ 48 h 97"/>
                <a:gd name="T16" fmla="*/ 49 w 98"/>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97">
                  <a:moveTo>
                    <a:pt x="49" y="97"/>
                  </a:moveTo>
                  <a:lnTo>
                    <a:pt x="49" y="97"/>
                  </a:lnTo>
                  <a:cubicBezTo>
                    <a:pt x="22" y="97"/>
                    <a:pt x="0" y="75"/>
                    <a:pt x="0" y="48"/>
                  </a:cubicBezTo>
                  <a:lnTo>
                    <a:pt x="0" y="48"/>
                  </a:lnTo>
                  <a:cubicBezTo>
                    <a:pt x="0" y="21"/>
                    <a:pt x="23" y="0"/>
                    <a:pt x="49" y="0"/>
                  </a:cubicBezTo>
                  <a:lnTo>
                    <a:pt x="49" y="0"/>
                  </a:lnTo>
                  <a:cubicBezTo>
                    <a:pt x="77" y="0"/>
                    <a:pt x="98" y="22"/>
                    <a:pt x="98" y="48"/>
                  </a:cubicBezTo>
                  <a:lnTo>
                    <a:pt x="98" y="48"/>
                  </a:lnTo>
                  <a:cubicBezTo>
                    <a:pt x="98" y="76"/>
                    <a:pt x="77" y="97"/>
                    <a:pt x="49" y="9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tx1">
                    <a:lumMod val="50000"/>
                  </a:schemeClr>
                </a:solidFill>
              </a:endParaRPr>
            </a:p>
          </p:txBody>
        </p:sp>
      </p:grpSp>
      <p:sp>
        <p:nvSpPr>
          <p:cNvPr id="91" name="Content Placeholder 1">
            <a:extLst>
              <a:ext uri="{FF2B5EF4-FFF2-40B4-BE49-F238E27FC236}">
                <a16:creationId xmlns:a16="http://schemas.microsoft.com/office/drawing/2014/main" id="{B539B191-8BB3-EB9A-69D9-9A372CAFC9AD}"/>
              </a:ext>
            </a:extLst>
          </p:cNvPr>
          <p:cNvSpPr txBox="1">
            <a:spLocks/>
          </p:cNvSpPr>
          <p:nvPr/>
        </p:nvSpPr>
        <p:spPr>
          <a:xfrm>
            <a:off x="646591" y="4682088"/>
            <a:ext cx="3421553" cy="1124550"/>
          </a:xfrm>
          <a:prstGeom prst="rect">
            <a:avLst/>
          </a:prstGeom>
          <a:ln>
            <a:noFill/>
          </a:ln>
        </p:spPr>
        <p:txBody>
          <a:bodyPr vert="horz" lIns="72000" tIns="72000" rIns="72000" bIns="7200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lgn="just">
              <a:buClr>
                <a:schemeClr val="tx1">
                  <a:lumMod val="50000"/>
                </a:schemeClr>
              </a:buClr>
            </a:pPr>
            <a:r>
              <a:rPr lang="cs-CZ" sz="1000" b="1" dirty="0"/>
              <a:t>Postupný pokles podílu výroby </a:t>
            </a:r>
            <a:r>
              <a:rPr lang="cs-CZ" sz="1000" dirty="0"/>
              <a:t>z aktuálních cca 65 % na 50 % v roce 2035.</a:t>
            </a:r>
          </a:p>
          <a:p>
            <a:pPr marL="180000" indent="-180000" algn="just">
              <a:buClr>
                <a:schemeClr val="tx1">
                  <a:lumMod val="50000"/>
                </a:schemeClr>
              </a:buClr>
            </a:pPr>
            <a:r>
              <a:rPr lang="cs-CZ" sz="1000" b="1" dirty="0"/>
              <a:t>Snaha provozovat reaktory i po překročení stáří 40 let</a:t>
            </a:r>
          </a:p>
          <a:p>
            <a:pPr marL="180000" indent="-180000" algn="just">
              <a:buClr>
                <a:schemeClr val="tx1">
                  <a:lumMod val="50000"/>
                </a:schemeClr>
              </a:buClr>
            </a:pPr>
            <a:r>
              <a:rPr lang="cs-CZ" sz="1000" dirty="0"/>
              <a:t>Diverzifikace jaderných technologií a podpora </a:t>
            </a:r>
            <a:r>
              <a:rPr lang="cs-CZ" sz="1000" dirty="0" err="1"/>
              <a:t>SMRs</a:t>
            </a:r>
            <a:endParaRPr lang="cs-CZ" sz="1000" dirty="0"/>
          </a:p>
        </p:txBody>
      </p:sp>
      <p:sp>
        <p:nvSpPr>
          <p:cNvPr id="93" name="Obdélník 75">
            <a:extLst>
              <a:ext uri="{FF2B5EF4-FFF2-40B4-BE49-F238E27FC236}">
                <a16:creationId xmlns:a16="http://schemas.microsoft.com/office/drawing/2014/main" id="{AF4787A6-0AB2-8957-B257-90F688589C62}"/>
              </a:ext>
            </a:extLst>
          </p:cNvPr>
          <p:cNvSpPr/>
          <p:nvPr/>
        </p:nvSpPr>
        <p:spPr>
          <a:xfrm>
            <a:off x="5237190" y="4283214"/>
            <a:ext cx="3790589" cy="37550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cs-CZ" sz="1400" b="1" dirty="0">
                <a:solidFill>
                  <a:schemeClr val="accent3"/>
                </a:solidFill>
              </a:rPr>
              <a:t>Investiční plán „France 2030“ </a:t>
            </a:r>
            <a:r>
              <a:rPr lang="cs-CZ" sz="1000" b="1" dirty="0">
                <a:solidFill>
                  <a:schemeClr val="accent3"/>
                </a:solidFill>
              </a:rPr>
              <a:t>(schválen 2023)</a:t>
            </a:r>
            <a:endParaRPr lang="cs-CZ" sz="1400" b="1" dirty="0">
              <a:solidFill>
                <a:schemeClr val="accent3"/>
              </a:solidFill>
            </a:endParaRPr>
          </a:p>
        </p:txBody>
      </p:sp>
      <p:sp>
        <p:nvSpPr>
          <p:cNvPr id="102" name="Arrow: Right 101">
            <a:extLst>
              <a:ext uri="{FF2B5EF4-FFF2-40B4-BE49-F238E27FC236}">
                <a16:creationId xmlns:a16="http://schemas.microsoft.com/office/drawing/2014/main" id="{A25BE881-E2B8-BED6-E72F-89B7168280D9}"/>
              </a:ext>
            </a:extLst>
          </p:cNvPr>
          <p:cNvSpPr/>
          <p:nvPr/>
        </p:nvSpPr>
        <p:spPr>
          <a:xfrm>
            <a:off x="4240392" y="4672695"/>
            <a:ext cx="564529" cy="180001"/>
          </a:xfrm>
          <a:prstGeom prst="rightArrow">
            <a:avLst>
              <a:gd name="adj1" fmla="val 50000"/>
              <a:gd name="adj2" fmla="val 62716"/>
            </a:avLst>
          </a:prstGeom>
          <a:gradFill flip="none" rotWithShape="0">
            <a:gsLst>
              <a:gs pos="100000">
                <a:schemeClr val="accent3"/>
              </a:gs>
              <a:gs pos="5594">
                <a:schemeClr val="tx1">
                  <a:lumMod val="85000"/>
                </a:schemeClr>
              </a:gs>
              <a:gs pos="67500">
                <a:schemeClr val="accent3">
                  <a:lumMod val="60000"/>
                  <a:lumOff val="40000"/>
                </a:schemeClr>
              </a:gs>
              <a:gs pos="35000">
                <a:schemeClr val="tx1">
                  <a:lumMod val="75000"/>
                </a:schemeClr>
              </a:gs>
              <a:gs pos="100000">
                <a:schemeClr val="accent1">
                  <a:lumMod val="30000"/>
                  <a:lumOff val="70000"/>
                </a:schemeClr>
              </a:gs>
            </a:gsLst>
            <a:lin ang="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a:solidFill>
                <a:schemeClr val="bg1"/>
              </a:solidFill>
            </a:endParaRPr>
          </a:p>
        </p:txBody>
      </p:sp>
      <p:sp>
        <p:nvSpPr>
          <p:cNvPr id="103" name="Content Placeholder 1">
            <a:extLst>
              <a:ext uri="{FF2B5EF4-FFF2-40B4-BE49-F238E27FC236}">
                <a16:creationId xmlns:a16="http://schemas.microsoft.com/office/drawing/2014/main" id="{A2AB4FD6-F18D-FE8F-4B64-EF5E62DD2ECD}"/>
              </a:ext>
            </a:extLst>
          </p:cNvPr>
          <p:cNvSpPr txBox="1">
            <a:spLocks/>
          </p:cNvSpPr>
          <p:nvPr/>
        </p:nvSpPr>
        <p:spPr>
          <a:xfrm>
            <a:off x="4929891" y="4647233"/>
            <a:ext cx="3925810" cy="1262876"/>
          </a:xfrm>
          <a:prstGeom prst="rect">
            <a:avLst/>
          </a:prstGeom>
          <a:ln>
            <a:noFill/>
          </a:ln>
        </p:spPr>
        <p:txBody>
          <a:bodyPr vert="horz" lIns="72000" tIns="72000" rIns="72000" bIns="7200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lgn="just">
              <a:buClr>
                <a:schemeClr val="accent3"/>
              </a:buClr>
            </a:pPr>
            <a:r>
              <a:rPr lang="cs-CZ" sz="1000" dirty="0"/>
              <a:t>Odstranění požadavku na pokles na 50 %, místo toho </a:t>
            </a:r>
            <a:r>
              <a:rPr lang="cs-CZ" sz="1000" b="1" dirty="0"/>
              <a:t>výroba z jádra přes 50 % až do roku 2050.</a:t>
            </a:r>
          </a:p>
          <a:p>
            <a:pPr marL="180000" indent="-180000" algn="just">
              <a:buClr>
                <a:schemeClr val="accent3"/>
              </a:buClr>
            </a:pPr>
            <a:r>
              <a:rPr lang="cs-CZ" sz="1000" dirty="0"/>
              <a:t>Prozkoumávání možnosti </a:t>
            </a:r>
            <a:r>
              <a:rPr lang="cs-CZ" sz="1000" b="1" dirty="0"/>
              <a:t>prodloužení životnosti až na 60+ let.</a:t>
            </a:r>
          </a:p>
          <a:p>
            <a:pPr marL="180000" indent="-180000" algn="just">
              <a:buClr>
                <a:schemeClr val="accent3"/>
              </a:buClr>
            </a:pPr>
            <a:r>
              <a:rPr lang="cs-CZ" sz="1000" dirty="0"/>
              <a:t>8 miliard EUR alokovaných na </a:t>
            </a:r>
            <a:r>
              <a:rPr lang="cs-CZ" sz="1000" b="1" dirty="0"/>
              <a:t>vývoj </a:t>
            </a:r>
            <a:r>
              <a:rPr lang="cs-CZ" sz="1000" b="1" dirty="0" err="1"/>
              <a:t>SMRs</a:t>
            </a:r>
            <a:r>
              <a:rPr lang="cs-CZ" sz="1000" dirty="0"/>
              <a:t>. Schváleno </a:t>
            </a:r>
            <a:r>
              <a:rPr lang="cs-CZ" sz="1000" b="1" dirty="0"/>
              <a:t>6 nových reaktorů EPR2.</a:t>
            </a:r>
          </a:p>
        </p:txBody>
      </p:sp>
      <p:sp>
        <p:nvSpPr>
          <p:cNvPr id="104" name="Nuclear_plant" descr="{&quot;Key&quot;:&quot;POWER_USER_SHAPE_ICON&quot;,&quot;Value&quot;:&quot;POWER_USER_SHAPE_ICON_STYLE_1&quot;}">
            <a:extLst>
              <a:ext uri="{FF2B5EF4-FFF2-40B4-BE49-F238E27FC236}">
                <a16:creationId xmlns:a16="http://schemas.microsoft.com/office/drawing/2014/main" id="{8D8ECB26-9987-7562-0B53-1EC7DA08E448}"/>
              </a:ext>
            </a:extLst>
          </p:cNvPr>
          <p:cNvSpPr>
            <a:spLocks noChangeAspect="1" noEditPoints="1"/>
          </p:cNvSpPr>
          <p:nvPr>
            <p:custDataLst>
              <p:tags r:id="rId2"/>
            </p:custDataLst>
          </p:nvPr>
        </p:nvSpPr>
        <p:spPr bwMode="auto">
          <a:xfrm>
            <a:off x="4966563" y="4288400"/>
            <a:ext cx="300910" cy="365128"/>
          </a:xfrm>
          <a:custGeom>
            <a:avLst/>
            <a:gdLst>
              <a:gd name="T0" fmla="*/ 154 w 682"/>
              <a:gd name="T1" fmla="*/ 690 h 829"/>
              <a:gd name="T2" fmla="*/ 179 w 682"/>
              <a:gd name="T3" fmla="*/ 324 h 829"/>
              <a:gd name="T4" fmla="*/ 446 w 682"/>
              <a:gd name="T5" fmla="*/ 463 h 829"/>
              <a:gd name="T6" fmla="*/ 145 w 682"/>
              <a:gd name="T7" fmla="*/ 725 h 829"/>
              <a:gd name="T8" fmla="*/ 130 w 682"/>
              <a:gd name="T9" fmla="*/ 781 h 829"/>
              <a:gd name="T10" fmla="*/ 221 w 682"/>
              <a:gd name="T11" fmla="*/ 725 h 829"/>
              <a:gd name="T12" fmla="*/ 196 w 682"/>
              <a:gd name="T13" fmla="*/ 781 h 829"/>
              <a:gd name="T14" fmla="*/ 221 w 682"/>
              <a:gd name="T15" fmla="*/ 725 h 829"/>
              <a:gd name="T16" fmla="*/ 279 w 682"/>
              <a:gd name="T17" fmla="*/ 781 h 829"/>
              <a:gd name="T18" fmla="*/ 257 w 682"/>
              <a:gd name="T19" fmla="*/ 725 h 829"/>
              <a:gd name="T20" fmla="*/ 340 w 682"/>
              <a:gd name="T21" fmla="*/ 725 h 829"/>
              <a:gd name="T22" fmla="*/ 315 w 682"/>
              <a:gd name="T23" fmla="*/ 781 h 829"/>
              <a:gd name="T24" fmla="*/ 340 w 682"/>
              <a:gd name="T25" fmla="*/ 725 h 829"/>
              <a:gd name="T26" fmla="*/ 398 w 682"/>
              <a:gd name="T27" fmla="*/ 781 h 829"/>
              <a:gd name="T28" fmla="*/ 376 w 682"/>
              <a:gd name="T29" fmla="*/ 725 h 829"/>
              <a:gd name="T30" fmla="*/ 459 w 682"/>
              <a:gd name="T31" fmla="*/ 725 h 829"/>
              <a:gd name="T32" fmla="*/ 434 w 682"/>
              <a:gd name="T33" fmla="*/ 781 h 829"/>
              <a:gd name="T34" fmla="*/ 459 w 682"/>
              <a:gd name="T35" fmla="*/ 725 h 829"/>
              <a:gd name="T36" fmla="*/ 580 w 682"/>
              <a:gd name="T37" fmla="*/ 135 h 829"/>
              <a:gd name="T38" fmla="*/ 457 w 682"/>
              <a:gd name="T39" fmla="*/ 125 h 829"/>
              <a:gd name="T40" fmla="*/ 352 w 682"/>
              <a:gd name="T41" fmla="*/ 231 h 829"/>
              <a:gd name="T42" fmla="*/ 399 w 682"/>
              <a:gd name="T43" fmla="*/ 231 h 829"/>
              <a:gd name="T44" fmla="*/ 457 w 682"/>
              <a:gd name="T45" fmla="*/ 172 h 829"/>
              <a:gd name="T46" fmla="*/ 604 w 682"/>
              <a:gd name="T47" fmla="*/ 175 h 829"/>
              <a:gd name="T48" fmla="*/ 628 w 682"/>
              <a:gd name="T49" fmla="*/ 61 h 829"/>
              <a:gd name="T50" fmla="*/ 491 w 682"/>
              <a:gd name="T51" fmla="*/ 277 h 829"/>
              <a:gd name="T52" fmla="*/ 226 w 682"/>
              <a:gd name="T53" fmla="*/ 197 h 829"/>
              <a:gd name="T54" fmla="*/ 254 w 682"/>
              <a:gd name="T55" fmla="*/ 133 h 829"/>
              <a:gd name="T56" fmla="*/ 332 w 682"/>
              <a:gd name="T57" fmla="*/ 181 h 829"/>
              <a:gd name="T58" fmla="*/ 297 w 682"/>
              <a:gd name="T59" fmla="*/ 103 h 829"/>
              <a:gd name="T60" fmla="*/ 389 w 682"/>
              <a:gd name="T61" fmla="*/ 68 h 829"/>
              <a:gd name="T62" fmla="*/ 564 w 682"/>
              <a:gd name="T63" fmla="*/ 39 h 829"/>
              <a:gd name="T64" fmla="*/ 523 w 682"/>
              <a:gd name="T65" fmla="*/ 15 h 829"/>
              <a:gd name="T66" fmla="*/ 418 w 682"/>
              <a:gd name="T67" fmla="*/ 30 h 829"/>
              <a:gd name="T68" fmla="*/ 251 w 682"/>
              <a:gd name="T69" fmla="*/ 86 h 829"/>
              <a:gd name="T70" fmla="*/ 181 w 682"/>
              <a:gd name="T71" fmla="*/ 212 h 829"/>
              <a:gd name="T72" fmla="*/ 126 w 682"/>
              <a:gd name="T73" fmla="*/ 308 h 829"/>
              <a:gd name="T74" fmla="*/ 108 w 682"/>
              <a:gd name="T75" fmla="*/ 679 h 829"/>
              <a:gd name="T76" fmla="*/ 23 w 682"/>
              <a:gd name="T77" fmla="*/ 781 h 829"/>
              <a:gd name="T78" fmla="*/ 23 w 682"/>
              <a:gd name="T79" fmla="*/ 829 h 829"/>
              <a:gd name="T80" fmla="*/ 640 w 682"/>
              <a:gd name="T81" fmla="*/ 805 h 829"/>
              <a:gd name="T82" fmla="*/ 559 w 682"/>
              <a:gd name="T83" fmla="*/ 781 h 829"/>
              <a:gd name="T84" fmla="*/ 494 w 682"/>
              <a:gd name="T85" fmla="*/ 462 h 829"/>
              <a:gd name="T86" fmla="*/ 491 w 682"/>
              <a:gd name="T87" fmla="*/ 277 h 829"/>
              <a:gd name="T88" fmla="*/ 658 w 682"/>
              <a:gd name="T89" fmla="*/ 182 h 829"/>
              <a:gd name="T90" fmla="*/ 647 w 682"/>
              <a:gd name="T91" fmla="*/ 289 h 829"/>
              <a:gd name="T92" fmla="*/ 539 w 682"/>
              <a:gd name="T93" fmla="*/ 300 h 829"/>
              <a:gd name="T94" fmla="*/ 613 w 682"/>
              <a:gd name="T95" fmla="*/ 256 h 829"/>
              <a:gd name="T96" fmla="*/ 511 w 682"/>
              <a:gd name="T97" fmla="*/ 781 h 829"/>
              <a:gd name="T98" fmla="*/ 495 w 682"/>
              <a:gd name="T99" fmla="*/ 725 h 829"/>
              <a:gd name="T100" fmla="*/ 511 w 682"/>
              <a:gd name="T101" fmla="*/ 781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2" h="829">
                <a:moveTo>
                  <a:pt x="486" y="690"/>
                </a:moveTo>
                <a:lnTo>
                  <a:pt x="154" y="690"/>
                </a:lnTo>
                <a:cubicBezTo>
                  <a:pt x="180" y="593"/>
                  <a:pt x="192" y="523"/>
                  <a:pt x="194" y="463"/>
                </a:cubicBezTo>
                <a:cubicBezTo>
                  <a:pt x="195" y="412"/>
                  <a:pt x="190" y="369"/>
                  <a:pt x="179" y="324"/>
                </a:cubicBezTo>
                <a:lnTo>
                  <a:pt x="461" y="324"/>
                </a:lnTo>
                <a:cubicBezTo>
                  <a:pt x="450" y="369"/>
                  <a:pt x="445" y="412"/>
                  <a:pt x="446" y="463"/>
                </a:cubicBezTo>
                <a:cubicBezTo>
                  <a:pt x="448" y="523"/>
                  <a:pt x="460" y="593"/>
                  <a:pt x="486" y="690"/>
                </a:cubicBezTo>
                <a:close/>
                <a:moveTo>
                  <a:pt x="145" y="725"/>
                </a:moveTo>
                <a:lnTo>
                  <a:pt x="160" y="781"/>
                </a:lnTo>
                <a:lnTo>
                  <a:pt x="130" y="781"/>
                </a:lnTo>
                <a:lnTo>
                  <a:pt x="145" y="725"/>
                </a:lnTo>
                <a:close/>
                <a:moveTo>
                  <a:pt x="221" y="725"/>
                </a:moveTo>
                <a:lnTo>
                  <a:pt x="206" y="781"/>
                </a:lnTo>
                <a:lnTo>
                  <a:pt x="196" y="781"/>
                </a:lnTo>
                <a:lnTo>
                  <a:pt x="181" y="725"/>
                </a:lnTo>
                <a:lnTo>
                  <a:pt x="221" y="725"/>
                </a:lnTo>
                <a:close/>
                <a:moveTo>
                  <a:pt x="264" y="725"/>
                </a:moveTo>
                <a:lnTo>
                  <a:pt x="279" y="781"/>
                </a:lnTo>
                <a:lnTo>
                  <a:pt x="242" y="781"/>
                </a:lnTo>
                <a:lnTo>
                  <a:pt x="257" y="725"/>
                </a:lnTo>
                <a:lnTo>
                  <a:pt x="264" y="725"/>
                </a:lnTo>
                <a:close/>
                <a:moveTo>
                  <a:pt x="340" y="725"/>
                </a:moveTo>
                <a:lnTo>
                  <a:pt x="325" y="781"/>
                </a:lnTo>
                <a:lnTo>
                  <a:pt x="315" y="781"/>
                </a:lnTo>
                <a:lnTo>
                  <a:pt x="300" y="725"/>
                </a:lnTo>
                <a:lnTo>
                  <a:pt x="340" y="725"/>
                </a:lnTo>
                <a:close/>
                <a:moveTo>
                  <a:pt x="383" y="725"/>
                </a:moveTo>
                <a:lnTo>
                  <a:pt x="398" y="781"/>
                </a:lnTo>
                <a:lnTo>
                  <a:pt x="361" y="781"/>
                </a:lnTo>
                <a:lnTo>
                  <a:pt x="376" y="725"/>
                </a:lnTo>
                <a:lnTo>
                  <a:pt x="383" y="725"/>
                </a:lnTo>
                <a:close/>
                <a:moveTo>
                  <a:pt x="459" y="725"/>
                </a:moveTo>
                <a:lnTo>
                  <a:pt x="444" y="781"/>
                </a:lnTo>
                <a:lnTo>
                  <a:pt x="434" y="781"/>
                </a:lnTo>
                <a:lnTo>
                  <a:pt x="419" y="725"/>
                </a:lnTo>
                <a:lnTo>
                  <a:pt x="459" y="725"/>
                </a:lnTo>
                <a:close/>
                <a:moveTo>
                  <a:pt x="604" y="85"/>
                </a:moveTo>
                <a:cubicBezTo>
                  <a:pt x="604" y="105"/>
                  <a:pt x="598" y="124"/>
                  <a:pt x="580" y="135"/>
                </a:cubicBezTo>
                <a:cubicBezTo>
                  <a:pt x="559" y="147"/>
                  <a:pt x="532" y="145"/>
                  <a:pt x="511" y="136"/>
                </a:cubicBezTo>
                <a:cubicBezTo>
                  <a:pt x="492" y="129"/>
                  <a:pt x="474" y="125"/>
                  <a:pt x="457" y="125"/>
                </a:cubicBezTo>
                <a:cubicBezTo>
                  <a:pt x="415" y="125"/>
                  <a:pt x="376" y="147"/>
                  <a:pt x="360" y="187"/>
                </a:cubicBezTo>
                <a:cubicBezTo>
                  <a:pt x="355" y="200"/>
                  <a:pt x="352" y="215"/>
                  <a:pt x="352" y="231"/>
                </a:cubicBezTo>
                <a:cubicBezTo>
                  <a:pt x="352" y="244"/>
                  <a:pt x="362" y="255"/>
                  <a:pt x="375" y="255"/>
                </a:cubicBezTo>
                <a:cubicBezTo>
                  <a:pt x="388" y="255"/>
                  <a:pt x="399" y="244"/>
                  <a:pt x="399" y="231"/>
                </a:cubicBezTo>
                <a:cubicBezTo>
                  <a:pt x="399" y="221"/>
                  <a:pt x="401" y="212"/>
                  <a:pt x="404" y="205"/>
                </a:cubicBezTo>
                <a:cubicBezTo>
                  <a:pt x="413" y="182"/>
                  <a:pt x="434" y="172"/>
                  <a:pt x="457" y="172"/>
                </a:cubicBezTo>
                <a:cubicBezTo>
                  <a:pt x="469" y="172"/>
                  <a:pt x="481" y="175"/>
                  <a:pt x="493" y="180"/>
                </a:cubicBezTo>
                <a:cubicBezTo>
                  <a:pt x="529" y="194"/>
                  <a:pt x="570" y="196"/>
                  <a:pt x="604" y="175"/>
                </a:cubicBezTo>
                <a:cubicBezTo>
                  <a:pt x="636" y="156"/>
                  <a:pt x="652" y="122"/>
                  <a:pt x="652" y="85"/>
                </a:cubicBezTo>
                <a:cubicBezTo>
                  <a:pt x="652" y="72"/>
                  <a:pt x="641" y="61"/>
                  <a:pt x="628" y="61"/>
                </a:cubicBezTo>
                <a:cubicBezTo>
                  <a:pt x="615" y="61"/>
                  <a:pt x="604" y="72"/>
                  <a:pt x="604" y="85"/>
                </a:cubicBezTo>
                <a:close/>
                <a:moveTo>
                  <a:pt x="491" y="277"/>
                </a:moveTo>
                <a:lnTo>
                  <a:pt x="226" y="277"/>
                </a:lnTo>
                <a:cubicBezTo>
                  <a:pt x="242" y="245"/>
                  <a:pt x="234" y="221"/>
                  <a:pt x="226" y="197"/>
                </a:cubicBezTo>
                <a:cubicBezTo>
                  <a:pt x="221" y="182"/>
                  <a:pt x="216" y="167"/>
                  <a:pt x="225" y="151"/>
                </a:cubicBezTo>
                <a:cubicBezTo>
                  <a:pt x="231" y="140"/>
                  <a:pt x="241" y="134"/>
                  <a:pt x="254" y="133"/>
                </a:cubicBezTo>
                <a:cubicBezTo>
                  <a:pt x="261" y="157"/>
                  <a:pt x="278" y="177"/>
                  <a:pt x="300" y="190"/>
                </a:cubicBezTo>
                <a:cubicBezTo>
                  <a:pt x="311" y="196"/>
                  <a:pt x="325" y="193"/>
                  <a:pt x="332" y="181"/>
                </a:cubicBezTo>
                <a:cubicBezTo>
                  <a:pt x="338" y="170"/>
                  <a:pt x="334" y="156"/>
                  <a:pt x="323" y="149"/>
                </a:cubicBezTo>
                <a:cubicBezTo>
                  <a:pt x="307" y="140"/>
                  <a:pt x="297" y="122"/>
                  <a:pt x="297" y="103"/>
                </a:cubicBezTo>
                <a:cubicBezTo>
                  <a:pt x="297" y="74"/>
                  <a:pt x="320" y="51"/>
                  <a:pt x="350" y="51"/>
                </a:cubicBezTo>
                <a:cubicBezTo>
                  <a:pt x="367" y="51"/>
                  <a:pt x="378" y="59"/>
                  <a:pt x="389" y="68"/>
                </a:cubicBezTo>
                <a:cubicBezTo>
                  <a:pt x="408" y="82"/>
                  <a:pt x="427" y="96"/>
                  <a:pt x="464" y="96"/>
                </a:cubicBezTo>
                <a:cubicBezTo>
                  <a:pt x="505" y="96"/>
                  <a:pt x="544" y="74"/>
                  <a:pt x="564" y="39"/>
                </a:cubicBezTo>
                <a:cubicBezTo>
                  <a:pt x="571" y="27"/>
                  <a:pt x="567" y="13"/>
                  <a:pt x="556" y="6"/>
                </a:cubicBezTo>
                <a:cubicBezTo>
                  <a:pt x="544" y="0"/>
                  <a:pt x="530" y="4"/>
                  <a:pt x="523" y="15"/>
                </a:cubicBezTo>
                <a:cubicBezTo>
                  <a:pt x="511" y="36"/>
                  <a:pt x="489" y="49"/>
                  <a:pt x="464" y="49"/>
                </a:cubicBezTo>
                <a:cubicBezTo>
                  <a:pt x="443" y="49"/>
                  <a:pt x="430" y="39"/>
                  <a:pt x="418" y="30"/>
                </a:cubicBezTo>
                <a:cubicBezTo>
                  <a:pt x="400" y="17"/>
                  <a:pt x="382" y="3"/>
                  <a:pt x="350" y="3"/>
                </a:cubicBezTo>
                <a:cubicBezTo>
                  <a:pt x="301" y="3"/>
                  <a:pt x="260" y="38"/>
                  <a:pt x="251" y="86"/>
                </a:cubicBezTo>
                <a:cubicBezTo>
                  <a:pt x="222" y="88"/>
                  <a:pt x="197" y="103"/>
                  <a:pt x="183" y="129"/>
                </a:cubicBezTo>
                <a:cubicBezTo>
                  <a:pt x="165" y="163"/>
                  <a:pt x="173" y="187"/>
                  <a:pt x="181" y="212"/>
                </a:cubicBezTo>
                <a:cubicBezTo>
                  <a:pt x="192" y="242"/>
                  <a:pt x="189" y="277"/>
                  <a:pt x="149" y="277"/>
                </a:cubicBezTo>
                <a:cubicBezTo>
                  <a:pt x="133" y="277"/>
                  <a:pt x="122" y="291"/>
                  <a:pt x="126" y="308"/>
                </a:cubicBezTo>
                <a:cubicBezTo>
                  <a:pt x="140" y="360"/>
                  <a:pt x="148" y="406"/>
                  <a:pt x="147" y="462"/>
                </a:cubicBezTo>
                <a:cubicBezTo>
                  <a:pt x="145" y="518"/>
                  <a:pt x="133" y="586"/>
                  <a:pt x="108" y="679"/>
                </a:cubicBezTo>
                <a:lnTo>
                  <a:pt x="81" y="781"/>
                </a:lnTo>
                <a:lnTo>
                  <a:pt x="23" y="781"/>
                </a:lnTo>
                <a:cubicBezTo>
                  <a:pt x="10" y="781"/>
                  <a:pt x="0" y="792"/>
                  <a:pt x="0" y="805"/>
                </a:cubicBezTo>
                <a:cubicBezTo>
                  <a:pt x="0" y="818"/>
                  <a:pt x="10" y="829"/>
                  <a:pt x="23" y="829"/>
                </a:cubicBezTo>
                <a:lnTo>
                  <a:pt x="617" y="829"/>
                </a:lnTo>
                <a:cubicBezTo>
                  <a:pt x="630" y="829"/>
                  <a:pt x="640" y="818"/>
                  <a:pt x="640" y="805"/>
                </a:cubicBezTo>
                <a:cubicBezTo>
                  <a:pt x="640" y="792"/>
                  <a:pt x="630" y="781"/>
                  <a:pt x="617" y="781"/>
                </a:cubicBezTo>
                <a:lnTo>
                  <a:pt x="559" y="781"/>
                </a:lnTo>
                <a:lnTo>
                  <a:pt x="532" y="679"/>
                </a:lnTo>
                <a:cubicBezTo>
                  <a:pt x="507" y="586"/>
                  <a:pt x="495" y="518"/>
                  <a:pt x="494" y="462"/>
                </a:cubicBezTo>
                <a:cubicBezTo>
                  <a:pt x="492" y="406"/>
                  <a:pt x="500" y="360"/>
                  <a:pt x="514" y="308"/>
                </a:cubicBezTo>
                <a:cubicBezTo>
                  <a:pt x="518" y="291"/>
                  <a:pt x="507" y="277"/>
                  <a:pt x="491" y="277"/>
                </a:cubicBezTo>
                <a:close/>
                <a:moveTo>
                  <a:pt x="634" y="205"/>
                </a:moveTo>
                <a:cubicBezTo>
                  <a:pt x="634" y="192"/>
                  <a:pt x="645" y="182"/>
                  <a:pt x="658" y="182"/>
                </a:cubicBezTo>
                <a:cubicBezTo>
                  <a:pt x="671" y="182"/>
                  <a:pt x="682" y="192"/>
                  <a:pt x="682" y="205"/>
                </a:cubicBezTo>
                <a:cubicBezTo>
                  <a:pt x="682" y="238"/>
                  <a:pt x="668" y="268"/>
                  <a:pt x="647" y="289"/>
                </a:cubicBezTo>
                <a:cubicBezTo>
                  <a:pt x="625" y="311"/>
                  <a:pt x="596" y="324"/>
                  <a:pt x="563" y="324"/>
                </a:cubicBezTo>
                <a:cubicBezTo>
                  <a:pt x="550" y="324"/>
                  <a:pt x="539" y="313"/>
                  <a:pt x="539" y="300"/>
                </a:cubicBezTo>
                <a:cubicBezTo>
                  <a:pt x="539" y="287"/>
                  <a:pt x="550" y="277"/>
                  <a:pt x="563" y="277"/>
                </a:cubicBezTo>
                <a:cubicBezTo>
                  <a:pt x="583" y="277"/>
                  <a:pt x="601" y="269"/>
                  <a:pt x="613" y="256"/>
                </a:cubicBezTo>
                <a:cubicBezTo>
                  <a:pt x="626" y="243"/>
                  <a:pt x="634" y="225"/>
                  <a:pt x="634" y="205"/>
                </a:cubicBezTo>
                <a:close/>
                <a:moveTo>
                  <a:pt x="511" y="781"/>
                </a:moveTo>
                <a:lnTo>
                  <a:pt x="480" y="781"/>
                </a:lnTo>
                <a:lnTo>
                  <a:pt x="495" y="725"/>
                </a:lnTo>
                <a:lnTo>
                  <a:pt x="511" y="781"/>
                </a:lnTo>
                <a:lnTo>
                  <a:pt x="511" y="78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fr-FR"/>
          </a:p>
        </p:txBody>
      </p:sp>
      <p:sp>
        <p:nvSpPr>
          <p:cNvPr id="112" name="Content Placeholder 1">
            <a:extLst>
              <a:ext uri="{FF2B5EF4-FFF2-40B4-BE49-F238E27FC236}">
                <a16:creationId xmlns:a16="http://schemas.microsoft.com/office/drawing/2014/main" id="{36C69992-DF28-F6BF-D73C-4F9B4AF5C9D6}"/>
              </a:ext>
            </a:extLst>
          </p:cNvPr>
          <p:cNvSpPr txBox="1">
            <a:spLocks/>
          </p:cNvSpPr>
          <p:nvPr/>
        </p:nvSpPr>
        <p:spPr>
          <a:xfrm>
            <a:off x="2836777" y="2401431"/>
            <a:ext cx="569712"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38</a:t>
            </a:r>
          </a:p>
        </p:txBody>
      </p:sp>
      <p:sp>
        <p:nvSpPr>
          <p:cNvPr id="113" name="Content Placeholder 1">
            <a:extLst>
              <a:ext uri="{FF2B5EF4-FFF2-40B4-BE49-F238E27FC236}">
                <a16:creationId xmlns:a16="http://schemas.microsoft.com/office/drawing/2014/main" id="{7D8EF1C8-C78F-EE96-F1DA-45297601DDEA}"/>
              </a:ext>
            </a:extLst>
          </p:cNvPr>
          <p:cNvSpPr txBox="1">
            <a:spLocks/>
          </p:cNvSpPr>
          <p:nvPr/>
        </p:nvSpPr>
        <p:spPr>
          <a:xfrm>
            <a:off x="3276101" y="2458268"/>
            <a:ext cx="2278048" cy="217844"/>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1200" b="1" dirty="0"/>
              <a:t>let průměrné stáří reaktorů</a:t>
            </a:r>
          </a:p>
        </p:txBody>
      </p:sp>
      <p:graphicFrame>
        <p:nvGraphicFramePr>
          <p:cNvPr id="114" name="Chart 113">
            <a:extLst>
              <a:ext uri="{FF2B5EF4-FFF2-40B4-BE49-F238E27FC236}">
                <a16:creationId xmlns:a16="http://schemas.microsoft.com/office/drawing/2014/main" id="{023A9BFE-98F3-F827-8407-8E0DE219ED72}"/>
              </a:ext>
            </a:extLst>
          </p:cNvPr>
          <p:cNvGraphicFramePr>
            <a:graphicFrameLocks/>
          </p:cNvGraphicFramePr>
          <p:nvPr>
            <p:custDataLst>
              <p:tags r:id="rId3"/>
            </p:custDataLst>
            <p:extLst>
              <p:ext uri="{D42A27DB-BD31-4B8C-83A1-F6EECF244321}">
                <p14:modId xmlns:p14="http://schemas.microsoft.com/office/powerpoint/2010/main" val="1829763699"/>
              </p:ext>
            </p:extLst>
          </p:nvPr>
        </p:nvGraphicFramePr>
        <p:xfrm>
          <a:off x="5267472" y="963539"/>
          <a:ext cx="3597175" cy="2571560"/>
        </p:xfrm>
        <a:graphic>
          <a:graphicData uri="http://schemas.openxmlformats.org/drawingml/2006/chart">
            <c:chart xmlns:c="http://schemas.openxmlformats.org/drawingml/2006/chart" xmlns:r="http://schemas.openxmlformats.org/officeDocument/2006/relationships" r:id="rId14"/>
          </a:graphicData>
        </a:graphic>
      </p:graphicFrame>
      <p:cxnSp>
        <p:nvCxnSpPr>
          <p:cNvPr id="145" name="Straight Connector 144">
            <a:extLst>
              <a:ext uri="{FF2B5EF4-FFF2-40B4-BE49-F238E27FC236}">
                <a16:creationId xmlns:a16="http://schemas.microsoft.com/office/drawing/2014/main" id="{A94B225B-3752-A46F-E6DC-598FCC1746AF}"/>
              </a:ext>
            </a:extLst>
          </p:cNvPr>
          <p:cNvCxnSpPr>
            <a:cxnSpLocks/>
          </p:cNvCxnSpPr>
          <p:nvPr/>
        </p:nvCxnSpPr>
        <p:spPr>
          <a:xfrm>
            <a:off x="9027779" y="1029948"/>
            <a:ext cx="0" cy="5224858"/>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Content Placeholder 1">
            <a:extLst>
              <a:ext uri="{FF2B5EF4-FFF2-40B4-BE49-F238E27FC236}">
                <a16:creationId xmlns:a16="http://schemas.microsoft.com/office/drawing/2014/main" id="{2DC058CA-BBFF-39A4-36E5-F7A6520EC63B}"/>
              </a:ext>
            </a:extLst>
          </p:cNvPr>
          <p:cNvSpPr txBox="1">
            <a:spLocks/>
          </p:cNvSpPr>
          <p:nvPr/>
        </p:nvSpPr>
        <p:spPr>
          <a:xfrm>
            <a:off x="9125817" y="3282337"/>
            <a:ext cx="2546547" cy="2497932"/>
          </a:xfrm>
          <a:prstGeom prst="rect">
            <a:avLst/>
          </a:prstGeom>
          <a:ln>
            <a:noFill/>
          </a:ln>
        </p:spPr>
        <p:txBody>
          <a:bodyPr vert="horz" lIns="72000" tIns="72000" rIns="72000" bIns="7200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buClr>
                <a:schemeClr val="accent3"/>
              </a:buClr>
            </a:pPr>
            <a:r>
              <a:rPr lang="cs-CZ" sz="1200" b="1" dirty="0" err="1"/>
              <a:t>Nuward</a:t>
            </a:r>
            <a:r>
              <a:rPr lang="cs-CZ" sz="1200" dirty="0"/>
              <a:t>, dceřina společnost EDF vyvíjí vlastní </a:t>
            </a:r>
            <a:r>
              <a:rPr lang="cs-CZ" sz="1200" b="1" dirty="0" err="1"/>
              <a:t>lehkovodní</a:t>
            </a:r>
            <a:r>
              <a:rPr lang="cs-CZ" sz="1200" b="1" dirty="0"/>
              <a:t> SMR </a:t>
            </a:r>
            <a:r>
              <a:rPr lang="cs-CZ" sz="1200" dirty="0"/>
              <a:t>o výkonu 300-400 MW.</a:t>
            </a:r>
          </a:p>
          <a:p>
            <a:pPr marL="180000" indent="-180000">
              <a:buClr>
                <a:schemeClr val="accent3"/>
              </a:buClr>
            </a:pPr>
            <a:r>
              <a:rPr lang="cs-CZ" sz="1200" dirty="0"/>
              <a:t>Start-up </a:t>
            </a:r>
            <a:r>
              <a:rPr lang="cs-CZ" sz="1200" b="1" dirty="0"/>
              <a:t>Jimmy SMR </a:t>
            </a:r>
            <a:r>
              <a:rPr lang="cs-CZ" sz="1200" dirty="0"/>
              <a:t>vyvíjí pro Paříž </a:t>
            </a:r>
            <a:r>
              <a:rPr lang="cs-CZ" sz="1200" b="1" dirty="0"/>
              <a:t>vysokoteplotní plynem chlazený SMR </a:t>
            </a:r>
            <a:r>
              <a:rPr lang="cs-CZ" sz="1200" dirty="0"/>
              <a:t>pro výrobu tepla o výkonu 20 MW.</a:t>
            </a:r>
          </a:p>
          <a:p>
            <a:pPr marL="180000" indent="-180000">
              <a:buClr>
                <a:schemeClr val="accent3"/>
              </a:buClr>
            </a:pPr>
            <a:r>
              <a:rPr lang="cs-CZ" sz="1200" dirty="0"/>
              <a:t>Francouzská společnost </a:t>
            </a:r>
            <a:r>
              <a:rPr lang="cs-CZ" sz="1200" b="1" dirty="0" err="1"/>
              <a:t>Hexana</a:t>
            </a:r>
            <a:r>
              <a:rPr lang="cs-CZ" sz="1200" dirty="0"/>
              <a:t> vyvíjí </a:t>
            </a:r>
            <a:r>
              <a:rPr lang="cs-CZ" sz="1200" b="1" dirty="0"/>
              <a:t>rychlý sodíkem chlazený SMR </a:t>
            </a:r>
            <a:r>
              <a:rPr lang="cs-CZ" sz="1200" dirty="0"/>
              <a:t>o výkonu 300 MW .</a:t>
            </a:r>
          </a:p>
          <a:p>
            <a:pPr marL="180000" indent="-180000">
              <a:buClr>
                <a:schemeClr val="accent3"/>
              </a:buClr>
            </a:pPr>
            <a:endParaRPr lang="cs-CZ" sz="1200" dirty="0"/>
          </a:p>
        </p:txBody>
      </p:sp>
      <p:sp>
        <p:nvSpPr>
          <p:cNvPr id="152" name="Obdélník 75">
            <a:extLst>
              <a:ext uri="{FF2B5EF4-FFF2-40B4-BE49-F238E27FC236}">
                <a16:creationId xmlns:a16="http://schemas.microsoft.com/office/drawing/2014/main" id="{70574F44-8D3A-EC49-87C2-E71D22C22BE2}"/>
              </a:ext>
            </a:extLst>
          </p:cNvPr>
          <p:cNvSpPr/>
          <p:nvPr/>
        </p:nvSpPr>
        <p:spPr>
          <a:xfrm>
            <a:off x="9470858" y="980483"/>
            <a:ext cx="1743759" cy="2886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cs-CZ" sz="1200" b="1" dirty="0">
                <a:solidFill>
                  <a:schemeClr val="accent3"/>
                </a:solidFill>
              </a:rPr>
              <a:t>Velké reaktory</a:t>
            </a:r>
          </a:p>
        </p:txBody>
      </p:sp>
      <p:sp>
        <p:nvSpPr>
          <p:cNvPr id="153" name="Content Placeholder 1">
            <a:extLst>
              <a:ext uri="{FF2B5EF4-FFF2-40B4-BE49-F238E27FC236}">
                <a16:creationId xmlns:a16="http://schemas.microsoft.com/office/drawing/2014/main" id="{5E2B6966-0F8C-48FE-DC99-F7117C47300F}"/>
              </a:ext>
            </a:extLst>
          </p:cNvPr>
          <p:cNvSpPr txBox="1">
            <a:spLocks/>
          </p:cNvSpPr>
          <p:nvPr/>
        </p:nvSpPr>
        <p:spPr>
          <a:xfrm>
            <a:off x="9127530" y="1241489"/>
            <a:ext cx="2571867" cy="1957016"/>
          </a:xfrm>
          <a:prstGeom prst="rect">
            <a:avLst/>
          </a:prstGeom>
          <a:ln>
            <a:noFill/>
          </a:ln>
        </p:spPr>
        <p:txBody>
          <a:bodyPr vert="horz" lIns="72000" tIns="72000" rIns="72000" bIns="7200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buClr>
                <a:schemeClr val="accent3"/>
              </a:buClr>
            </a:pPr>
            <a:r>
              <a:rPr lang="cs-CZ" sz="1200" dirty="0"/>
              <a:t>Francie staví na dlouholeté tradici </a:t>
            </a:r>
            <a:r>
              <a:rPr lang="cs-CZ" sz="1200" b="1" dirty="0" err="1"/>
              <a:t>lehkovodních</a:t>
            </a:r>
            <a:r>
              <a:rPr lang="cs-CZ" sz="1200" b="1" dirty="0"/>
              <a:t> reaktorů</a:t>
            </a:r>
            <a:r>
              <a:rPr lang="cs-CZ" sz="1200" dirty="0"/>
              <a:t>.</a:t>
            </a:r>
          </a:p>
          <a:p>
            <a:pPr marL="180000" indent="-180000">
              <a:buClr>
                <a:schemeClr val="accent3"/>
              </a:buClr>
            </a:pPr>
            <a:r>
              <a:rPr lang="cs-CZ" sz="1200" dirty="0"/>
              <a:t>Jako druhá v Evropě letos </a:t>
            </a:r>
            <a:r>
              <a:rPr lang="cs-CZ" sz="1200" b="1" dirty="0"/>
              <a:t>spustila rektor typu EPR</a:t>
            </a:r>
            <a:r>
              <a:rPr lang="cs-CZ" sz="1200" dirty="0"/>
              <a:t>.</a:t>
            </a:r>
          </a:p>
          <a:p>
            <a:pPr marL="180000" indent="-180000">
              <a:buClr>
                <a:schemeClr val="accent3"/>
              </a:buClr>
            </a:pPr>
            <a:r>
              <a:rPr lang="cs-CZ" sz="1200" dirty="0"/>
              <a:t>Do roku 2030 plánuje začít výstavbu </a:t>
            </a:r>
            <a:r>
              <a:rPr lang="cs-CZ" sz="1200" b="1" dirty="0"/>
              <a:t>6 bloků typu EPR 2 </a:t>
            </a:r>
            <a:r>
              <a:rPr lang="cs-CZ" sz="1200" dirty="0"/>
              <a:t>v lokalitách elektráren </a:t>
            </a:r>
            <a:r>
              <a:rPr lang="cs-CZ" sz="1200" dirty="0" err="1"/>
              <a:t>Penly</a:t>
            </a:r>
            <a:r>
              <a:rPr lang="cs-CZ" sz="1200" dirty="0"/>
              <a:t>, </a:t>
            </a:r>
            <a:r>
              <a:rPr lang="cs-CZ" sz="1200" dirty="0" err="1"/>
              <a:t>Gravelines</a:t>
            </a:r>
            <a:r>
              <a:rPr lang="cs-CZ" sz="1200" dirty="0"/>
              <a:t> a  </a:t>
            </a:r>
            <a:r>
              <a:rPr lang="cs-CZ" sz="1200" dirty="0" err="1"/>
              <a:t>Bugey</a:t>
            </a:r>
            <a:r>
              <a:rPr lang="cs-CZ" sz="1200" dirty="0"/>
              <a:t>.</a:t>
            </a:r>
          </a:p>
        </p:txBody>
      </p:sp>
      <p:sp>
        <p:nvSpPr>
          <p:cNvPr id="154" name="Obdélník 75">
            <a:extLst>
              <a:ext uri="{FF2B5EF4-FFF2-40B4-BE49-F238E27FC236}">
                <a16:creationId xmlns:a16="http://schemas.microsoft.com/office/drawing/2014/main" id="{9E6FC5CA-BE43-44C8-0A84-ED7A8A592F40}"/>
              </a:ext>
            </a:extLst>
          </p:cNvPr>
          <p:cNvSpPr/>
          <p:nvPr/>
        </p:nvSpPr>
        <p:spPr>
          <a:xfrm>
            <a:off x="9498963" y="3025836"/>
            <a:ext cx="1908000" cy="2886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cs-CZ" sz="1200" b="1" dirty="0">
                <a:solidFill>
                  <a:schemeClr val="accent3"/>
                </a:solidFill>
              </a:rPr>
              <a:t>Malé modulární reaktory</a:t>
            </a:r>
          </a:p>
        </p:txBody>
      </p:sp>
      <p:sp>
        <p:nvSpPr>
          <p:cNvPr id="155" name="Content Placeholder 1">
            <a:extLst>
              <a:ext uri="{FF2B5EF4-FFF2-40B4-BE49-F238E27FC236}">
                <a16:creationId xmlns:a16="http://schemas.microsoft.com/office/drawing/2014/main" id="{2FC6333E-478B-A82C-3186-1BA86A18E3D0}"/>
              </a:ext>
            </a:extLst>
          </p:cNvPr>
          <p:cNvSpPr txBox="1">
            <a:spLocks/>
          </p:cNvSpPr>
          <p:nvPr/>
        </p:nvSpPr>
        <p:spPr>
          <a:xfrm>
            <a:off x="646260" y="5892770"/>
            <a:ext cx="8218388" cy="369812"/>
          </a:xfrm>
          <a:prstGeom prst="rect">
            <a:avLst/>
          </a:prstGeom>
          <a:ln>
            <a:noFill/>
          </a:ln>
        </p:spPr>
        <p:txBody>
          <a:bodyPr vert="horz" lIns="72000" tIns="72000" rIns="72000" bIns="7200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lgn="just">
              <a:buClr>
                <a:schemeClr val="accent3"/>
              </a:buClr>
            </a:pPr>
            <a:r>
              <a:rPr lang="cs-CZ" sz="1200" b="1" dirty="0"/>
              <a:t>Oba</a:t>
            </a:r>
            <a:r>
              <a:rPr lang="cs-CZ" sz="1200" dirty="0"/>
              <a:t> plány zdůrazňují zaměření úsilí na </a:t>
            </a:r>
            <a:r>
              <a:rPr lang="cs-CZ" sz="1200" b="1" dirty="0"/>
              <a:t>prodloužení palivového cyklu </a:t>
            </a:r>
            <a:r>
              <a:rPr lang="cs-CZ" sz="1200" dirty="0"/>
              <a:t>a přechod vybraných reaktorů na </a:t>
            </a:r>
            <a:r>
              <a:rPr lang="cs-CZ" sz="1200" b="1" dirty="0"/>
              <a:t>MOX paliva. </a:t>
            </a:r>
          </a:p>
        </p:txBody>
      </p:sp>
      <p:sp>
        <p:nvSpPr>
          <p:cNvPr id="156" name="Content Placeholder 1">
            <a:extLst>
              <a:ext uri="{FF2B5EF4-FFF2-40B4-BE49-F238E27FC236}">
                <a16:creationId xmlns:a16="http://schemas.microsoft.com/office/drawing/2014/main" id="{FBBD87BF-6967-B153-7C6A-DDBD0050D52A}"/>
              </a:ext>
            </a:extLst>
          </p:cNvPr>
          <p:cNvSpPr txBox="1">
            <a:spLocks/>
          </p:cNvSpPr>
          <p:nvPr/>
        </p:nvSpPr>
        <p:spPr>
          <a:xfrm>
            <a:off x="2912956" y="3066208"/>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6</a:t>
            </a:r>
          </a:p>
        </p:txBody>
      </p:sp>
      <p:sp>
        <p:nvSpPr>
          <p:cNvPr id="157" name="Content Placeholder 1">
            <a:extLst>
              <a:ext uri="{FF2B5EF4-FFF2-40B4-BE49-F238E27FC236}">
                <a16:creationId xmlns:a16="http://schemas.microsoft.com/office/drawing/2014/main" id="{5D9FD4E9-4D24-62A5-B027-6C58B51C30E8}"/>
              </a:ext>
            </a:extLst>
          </p:cNvPr>
          <p:cNvSpPr txBox="1">
            <a:spLocks/>
          </p:cNvSpPr>
          <p:nvPr/>
        </p:nvSpPr>
        <p:spPr>
          <a:xfrm>
            <a:off x="3276101" y="3123045"/>
            <a:ext cx="2278048" cy="217844"/>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dk2"/>
              </a:buClr>
              <a:buNone/>
            </a:pPr>
            <a:r>
              <a:rPr lang="cs-CZ" sz="1200" b="1" dirty="0"/>
              <a:t>reaktorů EPR 2 v plánu</a:t>
            </a:r>
          </a:p>
        </p:txBody>
      </p:sp>
      <p:pic>
        <p:nvPicPr>
          <p:cNvPr id="158" name="Picture 157">
            <a:extLst>
              <a:ext uri="{FF2B5EF4-FFF2-40B4-BE49-F238E27FC236}">
                <a16:creationId xmlns:a16="http://schemas.microsoft.com/office/drawing/2014/main" id="{C5A526FB-1173-C8E1-7409-F101BC258AA7}"/>
              </a:ext>
            </a:extLst>
          </p:cNvPr>
          <p:cNvPicPr>
            <a:picLocks noChangeAspect="1"/>
          </p:cNvPicPr>
          <p:nvPr/>
        </p:nvPicPr>
        <p:blipFill>
          <a:blip r:embed="rId15"/>
          <a:stretch>
            <a:fillRect/>
          </a:stretch>
        </p:blipFill>
        <p:spPr>
          <a:xfrm>
            <a:off x="9275319" y="5635935"/>
            <a:ext cx="660457" cy="211347"/>
          </a:xfrm>
          <a:prstGeom prst="rect">
            <a:avLst/>
          </a:prstGeom>
        </p:spPr>
      </p:pic>
      <p:pic>
        <p:nvPicPr>
          <p:cNvPr id="159" name="Picture 158">
            <a:extLst>
              <a:ext uri="{FF2B5EF4-FFF2-40B4-BE49-F238E27FC236}">
                <a16:creationId xmlns:a16="http://schemas.microsoft.com/office/drawing/2014/main" id="{FF73309D-9864-FD99-BFEE-CA0472FD243D}"/>
              </a:ext>
            </a:extLst>
          </p:cNvPr>
          <p:cNvPicPr>
            <a:picLocks noChangeAspect="1"/>
          </p:cNvPicPr>
          <p:nvPr/>
        </p:nvPicPr>
        <p:blipFill>
          <a:blip r:embed="rId16"/>
          <a:stretch>
            <a:fillRect/>
          </a:stretch>
        </p:blipFill>
        <p:spPr>
          <a:xfrm>
            <a:off x="10951463" y="5580947"/>
            <a:ext cx="526307" cy="296570"/>
          </a:xfrm>
          <a:prstGeom prst="rect">
            <a:avLst/>
          </a:prstGeom>
        </p:spPr>
      </p:pic>
      <p:pic>
        <p:nvPicPr>
          <p:cNvPr id="160" name="Picture 2" descr="Jimmy - Crunchbase Company Profile &amp; Funding">
            <a:extLst>
              <a:ext uri="{FF2B5EF4-FFF2-40B4-BE49-F238E27FC236}">
                <a16:creationId xmlns:a16="http://schemas.microsoft.com/office/drawing/2014/main" id="{8ACF8941-DACD-2D25-B5F5-B49496F35AFE}"/>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26922" t="29207" r="27766" b="31743"/>
          <a:stretch/>
        </p:blipFill>
        <p:spPr bwMode="auto">
          <a:xfrm>
            <a:off x="10107854" y="5643979"/>
            <a:ext cx="671531" cy="222938"/>
          </a:xfrm>
          <a:prstGeom prst="rect">
            <a:avLst/>
          </a:prstGeom>
          <a:noFill/>
          <a:extLst>
            <a:ext uri="{909E8E84-426E-40DD-AFC4-6F175D3DCCD1}">
              <a14:hiddenFill xmlns:a14="http://schemas.microsoft.com/office/drawing/2010/main">
                <a:solidFill>
                  <a:srgbClr val="FFFFFF"/>
                </a:solidFill>
              </a14:hiddenFill>
            </a:ext>
          </a:extLst>
        </p:spPr>
      </p:pic>
      <p:sp>
        <p:nvSpPr>
          <p:cNvPr id="161" name="Arrow: Right 160">
            <a:extLst>
              <a:ext uri="{FF2B5EF4-FFF2-40B4-BE49-F238E27FC236}">
                <a16:creationId xmlns:a16="http://schemas.microsoft.com/office/drawing/2014/main" id="{16C30388-B9FD-2D31-3F89-58A22632D6EE}"/>
              </a:ext>
            </a:extLst>
          </p:cNvPr>
          <p:cNvSpPr/>
          <p:nvPr/>
        </p:nvSpPr>
        <p:spPr>
          <a:xfrm>
            <a:off x="4242691" y="5102798"/>
            <a:ext cx="564529" cy="180001"/>
          </a:xfrm>
          <a:prstGeom prst="rightArrow">
            <a:avLst>
              <a:gd name="adj1" fmla="val 50000"/>
              <a:gd name="adj2" fmla="val 62716"/>
            </a:avLst>
          </a:prstGeom>
          <a:gradFill flip="none" rotWithShape="0">
            <a:gsLst>
              <a:gs pos="100000">
                <a:schemeClr val="accent3"/>
              </a:gs>
              <a:gs pos="5594">
                <a:schemeClr val="tx1">
                  <a:lumMod val="85000"/>
                </a:schemeClr>
              </a:gs>
              <a:gs pos="67500">
                <a:schemeClr val="accent3">
                  <a:lumMod val="60000"/>
                  <a:lumOff val="40000"/>
                </a:schemeClr>
              </a:gs>
              <a:gs pos="35000">
                <a:schemeClr val="tx1">
                  <a:lumMod val="75000"/>
                </a:schemeClr>
              </a:gs>
              <a:gs pos="100000">
                <a:schemeClr val="accent1">
                  <a:lumMod val="30000"/>
                  <a:lumOff val="70000"/>
                </a:schemeClr>
              </a:gs>
            </a:gsLst>
            <a:lin ang="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a:solidFill>
                <a:schemeClr val="bg1"/>
              </a:solidFill>
            </a:endParaRPr>
          </a:p>
        </p:txBody>
      </p:sp>
      <p:sp>
        <p:nvSpPr>
          <p:cNvPr id="162" name="Arrow: Right 161">
            <a:extLst>
              <a:ext uri="{FF2B5EF4-FFF2-40B4-BE49-F238E27FC236}">
                <a16:creationId xmlns:a16="http://schemas.microsoft.com/office/drawing/2014/main" id="{B4A1A91C-FE14-FEF6-72A4-35EFEFEF49DE}"/>
              </a:ext>
            </a:extLst>
          </p:cNvPr>
          <p:cNvSpPr/>
          <p:nvPr/>
        </p:nvSpPr>
        <p:spPr>
          <a:xfrm>
            <a:off x="4231794" y="5535549"/>
            <a:ext cx="564529" cy="180001"/>
          </a:xfrm>
          <a:prstGeom prst="rightArrow">
            <a:avLst>
              <a:gd name="adj1" fmla="val 50000"/>
              <a:gd name="adj2" fmla="val 62716"/>
            </a:avLst>
          </a:prstGeom>
          <a:gradFill flip="none" rotWithShape="0">
            <a:gsLst>
              <a:gs pos="100000">
                <a:schemeClr val="accent3"/>
              </a:gs>
              <a:gs pos="5594">
                <a:schemeClr val="tx1">
                  <a:lumMod val="85000"/>
                </a:schemeClr>
              </a:gs>
              <a:gs pos="67500">
                <a:schemeClr val="accent3">
                  <a:lumMod val="60000"/>
                  <a:lumOff val="40000"/>
                </a:schemeClr>
              </a:gs>
              <a:gs pos="35000">
                <a:schemeClr val="tx1">
                  <a:lumMod val="75000"/>
                </a:schemeClr>
              </a:gs>
              <a:gs pos="100000">
                <a:schemeClr val="accent1">
                  <a:lumMod val="30000"/>
                  <a:lumOff val="70000"/>
                </a:schemeClr>
              </a:gs>
            </a:gsLst>
            <a:lin ang="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a:solidFill>
                <a:schemeClr val="bg1"/>
              </a:solidFill>
            </a:endParaRPr>
          </a:p>
        </p:txBody>
      </p:sp>
      <p:sp>
        <p:nvSpPr>
          <p:cNvPr id="178" name="Flowchart: Connector 177">
            <a:extLst>
              <a:ext uri="{FF2B5EF4-FFF2-40B4-BE49-F238E27FC236}">
                <a16:creationId xmlns:a16="http://schemas.microsoft.com/office/drawing/2014/main" id="{0216C910-14FD-35C4-384A-05967FA88297}"/>
              </a:ext>
            </a:extLst>
          </p:cNvPr>
          <p:cNvSpPr/>
          <p:nvPr/>
        </p:nvSpPr>
        <p:spPr>
          <a:xfrm>
            <a:off x="1006056" y="1415325"/>
            <a:ext cx="108000" cy="108000"/>
          </a:xfrm>
          <a:prstGeom prst="flowChartConnector">
            <a:avLst/>
          </a:prstGeom>
          <a:solidFill>
            <a:schemeClr val="tx2"/>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79" name="Flowchart: Connector 178">
            <a:extLst>
              <a:ext uri="{FF2B5EF4-FFF2-40B4-BE49-F238E27FC236}">
                <a16:creationId xmlns:a16="http://schemas.microsoft.com/office/drawing/2014/main" id="{294F677A-8F2C-C227-DDC8-B42E5E3B8825}"/>
              </a:ext>
            </a:extLst>
          </p:cNvPr>
          <p:cNvSpPr/>
          <p:nvPr/>
        </p:nvSpPr>
        <p:spPr>
          <a:xfrm>
            <a:off x="1877653" y="1269159"/>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80" name="Flowchart: Connector 179">
            <a:extLst>
              <a:ext uri="{FF2B5EF4-FFF2-40B4-BE49-F238E27FC236}">
                <a16:creationId xmlns:a16="http://schemas.microsoft.com/office/drawing/2014/main" id="{57294CE2-EC27-1D90-597E-20C2F4C15496}"/>
              </a:ext>
            </a:extLst>
          </p:cNvPr>
          <p:cNvSpPr/>
          <p:nvPr/>
        </p:nvSpPr>
        <p:spPr>
          <a:xfrm>
            <a:off x="1571525" y="1063763"/>
            <a:ext cx="108000" cy="108000"/>
          </a:xfrm>
          <a:prstGeom prst="flowChartConnector">
            <a:avLst/>
          </a:prstGeom>
          <a:solidFill>
            <a:srgbClr val="FFC000"/>
          </a:solid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81" name="Flowchart: Connector 180">
            <a:extLst>
              <a:ext uri="{FF2B5EF4-FFF2-40B4-BE49-F238E27FC236}">
                <a16:creationId xmlns:a16="http://schemas.microsoft.com/office/drawing/2014/main" id="{9171D972-BFAF-0500-1ED1-9298C746D9A8}"/>
              </a:ext>
            </a:extLst>
          </p:cNvPr>
          <p:cNvSpPr/>
          <p:nvPr/>
        </p:nvSpPr>
        <p:spPr>
          <a:xfrm>
            <a:off x="1479474" y="1183269"/>
            <a:ext cx="108000" cy="108000"/>
          </a:xfrm>
          <a:prstGeom prst="flowChartConnector">
            <a:avLst/>
          </a:prstGeom>
          <a:solidFill>
            <a:srgbClr val="FFC000"/>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82" name="Flowchart: Connector 181">
            <a:extLst>
              <a:ext uri="{FF2B5EF4-FFF2-40B4-BE49-F238E27FC236}">
                <a16:creationId xmlns:a16="http://schemas.microsoft.com/office/drawing/2014/main" id="{25C51358-F935-05A7-E7BF-54EC399C6F02}"/>
              </a:ext>
            </a:extLst>
          </p:cNvPr>
          <p:cNvSpPr/>
          <p:nvPr/>
        </p:nvSpPr>
        <p:spPr>
          <a:xfrm>
            <a:off x="1276276" y="1327412"/>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83" name="Flowchart: Connector 182">
            <a:extLst>
              <a:ext uri="{FF2B5EF4-FFF2-40B4-BE49-F238E27FC236}">
                <a16:creationId xmlns:a16="http://schemas.microsoft.com/office/drawing/2014/main" id="{386458B8-648F-AA76-1BBD-3FE30C9D560F}"/>
              </a:ext>
            </a:extLst>
          </p:cNvPr>
          <p:cNvSpPr/>
          <p:nvPr/>
        </p:nvSpPr>
        <p:spPr>
          <a:xfrm>
            <a:off x="1032839" y="2498156"/>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84" name="Flowchart: Connector 183">
            <a:extLst>
              <a:ext uri="{FF2B5EF4-FFF2-40B4-BE49-F238E27FC236}">
                <a16:creationId xmlns:a16="http://schemas.microsoft.com/office/drawing/2014/main" id="{44F8ECF5-44F3-D1B2-7C74-77A35410192A}"/>
              </a:ext>
            </a:extLst>
          </p:cNvPr>
          <p:cNvSpPr/>
          <p:nvPr/>
        </p:nvSpPr>
        <p:spPr>
          <a:xfrm>
            <a:off x="1263009" y="2792883"/>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85" name="Flowchart: Connector 184">
            <a:extLst>
              <a:ext uri="{FF2B5EF4-FFF2-40B4-BE49-F238E27FC236}">
                <a16:creationId xmlns:a16="http://schemas.microsoft.com/office/drawing/2014/main" id="{C8E72D15-B2AC-A3F7-E531-90CCA30BC749}"/>
              </a:ext>
            </a:extLst>
          </p:cNvPr>
          <p:cNvSpPr/>
          <p:nvPr/>
        </p:nvSpPr>
        <p:spPr>
          <a:xfrm>
            <a:off x="1950555" y="2810625"/>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86" name="Flowchart: Connector 185">
            <a:extLst>
              <a:ext uri="{FF2B5EF4-FFF2-40B4-BE49-F238E27FC236}">
                <a16:creationId xmlns:a16="http://schemas.microsoft.com/office/drawing/2014/main" id="{E454AB10-0503-BCD1-CBFF-63B1BC446224}"/>
              </a:ext>
            </a:extLst>
          </p:cNvPr>
          <p:cNvSpPr/>
          <p:nvPr/>
        </p:nvSpPr>
        <p:spPr>
          <a:xfrm>
            <a:off x="1902368" y="2663388"/>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87" name="Flowchart: Connector 186">
            <a:extLst>
              <a:ext uri="{FF2B5EF4-FFF2-40B4-BE49-F238E27FC236}">
                <a16:creationId xmlns:a16="http://schemas.microsoft.com/office/drawing/2014/main" id="{0FACFC02-3C8E-607F-FB9B-DEDFAA80B183}"/>
              </a:ext>
            </a:extLst>
          </p:cNvPr>
          <p:cNvSpPr/>
          <p:nvPr/>
        </p:nvSpPr>
        <p:spPr>
          <a:xfrm>
            <a:off x="1916785" y="2472671"/>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88" name="Flowchart: Connector 187">
            <a:extLst>
              <a:ext uri="{FF2B5EF4-FFF2-40B4-BE49-F238E27FC236}">
                <a16:creationId xmlns:a16="http://schemas.microsoft.com/office/drawing/2014/main" id="{D5B69591-7E43-3102-5879-14E7A582AF87}"/>
              </a:ext>
            </a:extLst>
          </p:cNvPr>
          <p:cNvSpPr/>
          <p:nvPr/>
        </p:nvSpPr>
        <p:spPr>
          <a:xfrm>
            <a:off x="1952781" y="2307973"/>
            <a:ext cx="108000" cy="108000"/>
          </a:xfrm>
          <a:prstGeom prst="flowChartConnector">
            <a:avLst/>
          </a:prstGeom>
          <a:solidFill>
            <a:srgbClr val="FFC000"/>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89" name="Flowchart: Connector 188">
            <a:extLst>
              <a:ext uri="{FF2B5EF4-FFF2-40B4-BE49-F238E27FC236}">
                <a16:creationId xmlns:a16="http://schemas.microsoft.com/office/drawing/2014/main" id="{D76C1C57-50E3-BB67-4B20-31959B39BF1A}"/>
              </a:ext>
            </a:extLst>
          </p:cNvPr>
          <p:cNvSpPr/>
          <p:nvPr/>
        </p:nvSpPr>
        <p:spPr>
          <a:xfrm>
            <a:off x="1247185" y="2347089"/>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90" name="Flowchart: Connector 189">
            <a:extLst>
              <a:ext uri="{FF2B5EF4-FFF2-40B4-BE49-F238E27FC236}">
                <a16:creationId xmlns:a16="http://schemas.microsoft.com/office/drawing/2014/main" id="{2B4770A8-DB99-71D8-AF99-371A57BC52D1}"/>
              </a:ext>
            </a:extLst>
          </p:cNvPr>
          <p:cNvSpPr/>
          <p:nvPr/>
        </p:nvSpPr>
        <p:spPr>
          <a:xfrm>
            <a:off x="1276479" y="2133286"/>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91" name="Flowchart: Connector 190">
            <a:extLst>
              <a:ext uri="{FF2B5EF4-FFF2-40B4-BE49-F238E27FC236}">
                <a16:creationId xmlns:a16="http://schemas.microsoft.com/office/drawing/2014/main" id="{FF889E9D-1973-F822-767E-EA8A342A91E9}"/>
              </a:ext>
            </a:extLst>
          </p:cNvPr>
          <p:cNvSpPr/>
          <p:nvPr/>
        </p:nvSpPr>
        <p:spPr>
          <a:xfrm>
            <a:off x="1418991" y="2051488"/>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92" name="Flowchart: Connector 191">
            <a:extLst>
              <a:ext uri="{FF2B5EF4-FFF2-40B4-BE49-F238E27FC236}">
                <a16:creationId xmlns:a16="http://schemas.microsoft.com/office/drawing/2014/main" id="{57440598-1228-4723-3A18-EC6183ABF24A}"/>
              </a:ext>
            </a:extLst>
          </p:cNvPr>
          <p:cNvSpPr/>
          <p:nvPr/>
        </p:nvSpPr>
        <p:spPr>
          <a:xfrm>
            <a:off x="1613737" y="2084823"/>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93" name="Flowchart: Connector 192">
            <a:extLst>
              <a:ext uri="{FF2B5EF4-FFF2-40B4-BE49-F238E27FC236}">
                <a16:creationId xmlns:a16="http://schemas.microsoft.com/office/drawing/2014/main" id="{67AFF249-6CB1-AC40-8D02-F0AC9A21FBE6}"/>
              </a:ext>
            </a:extLst>
          </p:cNvPr>
          <p:cNvSpPr/>
          <p:nvPr/>
        </p:nvSpPr>
        <p:spPr>
          <a:xfrm>
            <a:off x="1795274" y="2242074"/>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94" name="Flowchart: Connector 193">
            <a:extLst>
              <a:ext uri="{FF2B5EF4-FFF2-40B4-BE49-F238E27FC236}">
                <a16:creationId xmlns:a16="http://schemas.microsoft.com/office/drawing/2014/main" id="{B11E6C1B-CB03-B989-8D19-62E339CD2686}"/>
              </a:ext>
            </a:extLst>
          </p:cNvPr>
          <p:cNvSpPr/>
          <p:nvPr/>
        </p:nvSpPr>
        <p:spPr>
          <a:xfrm>
            <a:off x="1739442" y="1788221"/>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95" name="Flowchart: Connector 194">
            <a:extLst>
              <a:ext uri="{FF2B5EF4-FFF2-40B4-BE49-F238E27FC236}">
                <a16:creationId xmlns:a16="http://schemas.microsoft.com/office/drawing/2014/main" id="{67AC33FC-1893-3B99-D7E1-21D882CFFC88}"/>
              </a:ext>
            </a:extLst>
          </p:cNvPr>
          <p:cNvSpPr/>
          <p:nvPr/>
        </p:nvSpPr>
        <p:spPr>
          <a:xfrm>
            <a:off x="2092667" y="1443851"/>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96" name="Flowchart: Connector 195">
            <a:extLst>
              <a:ext uri="{FF2B5EF4-FFF2-40B4-BE49-F238E27FC236}">
                <a16:creationId xmlns:a16="http://schemas.microsoft.com/office/drawing/2014/main" id="{27B61612-FCCC-D30D-0034-A220B3710FBC}"/>
              </a:ext>
            </a:extLst>
          </p:cNvPr>
          <p:cNvSpPr/>
          <p:nvPr/>
        </p:nvSpPr>
        <p:spPr>
          <a:xfrm>
            <a:off x="2245703" y="1630447"/>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97" name="Flowchart: Connector 196">
            <a:extLst>
              <a:ext uri="{FF2B5EF4-FFF2-40B4-BE49-F238E27FC236}">
                <a16:creationId xmlns:a16="http://schemas.microsoft.com/office/drawing/2014/main" id="{F9C22153-5B6F-D0F2-94E3-EF89F14CAD5A}"/>
              </a:ext>
            </a:extLst>
          </p:cNvPr>
          <p:cNvSpPr/>
          <p:nvPr/>
        </p:nvSpPr>
        <p:spPr>
          <a:xfrm>
            <a:off x="734685" y="3307250"/>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200" name="Content Placeholder 1">
            <a:extLst>
              <a:ext uri="{FF2B5EF4-FFF2-40B4-BE49-F238E27FC236}">
                <a16:creationId xmlns:a16="http://schemas.microsoft.com/office/drawing/2014/main" id="{ADE6FFED-4D3E-601F-DAF1-1B8CF97CC4A9}"/>
              </a:ext>
            </a:extLst>
          </p:cNvPr>
          <p:cNvSpPr txBox="1">
            <a:spLocks/>
          </p:cNvSpPr>
          <p:nvPr/>
        </p:nvSpPr>
        <p:spPr>
          <a:xfrm>
            <a:off x="907064" y="3268983"/>
            <a:ext cx="1424400" cy="184534"/>
          </a:xfrm>
          <a:prstGeom prst="rect">
            <a:avLst/>
          </a:prstGeom>
          <a:ln>
            <a:noFill/>
          </a:ln>
        </p:spPr>
        <p:txBody>
          <a:bodyPr vert="horz" lIns="0" tIns="0" rIns="0" bIns="0" rtlCol="0" anchor="ctr"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900" dirty="0"/>
              <a:t>bez nového reaktoru</a:t>
            </a:r>
          </a:p>
        </p:txBody>
      </p:sp>
      <p:sp>
        <p:nvSpPr>
          <p:cNvPr id="203" name="Flowchart: Connector 202">
            <a:extLst>
              <a:ext uri="{FF2B5EF4-FFF2-40B4-BE49-F238E27FC236}">
                <a16:creationId xmlns:a16="http://schemas.microsoft.com/office/drawing/2014/main" id="{C6634A96-811C-9D1F-D48F-A621F4E5D818}"/>
              </a:ext>
            </a:extLst>
          </p:cNvPr>
          <p:cNvSpPr/>
          <p:nvPr/>
        </p:nvSpPr>
        <p:spPr>
          <a:xfrm>
            <a:off x="2332267" y="3497144"/>
            <a:ext cx="108000" cy="108000"/>
          </a:xfrm>
          <a:prstGeom prst="flowChartConnector">
            <a:avLst/>
          </a:prstGeom>
          <a:solidFill>
            <a:schemeClr val="tx2"/>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204" name="Flowchart: Connector 203">
            <a:extLst>
              <a:ext uri="{FF2B5EF4-FFF2-40B4-BE49-F238E27FC236}">
                <a16:creationId xmlns:a16="http://schemas.microsoft.com/office/drawing/2014/main" id="{A9A9FEA5-F003-4468-F07B-1599E1C23EE7}"/>
              </a:ext>
            </a:extLst>
          </p:cNvPr>
          <p:cNvSpPr/>
          <p:nvPr/>
        </p:nvSpPr>
        <p:spPr>
          <a:xfrm>
            <a:off x="734685" y="3497144"/>
            <a:ext cx="108000" cy="108000"/>
          </a:xfrm>
          <a:prstGeom prst="flowChartConnector">
            <a:avLst/>
          </a:prstGeom>
          <a:solidFill>
            <a:srgbClr val="FFC000"/>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205" name="Content Placeholder 1">
            <a:extLst>
              <a:ext uri="{FF2B5EF4-FFF2-40B4-BE49-F238E27FC236}">
                <a16:creationId xmlns:a16="http://schemas.microsoft.com/office/drawing/2014/main" id="{AFDCE0FC-2072-91C8-856F-CFA9C317C9B2}"/>
              </a:ext>
            </a:extLst>
          </p:cNvPr>
          <p:cNvSpPr txBox="1">
            <a:spLocks/>
          </p:cNvSpPr>
          <p:nvPr/>
        </p:nvSpPr>
        <p:spPr>
          <a:xfrm>
            <a:off x="2479563" y="3466717"/>
            <a:ext cx="1281712" cy="168855"/>
          </a:xfrm>
          <a:prstGeom prst="rect">
            <a:avLst/>
          </a:prstGeom>
          <a:ln>
            <a:noFill/>
          </a:ln>
        </p:spPr>
        <p:txBody>
          <a:bodyPr vert="horz" lIns="0" tIns="0" rIns="0" bIns="0" rtlCol="0" anchor="ctr"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900" dirty="0"/>
              <a:t>Nový reaktor EPR</a:t>
            </a:r>
          </a:p>
        </p:txBody>
      </p:sp>
      <p:sp>
        <p:nvSpPr>
          <p:cNvPr id="206" name="Content Placeholder 1">
            <a:extLst>
              <a:ext uri="{FF2B5EF4-FFF2-40B4-BE49-F238E27FC236}">
                <a16:creationId xmlns:a16="http://schemas.microsoft.com/office/drawing/2014/main" id="{75897698-82C6-9EA4-088E-07FA27ABC525}"/>
              </a:ext>
            </a:extLst>
          </p:cNvPr>
          <p:cNvSpPr txBox="1">
            <a:spLocks/>
          </p:cNvSpPr>
          <p:nvPr/>
        </p:nvSpPr>
        <p:spPr>
          <a:xfrm>
            <a:off x="912843" y="3460275"/>
            <a:ext cx="1519874" cy="181739"/>
          </a:xfrm>
          <a:prstGeom prst="rect">
            <a:avLst/>
          </a:prstGeom>
          <a:ln>
            <a:noFill/>
          </a:ln>
        </p:spPr>
        <p:txBody>
          <a:bodyPr vert="horz" lIns="0" tIns="0" rIns="0" bIns="0" rtlCol="0" anchor="ctr"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900" dirty="0"/>
              <a:t>plánované reaktory EPR2</a:t>
            </a:r>
          </a:p>
        </p:txBody>
      </p:sp>
      <p:sp>
        <p:nvSpPr>
          <p:cNvPr id="207" name="Footer Placeholder 2">
            <a:extLst>
              <a:ext uri="{FF2B5EF4-FFF2-40B4-BE49-F238E27FC236}">
                <a16:creationId xmlns:a16="http://schemas.microsoft.com/office/drawing/2014/main" id="{87E2836D-08EB-6E67-77CC-2BF2B5E15E2A}"/>
              </a:ext>
            </a:extLst>
          </p:cNvPr>
          <p:cNvSpPr>
            <a:spLocks noGrp="1"/>
          </p:cNvSpPr>
          <p:nvPr>
            <p:ph type="ftr" sz="quarter" idx="10"/>
          </p:nvPr>
        </p:nvSpPr>
        <p:spPr>
          <a:xfrm>
            <a:off x="2678113" y="6471244"/>
            <a:ext cx="3086100" cy="180000"/>
          </a:xfrm>
        </p:spPr>
        <p:txBody>
          <a:bodyPr/>
          <a:lstStyle/>
          <a:p>
            <a:r>
              <a:rPr lang="en-US" dirty="0"/>
              <a:t>All for Power Conference</a:t>
            </a:r>
            <a:r>
              <a:rPr lang="cs-CZ" dirty="0"/>
              <a:t>; </a:t>
            </a:r>
            <a:r>
              <a:rPr lang="cs-CZ" sz="800" dirty="0"/>
              <a:t>Jaderná energetika - Evropa</a:t>
            </a:r>
            <a:endParaRPr lang="cs-CZ" dirty="0"/>
          </a:p>
        </p:txBody>
      </p:sp>
      <p:sp>
        <p:nvSpPr>
          <p:cNvPr id="208" name="Nuclear_plant" descr="{&quot;Key&quot;:&quot;POWER_USER_SHAPE_ICON&quot;,&quot;Value&quot;:&quot;POWER_USER_SHAPE_ICON_STYLE_1&quot;}">
            <a:extLst>
              <a:ext uri="{FF2B5EF4-FFF2-40B4-BE49-F238E27FC236}">
                <a16:creationId xmlns:a16="http://schemas.microsoft.com/office/drawing/2014/main" id="{06E7AABF-1022-70C4-CCA3-A0053BB0A2F9}"/>
              </a:ext>
            </a:extLst>
          </p:cNvPr>
          <p:cNvSpPr>
            <a:spLocks noChangeAspect="1" noEditPoints="1"/>
          </p:cNvSpPr>
          <p:nvPr>
            <p:custDataLst>
              <p:tags r:id="rId4"/>
            </p:custDataLst>
          </p:nvPr>
        </p:nvSpPr>
        <p:spPr bwMode="auto">
          <a:xfrm>
            <a:off x="9170285" y="976886"/>
            <a:ext cx="226279" cy="274570"/>
          </a:xfrm>
          <a:custGeom>
            <a:avLst/>
            <a:gdLst>
              <a:gd name="T0" fmla="*/ 154 w 682"/>
              <a:gd name="T1" fmla="*/ 690 h 829"/>
              <a:gd name="T2" fmla="*/ 179 w 682"/>
              <a:gd name="T3" fmla="*/ 324 h 829"/>
              <a:gd name="T4" fmla="*/ 446 w 682"/>
              <a:gd name="T5" fmla="*/ 463 h 829"/>
              <a:gd name="T6" fmla="*/ 145 w 682"/>
              <a:gd name="T7" fmla="*/ 725 h 829"/>
              <a:gd name="T8" fmla="*/ 130 w 682"/>
              <a:gd name="T9" fmla="*/ 781 h 829"/>
              <a:gd name="T10" fmla="*/ 221 w 682"/>
              <a:gd name="T11" fmla="*/ 725 h 829"/>
              <a:gd name="T12" fmla="*/ 196 w 682"/>
              <a:gd name="T13" fmla="*/ 781 h 829"/>
              <a:gd name="T14" fmla="*/ 221 w 682"/>
              <a:gd name="T15" fmla="*/ 725 h 829"/>
              <a:gd name="T16" fmla="*/ 279 w 682"/>
              <a:gd name="T17" fmla="*/ 781 h 829"/>
              <a:gd name="T18" fmla="*/ 257 w 682"/>
              <a:gd name="T19" fmla="*/ 725 h 829"/>
              <a:gd name="T20" fmla="*/ 340 w 682"/>
              <a:gd name="T21" fmla="*/ 725 h 829"/>
              <a:gd name="T22" fmla="*/ 315 w 682"/>
              <a:gd name="T23" fmla="*/ 781 h 829"/>
              <a:gd name="T24" fmla="*/ 340 w 682"/>
              <a:gd name="T25" fmla="*/ 725 h 829"/>
              <a:gd name="T26" fmla="*/ 398 w 682"/>
              <a:gd name="T27" fmla="*/ 781 h 829"/>
              <a:gd name="T28" fmla="*/ 376 w 682"/>
              <a:gd name="T29" fmla="*/ 725 h 829"/>
              <a:gd name="T30" fmla="*/ 459 w 682"/>
              <a:gd name="T31" fmla="*/ 725 h 829"/>
              <a:gd name="T32" fmla="*/ 434 w 682"/>
              <a:gd name="T33" fmla="*/ 781 h 829"/>
              <a:gd name="T34" fmla="*/ 459 w 682"/>
              <a:gd name="T35" fmla="*/ 725 h 829"/>
              <a:gd name="T36" fmla="*/ 580 w 682"/>
              <a:gd name="T37" fmla="*/ 135 h 829"/>
              <a:gd name="T38" fmla="*/ 457 w 682"/>
              <a:gd name="T39" fmla="*/ 125 h 829"/>
              <a:gd name="T40" fmla="*/ 352 w 682"/>
              <a:gd name="T41" fmla="*/ 231 h 829"/>
              <a:gd name="T42" fmla="*/ 399 w 682"/>
              <a:gd name="T43" fmla="*/ 231 h 829"/>
              <a:gd name="T44" fmla="*/ 457 w 682"/>
              <a:gd name="T45" fmla="*/ 172 h 829"/>
              <a:gd name="T46" fmla="*/ 604 w 682"/>
              <a:gd name="T47" fmla="*/ 175 h 829"/>
              <a:gd name="T48" fmla="*/ 628 w 682"/>
              <a:gd name="T49" fmla="*/ 61 h 829"/>
              <a:gd name="T50" fmla="*/ 491 w 682"/>
              <a:gd name="T51" fmla="*/ 277 h 829"/>
              <a:gd name="T52" fmla="*/ 226 w 682"/>
              <a:gd name="T53" fmla="*/ 197 h 829"/>
              <a:gd name="T54" fmla="*/ 254 w 682"/>
              <a:gd name="T55" fmla="*/ 133 h 829"/>
              <a:gd name="T56" fmla="*/ 332 w 682"/>
              <a:gd name="T57" fmla="*/ 181 h 829"/>
              <a:gd name="T58" fmla="*/ 297 w 682"/>
              <a:gd name="T59" fmla="*/ 103 h 829"/>
              <a:gd name="T60" fmla="*/ 389 w 682"/>
              <a:gd name="T61" fmla="*/ 68 h 829"/>
              <a:gd name="T62" fmla="*/ 564 w 682"/>
              <a:gd name="T63" fmla="*/ 39 h 829"/>
              <a:gd name="T64" fmla="*/ 523 w 682"/>
              <a:gd name="T65" fmla="*/ 15 h 829"/>
              <a:gd name="T66" fmla="*/ 418 w 682"/>
              <a:gd name="T67" fmla="*/ 30 h 829"/>
              <a:gd name="T68" fmla="*/ 251 w 682"/>
              <a:gd name="T69" fmla="*/ 86 h 829"/>
              <a:gd name="T70" fmla="*/ 181 w 682"/>
              <a:gd name="T71" fmla="*/ 212 h 829"/>
              <a:gd name="T72" fmla="*/ 126 w 682"/>
              <a:gd name="T73" fmla="*/ 308 h 829"/>
              <a:gd name="T74" fmla="*/ 108 w 682"/>
              <a:gd name="T75" fmla="*/ 679 h 829"/>
              <a:gd name="T76" fmla="*/ 23 w 682"/>
              <a:gd name="T77" fmla="*/ 781 h 829"/>
              <a:gd name="T78" fmla="*/ 23 w 682"/>
              <a:gd name="T79" fmla="*/ 829 h 829"/>
              <a:gd name="T80" fmla="*/ 640 w 682"/>
              <a:gd name="T81" fmla="*/ 805 h 829"/>
              <a:gd name="T82" fmla="*/ 559 w 682"/>
              <a:gd name="T83" fmla="*/ 781 h 829"/>
              <a:gd name="T84" fmla="*/ 494 w 682"/>
              <a:gd name="T85" fmla="*/ 462 h 829"/>
              <a:gd name="T86" fmla="*/ 491 w 682"/>
              <a:gd name="T87" fmla="*/ 277 h 829"/>
              <a:gd name="T88" fmla="*/ 658 w 682"/>
              <a:gd name="T89" fmla="*/ 182 h 829"/>
              <a:gd name="T90" fmla="*/ 647 w 682"/>
              <a:gd name="T91" fmla="*/ 289 h 829"/>
              <a:gd name="T92" fmla="*/ 539 w 682"/>
              <a:gd name="T93" fmla="*/ 300 h 829"/>
              <a:gd name="T94" fmla="*/ 613 w 682"/>
              <a:gd name="T95" fmla="*/ 256 h 829"/>
              <a:gd name="T96" fmla="*/ 511 w 682"/>
              <a:gd name="T97" fmla="*/ 781 h 829"/>
              <a:gd name="T98" fmla="*/ 495 w 682"/>
              <a:gd name="T99" fmla="*/ 725 h 829"/>
              <a:gd name="T100" fmla="*/ 511 w 682"/>
              <a:gd name="T101" fmla="*/ 781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2" h="829">
                <a:moveTo>
                  <a:pt x="486" y="690"/>
                </a:moveTo>
                <a:lnTo>
                  <a:pt x="154" y="690"/>
                </a:lnTo>
                <a:cubicBezTo>
                  <a:pt x="180" y="593"/>
                  <a:pt x="192" y="523"/>
                  <a:pt x="194" y="463"/>
                </a:cubicBezTo>
                <a:cubicBezTo>
                  <a:pt x="195" y="412"/>
                  <a:pt x="190" y="369"/>
                  <a:pt x="179" y="324"/>
                </a:cubicBezTo>
                <a:lnTo>
                  <a:pt x="461" y="324"/>
                </a:lnTo>
                <a:cubicBezTo>
                  <a:pt x="450" y="369"/>
                  <a:pt x="445" y="412"/>
                  <a:pt x="446" y="463"/>
                </a:cubicBezTo>
                <a:cubicBezTo>
                  <a:pt x="448" y="523"/>
                  <a:pt x="460" y="593"/>
                  <a:pt x="486" y="690"/>
                </a:cubicBezTo>
                <a:close/>
                <a:moveTo>
                  <a:pt x="145" y="725"/>
                </a:moveTo>
                <a:lnTo>
                  <a:pt x="160" y="781"/>
                </a:lnTo>
                <a:lnTo>
                  <a:pt x="130" y="781"/>
                </a:lnTo>
                <a:lnTo>
                  <a:pt x="145" y="725"/>
                </a:lnTo>
                <a:close/>
                <a:moveTo>
                  <a:pt x="221" y="725"/>
                </a:moveTo>
                <a:lnTo>
                  <a:pt x="206" y="781"/>
                </a:lnTo>
                <a:lnTo>
                  <a:pt x="196" y="781"/>
                </a:lnTo>
                <a:lnTo>
                  <a:pt x="181" y="725"/>
                </a:lnTo>
                <a:lnTo>
                  <a:pt x="221" y="725"/>
                </a:lnTo>
                <a:close/>
                <a:moveTo>
                  <a:pt x="264" y="725"/>
                </a:moveTo>
                <a:lnTo>
                  <a:pt x="279" y="781"/>
                </a:lnTo>
                <a:lnTo>
                  <a:pt x="242" y="781"/>
                </a:lnTo>
                <a:lnTo>
                  <a:pt x="257" y="725"/>
                </a:lnTo>
                <a:lnTo>
                  <a:pt x="264" y="725"/>
                </a:lnTo>
                <a:close/>
                <a:moveTo>
                  <a:pt x="340" y="725"/>
                </a:moveTo>
                <a:lnTo>
                  <a:pt x="325" y="781"/>
                </a:lnTo>
                <a:lnTo>
                  <a:pt x="315" y="781"/>
                </a:lnTo>
                <a:lnTo>
                  <a:pt x="300" y="725"/>
                </a:lnTo>
                <a:lnTo>
                  <a:pt x="340" y="725"/>
                </a:lnTo>
                <a:close/>
                <a:moveTo>
                  <a:pt x="383" y="725"/>
                </a:moveTo>
                <a:lnTo>
                  <a:pt x="398" y="781"/>
                </a:lnTo>
                <a:lnTo>
                  <a:pt x="361" y="781"/>
                </a:lnTo>
                <a:lnTo>
                  <a:pt x="376" y="725"/>
                </a:lnTo>
                <a:lnTo>
                  <a:pt x="383" y="725"/>
                </a:lnTo>
                <a:close/>
                <a:moveTo>
                  <a:pt x="459" y="725"/>
                </a:moveTo>
                <a:lnTo>
                  <a:pt x="444" y="781"/>
                </a:lnTo>
                <a:lnTo>
                  <a:pt x="434" y="781"/>
                </a:lnTo>
                <a:lnTo>
                  <a:pt x="419" y="725"/>
                </a:lnTo>
                <a:lnTo>
                  <a:pt x="459" y="725"/>
                </a:lnTo>
                <a:close/>
                <a:moveTo>
                  <a:pt x="604" y="85"/>
                </a:moveTo>
                <a:cubicBezTo>
                  <a:pt x="604" y="105"/>
                  <a:pt x="598" y="124"/>
                  <a:pt x="580" y="135"/>
                </a:cubicBezTo>
                <a:cubicBezTo>
                  <a:pt x="559" y="147"/>
                  <a:pt x="532" y="145"/>
                  <a:pt x="511" y="136"/>
                </a:cubicBezTo>
                <a:cubicBezTo>
                  <a:pt x="492" y="129"/>
                  <a:pt x="474" y="125"/>
                  <a:pt x="457" y="125"/>
                </a:cubicBezTo>
                <a:cubicBezTo>
                  <a:pt x="415" y="125"/>
                  <a:pt x="376" y="147"/>
                  <a:pt x="360" y="187"/>
                </a:cubicBezTo>
                <a:cubicBezTo>
                  <a:pt x="355" y="200"/>
                  <a:pt x="352" y="215"/>
                  <a:pt x="352" y="231"/>
                </a:cubicBezTo>
                <a:cubicBezTo>
                  <a:pt x="352" y="244"/>
                  <a:pt x="362" y="255"/>
                  <a:pt x="375" y="255"/>
                </a:cubicBezTo>
                <a:cubicBezTo>
                  <a:pt x="388" y="255"/>
                  <a:pt x="399" y="244"/>
                  <a:pt x="399" y="231"/>
                </a:cubicBezTo>
                <a:cubicBezTo>
                  <a:pt x="399" y="221"/>
                  <a:pt x="401" y="212"/>
                  <a:pt x="404" y="205"/>
                </a:cubicBezTo>
                <a:cubicBezTo>
                  <a:pt x="413" y="182"/>
                  <a:pt x="434" y="172"/>
                  <a:pt x="457" y="172"/>
                </a:cubicBezTo>
                <a:cubicBezTo>
                  <a:pt x="469" y="172"/>
                  <a:pt x="481" y="175"/>
                  <a:pt x="493" y="180"/>
                </a:cubicBezTo>
                <a:cubicBezTo>
                  <a:pt x="529" y="194"/>
                  <a:pt x="570" y="196"/>
                  <a:pt x="604" y="175"/>
                </a:cubicBezTo>
                <a:cubicBezTo>
                  <a:pt x="636" y="156"/>
                  <a:pt x="652" y="122"/>
                  <a:pt x="652" y="85"/>
                </a:cubicBezTo>
                <a:cubicBezTo>
                  <a:pt x="652" y="72"/>
                  <a:pt x="641" y="61"/>
                  <a:pt x="628" y="61"/>
                </a:cubicBezTo>
                <a:cubicBezTo>
                  <a:pt x="615" y="61"/>
                  <a:pt x="604" y="72"/>
                  <a:pt x="604" y="85"/>
                </a:cubicBezTo>
                <a:close/>
                <a:moveTo>
                  <a:pt x="491" y="277"/>
                </a:moveTo>
                <a:lnTo>
                  <a:pt x="226" y="277"/>
                </a:lnTo>
                <a:cubicBezTo>
                  <a:pt x="242" y="245"/>
                  <a:pt x="234" y="221"/>
                  <a:pt x="226" y="197"/>
                </a:cubicBezTo>
                <a:cubicBezTo>
                  <a:pt x="221" y="182"/>
                  <a:pt x="216" y="167"/>
                  <a:pt x="225" y="151"/>
                </a:cubicBezTo>
                <a:cubicBezTo>
                  <a:pt x="231" y="140"/>
                  <a:pt x="241" y="134"/>
                  <a:pt x="254" y="133"/>
                </a:cubicBezTo>
                <a:cubicBezTo>
                  <a:pt x="261" y="157"/>
                  <a:pt x="278" y="177"/>
                  <a:pt x="300" y="190"/>
                </a:cubicBezTo>
                <a:cubicBezTo>
                  <a:pt x="311" y="196"/>
                  <a:pt x="325" y="193"/>
                  <a:pt x="332" y="181"/>
                </a:cubicBezTo>
                <a:cubicBezTo>
                  <a:pt x="338" y="170"/>
                  <a:pt x="334" y="156"/>
                  <a:pt x="323" y="149"/>
                </a:cubicBezTo>
                <a:cubicBezTo>
                  <a:pt x="307" y="140"/>
                  <a:pt x="297" y="122"/>
                  <a:pt x="297" y="103"/>
                </a:cubicBezTo>
                <a:cubicBezTo>
                  <a:pt x="297" y="74"/>
                  <a:pt x="320" y="51"/>
                  <a:pt x="350" y="51"/>
                </a:cubicBezTo>
                <a:cubicBezTo>
                  <a:pt x="367" y="51"/>
                  <a:pt x="378" y="59"/>
                  <a:pt x="389" y="68"/>
                </a:cubicBezTo>
                <a:cubicBezTo>
                  <a:pt x="408" y="82"/>
                  <a:pt x="427" y="96"/>
                  <a:pt x="464" y="96"/>
                </a:cubicBezTo>
                <a:cubicBezTo>
                  <a:pt x="505" y="96"/>
                  <a:pt x="544" y="74"/>
                  <a:pt x="564" y="39"/>
                </a:cubicBezTo>
                <a:cubicBezTo>
                  <a:pt x="571" y="27"/>
                  <a:pt x="567" y="13"/>
                  <a:pt x="556" y="6"/>
                </a:cubicBezTo>
                <a:cubicBezTo>
                  <a:pt x="544" y="0"/>
                  <a:pt x="530" y="4"/>
                  <a:pt x="523" y="15"/>
                </a:cubicBezTo>
                <a:cubicBezTo>
                  <a:pt x="511" y="36"/>
                  <a:pt x="489" y="49"/>
                  <a:pt x="464" y="49"/>
                </a:cubicBezTo>
                <a:cubicBezTo>
                  <a:pt x="443" y="49"/>
                  <a:pt x="430" y="39"/>
                  <a:pt x="418" y="30"/>
                </a:cubicBezTo>
                <a:cubicBezTo>
                  <a:pt x="400" y="17"/>
                  <a:pt x="382" y="3"/>
                  <a:pt x="350" y="3"/>
                </a:cubicBezTo>
                <a:cubicBezTo>
                  <a:pt x="301" y="3"/>
                  <a:pt x="260" y="38"/>
                  <a:pt x="251" y="86"/>
                </a:cubicBezTo>
                <a:cubicBezTo>
                  <a:pt x="222" y="88"/>
                  <a:pt x="197" y="103"/>
                  <a:pt x="183" y="129"/>
                </a:cubicBezTo>
                <a:cubicBezTo>
                  <a:pt x="165" y="163"/>
                  <a:pt x="173" y="187"/>
                  <a:pt x="181" y="212"/>
                </a:cubicBezTo>
                <a:cubicBezTo>
                  <a:pt x="192" y="242"/>
                  <a:pt x="189" y="277"/>
                  <a:pt x="149" y="277"/>
                </a:cubicBezTo>
                <a:cubicBezTo>
                  <a:pt x="133" y="277"/>
                  <a:pt x="122" y="291"/>
                  <a:pt x="126" y="308"/>
                </a:cubicBezTo>
                <a:cubicBezTo>
                  <a:pt x="140" y="360"/>
                  <a:pt x="148" y="406"/>
                  <a:pt x="147" y="462"/>
                </a:cubicBezTo>
                <a:cubicBezTo>
                  <a:pt x="145" y="518"/>
                  <a:pt x="133" y="586"/>
                  <a:pt x="108" y="679"/>
                </a:cubicBezTo>
                <a:lnTo>
                  <a:pt x="81" y="781"/>
                </a:lnTo>
                <a:lnTo>
                  <a:pt x="23" y="781"/>
                </a:lnTo>
                <a:cubicBezTo>
                  <a:pt x="10" y="781"/>
                  <a:pt x="0" y="792"/>
                  <a:pt x="0" y="805"/>
                </a:cubicBezTo>
                <a:cubicBezTo>
                  <a:pt x="0" y="818"/>
                  <a:pt x="10" y="829"/>
                  <a:pt x="23" y="829"/>
                </a:cubicBezTo>
                <a:lnTo>
                  <a:pt x="617" y="829"/>
                </a:lnTo>
                <a:cubicBezTo>
                  <a:pt x="630" y="829"/>
                  <a:pt x="640" y="818"/>
                  <a:pt x="640" y="805"/>
                </a:cubicBezTo>
                <a:cubicBezTo>
                  <a:pt x="640" y="792"/>
                  <a:pt x="630" y="781"/>
                  <a:pt x="617" y="781"/>
                </a:cubicBezTo>
                <a:lnTo>
                  <a:pt x="559" y="781"/>
                </a:lnTo>
                <a:lnTo>
                  <a:pt x="532" y="679"/>
                </a:lnTo>
                <a:cubicBezTo>
                  <a:pt x="507" y="586"/>
                  <a:pt x="495" y="518"/>
                  <a:pt x="494" y="462"/>
                </a:cubicBezTo>
                <a:cubicBezTo>
                  <a:pt x="492" y="406"/>
                  <a:pt x="500" y="360"/>
                  <a:pt x="514" y="308"/>
                </a:cubicBezTo>
                <a:cubicBezTo>
                  <a:pt x="518" y="291"/>
                  <a:pt x="507" y="277"/>
                  <a:pt x="491" y="277"/>
                </a:cubicBezTo>
                <a:close/>
                <a:moveTo>
                  <a:pt x="634" y="205"/>
                </a:moveTo>
                <a:cubicBezTo>
                  <a:pt x="634" y="192"/>
                  <a:pt x="645" y="182"/>
                  <a:pt x="658" y="182"/>
                </a:cubicBezTo>
                <a:cubicBezTo>
                  <a:pt x="671" y="182"/>
                  <a:pt x="682" y="192"/>
                  <a:pt x="682" y="205"/>
                </a:cubicBezTo>
                <a:cubicBezTo>
                  <a:pt x="682" y="238"/>
                  <a:pt x="668" y="268"/>
                  <a:pt x="647" y="289"/>
                </a:cubicBezTo>
                <a:cubicBezTo>
                  <a:pt x="625" y="311"/>
                  <a:pt x="596" y="324"/>
                  <a:pt x="563" y="324"/>
                </a:cubicBezTo>
                <a:cubicBezTo>
                  <a:pt x="550" y="324"/>
                  <a:pt x="539" y="313"/>
                  <a:pt x="539" y="300"/>
                </a:cubicBezTo>
                <a:cubicBezTo>
                  <a:pt x="539" y="287"/>
                  <a:pt x="550" y="277"/>
                  <a:pt x="563" y="277"/>
                </a:cubicBezTo>
                <a:cubicBezTo>
                  <a:pt x="583" y="277"/>
                  <a:pt x="601" y="269"/>
                  <a:pt x="613" y="256"/>
                </a:cubicBezTo>
                <a:cubicBezTo>
                  <a:pt x="626" y="243"/>
                  <a:pt x="634" y="225"/>
                  <a:pt x="634" y="205"/>
                </a:cubicBezTo>
                <a:close/>
                <a:moveTo>
                  <a:pt x="511" y="781"/>
                </a:moveTo>
                <a:lnTo>
                  <a:pt x="480" y="781"/>
                </a:lnTo>
                <a:lnTo>
                  <a:pt x="495" y="725"/>
                </a:lnTo>
                <a:lnTo>
                  <a:pt x="511" y="781"/>
                </a:lnTo>
                <a:lnTo>
                  <a:pt x="511" y="78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fr-FR"/>
          </a:p>
        </p:txBody>
      </p:sp>
      <p:sp>
        <p:nvSpPr>
          <p:cNvPr id="209" name="Power_Plant" descr="{&quot;Key&quot;:&quot;POWER_USER_SHAPE_ICON&quot;,&quot;Value&quot;:&quot;POWER_USER_SHAPE_ICON_STYLE_1&quot;}">
            <a:extLst>
              <a:ext uri="{FF2B5EF4-FFF2-40B4-BE49-F238E27FC236}">
                <a16:creationId xmlns:a16="http://schemas.microsoft.com/office/drawing/2014/main" id="{0A6707BB-B5DA-1280-2EA9-6DEB3E46F4F3}"/>
              </a:ext>
            </a:extLst>
          </p:cNvPr>
          <p:cNvSpPr>
            <a:spLocks noChangeAspect="1" noEditPoints="1"/>
          </p:cNvSpPr>
          <p:nvPr>
            <p:custDataLst>
              <p:tags r:id="rId5"/>
            </p:custDataLst>
          </p:nvPr>
        </p:nvSpPr>
        <p:spPr bwMode="auto">
          <a:xfrm>
            <a:off x="9170285" y="3025836"/>
            <a:ext cx="300573" cy="277180"/>
          </a:xfrm>
          <a:custGeom>
            <a:avLst/>
            <a:gdLst>
              <a:gd name="T0" fmla="*/ 8111 w 9995"/>
              <a:gd name="T1" fmla="*/ 196 h 9212"/>
              <a:gd name="T2" fmla="*/ 8037 w 9995"/>
              <a:gd name="T3" fmla="*/ 1287 h 9212"/>
              <a:gd name="T4" fmla="*/ 7981 w 9995"/>
              <a:gd name="T5" fmla="*/ 2118 h 9212"/>
              <a:gd name="T6" fmla="*/ 7925 w 9995"/>
              <a:gd name="T7" fmla="*/ 2950 h 9212"/>
              <a:gd name="T8" fmla="*/ 7850 w 9995"/>
              <a:gd name="T9" fmla="*/ 4056 h 9212"/>
              <a:gd name="T10" fmla="*/ 7775 w 9995"/>
              <a:gd name="T11" fmla="*/ 5156 h 9212"/>
              <a:gd name="T12" fmla="*/ 7705 w 9995"/>
              <a:gd name="T13" fmla="*/ 6081 h 9212"/>
              <a:gd name="T14" fmla="*/ 6881 w 9995"/>
              <a:gd name="T15" fmla="*/ 6093 h 9212"/>
              <a:gd name="T16" fmla="*/ 6868 w 9995"/>
              <a:gd name="T17" fmla="*/ 2607 h 9212"/>
              <a:gd name="T18" fmla="*/ 10 w 9995"/>
              <a:gd name="T19" fmla="*/ 2616 h 9212"/>
              <a:gd name="T20" fmla="*/ 0 w 9995"/>
              <a:gd name="T21" fmla="*/ 9212 h 9212"/>
              <a:gd name="T22" fmla="*/ 9995 w 9995"/>
              <a:gd name="T23" fmla="*/ 9212 h 9212"/>
              <a:gd name="T24" fmla="*/ 9973 w 9995"/>
              <a:gd name="T25" fmla="*/ 8837 h 9212"/>
              <a:gd name="T26" fmla="*/ 9926 w 9995"/>
              <a:gd name="T27" fmla="*/ 8106 h 9212"/>
              <a:gd name="T28" fmla="*/ 9861 w 9995"/>
              <a:gd name="T29" fmla="*/ 7200 h 9212"/>
              <a:gd name="T30" fmla="*/ 9813 w 9995"/>
              <a:gd name="T31" fmla="*/ 6443 h 9212"/>
              <a:gd name="T32" fmla="*/ 9748 w 9995"/>
              <a:gd name="T33" fmla="*/ 5543 h 9212"/>
              <a:gd name="T34" fmla="*/ 9673 w 9995"/>
              <a:gd name="T35" fmla="*/ 4425 h 9212"/>
              <a:gd name="T36" fmla="*/ 9626 w 9995"/>
              <a:gd name="T37" fmla="*/ 3681 h 9212"/>
              <a:gd name="T38" fmla="*/ 9561 w 9995"/>
              <a:gd name="T39" fmla="*/ 2775 h 9212"/>
              <a:gd name="T40" fmla="*/ 9481 w 9995"/>
              <a:gd name="T41" fmla="*/ 1593 h 9212"/>
              <a:gd name="T42" fmla="*/ 9443 w 9995"/>
              <a:gd name="T43" fmla="*/ 993 h 9212"/>
              <a:gd name="T44" fmla="*/ 9362 w 9995"/>
              <a:gd name="T45" fmla="*/ 12 h 9212"/>
              <a:gd name="T46" fmla="*/ 8137 w 9995"/>
              <a:gd name="T47" fmla="*/ 12 h 9212"/>
              <a:gd name="T48" fmla="*/ 4858 w 9995"/>
              <a:gd name="T49" fmla="*/ 4332 h 9212"/>
              <a:gd name="T50" fmla="*/ 4792 w 9995"/>
              <a:gd name="T51" fmla="*/ 4445 h 9212"/>
              <a:gd name="T52" fmla="*/ 4397 w 9995"/>
              <a:gd name="T53" fmla="*/ 5097 h 9212"/>
              <a:gd name="T54" fmla="*/ 4287 w 9995"/>
              <a:gd name="T55" fmla="*/ 5275 h 9212"/>
              <a:gd name="T56" fmla="*/ 4177 w 9995"/>
              <a:gd name="T57" fmla="*/ 5452 h 9212"/>
              <a:gd name="T58" fmla="*/ 4022 w 9995"/>
              <a:gd name="T59" fmla="*/ 5697 h 9212"/>
              <a:gd name="T60" fmla="*/ 3912 w 9995"/>
              <a:gd name="T61" fmla="*/ 5875 h 9212"/>
              <a:gd name="T62" fmla="*/ 3802 w 9995"/>
              <a:gd name="T63" fmla="*/ 6052 h 9212"/>
              <a:gd name="T64" fmla="*/ 4265 w 9995"/>
              <a:gd name="T65" fmla="*/ 6225 h 9212"/>
              <a:gd name="T66" fmla="*/ 2580 w 9995"/>
              <a:gd name="T67" fmla="*/ 8483 h 9212"/>
              <a:gd name="T68" fmla="*/ 3287 w 9995"/>
              <a:gd name="T69" fmla="*/ 7028 h 9212"/>
              <a:gd name="T70" fmla="*/ 2805 w 9995"/>
              <a:gd name="T71" fmla="*/ 7000 h 9212"/>
              <a:gd name="T72" fmla="*/ 2450 w 9995"/>
              <a:gd name="T73" fmla="*/ 6818 h 9212"/>
              <a:gd name="T74" fmla="*/ 2516 w 9995"/>
              <a:gd name="T75" fmla="*/ 6706 h 9212"/>
              <a:gd name="T76" fmla="*/ 2683 w 9995"/>
              <a:gd name="T77" fmla="*/ 6418 h 9212"/>
              <a:gd name="T78" fmla="*/ 2750 w 9995"/>
              <a:gd name="T79" fmla="*/ 6306 h 9212"/>
              <a:gd name="T80" fmla="*/ 2862 w 9995"/>
              <a:gd name="T81" fmla="*/ 6112 h 9212"/>
              <a:gd name="T82" fmla="*/ 2975 w 9995"/>
              <a:gd name="T83" fmla="*/ 5918 h 9212"/>
              <a:gd name="T84" fmla="*/ 3041 w 9995"/>
              <a:gd name="T85" fmla="*/ 5806 h 9212"/>
              <a:gd name="T86" fmla="*/ 3208 w 9995"/>
              <a:gd name="T87" fmla="*/ 5518 h 9212"/>
              <a:gd name="T88" fmla="*/ 3275 w 9995"/>
              <a:gd name="T89" fmla="*/ 5406 h 9212"/>
              <a:gd name="T90" fmla="*/ 3387 w 9995"/>
              <a:gd name="T91" fmla="*/ 5212 h 9212"/>
              <a:gd name="T92" fmla="*/ 3500 w 9995"/>
              <a:gd name="T93" fmla="*/ 5018 h 9212"/>
              <a:gd name="T94" fmla="*/ 3566 w 9995"/>
              <a:gd name="T95" fmla="*/ 4906 h 9212"/>
              <a:gd name="T96" fmla="*/ 4403 w 9995"/>
              <a:gd name="T97" fmla="*/ 4280 h 9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95" h="9212">
                <a:moveTo>
                  <a:pt x="8137" y="12"/>
                </a:moveTo>
                <a:cubicBezTo>
                  <a:pt x="8123" y="21"/>
                  <a:pt x="8117" y="64"/>
                  <a:pt x="8111" y="196"/>
                </a:cubicBezTo>
                <a:cubicBezTo>
                  <a:pt x="8102" y="364"/>
                  <a:pt x="8087" y="584"/>
                  <a:pt x="8061" y="925"/>
                </a:cubicBezTo>
                <a:cubicBezTo>
                  <a:pt x="8053" y="1017"/>
                  <a:pt x="8043" y="1181"/>
                  <a:pt x="8037" y="1287"/>
                </a:cubicBezTo>
                <a:cubicBezTo>
                  <a:pt x="8031" y="1393"/>
                  <a:pt x="8021" y="1564"/>
                  <a:pt x="8013" y="1668"/>
                </a:cubicBezTo>
                <a:cubicBezTo>
                  <a:pt x="8005" y="1771"/>
                  <a:pt x="7991" y="1973"/>
                  <a:pt x="7981" y="2118"/>
                </a:cubicBezTo>
                <a:cubicBezTo>
                  <a:pt x="7971" y="2262"/>
                  <a:pt x="7957" y="2464"/>
                  <a:pt x="7948" y="2568"/>
                </a:cubicBezTo>
                <a:cubicBezTo>
                  <a:pt x="7941" y="2671"/>
                  <a:pt x="7930" y="2843"/>
                  <a:pt x="7925" y="2950"/>
                </a:cubicBezTo>
                <a:cubicBezTo>
                  <a:pt x="7915" y="3150"/>
                  <a:pt x="7901" y="3343"/>
                  <a:pt x="7868" y="3756"/>
                </a:cubicBezTo>
                <a:cubicBezTo>
                  <a:pt x="7857" y="3886"/>
                  <a:pt x="7850" y="4021"/>
                  <a:pt x="7850" y="4056"/>
                </a:cubicBezTo>
                <a:cubicBezTo>
                  <a:pt x="7850" y="4090"/>
                  <a:pt x="7842" y="4225"/>
                  <a:pt x="7831" y="4356"/>
                </a:cubicBezTo>
                <a:cubicBezTo>
                  <a:pt x="7800" y="4751"/>
                  <a:pt x="7786" y="4959"/>
                  <a:pt x="7775" y="5156"/>
                </a:cubicBezTo>
                <a:cubicBezTo>
                  <a:pt x="7766" y="5332"/>
                  <a:pt x="7753" y="5505"/>
                  <a:pt x="7725" y="5896"/>
                </a:cubicBezTo>
                <a:cubicBezTo>
                  <a:pt x="7717" y="5987"/>
                  <a:pt x="7708" y="6070"/>
                  <a:pt x="7705" y="6081"/>
                </a:cubicBezTo>
                <a:cubicBezTo>
                  <a:pt x="7697" y="6097"/>
                  <a:pt x="7648" y="6100"/>
                  <a:pt x="7288" y="6097"/>
                </a:cubicBezTo>
                <a:lnTo>
                  <a:pt x="6881" y="6093"/>
                </a:lnTo>
                <a:lnTo>
                  <a:pt x="6875" y="5006"/>
                </a:lnTo>
                <a:lnTo>
                  <a:pt x="6868" y="2607"/>
                </a:lnTo>
                <a:lnTo>
                  <a:pt x="3445" y="2604"/>
                </a:lnTo>
                <a:cubicBezTo>
                  <a:pt x="713" y="2601"/>
                  <a:pt x="18" y="2604"/>
                  <a:pt x="10" y="2616"/>
                </a:cubicBezTo>
                <a:cubicBezTo>
                  <a:pt x="5" y="2625"/>
                  <a:pt x="0" y="5128"/>
                  <a:pt x="0" y="6577"/>
                </a:cubicBezTo>
                <a:lnTo>
                  <a:pt x="0" y="9212"/>
                </a:lnTo>
                <a:lnTo>
                  <a:pt x="4997" y="9212"/>
                </a:lnTo>
                <a:lnTo>
                  <a:pt x="9995" y="9212"/>
                </a:lnTo>
                <a:lnTo>
                  <a:pt x="9991" y="9096"/>
                </a:lnTo>
                <a:cubicBezTo>
                  <a:pt x="9988" y="9033"/>
                  <a:pt x="9981" y="8916"/>
                  <a:pt x="9973" y="8837"/>
                </a:cubicBezTo>
                <a:cubicBezTo>
                  <a:pt x="9966" y="8758"/>
                  <a:pt x="9956" y="8603"/>
                  <a:pt x="9950" y="8493"/>
                </a:cubicBezTo>
                <a:cubicBezTo>
                  <a:pt x="9945" y="8383"/>
                  <a:pt x="9933" y="8208"/>
                  <a:pt x="9926" y="8106"/>
                </a:cubicBezTo>
                <a:cubicBezTo>
                  <a:pt x="9917" y="8002"/>
                  <a:pt x="9903" y="7800"/>
                  <a:pt x="9893" y="7656"/>
                </a:cubicBezTo>
                <a:cubicBezTo>
                  <a:pt x="9883" y="7511"/>
                  <a:pt x="9868" y="7306"/>
                  <a:pt x="9861" y="7200"/>
                </a:cubicBezTo>
                <a:cubicBezTo>
                  <a:pt x="9853" y="7093"/>
                  <a:pt x="9842" y="6921"/>
                  <a:pt x="9837" y="6818"/>
                </a:cubicBezTo>
                <a:cubicBezTo>
                  <a:pt x="9831" y="6715"/>
                  <a:pt x="9821" y="6546"/>
                  <a:pt x="9813" y="6443"/>
                </a:cubicBezTo>
                <a:cubicBezTo>
                  <a:pt x="9805" y="6340"/>
                  <a:pt x="9791" y="6137"/>
                  <a:pt x="9781" y="5993"/>
                </a:cubicBezTo>
                <a:cubicBezTo>
                  <a:pt x="9771" y="5848"/>
                  <a:pt x="9757" y="5646"/>
                  <a:pt x="9748" y="5543"/>
                </a:cubicBezTo>
                <a:cubicBezTo>
                  <a:pt x="9741" y="5440"/>
                  <a:pt x="9731" y="5271"/>
                  <a:pt x="9725" y="5168"/>
                </a:cubicBezTo>
                <a:cubicBezTo>
                  <a:pt x="9715" y="4981"/>
                  <a:pt x="9698" y="4741"/>
                  <a:pt x="9673" y="4425"/>
                </a:cubicBezTo>
                <a:cubicBezTo>
                  <a:pt x="9666" y="4332"/>
                  <a:pt x="9656" y="4168"/>
                  <a:pt x="9650" y="4062"/>
                </a:cubicBezTo>
                <a:cubicBezTo>
                  <a:pt x="9643" y="3956"/>
                  <a:pt x="9633" y="3783"/>
                  <a:pt x="9626" y="3681"/>
                </a:cubicBezTo>
                <a:cubicBezTo>
                  <a:pt x="9617" y="3577"/>
                  <a:pt x="9603" y="3375"/>
                  <a:pt x="9593" y="3231"/>
                </a:cubicBezTo>
                <a:cubicBezTo>
                  <a:pt x="9583" y="3086"/>
                  <a:pt x="9568" y="2881"/>
                  <a:pt x="9561" y="2775"/>
                </a:cubicBezTo>
                <a:cubicBezTo>
                  <a:pt x="9553" y="2668"/>
                  <a:pt x="9542" y="2496"/>
                  <a:pt x="9537" y="2393"/>
                </a:cubicBezTo>
                <a:cubicBezTo>
                  <a:pt x="9526" y="2197"/>
                  <a:pt x="9512" y="1992"/>
                  <a:pt x="9481" y="1593"/>
                </a:cubicBezTo>
                <a:cubicBezTo>
                  <a:pt x="9470" y="1462"/>
                  <a:pt x="9462" y="1327"/>
                  <a:pt x="9462" y="1293"/>
                </a:cubicBezTo>
                <a:cubicBezTo>
                  <a:pt x="9462" y="1258"/>
                  <a:pt x="9455" y="1123"/>
                  <a:pt x="9443" y="993"/>
                </a:cubicBezTo>
                <a:cubicBezTo>
                  <a:pt x="9412" y="596"/>
                  <a:pt x="9397" y="377"/>
                  <a:pt x="9388" y="196"/>
                </a:cubicBezTo>
                <a:cubicBezTo>
                  <a:pt x="9382" y="64"/>
                  <a:pt x="9376" y="21"/>
                  <a:pt x="9362" y="12"/>
                </a:cubicBezTo>
                <a:cubicBezTo>
                  <a:pt x="9351" y="4"/>
                  <a:pt x="9096" y="0"/>
                  <a:pt x="8750" y="0"/>
                </a:cubicBezTo>
                <a:cubicBezTo>
                  <a:pt x="8403" y="0"/>
                  <a:pt x="8148" y="4"/>
                  <a:pt x="8137" y="12"/>
                </a:cubicBezTo>
                <a:close/>
                <a:moveTo>
                  <a:pt x="4869" y="4290"/>
                </a:moveTo>
                <a:cubicBezTo>
                  <a:pt x="4873" y="4295"/>
                  <a:pt x="4867" y="4314"/>
                  <a:pt x="4858" y="4332"/>
                </a:cubicBezTo>
                <a:cubicBezTo>
                  <a:pt x="4848" y="4348"/>
                  <a:pt x="4834" y="4373"/>
                  <a:pt x="4827" y="4387"/>
                </a:cubicBezTo>
                <a:cubicBezTo>
                  <a:pt x="4819" y="4400"/>
                  <a:pt x="4804" y="4427"/>
                  <a:pt x="4792" y="4445"/>
                </a:cubicBezTo>
                <a:cubicBezTo>
                  <a:pt x="4781" y="4464"/>
                  <a:pt x="4506" y="4926"/>
                  <a:pt x="4475" y="4975"/>
                </a:cubicBezTo>
                <a:cubicBezTo>
                  <a:pt x="4443" y="5023"/>
                  <a:pt x="4408" y="5078"/>
                  <a:pt x="4397" y="5097"/>
                </a:cubicBezTo>
                <a:cubicBezTo>
                  <a:pt x="4385" y="5116"/>
                  <a:pt x="4370" y="5142"/>
                  <a:pt x="4362" y="5156"/>
                </a:cubicBezTo>
                <a:cubicBezTo>
                  <a:pt x="4356" y="5169"/>
                  <a:pt x="4321" y="5223"/>
                  <a:pt x="4287" y="5275"/>
                </a:cubicBezTo>
                <a:cubicBezTo>
                  <a:pt x="4253" y="5326"/>
                  <a:pt x="4218" y="5380"/>
                  <a:pt x="4212" y="5393"/>
                </a:cubicBezTo>
                <a:cubicBezTo>
                  <a:pt x="4205" y="5407"/>
                  <a:pt x="4190" y="5433"/>
                  <a:pt x="4177" y="5452"/>
                </a:cubicBezTo>
                <a:cubicBezTo>
                  <a:pt x="4166" y="5471"/>
                  <a:pt x="4131" y="5526"/>
                  <a:pt x="4100" y="5575"/>
                </a:cubicBezTo>
                <a:cubicBezTo>
                  <a:pt x="4068" y="5623"/>
                  <a:pt x="4033" y="5678"/>
                  <a:pt x="4022" y="5697"/>
                </a:cubicBezTo>
                <a:cubicBezTo>
                  <a:pt x="4010" y="5716"/>
                  <a:pt x="3995" y="5742"/>
                  <a:pt x="3987" y="5756"/>
                </a:cubicBezTo>
                <a:cubicBezTo>
                  <a:pt x="3981" y="5769"/>
                  <a:pt x="3946" y="5823"/>
                  <a:pt x="3912" y="5875"/>
                </a:cubicBezTo>
                <a:cubicBezTo>
                  <a:pt x="3878" y="5926"/>
                  <a:pt x="3843" y="5980"/>
                  <a:pt x="3837" y="5993"/>
                </a:cubicBezTo>
                <a:cubicBezTo>
                  <a:pt x="3830" y="6007"/>
                  <a:pt x="3815" y="6033"/>
                  <a:pt x="3802" y="6052"/>
                </a:cubicBezTo>
                <a:cubicBezTo>
                  <a:pt x="3716" y="6187"/>
                  <a:pt x="3702" y="6211"/>
                  <a:pt x="3710" y="6217"/>
                </a:cubicBezTo>
                <a:cubicBezTo>
                  <a:pt x="3713" y="6221"/>
                  <a:pt x="3963" y="6225"/>
                  <a:pt x="4265" y="6225"/>
                </a:cubicBezTo>
                <a:cubicBezTo>
                  <a:pt x="4777" y="6225"/>
                  <a:pt x="4812" y="6226"/>
                  <a:pt x="4812" y="6246"/>
                </a:cubicBezTo>
                <a:cubicBezTo>
                  <a:pt x="4812" y="6272"/>
                  <a:pt x="2592" y="8496"/>
                  <a:pt x="2580" y="8483"/>
                </a:cubicBezTo>
                <a:cubicBezTo>
                  <a:pt x="2571" y="8476"/>
                  <a:pt x="2582" y="8443"/>
                  <a:pt x="2612" y="8387"/>
                </a:cubicBezTo>
                <a:cubicBezTo>
                  <a:pt x="2681" y="8260"/>
                  <a:pt x="3287" y="7037"/>
                  <a:pt x="3287" y="7028"/>
                </a:cubicBezTo>
                <a:cubicBezTo>
                  <a:pt x="3287" y="7021"/>
                  <a:pt x="3278" y="7011"/>
                  <a:pt x="3267" y="7007"/>
                </a:cubicBezTo>
                <a:cubicBezTo>
                  <a:pt x="3256" y="7003"/>
                  <a:pt x="3048" y="7000"/>
                  <a:pt x="2805" y="7000"/>
                </a:cubicBezTo>
                <a:cubicBezTo>
                  <a:pt x="2561" y="7000"/>
                  <a:pt x="2362" y="6996"/>
                  <a:pt x="2362" y="6991"/>
                </a:cubicBezTo>
                <a:cubicBezTo>
                  <a:pt x="2362" y="6980"/>
                  <a:pt x="2422" y="6861"/>
                  <a:pt x="2450" y="6818"/>
                </a:cubicBezTo>
                <a:cubicBezTo>
                  <a:pt x="2463" y="6797"/>
                  <a:pt x="2480" y="6770"/>
                  <a:pt x="2487" y="6756"/>
                </a:cubicBezTo>
                <a:cubicBezTo>
                  <a:pt x="2495" y="6742"/>
                  <a:pt x="2507" y="6720"/>
                  <a:pt x="2516" y="6706"/>
                </a:cubicBezTo>
                <a:cubicBezTo>
                  <a:pt x="2525" y="6692"/>
                  <a:pt x="2562" y="6627"/>
                  <a:pt x="2600" y="6562"/>
                </a:cubicBezTo>
                <a:cubicBezTo>
                  <a:pt x="2637" y="6497"/>
                  <a:pt x="2675" y="6432"/>
                  <a:pt x="2683" y="6418"/>
                </a:cubicBezTo>
                <a:cubicBezTo>
                  <a:pt x="2692" y="6405"/>
                  <a:pt x="2705" y="6382"/>
                  <a:pt x="2712" y="6368"/>
                </a:cubicBezTo>
                <a:cubicBezTo>
                  <a:pt x="2720" y="6355"/>
                  <a:pt x="2736" y="6326"/>
                  <a:pt x="2750" y="6306"/>
                </a:cubicBezTo>
                <a:cubicBezTo>
                  <a:pt x="2763" y="6285"/>
                  <a:pt x="2778" y="6260"/>
                  <a:pt x="2783" y="6250"/>
                </a:cubicBezTo>
                <a:cubicBezTo>
                  <a:pt x="2788" y="6240"/>
                  <a:pt x="2823" y="6177"/>
                  <a:pt x="2862" y="6112"/>
                </a:cubicBezTo>
                <a:cubicBezTo>
                  <a:pt x="2901" y="6047"/>
                  <a:pt x="2936" y="5984"/>
                  <a:pt x="2941" y="5975"/>
                </a:cubicBezTo>
                <a:cubicBezTo>
                  <a:pt x="2946" y="5965"/>
                  <a:pt x="2961" y="5938"/>
                  <a:pt x="2975" y="5918"/>
                </a:cubicBezTo>
                <a:cubicBezTo>
                  <a:pt x="2988" y="5897"/>
                  <a:pt x="3005" y="5869"/>
                  <a:pt x="3012" y="5856"/>
                </a:cubicBezTo>
                <a:cubicBezTo>
                  <a:pt x="3020" y="5842"/>
                  <a:pt x="3032" y="5819"/>
                  <a:pt x="3041" y="5806"/>
                </a:cubicBezTo>
                <a:cubicBezTo>
                  <a:pt x="3050" y="5792"/>
                  <a:pt x="3087" y="5727"/>
                  <a:pt x="3125" y="5662"/>
                </a:cubicBezTo>
                <a:cubicBezTo>
                  <a:pt x="3162" y="5597"/>
                  <a:pt x="3200" y="5532"/>
                  <a:pt x="3208" y="5518"/>
                </a:cubicBezTo>
                <a:cubicBezTo>
                  <a:pt x="3217" y="5505"/>
                  <a:pt x="3230" y="5482"/>
                  <a:pt x="3237" y="5468"/>
                </a:cubicBezTo>
                <a:cubicBezTo>
                  <a:pt x="3245" y="5455"/>
                  <a:pt x="3261" y="5426"/>
                  <a:pt x="3275" y="5406"/>
                </a:cubicBezTo>
                <a:cubicBezTo>
                  <a:pt x="3288" y="5384"/>
                  <a:pt x="3303" y="5359"/>
                  <a:pt x="3308" y="5350"/>
                </a:cubicBezTo>
                <a:cubicBezTo>
                  <a:pt x="3313" y="5340"/>
                  <a:pt x="3348" y="5277"/>
                  <a:pt x="3387" y="5212"/>
                </a:cubicBezTo>
                <a:cubicBezTo>
                  <a:pt x="3426" y="5147"/>
                  <a:pt x="3461" y="5084"/>
                  <a:pt x="3466" y="5075"/>
                </a:cubicBezTo>
                <a:cubicBezTo>
                  <a:pt x="3471" y="5065"/>
                  <a:pt x="3486" y="5038"/>
                  <a:pt x="3500" y="5018"/>
                </a:cubicBezTo>
                <a:cubicBezTo>
                  <a:pt x="3513" y="4997"/>
                  <a:pt x="3530" y="4969"/>
                  <a:pt x="3537" y="4956"/>
                </a:cubicBezTo>
                <a:cubicBezTo>
                  <a:pt x="3545" y="4942"/>
                  <a:pt x="3557" y="4919"/>
                  <a:pt x="3566" y="4906"/>
                </a:cubicBezTo>
                <a:cubicBezTo>
                  <a:pt x="3575" y="4892"/>
                  <a:pt x="3839" y="4440"/>
                  <a:pt x="3863" y="4399"/>
                </a:cubicBezTo>
                <a:cubicBezTo>
                  <a:pt x="3938" y="4268"/>
                  <a:pt x="3881" y="4280"/>
                  <a:pt x="4403" y="4280"/>
                </a:cubicBezTo>
                <a:cubicBezTo>
                  <a:pt x="4656" y="4280"/>
                  <a:pt x="4866" y="4285"/>
                  <a:pt x="4869" y="429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1" name="TextBox 210">
            <a:extLst>
              <a:ext uri="{FF2B5EF4-FFF2-40B4-BE49-F238E27FC236}">
                <a16:creationId xmlns:a16="http://schemas.microsoft.com/office/drawing/2014/main" id="{0BF4BE65-66B1-726D-C2B6-CC19D49EB337}"/>
              </a:ext>
            </a:extLst>
          </p:cNvPr>
          <p:cNvSpPr txBox="1"/>
          <p:nvPr/>
        </p:nvSpPr>
        <p:spPr>
          <a:xfrm>
            <a:off x="608214" y="6269979"/>
            <a:ext cx="1783308" cy="160044"/>
          </a:xfrm>
          <a:prstGeom prst="rect">
            <a:avLst/>
          </a:prstGeom>
          <a:noFill/>
        </p:spPr>
        <p:txBody>
          <a:bodyPr wrap="square" lIns="0" tIns="36576" rIns="0" bIns="0" rtlCol="0">
            <a:spAutoFit/>
          </a:bodyPr>
          <a:lstStyle/>
          <a:p>
            <a:pPr algn="l">
              <a:spcAft>
                <a:spcPts val="600"/>
              </a:spcAft>
              <a:buClr>
                <a:schemeClr val="tx2"/>
              </a:buClr>
              <a:buSzPct val="80000"/>
            </a:pPr>
            <a:r>
              <a:rPr lang="cs-CZ" sz="800" dirty="0">
                <a:solidFill>
                  <a:schemeClr val="bg2"/>
                </a:solidFill>
              </a:rPr>
              <a:t>Zdroje: </a:t>
            </a:r>
            <a:r>
              <a:rPr lang="cs-CZ" sz="800" dirty="0">
                <a:solidFill>
                  <a:schemeClr val="bg2"/>
                </a:solidFill>
                <a:hlinkClick r:id="rId18">
                  <a:extLst>
                    <a:ext uri="{A12FA001-AC4F-418D-AE19-62706E023703}">
                      <ahyp:hlinkClr xmlns:ahyp="http://schemas.microsoft.com/office/drawing/2018/hyperlinkcolor" val="tx"/>
                    </a:ext>
                  </a:extLst>
                </a:hlinkClick>
              </a:rPr>
              <a:t>NEA</a:t>
            </a:r>
            <a:r>
              <a:rPr lang="cs-CZ" sz="800" dirty="0">
                <a:solidFill>
                  <a:schemeClr val="bg2"/>
                </a:solidFill>
              </a:rPr>
              <a:t>; </a:t>
            </a:r>
            <a:r>
              <a:rPr lang="cs-CZ" sz="800" dirty="0">
                <a:solidFill>
                  <a:schemeClr val="bg2"/>
                </a:solidFill>
                <a:hlinkClick r:id="rId19">
                  <a:extLst>
                    <a:ext uri="{A12FA001-AC4F-418D-AE19-62706E023703}">
                      <ahyp:hlinkClr xmlns:ahyp="http://schemas.microsoft.com/office/drawing/2018/hyperlinkcolor" val="tx"/>
                    </a:ext>
                  </a:extLst>
                </a:hlinkClick>
              </a:rPr>
              <a:t>WNA</a:t>
            </a:r>
            <a:r>
              <a:rPr lang="cs-CZ" sz="800" dirty="0">
                <a:solidFill>
                  <a:schemeClr val="bg2"/>
                </a:solidFill>
              </a:rPr>
              <a:t>; </a:t>
            </a:r>
            <a:r>
              <a:rPr lang="cs-CZ" sz="800" dirty="0">
                <a:solidFill>
                  <a:schemeClr val="bg2"/>
                </a:solidFill>
                <a:hlinkClick r:id="rId20">
                  <a:extLst>
                    <a:ext uri="{A12FA001-AC4F-418D-AE19-62706E023703}">
                      <ahyp:hlinkClr xmlns:ahyp="http://schemas.microsoft.com/office/drawing/2018/hyperlinkcolor" val="tx"/>
                    </a:ext>
                  </a:extLst>
                </a:hlinkClick>
              </a:rPr>
              <a:t>IAEA</a:t>
            </a:r>
            <a:endParaRPr lang="cs-CZ" sz="800" dirty="0">
              <a:solidFill>
                <a:schemeClr val="bg2"/>
              </a:solidFill>
            </a:endParaRPr>
          </a:p>
        </p:txBody>
      </p:sp>
    </p:spTree>
    <p:extLst>
      <p:ext uri="{BB962C8B-B14F-4D97-AF65-F5344CB8AC3E}">
        <p14:creationId xmlns:p14="http://schemas.microsoft.com/office/powerpoint/2010/main" val="28710564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1">
            <a:extLst>
              <a:ext uri="{FF2B5EF4-FFF2-40B4-BE49-F238E27FC236}">
                <a16:creationId xmlns:a16="http://schemas.microsoft.com/office/drawing/2014/main" id="{DDCC1FC5-E23C-7380-FA82-3220F6C0E6D4}"/>
              </a:ext>
            </a:extLst>
          </p:cNvPr>
          <p:cNvSpPr txBox="1">
            <a:spLocks/>
          </p:cNvSpPr>
          <p:nvPr/>
        </p:nvSpPr>
        <p:spPr>
          <a:xfrm>
            <a:off x="5505932" y="1299656"/>
            <a:ext cx="6030378" cy="1624177"/>
          </a:xfrm>
          <a:prstGeom prst="rect">
            <a:avLst/>
          </a:prstGeom>
          <a:ln>
            <a:noFill/>
          </a:ln>
        </p:spPr>
        <p:txBody>
          <a:bodyPr vert="horz" lIns="72000" tIns="72000" rIns="72000" bIns="7200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lgn="just">
              <a:buClr>
                <a:schemeClr val="accent3"/>
              </a:buClr>
            </a:pPr>
            <a:r>
              <a:rPr lang="cs-CZ" sz="1000" b="1" dirty="0" err="1"/>
              <a:t>Energy</a:t>
            </a:r>
            <a:r>
              <a:rPr lang="cs-CZ" sz="1000" b="1" dirty="0"/>
              <a:t> </a:t>
            </a:r>
            <a:r>
              <a:rPr lang="cs-CZ" sz="1000" b="1" dirty="0" err="1"/>
              <a:t>security</a:t>
            </a:r>
            <a:r>
              <a:rPr lang="cs-CZ" sz="1000" b="1" dirty="0"/>
              <a:t> </a:t>
            </a:r>
            <a:r>
              <a:rPr lang="cs-CZ" sz="1000" b="1" dirty="0" err="1"/>
              <a:t>act</a:t>
            </a:r>
            <a:r>
              <a:rPr lang="cs-CZ" sz="1000" b="1" dirty="0"/>
              <a:t> </a:t>
            </a:r>
            <a:r>
              <a:rPr lang="cs-CZ" sz="1000" dirty="0"/>
              <a:t>(2022) si klade za cíl </a:t>
            </a:r>
            <a:r>
              <a:rPr lang="cs-CZ" sz="1000" b="1" dirty="0"/>
              <a:t>do roku 2050 dosáhnout podílu JE na výrobě 25 </a:t>
            </a:r>
            <a:r>
              <a:rPr lang="cs-CZ" sz="1000" dirty="0"/>
              <a:t>% při instalovaném výkonu až 24 GW. </a:t>
            </a:r>
          </a:p>
          <a:p>
            <a:pPr marL="180000" indent="-180000" algn="just">
              <a:buClr>
                <a:schemeClr val="accent3"/>
              </a:buClr>
            </a:pPr>
            <a:r>
              <a:rPr lang="cs-CZ" sz="1000" b="1" dirty="0" err="1"/>
              <a:t>Nuclear</a:t>
            </a:r>
            <a:r>
              <a:rPr lang="cs-CZ" sz="1000" b="1" dirty="0"/>
              <a:t> </a:t>
            </a:r>
            <a:r>
              <a:rPr lang="cs-CZ" sz="1000" b="1" dirty="0" err="1"/>
              <a:t>energy</a:t>
            </a:r>
            <a:r>
              <a:rPr lang="cs-CZ" sz="1000" b="1" dirty="0"/>
              <a:t> </a:t>
            </a:r>
            <a:r>
              <a:rPr lang="cs-CZ" sz="1000" b="1" dirty="0" err="1"/>
              <a:t>act</a:t>
            </a:r>
            <a:r>
              <a:rPr lang="cs-CZ" sz="1000" b="1" dirty="0"/>
              <a:t> </a:t>
            </a:r>
            <a:r>
              <a:rPr lang="cs-CZ" sz="1000" dirty="0"/>
              <a:t>(2022) umožňuje financování výstavby JE formou regulované báze aktiv (RAB), co umožní developerovi pod dohledem regulátora částečně rozložit riziko projektu na odběratele.</a:t>
            </a:r>
          </a:p>
        </p:txBody>
      </p:sp>
      <p:grpSp>
        <p:nvGrpSpPr>
          <p:cNvPr id="144" name="POWER_USER_DATA_MAP" descr="{&quot;IsGrandientColor&quot;:true,&quot;GradientColor&quot;:&quot;#FF8D86&quot;,&quot;IsRangesColor&quot;:false,&quot;RangesSettings&quot;:[{&quot;RangeColorHexa&quot;:&quot;#2DB757&quot;,&quot;ComparisonValue&quot;:1.0,&quot;RangeOperator&quot;:1,&quot;RangeComparison&quot;:0},{&quot;RangeColorHexa&quot;:&quot;#27ACAA&quot;,&quot;ComparisonValue&quot;:1.0,&quot;RangeOperator&quot;:1,&quot;RangeComparison&quot;:0}],&quot;RangeName&quot;:&quot;POWER_USER_EXCEL_MAP_DBC0EEE8_8022_4AB4_90FE_B561B4DF7F9A&quot;,&quot;Version&quot;:&quot;1.7.4.60&quot;}">
            <a:extLst>
              <a:ext uri="{FF2B5EF4-FFF2-40B4-BE49-F238E27FC236}">
                <a16:creationId xmlns:a16="http://schemas.microsoft.com/office/drawing/2014/main" id="{1E947DCD-F86B-EC5C-2792-8FC30BDD6F4F}"/>
              </a:ext>
            </a:extLst>
          </p:cNvPr>
          <p:cNvGrpSpPr>
            <a:grpSpLocks noChangeAspect="1"/>
          </p:cNvGrpSpPr>
          <p:nvPr/>
        </p:nvGrpSpPr>
        <p:grpSpPr>
          <a:xfrm>
            <a:off x="508209" y="612228"/>
            <a:ext cx="1800905" cy="2094802"/>
            <a:chOff x="3426090" y="906888"/>
            <a:chExt cx="4916699" cy="6484938"/>
          </a:xfrm>
          <a:solidFill>
            <a:schemeClr val="accent5">
              <a:lumMod val="40000"/>
              <a:lumOff val="60000"/>
            </a:schemeClr>
          </a:solidFill>
        </p:grpSpPr>
        <p:grpSp>
          <p:nvGrpSpPr>
            <p:cNvPr id="4" name="United_Kingdom">
              <a:extLst>
                <a:ext uri="{FF2B5EF4-FFF2-40B4-BE49-F238E27FC236}">
                  <a16:creationId xmlns:a16="http://schemas.microsoft.com/office/drawing/2014/main" id="{48BD6BA9-3F2D-D795-32BA-19F9BD0D9B92}"/>
                </a:ext>
              </a:extLst>
            </p:cNvPr>
            <p:cNvGrpSpPr>
              <a:grpSpLocks noChangeAspect="1"/>
            </p:cNvGrpSpPr>
            <p:nvPr/>
          </p:nvGrpSpPr>
          <p:grpSpPr>
            <a:xfrm>
              <a:off x="3426090" y="906888"/>
              <a:ext cx="4916699" cy="6484938"/>
              <a:chOff x="3426090" y="271888"/>
              <a:chExt cx="4916699" cy="6484938"/>
            </a:xfrm>
            <a:grpFill/>
          </p:grpSpPr>
          <p:grpSp>
            <p:nvGrpSpPr>
              <p:cNvPr id="59" name="Group 58">
                <a:extLst>
                  <a:ext uri="{FF2B5EF4-FFF2-40B4-BE49-F238E27FC236}">
                    <a16:creationId xmlns:a16="http://schemas.microsoft.com/office/drawing/2014/main" id="{6F551531-60BD-BFC6-9EA7-2D653AB90289}"/>
                  </a:ext>
                </a:extLst>
              </p:cNvPr>
              <p:cNvGrpSpPr/>
              <p:nvPr/>
            </p:nvGrpSpPr>
            <p:grpSpPr>
              <a:xfrm>
                <a:off x="5020152" y="271888"/>
                <a:ext cx="3322637" cy="6484938"/>
                <a:chOff x="4821238" y="3175"/>
                <a:chExt cx="3322637" cy="6484938"/>
              </a:xfrm>
              <a:grpFill/>
            </p:grpSpPr>
            <p:sp>
              <p:nvSpPr>
                <p:cNvPr id="128" name="North East" descr="{&quot;Key&quot;:&quot;north east&quot;,&quot;Name&quot;:&quot;North East&quot;,&quot;Value&quot;:1.0,&quot;Formula&quot;:&quot;&quot;,&quot;Text&quot;:&quot;1&quot;,&quot;HasValue&quot;:true}">
                  <a:extLst>
                    <a:ext uri="{FF2B5EF4-FFF2-40B4-BE49-F238E27FC236}">
                      <a16:creationId xmlns:a16="http://schemas.microsoft.com/office/drawing/2014/main" id="{A5EF2769-8D52-AFF4-E59B-4C47E58C628E}"/>
                    </a:ext>
                  </a:extLst>
                </p:cNvPr>
                <p:cNvSpPr>
                  <a:spLocks noEditPoints="1"/>
                </p:cNvSpPr>
                <p:nvPr/>
              </p:nvSpPr>
              <p:spPr bwMode="auto">
                <a:xfrm>
                  <a:off x="6656388" y="3214688"/>
                  <a:ext cx="638175" cy="793750"/>
                </a:xfrm>
                <a:custGeom>
                  <a:avLst/>
                  <a:gdLst>
                    <a:gd name="T0" fmla="*/ 191 w 402"/>
                    <a:gd name="T1" fmla="*/ 49 h 500"/>
                    <a:gd name="T2" fmla="*/ 179 w 402"/>
                    <a:gd name="T3" fmla="*/ 46 h 500"/>
                    <a:gd name="T4" fmla="*/ 186 w 402"/>
                    <a:gd name="T5" fmla="*/ 42 h 500"/>
                    <a:gd name="T6" fmla="*/ 145 w 402"/>
                    <a:gd name="T7" fmla="*/ 9 h 500"/>
                    <a:gd name="T8" fmla="*/ 145 w 402"/>
                    <a:gd name="T9" fmla="*/ 16 h 500"/>
                    <a:gd name="T10" fmla="*/ 158 w 402"/>
                    <a:gd name="T11" fmla="*/ 31 h 500"/>
                    <a:gd name="T12" fmla="*/ 173 w 402"/>
                    <a:gd name="T13" fmla="*/ 52 h 500"/>
                    <a:gd name="T14" fmla="*/ 188 w 402"/>
                    <a:gd name="T15" fmla="*/ 56 h 500"/>
                    <a:gd name="T16" fmla="*/ 191 w 402"/>
                    <a:gd name="T17" fmla="*/ 70 h 500"/>
                    <a:gd name="T18" fmla="*/ 202 w 402"/>
                    <a:gd name="T19" fmla="*/ 69 h 500"/>
                    <a:gd name="T20" fmla="*/ 219 w 402"/>
                    <a:gd name="T21" fmla="*/ 83 h 500"/>
                    <a:gd name="T22" fmla="*/ 223 w 402"/>
                    <a:gd name="T23" fmla="*/ 93 h 500"/>
                    <a:gd name="T24" fmla="*/ 222 w 402"/>
                    <a:gd name="T25" fmla="*/ 101 h 500"/>
                    <a:gd name="T26" fmla="*/ 225 w 402"/>
                    <a:gd name="T27" fmla="*/ 114 h 500"/>
                    <a:gd name="T28" fmla="*/ 230 w 402"/>
                    <a:gd name="T29" fmla="*/ 128 h 500"/>
                    <a:gd name="T30" fmla="*/ 232 w 402"/>
                    <a:gd name="T31" fmla="*/ 142 h 500"/>
                    <a:gd name="T32" fmla="*/ 226 w 402"/>
                    <a:gd name="T33" fmla="*/ 156 h 500"/>
                    <a:gd name="T34" fmla="*/ 227 w 402"/>
                    <a:gd name="T35" fmla="*/ 158 h 500"/>
                    <a:gd name="T36" fmla="*/ 229 w 402"/>
                    <a:gd name="T37" fmla="*/ 172 h 500"/>
                    <a:gd name="T38" fmla="*/ 237 w 402"/>
                    <a:gd name="T39" fmla="*/ 183 h 500"/>
                    <a:gd name="T40" fmla="*/ 243 w 402"/>
                    <a:gd name="T41" fmla="*/ 218 h 500"/>
                    <a:gd name="T42" fmla="*/ 247 w 402"/>
                    <a:gd name="T43" fmla="*/ 231 h 500"/>
                    <a:gd name="T44" fmla="*/ 238 w 402"/>
                    <a:gd name="T45" fmla="*/ 238 h 500"/>
                    <a:gd name="T46" fmla="*/ 251 w 402"/>
                    <a:gd name="T47" fmla="*/ 253 h 500"/>
                    <a:gd name="T48" fmla="*/ 257 w 402"/>
                    <a:gd name="T49" fmla="*/ 270 h 500"/>
                    <a:gd name="T50" fmla="*/ 264 w 402"/>
                    <a:gd name="T51" fmla="*/ 286 h 500"/>
                    <a:gd name="T52" fmla="*/ 267 w 402"/>
                    <a:gd name="T53" fmla="*/ 291 h 500"/>
                    <a:gd name="T54" fmla="*/ 267 w 402"/>
                    <a:gd name="T55" fmla="*/ 297 h 500"/>
                    <a:gd name="T56" fmla="*/ 273 w 402"/>
                    <a:gd name="T57" fmla="*/ 301 h 500"/>
                    <a:gd name="T58" fmla="*/ 280 w 402"/>
                    <a:gd name="T59" fmla="*/ 313 h 500"/>
                    <a:gd name="T60" fmla="*/ 279 w 402"/>
                    <a:gd name="T61" fmla="*/ 325 h 500"/>
                    <a:gd name="T62" fmla="*/ 279 w 402"/>
                    <a:gd name="T63" fmla="*/ 329 h 500"/>
                    <a:gd name="T64" fmla="*/ 279 w 402"/>
                    <a:gd name="T65" fmla="*/ 338 h 500"/>
                    <a:gd name="T66" fmla="*/ 281 w 402"/>
                    <a:gd name="T67" fmla="*/ 349 h 500"/>
                    <a:gd name="T68" fmla="*/ 286 w 402"/>
                    <a:gd name="T69" fmla="*/ 355 h 500"/>
                    <a:gd name="T70" fmla="*/ 288 w 402"/>
                    <a:gd name="T71" fmla="*/ 364 h 500"/>
                    <a:gd name="T72" fmla="*/ 290 w 402"/>
                    <a:gd name="T73" fmla="*/ 375 h 500"/>
                    <a:gd name="T74" fmla="*/ 294 w 402"/>
                    <a:gd name="T75" fmla="*/ 385 h 500"/>
                    <a:gd name="T76" fmla="*/ 301 w 402"/>
                    <a:gd name="T77" fmla="*/ 394 h 500"/>
                    <a:gd name="T78" fmla="*/ 315 w 402"/>
                    <a:gd name="T79" fmla="*/ 405 h 500"/>
                    <a:gd name="T80" fmla="*/ 314 w 402"/>
                    <a:gd name="T81" fmla="*/ 408 h 500"/>
                    <a:gd name="T82" fmla="*/ 314 w 402"/>
                    <a:gd name="T83" fmla="*/ 418 h 500"/>
                    <a:gd name="T84" fmla="*/ 321 w 402"/>
                    <a:gd name="T85" fmla="*/ 426 h 500"/>
                    <a:gd name="T86" fmla="*/ 320 w 402"/>
                    <a:gd name="T87" fmla="*/ 431 h 500"/>
                    <a:gd name="T88" fmla="*/ 320 w 402"/>
                    <a:gd name="T89" fmla="*/ 433 h 500"/>
                    <a:gd name="T90" fmla="*/ 326 w 402"/>
                    <a:gd name="T91" fmla="*/ 432 h 500"/>
                    <a:gd name="T92" fmla="*/ 333 w 402"/>
                    <a:gd name="T93" fmla="*/ 434 h 500"/>
                    <a:gd name="T94" fmla="*/ 346 w 402"/>
                    <a:gd name="T95" fmla="*/ 440 h 500"/>
                    <a:gd name="T96" fmla="*/ 367 w 402"/>
                    <a:gd name="T97" fmla="*/ 446 h 500"/>
                    <a:gd name="T98" fmla="*/ 382 w 402"/>
                    <a:gd name="T99" fmla="*/ 453 h 500"/>
                    <a:gd name="T100" fmla="*/ 401 w 402"/>
                    <a:gd name="T101" fmla="*/ 458 h 500"/>
                    <a:gd name="T102" fmla="*/ 331 w 402"/>
                    <a:gd name="T103" fmla="*/ 479 h 500"/>
                    <a:gd name="T104" fmla="*/ 258 w 402"/>
                    <a:gd name="T105" fmla="*/ 479 h 500"/>
                    <a:gd name="T106" fmla="*/ 222 w 402"/>
                    <a:gd name="T107" fmla="*/ 476 h 500"/>
                    <a:gd name="T108" fmla="*/ 159 w 402"/>
                    <a:gd name="T109" fmla="*/ 496 h 500"/>
                    <a:gd name="T110" fmla="*/ 80 w 402"/>
                    <a:gd name="T111" fmla="*/ 432 h 500"/>
                    <a:gd name="T112" fmla="*/ 26 w 402"/>
                    <a:gd name="T113" fmla="*/ 361 h 500"/>
                    <a:gd name="T114" fmla="*/ 43 w 402"/>
                    <a:gd name="T115" fmla="*/ 282 h 500"/>
                    <a:gd name="T116" fmla="*/ 5 w 402"/>
                    <a:gd name="T117" fmla="*/ 217 h 500"/>
                    <a:gd name="T118" fmla="*/ 75 w 402"/>
                    <a:gd name="T119" fmla="*/ 150 h 500"/>
                    <a:gd name="T120" fmla="*/ 98 w 402"/>
                    <a:gd name="T121" fmla="*/ 52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2" h="500">
                      <a:moveTo>
                        <a:pt x="186" y="43"/>
                      </a:moveTo>
                      <a:lnTo>
                        <a:pt x="186" y="43"/>
                      </a:lnTo>
                      <a:lnTo>
                        <a:pt x="188" y="43"/>
                      </a:lnTo>
                      <a:lnTo>
                        <a:pt x="188" y="42"/>
                      </a:lnTo>
                      <a:lnTo>
                        <a:pt x="188" y="42"/>
                      </a:lnTo>
                      <a:lnTo>
                        <a:pt x="188" y="43"/>
                      </a:lnTo>
                      <a:lnTo>
                        <a:pt x="189" y="44"/>
                      </a:lnTo>
                      <a:lnTo>
                        <a:pt x="190" y="44"/>
                      </a:lnTo>
                      <a:lnTo>
                        <a:pt x="190" y="43"/>
                      </a:lnTo>
                      <a:lnTo>
                        <a:pt x="191" y="43"/>
                      </a:lnTo>
                      <a:lnTo>
                        <a:pt x="192" y="44"/>
                      </a:lnTo>
                      <a:lnTo>
                        <a:pt x="191" y="45"/>
                      </a:lnTo>
                      <a:lnTo>
                        <a:pt x="191" y="46"/>
                      </a:lnTo>
                      <a:lnTo>
                        <a:pt x="190" y="47"/>
                      </a:lnTo>
                      <a:lnTo>
                        <a:pt x="191" y="49"/>
                      </a:lnTo>
                      <a:lnTo>
                        <a:pt x="191" y="50"/>
                      </a:lnTo>
                      <a:lnTo>
                        <a:pt x="191" y="50"/>
                      </a:lnTo>
                      <a:lnTo>
                        <a:pt x="189" y="50"/>
                      </a:lnTo>
                      <a:lnTo>
                        <a:pt x="188" y="50"/>
                      </a:lnTo>
                      <a:lnTo>
                        <a:pt x="188" y="49"/>
                      </a:lnTo>
                      <a:lnTo>
                        <a:pt x="187" y="50"/>
                      </a:lnTo>
                      <a:lnTo>
                        <a:pt x="187" y="50"/>
                      </a:lnTo>
                      <a:lnTo>
                        <a:pt x="186" y="50"/>
                      </a:lnTo>
                      <a:lnTo>
                        <a:pt x="185" y="49"/>
                      </a:lnTo>
                      <a:lnTo>
                        <a:pt x="185" y="47"/>
                      </a:lnTo>
                      <a:lnTo>
                        <a:pt x="184" y="46"/>
                      </a:lnTo>
                      <a:lnTo>
                        <a:pt x="183" y="46"/>
                      </a:lnTo>
                      <a:lnTo>
                        <a:pt x="182" y="45"/>
                      </a:lnTo>
                      <a:lnTo>
                        <a:pt x="180" y="45"/>
                      </a:lnTo>
                      <a:lnTo>
                        <a:pt x="179" y="46"/>
                      </a:lnTo>
                      <a:lnTo>
                        <a:pt x="178" y="47"/>
                      </a:lnTo>
                      <a:lnTo>
                        <a:pt x="177" y="47"/>
                      </a:lnTo>
                      <a:lnTo>
                        <a:pt x="176" y="46"/>
                      </a:lnTo>
                      <a:lnTo>
                        <a:pt x="175" y="44"/>
                      </a:lnTo>
                      <a:lnTo>
                        <a:pt x="175" y="43"/>
                      </a:lnTo>
                      <a:lnTo>
                        <a:pt x="176" y="43"/>
                      </a:lnTo>
                      <a:lnTo>
                        <a:pt x="177" y="43"/>
                      </a:lnTo>
                      <a:lnTo>
                        <a:pt x="178" y="43"/>
                      </a:lnTo>
                      <a:lnTo>
                        <a:pt x="180" y="44"/>
                      </a:lnTo>
                      <a:lnTo>
                        <a:pt x="181" y="44"/>
                      </a:lnTo>
                      <a:lnTo>
                        <a:pt x="184" y="44"/>
                      </a:lnTo>
                      <a:lnTo>
                        <a:pt x="185" y="43"/>
                      </a:lnTo>
                      <a:lnTo>
                        <a:pt x="185" y="43"/>
                      </a:lnTo>
                      <a:lnTo>
                        <a:pt x="185" y="43"/>
                      </a:lnTo>
                      <a:lnTo>
                        <a:pt x="186" y="42"/>
                      </a:lnTo>
                      <a:lnTo>
                        <a:pt x="187" y="42"/>
                      </a:lnTo>
                      <a:lnTo>
                        <a:pt x="186" y="43"/>
                      </a:lnTo>
                      <a:close/>
                      <a:moveTo>
                        <a:pt x="138" y="0"/>
                      </a:moveTo>
                      <a:lnTo>
                        <a:pt x="139" y="0"/>
                      </a:lnTo>
                      <a:lnTo>
                        <a:pt x="139" y="0"/>
                      </a:lnTo>
                      <a:lnTo>
                        <a:pt x="140" y="1"/>
                      </a:lnTo>
                      <a:lnTo>
                        <a:pt x="140" y="2"/>
                      </a:lnTo>
                      <a:lnTo>
                        <a:pt x="141" y="3"/>
                      </a:lnTo>
                      <a:lnTo>
                        <a:pt x="142" y="4"/>
                      </a:lnTo>
                      <a:lnTo>
                        <a:pt x="142" y="4"/>
                      </a:lnTo>
                      <a:lnTo>
                        <a:pt x="143" y="5"/>
                      </a:lnTo>
                      <a:lnTo>
                        <a:pt x="143" y="6"/>
                      </a:lnTo>
                      <a:lnTo>
                        <a:pt x="144" y="6"/>
                      </a:lnTo>
                      <a:lnTo>
                        <a:pt x="144" y="8"/>
                      </a:lnTo>
                      <a:lnTo>
                        <a:pt x="145" y="9"/>
                      </a:lnTo>
                      <a:lnTo>
                        <a:pt x="145" y="9"/>
                      </a:lnTo>
                      <a:lnTo>
                        <a:pt x="145" y="9"/>
                      </a:lnTo>
                      <a:lnTo>
                        <a:pt x="145" y="10"/>
                      </a:lnTo>
                      <a:lnTo>
                        <a:pt x="146" y="11"/>
                      </a:lnTo>
                      <a:lnTo>
                        <a:pt x="146" y="12"/>
                      </a:lnTo>
                      <a:lnTo>
                        <a:pt x="146" y="12"/>
                      </a:lnTo>
                      <a:lnTo>
                        <a:pt x="146" y="13"/>
                      </a:lnTo>
                      <a:lnTo>
                        <a:pt x="146" y="13"/>
                      </a:lnTo>
                      <a:lnTo>
                        <a:pt x="145" y="13"/>
                      </a:lnTo>
                      <a:lnTo>
                        <a:pt x="144" y="14"/>
                      </a:lnTo>
                      <a:lnTo>
                        <a:pt x="143" y="14"/>
                      </a:lnTo>
                      <a:lnTo>
                        <a:pt x="143" y="15"/>
                      </a:lnTo>
                      <a:lnTo>
                        <a:pt x="144" y="15"/>
                      </a:lnTo>
                      <a:lnTo>
                        <a:pt x="144" y="15"/>
                      </a:lnTo>
                      <a:lnTo>
                        <a:pt x="145" y="16"/>
                      </a:lnTo>
                      <a:lnTo>
                        <a:pt x="145" y="16"/>
                      </a:lnTo>
                      <a:lnTo>
                        <a:pt x="146" y="15"/>
                      </a:lnTo>
                      <a:lnTo>
                        <a:pt x="146" y="15"/>
                      </a:lnTo>
                      <a:lnTo>
                        <a:pt x="147" y="17"/>
                      </a:lnTo>
                      <a:lnTo>
                        <a:pt x="148" y="19"/>
                      </a:lnTo>
                      <a:lnTo>
                        <a:pt x="149" y="20"/>
                      </a:lnTo>
                      <a:lnTo>
                        <a:pt x="149" y="21"/>
                      </a:lnTo>
                      <a:lnTo>
                        <a:pt x="150" y="21"/>
                      </a:lnTo>
                      <a:lnTo>
                        <a:pt x="150" y="22"/>
                      </a:lnTo>
                      <a:lnTo>
                        <a:pt x="152" y="24"/>
                      </a:lnTo>
                      <a:lnTo>
                        <a:pt x="152" y="25"/>
                      </a:lnTo>
                      <a:lnTo>
                        <a:pt x="153" y="26"/>
                      </a:lnTo>
                      <a:lnTo>
                        <a:pt x="155" y="27"/>
                      </a:lnTo>
                      <a:lnTo>
                        <a:pt x="155" y="28"/>
                      </a:lnTo>
                      <a:lnTo>
                        <a:pt x="158" y="31"/>
                      </a:lnTo>
                      <a:lnTo>
                        <a:pt x="160" y="33"/>
                      </a:lnTo>
                      <a:lnTo>
                        <a:pt x="161" y="34"/>
                      </a:lnTo>
                      <a:lnTo>
                        <a:pt x="161" y="35"/>
                      </a:lnTo>
                      <a:lnTo>
                        <a:pt x="162" y="36"/>
                      </a:lnTo>
                      <a:lnTo>
                        <a:pt x="164" y="36"/>
                      </a:lnTo>
                      <a:lnTo>
                        <a:pt x="166" y="39"/>
                      </a:lnTo>
                      <a:lnTo>
                        <a:pt x="167" y="39"/>
                      </a:lnTo>
                      <a:lnTo>
                        <a:pt x="167" y="39"/>
                      </a:lnTo>
                      <a:lnTo>
                        <a:pt x="167" y="40"/>
                      </a:lnTo>
                      <a:lnTo>
                        <a:pt x="169" y="42"/>
                      </a:lnTo>
                      <a:lnTo>
                        <a:pt x="169" y="43"/>
                      </a:lnTo>
                      <a:lnTo>
                        <a:pt x="171" y="45"/>
                      </a:lnTo>
                      <a:lnTo>
                        <a:pt x="172" y="48"/>
                      </a:lnTo>
                      <a:lnTo>
                        <a:pt x="173" y="50"/>
                      </a:lnTo>
                      <a:lnTo>
                        <a:pt x="173" y="52"/>
                      </a:lnTo>
                      <a:lnTo>
                        <a:pt x="174" y="53"/>
                      </a:lnTo>
                      <a:lnTo>
                        <a:pt x="174" y="54"/>
                      </a:lnTo>
                      <a:lnTo>
                        <a:pt x="175" y="55"/>
                      </a:lnTo>
                      <a:lnTo>
                        <a:pt x="177" y="56"/>
                      </a:lnTo>
                      <a:lnTo>
                        <a:pt x="178" y="58"/>
                      </a:lnTo>
                      <a:lnTo>
                        <a:pt x="178" y="59"/>
                      </a:lnTo>
                      <a:lnTo>
                        <a:pt x="178" y="59"/>
                      </a:lnTo>
                      <a:lnTo>
                        <a:pt x="178" y="59"/>
                      </a:lnTo>
                      <a:lnTo>
                        <a:pt x="180" y="61"/>
                      </a:lnTo>
                      <a:lnTo>
                        <a:pt x="182" y="62"/>
                      </a:lnTo>
                      <a:lnTo>
                        <a:pt x="183" y="62"/>
                      </a:lnTo>
                      <a:lnTo>
                        <a:pt x="185" y="62"/>
                      </a:lnTo>
                      <a:lnTo>
                        <a:pt x="186" y="61"/>
                      </a:lnTo>
                      <a:lnTo>
                        <a:pt x="188" y="57"/>
                      </a:lnTo>
                      <a:lnTo>
                        <a:pt x="188" y="56"/>
                      </a:lnTo>
                      <a:lnTo>
                        <a:pt x="188" y="56"/>
                      </a:lnTo>
                      <a:lnTo>
                        <a:pt x="188" y="55"/>
                      </a:lnTo>
                      <a:lnTo>
                        <a:pt x="187" y="54"/>
                      </a:lnTo>
                      <a:lnTo>
                        <a:pt x="188" y="54"/>
                      </a:lnTo>
                      <a:lnTo>
                        <a:pt x="188" y="54"/>
                      </a:lnTo>
                      <a:lnTo>
                        <a:pt x="189" y="54"/>
                      </a:lnTo>
                      <a:lnTo>
                        <a:pt x="190" y="60"/>
                      </a:lnTo>
                      <a:lnTo>
                        <a:pt x="194" y="65"/>
                      </a:lnTo>
                      <a:lnTo>
                        <a:pt x="193" y="66"/>
                      </a:lnTo>
                      <a:lnTo>
                        <a:pt x="192" y="68"/>
                      </a:lnTo>
                      <a:lnTo>
                        <a:pt x="192" y="69"/>
                      </a:lnTo>
                      <a:lnTo>
                        <a:pt x="190" y="69"/>
                      </a:lnTo>
                      <a:lnTo>
                        <a:pt x="190" y="69"/>
                      </a:lnTo>
                      <a:lnTo>
                        <a:pt x="190" y="69"/>
                      </a:lnTo>
                      <a:lnTo>
                        <a:pt x="191" y="70"/>
                      </a:lnTo>
                      <a:lnTo>
                        <a:pt x="191" y="71"/>
                      </a:lnTo>
                      <a:lnTo>
                        <a:pt x="193" y="73"/>
                      </a:lnTo>
                      <a:lnTo>
                        <a:pt x="193" y="73"/>
                      </a:lnTo>
                      <a:lnTo>
                        <a:pt x="194" y="73"/>
                      </a:lnTo>
                      <a:lnTo>
                        <a:pt x="195" y="72"/>
                      </a:lnTo>
                      <a:lnTo>
                        <a:pt x="195" y="71"/>
                      </a:lnTo>
                      <a:lnTo>
                        <a:pt x="195" y="71"/>
                      </a:lnTo>
                      <a:lnTo>
                        <a:pt x="195" y="70"/>
                      </a:lnTo>
                      <a:lnTo>
                        <a:pt x="196" y="70"/>
                      </a:lnTo>
                      <a:lnTo>
                        <a:pt x="197" y="70"/>
                      </a:lnTo>
                      <a:lnTo>
                        <a:pt x="198" y="68"/>
                      </a:lnTo>
                      <a:lnTo>
                        <a:pt x="199" y="68"/>
                      </a:lnTo>
                      <a:lnTo>
                        <a:pt x="200" y="69"/>
                      </a:lnTo>
                      <a:lnTo>
                        <a:pt x="201" y="68"/>
                      </a:lnTo>
                      <a:lnTo>
                        <a:pt x="202" y="69"/>
                      </a:lnTo>
                      <a:lnTo>
                        <a:pt x="202" y="69"/>
                      </a:lnTo>
                      <a:lnTo>
                        <a:pt x="202" y="69"/>
                      </a:lnTo>
                      <a:lnTo>
                        <a:pt x="203" y="70"/>
                      </a:lnTo>
                      <a:lnTo>
                        <a:pt x="208" y="72"/>
                      </a:lnTo>
                      <a:lnTo>
                        <a:pt x="209" y="73"/>
                      </a:lnTo>
                      <a:lnTo>
                        <a:pt x="209" y="73"/>
                      </a:lnTo>
                      <a:lnTo>
                        <a:pt x="210" y="74"/>
                      </a:lnTo>
                      <a:lnTo>
                        <a:pt x="212" y="77"/>
                      </a:lnTo>
                      <a:lnTo>
                        <a:pt x="212" y="77"/>
                      </a:lnTo>
                      <a:lnTo>
                        <a:pt x="213" y="78"/>
                      </a:lnTo>
                      <a:lnTo>
                        <a:pt x="215" y="81"/>
                      </a:lnTo>
                      <a:lnTo>
                        <a:pt x="215" y="81"/>
                      </a:lnTo>
                      <a:lnTo>
                        <a:pt x="218" y="82"/>
                      </a:lnTo>
                      <a:lnTo>
                        <a:pt x="218" y="82"/>
                      </a:lnTo>
                      <a:lnTo>
                        <a:pt x="219" y="83"/>
                      </a:lnTo>
                      <a:lnTo>
                        <a:pt x="219" y="83"/>
                      </a:lnTo>
                      <a:lnTo>
                        <a:pt x="219" y="83"/>
                      </a:lnTo>
                      <a:lnTo>
                        <a:pt x="220" y="84"/>
                      </a:lnTo>
                      <a:lnTo>
                        <a:pt x="220" y="84"/>
                      </a:lnTo>
                      <a:lnTo>
                        <a:pt x="220" y="84"/>
                      </a:lnTo>
                      <a:lnTo>
                        <a:pt x="220" y="85"/>
                      </a:lnTo>
                      <a:lnTo>
                        <a:pt x="219" y="85"/>
                      </a:lnTo>
                      <a:lnTo>
                        <a:pt x="219" y="85"/>
                      </a:lnTo>
                      <a:lnTo>
                        <a:pt x="219" y="87"/>
                      </a:lnTo>
                      <a:lnTo>
                        <a:pt x="220" y="88"/>
                      </a:lnTo>
                      <a:lnTo>
                        <a:pt x="221" y="89"/>
                      </a:lnTo>
                      <a:lnTo>
                        <a:pt x="221" y="91"/>
                      </a:lnTo>
                      <a:lnTo>
                        <a:pt x="222" y="92"/>
                      </a:lnTo>
                      <a:lnTo>
                        <a:pt x="223" y="93"/>
                      </a:lnTo>
                      <a:lnTo>
                        <a:pt x="223" y="93"/>
                      </a:lnTo>
                      <a:lnTo>
                        <a:pt x="223" y="93"/>
                      </a:lnTo>
                      <a:lnTo>
                        <a:pt x="224" y="93"/>
                      </a:lnTo>
                      <a:lnTo>
                        <a:pt x="223" y="94"/>
                      </a:lnTo>
                      <a:lnTo>
                        <a:pt x="223" y="94"/>
                      </a:lnTo>
                      <a:lnTo>
                        <a:pt x="223" y="94"/>
                      </a:lnTo>
                      <a:lnTo>
                        <a:pt x="222" y="94"/>
                      </a:lnTo>
                      <a:lnTo>
                        <a:pt x="222" y="94"/>
                      </a:lnTo>
                      <a:lnTo>
                        <a:pt x="221" y="97"/>
                      </a:lnTo>
                      <a:lnTo>
                        <a:pt x="220" y="98"/>
                      </a:lnTo>
                      <a:lnTo>
                        <a:pt x="220" y="98"/>
                      </a:lnTo>
                      <a:lnTo>
                        <a:pt x="221" y="99"/>
                      </a:lnTo>
                      <a:lnTo>
                        <a:pt x="221" y="99"/>
                      </a:lnTo>
                      <a:lnTo>
                        <a:pt x="221" y="100"/>
                      </a:lnTo>
                      <a:lnTo>
                        <a:pt x="222" y="101"/>
                      </a:lnTo>
                      <a:lnTo>
                        <a:pt x="222" y="101"/>
                      </a:lnTo>
                      <a:lnTo>
                        <a:pt x="223" y="102"/>
                      </a:lnTo>
                      <a:lnTo>
                        <a:pt x="224" y="103"/>
                      </a:lnTo>
                      <a:lnTo>
                        <a:pt x="224" y="103"/>
                      </a:lnTo>
                      <a:lnTo>
                        <a:pt x="224" y="103"/>
                      </a:lnTo>
                      <a:lnTo>
                        <a:pt x="224" y="104"/>
                      </a:lnTo>
                      <a:lnTo>
                        <a:pt x="226" y="104"/>
                      </a:lnTo>
                      <a:lnTo>
                        <a:pt x="226" y="105"/>
                      </a:lnTo>
                      <a:lnTo>
                        <a:pt x="225" y="107"/>
                      </a:lnTo>
                      <a:lnTo>
                        <a:pt x="225" y="108"/>
                      </a:lnTo>
                      <a:lnTo>
                        <a:pt x="225" y="108"/>
                      </a:lnTo>
                      <a:lnTo>
                        <a:pt x="225" y="109"/>
                      </a:lnTo>
                      <a:lnTo>
                        <a:pt x="225" y="110"/>
                      </a:lnTo>
                      <a:lnTo>
                        <a:pt x="225" y="111"/>
                      </a:lnTo>
                      <a:lnTo>
                        <a:pt x="225" y="112"/>
                      </a:lnTo>
                      <a:lnTo>
                        <a:pt x="225" y="114"/>
                      </a:lnTo>
                      <a:lnTo>
                        <a:pt x="227" y="115"/>
                      </a:lnTo>
                      <a:lnTo>
                        <a:pt x="228" y="115"/>
                      </a:lnTo>
                      <a:lnTo>
                        <a:pt x="229" y="116"/>
                      </a:lnTo>
                      <a:lnTo>
                        <a:pt x="230" y="116"/>
                      </a:lnTo>
                      <a:lnTo>
                        <a:pt x="230" y="117"/>
                      </a:lnTo>
                      <a:lnTo>
                        <a:pt x="230" y="119"/>
                      </a:lnTo>
                      <a:lnTo>
                        <a:pt x="230" y="119"/>
                      </a:lnTo>
                      <a:lnTo>
                        <a:pt x="230" y="121"/>
                      </a:lnTo>
                      <a:lnTo>
                        <a:pt x="230" y="122"/>
                      </a:lnTo>
                      <a:lnTo>
                        <a:pt x="230" y="125"/>
                      </a:lnTo>
                      <a:lnTo>
                        <a:pt x="230" y="125"/>
                      </a:lnTo>
                      <a:lnTo>
                        <a:pt x="231" y="126"/>
                      </a:lnTo>
                      <a:lnTo>
                        <a:pt x="231" y="127"/>
                      </a:lnTo>
                      <a:lnTo>
                        <a:pt x="230" y="128"/>
                      </a:lnTo>
                      <a:lnTo>
                        <a:pt x="230" y="128"/>
                      </a:lnTo>
                      <a:lnTo>
                        <a:pt x="230" y="129"/>
                      </a:lnTo>
                      <a:lnTo>
                        <a:pt x="230" y="129"/>
                      </a:lnTo>
                      <a:lnTo>
                        <a:pt x="231" y="130"/>
                      </a:lnTo>
                      <a:lnTo>
                        <a:pt x="231" y="132"/>
                      </a:lnTo>
                      <a:lnTo>
                        <a:pt x="231" y="133"/>
                      </a:lnTo>
                      <a:lnTo>
                        <a:pt x="230" y="133"/>
                      </a:lnTo>
                      <a:lnTo>
                        <a:pt x="230" y="134"/>
                      </a:lnTo>
                      <a:lnTo>
                        <a:pt x="230" y="135"/>
                      </a:lnTo>
                      <a:lnTo>
                        <a:pt x="230" y="135"/>
                      </a:lnTo>
                      <a:lnTo>
                        <a:pt x="231" y="137"/>
                      </a:lnTo>
                      <a:lnTo>
                        <a:pt x="232" y="137"/>
                      </a:lnTo>
                      <a:lnTo>
                        <a:pt x="233" y="138"/>
                      </a:lnTo>
                      <a:lnTo>
                        <a:pt x="233" y="140"/>
                      </a:lnTo>
                      <a:lnTo>
                        <a:pt x="232" y="140"/>
                      </a:lnTo>
                      <a:lnTo>
                        <a:pt x="232" y="142"/>
                      </a:lnTo>
                      <a:lnTo>
                        <a:pt x="232" y="143"/>
                      </a:lnTo>
                      <a:lnTo>
                        <a:pt x="232" y="143"/>
                      </a:lnTo>
                      <a:lnTo>
                        <a:pt x="232" y="144"/>
                      </a:lnTo>
                      <a:lnTo>
                        <a:pt x="232" y="146"/>
                      </a:lnTo>
                      <a:lnTo>
                        <a:pt x="232" y="147"/>
                      </a:lnTo>
                      <a:lnTo>
                        <a:pt x="232" y="147"/>
                      </a:lnTo>
                      <a:lnTo>
                        <a:pt x="231" y="147"/>
                      </a:lnTo>
                      <a:lnTo>
                        <a:pt x="230" y="148"/>
                      </a:lnTo>
                      <a:lnTo>
                        <a:pt x="229" y="150"/>
                      </a:lnTo>
                      <a:lnTo>
                        <a:pt x="229" y="153"/>
                      </a:lnTo>
                      <a:lnTo>
                        <a:pt x="228" y="153"/>
                      </a:lnTo>
                      <a:lnTo>
                        <a:pt x="227" y="154"/>
                      </a:lnTo>
                      <a:lnTo>
                        <a:pt x="226" y="155"/>
                      </a:lnTo>
                      <a:lnTo>
                        <a:pt x="226" y="156"/>
                      </a:lnTo>
                      <a:lnTo>
                        <a:pt x="226" y="156"/>
                      </a:lnTo>
                      <a:lnTo>
                        <a:pt x="225" y="156"/>
                      </a:lnTo>
                      <a:lnTo>
                        <a:pt x="225" y="155"/>
                      </a:lnTo>
                      <a:lnTo>
                        <a:pt x="224" y="155"/>
                      </a:lnTo>
                      <a:lnTo>
                        <a:pt x="225" y="154"/>
                      </a:lnTo>
                      <a:lnTo>
                        <a:pt x="225" y="154"/>
                      </a:lnTo>
                      <a:lnTo>
                        <a:pt x="223" y="154"/>
                      </a:lnTo>
                      <a:lnTo>
                        <a:pt x="223" y="155"/>
                      </a:lnTo>
                      <a:lnTo>
                        <a:pt x="224" y="155"/>
                      </a:lnTo>
                      <a:lnTo>
                        <a:pt x="224" y="155"/>
                      </a:lnTo>
                      <a:lnTo>
                        <a:pt x="224" y="156"/>
                      </a:lnTo>
                      <a:lnTo>
                        <a:pt x="225" y="158"/>
                      </a:lnTo>
                      <a:lnTo>
                        <a:pt x="225" y="157"/>
                      </a:lnTo>
                      <a:lnTo>
                        <a:pt x="225" y="156"/>
                      </a:lnTo>
                      <a:lnTo>
                        <a:pt x="226" y="156"/>
                      </a:lnTo>
                      <a:lnTo>
                        <a:pt x="227" y="158"/>
                      </a:lnTo>
                      <a:lnTo>
                        <a:pt x="227" y="159"/>
                      </a:lnTo>
                      <a:lnTo>
                        <a:pt x="227" y="159"/>
                      </a:lnTo>
                      <a:lnTo>
                        <a:pt x="227" y="160"/>
                      </a:lnTo>
                      <a:lnTo>
                        <a:pt x="227" y="161"/>
                      </a:lnTo>
                      <a:lnTo>
                        <a:pt x="228" y="164"/>
                      </a:lnTo>
                      <a:lnTo>
                        <a:pt x="228" y="165"/>
                      </a:lnTo>
                      <a:lnTo>
                        <a:pt x="228" y="166"/>
                      </a:lnTo>
                      <a:lnTo>
                        <a:pt x="228" y="166"/>
                      </a:lnTo>
                      <a:lnTo>
                        <a:pt x="230" y="169"/>
                      </a:lnTo>
                      <a:lnTo>
                        <a:pt x="232" y="172"/>
                      </a:lnTo>
                      <a:lnTo>
                        <a:pt x="232" y="173"/>
                      </a:lnTo>
                      <a:lnTo>
                        <a:pt x="232" y="173"/>
                      </a:lnTo>
                      <a:lnTo>
                        <a:pt x="230" y="172"/>
                      </a:lnTo>
                      <a:lnTo>
                        <a:pt x="229" y="172"/>
                      </a:lnTo>
                      <a:lnTo>
                        <a:pt x="229" y="172"/>
                      </a:lnTo>
                      <a:lnTo>
                        <a:pt x="230" y="173"/>
                      </a:lnTo>
                      <a:lnTo>
                        <a:pt x="232" y="173"/>
                      </a:lnTo>
                      <a:lnTo>
                        <a:pt x="233" y="173"/>
                      </a:lnTo>
                      <a:lnTo>
                        <a:pt x="233" y="173"/>
                      </a:lnTo>
                      <a:lnTo>
                        <a:pt x="233" y="173"/>
                      </a:lnTo>
                      <a:lnTo>
                        <a:pt x="234" y="173"/>
                      </a:lnTo>
                      <a:lnTo>
                        <a:pt x="234" y="173"/>
                      </a:lnTo>
                      <a:lnTo>
                        <a:pt x="234" y="173"/>
                      </a:lnTo>
                      <a:lnTo>
                        <a:pt x="235" y="174"/>
                      </a:lnTo>
                      <a:lnTo>
                        <a:pt x="236" y="176"/>
                      </a:lnTo>
                      <a:lnTo>
                        <a:pt x="237" y="177"/>
                      </a:lnTo>
                      <a:lnTo>
                        <a:pt x="238" y="178"/>
                      </a:lnTo>
                      <a:lnTo>
                        <a:pt x="238" y="182"/>
                      </a:lnTo>
                      <a:lnTo>
                        <a:pt x="238" y="183"/>
                      </a:lnTo>
                      <a:lnTo>
                        <a:pt x="237" y="183"/>
                      </a:lnTo>
                      <a:lnTo>
                        <a:pt x="237" y="184"/>
                      </a:lnTo>
                      <a:lnTo>
                        <a:pt x="237" y="185"/>
                      </a:lnTo>
                      <a:lnTo>
                        <a:pt x="235" y="187"/>
                      </a:lnTo>
                      <a:lnTo>
                        <a:pt x="235" y="187"/>
                      </a:lnTo>
                      <a:lnTo>
                        <a:pt x="234" y="191"/>
                      </a:lnTo>
                      <a:lnTo>
                        <a:pt x="234" y="196"/>
                      </a:lnTo>
                      <a:lnTo>
                        <a:pt x="236" y="204"/>
                      </a:lnTo>
                      <a:lnTo>
                        <a:pt x="237" y="206"/>
                      </a:lnTo>
                      <a:lnTo>
                        <a:pt x="238" y="207"/>
                      </a:lnTo>
                      <a:lnTo>
                        <a:pt x="239" y="209"/>
                      </a:lnTo>
                      <a:lnTo>
                        <a:pt x="240" y="210"/>
                      </a:lnTo>
                      <a:lnTo>
                        <a:pt x="242" y="211"/>
                      </a:lnTo>
                      <a:lnTo>
                        <a:pt x="243" y="214"/>
                      </a:lnTo>
                      <a:lnTo>
                        <a:pt x="243" y="216"/>
                      </a:lnTo>
                      <a:lnTo>
                        <a:pt x="243" y="218"/>
                      </a:lnTo>
                      <a:lnTo>
                        <a:pt x="246" y="222"/>
                      </a:lnTo>
                      <a:lnTo>
                        <a:pt x="247" y="223"/>
                      </a:lnTo>
                      <a:lnTo>
                        <a:pt x="247" y="223"/>
                      </a:lnTo>
                      <a:lnTo>
                        <a:pt x="249" y="224"/>
                      </a:lnTo>
                      <a:lnTo>
                        <a:pt x="249" y="225"/>
                      </a:lnTo>
                      <a:lnTo>
                        <a:pt x="249" y="225"/>
                      </a:lnTo>
                      <a:lnTo>
                        <a:pt x="249" y="228"/>
                      </a:lnTo>
                      <a:lnTo>
                        <a:pt x="249" y="229"/>
                      </a:lnTo>
                      <a:lnTo>
                        <a:pt x="250" y="229"/>
                      </a:lnTo>
                      <a:lnTo>
                        <a:pt x="249" y="230"/>
                      </a:lnTo>
                      <a:lnTo>
                        <a:pt x="249" y="230"/>
                      </a:lnTo>
                      <a:lnTo>
                        <a:pt x="249" y="230"/>
                      </a:lnTo>
                      <a:lnTo>
                        <a:pt x="248" y="230"/>
                      </a:lnTo>
                      <a:lnTo>
                        <a:pt x="247" y="230"/>
                      </a:lnTo>
                      <a:lnTo>
                        <a:pt x="247" y="231"/>
                      </a:lnTo>
                      <a:lnTo>
                        <a:pt x="247" y="233"/>
                      </a:lnTo>
                      <a:lnTo>
                        <a:pt x="247" y="233"/>
                      </a:lnTo>
                      <a:lnTo>
                        <a:pt x="244" y="235"/>
                      </a:lnTo>
                      <a:lnTo>
                        <a:pt x="243" y="238"/>
                      </a:lnTo>
                      <a:lnTo>
                        <a:pt x="242" y="237"/>
                      </a:lnTo>
                      <a:lnTo>
                        <a:pt x="241" y="238"/>
                      </a:lnTo>
                      <a:lnTo>
                        <a:pt x="240" y="238"/>
                      </a:lnTo>
                      <a:lnTo>
                        <a:pt x="238" y="237"/>
                      </a:lnTo>
                      <a:lnTo>
                        <a:pt x="236" y="237"/>
                      </a:lnTo>
                      <a:lnTo>
                        <a:pt x="236" y="237"/>
                      </a:lnTo>
                      <a:lnTo>
                        <a:pt x="235" y="237"/>
                      </a:lnTo>
                      <a:lnTo>
                        <a:pt x="235" y="237"/>
                      </a:lnTo>
                      <a:lnTo>
                        <a:pt x="236" y="238"/>
                      </a:lnTo>
                      <a:lnTo>
                        <a:pt x="238" y="238"/>
                      </a:lnTo>
                      <a:lnTo>
                        <a:pt x="238" y="238"/>
                      </a:lnTo>
                      <a:lnTo>
                        <a:pt x="239" y="238"/>
                      </a:lnTo>
                      <a:lnTo>
                        <a:pt x="240" y="238"/>
                      </a:lnTo>
                      <a:lnTo>
                        <a:pt x="242" y="238"/>
                      </a:lnTo>
                      <a:lnTo>
                        <a:pt x="243" y="239"/>
                      </a:lnTo>
                      <a:lnTo>
                        <a:pt x="244" y="242"/>
                      </a:lnTo>
                      <a:lnTo>
                        <a:pt x="246" y="244"/>
                      </a:lnTo>
                      <a:lnTo>
                        <a:pt x="248" y="248"/>
                      </a:lnTo>
                      <a:lnTo>
                        <a:pt x="250" y="250"/>
                      </a:lnTo>
                      <a:lnTo>
                        <a:pt x="251" y="251"/>
                      </a:lnTo>
                      <a:lnTo>
                        <a:pt x="251" y="252"/>
                      </a:lnTo>
                      <a:lnTo>
                        <a:pt x="251" y="253"/>
                      </a:lnTo>
                      <a:lnTo>
                        <a:pt x="251" y="252"/>
                      </a:lnTo>
                      <a:lnTo>
                        <a:pt x="250" y="252"/>
                      </a:lnTo>
                      <a:lnTo>
                        <a:pt x="250" y="252"/>
                      </a:lnTo>
                      <a:lnTo>
                        <a:pt x="251" y="253"/>
                      </a:lnTo>
                      <a:lnTo>
                        <a:pt x="251" y="253"/>
                      </a:lnTo>
                      <a:lnTo>
                        <a:pt x="250" y="254"/>
                      </a:lnTo>
                      <a:lnTo>
                        <a:pt x="250" y="256"/>
                      </a:lnTo>
                      <a:lnTo>
                        <a:pt x="250" y="259"/>
                      </a:lnTo>
                      <a:lnTo>
                        <a:pt x="251" y="260"/>
                      </a:lnTo>
                      <a:lnTo>
                        <a:pt x="251" y="260"/>
                      </a:lnTo>
                      <a:lnTo>
                        <a:pt x="252" y="262"/>
                      </a:lnTo>
                      <a:lnTo>
                        <a:pt x="254" y="266"/>
                      </a:lnTo>
                      <a:lnTo>
                        <a:pt x="254" y="266"/>
                      </a:lnTo>
                      <a:lnTo>
                        <a:pt x="256" y="266"/>
                      </a:lnTo>
                      <a:lnTo>
                        <a:pt x="256" y="267"/>
                      </a:lnTo>
                      <a:lnTo>
                        <a:pt x="256" y="268"/>
                      </a:lnTo>
                      <a:lnTo>
                        <a:pt x="257" y="268"/>
                      </a:lnTo>
                      <a:lnTo>
                        <a:pt x="257" y="269"/>
                      </a:lnTo>
                      <a:lnTo>
                        <a:pt x="257" y="270"/>
                      </a:lnTo>
                      <a:lnTo>
                        <a:pt x="258" y="270"/>
                      </a:lnTo>
                      <a:lnTo>
                        <a:pt x="258" y="271"/>
                      </a:lnTo>
                      <a:lnTo>
                        <a:pt x="259" y="272"/>
                      </a:lnTo>
                      <a:lnTo>
                        <a:pt x="259" y="272"/>
                      </a:lnTo>
                      <a:lnTo>
                        <a:pt x="260" y="272"/>
                      </a:lnTo>
                      <a:lnTo>
                        <a:pt x="260" y="273"/>
                      </a:lnTo>
                      <a:lnTo>
                        <a:pt x="259" y="274"/>
                      </a:lnTo>
                      <a:lnTo>
                        <a:pt x="260" y="277"/>
                      </a:lnTo>
                      <a:lnTo>
                        <a:pt x="262" y="281"/>
                      </a:lnTo>
                      <a:lnTo>
                        <a:pt x="263" y="282"/>
                      </a:lnTo>
                      <a:lnTo>
                        <a:pt x="264" y="282"/>
                      </a:lnTo>
                      <a:lnTo>
                        <a:pt x="264" y="283"/>
                      </a:lnTo>
                      <a:lnTo>
                        <a:pt x="264" y="283"/>
                      </a:lnTo>
                      <a:lnTo>
                        <a:pt x="264" y="285"/>
                      </a:lnTo>
                      <a:lnTo>
                        <a:pt x="264" y="286"/>
                      </a:lnTo>
                      <a:lnTo>
                        <a:pt x="265" y="287"/>
                      </a:lnTo>
                      <a:lnTo>
                        <a:pt x="265" y="288"/>
                      </a:lnTo>
                      <a:lnTo>
                        <a:pt x="265" y="289"/>
                      </a:lnTo>
                      <a:lnTo>
                        <a:pt x="266" y="289"/>
                      </a:lnTo>
                      <a:lnTo>
                        <a:pt x="266" y="290"/>
                      </a:lnTo>
                      <a:lnTo>
                        <a:pt x="267" y="290"/>
                      </a:lnTo>
                      <a:lnTo>
                        <a:pt x="267" y="291"/>
                      </a:lnTo>
                      <a:lnTo>
                        <a:pt x="268" y="291"/>
                      </a:lnTo>
                      <a:lnTo>
                        <a:pt x="268" y="291"/>
                      </a:lnTo>
                      <a:lnTo>
                        <a:pt x="269" y="292"/>
                      </a:lnTo>
                      <a:lnTo>
                        <a:pt x="269" y="292"/>
                      </a:lnTo>
                      <a:lnTo>
                        <a:pt x="269" y="292"/>
                      </a:lnTo>
                      <a:lnTo>
                        <a:pt x="268" y="291"/>
                      </a:lnTo>
                      <a:lnTo>
                        <a:pt x="268" y="291"/>
                      </a:lnTo>
                      <a:lnTo>
                        <a:pt x="267" y="291"/>
                      </a:lnTo>
                      <a:lnTo>
                        <a:pt x="267" y="292"/>
                      </a:lnTo>
                      <a:lnTo>
                        <a:pt x="266" y="292"/>
                      </a:lnTo>
                      <a:lnTo>
                        <a:pt x="264" y="292"/>
                      </a:lnTo>
                      <a:lnTo>
                        <a:pt x="264" y="294"/>
                      </a:lnTo>
                      <a:lnTo>
                        <a:pt x="264" y="294"/>
                      </a:lnTo>
                      <a:lnTo>
                        <a:pt x="265" y="294"/>
                      </a:lnTo>
                      <a:lnTo>
                        <a:pt x="265" y="295"/>
                      </a:lnTo>
                      <a:lnTo>
                        <a:pt x="266" y="296"/>
                      </a:lnTo>
                      <a:lnTo>
                        <a:pt x="266" y="296"/>
                      </a:lnTo>
                      <a:lnTo>
                        <a:pt x="266" y="295"/>
                      </a:lnTo>
                      <a:lnTo>
                        <a:pt x="267" y="295"/>
                      </a:lnTo>
                      <a:lnTo>
                        <a:pt x="268" y="294"/>
                      </a:lnTo>
                      <a:lnTo>
                        <a:pt x="269" y="294"/>
                      </a:lnTo>
                      <a:lnTo>
                        <a:pt x="267" y="296"/>
                      </a:lnTo>
                      <a:lnTo>
                        <a:pt x="267" y="297"/>
                      </a:lnTo>
                      <a:lnTo>
                        <a:pt x="268" y="297"/>
                      </a:lnTo>
                      <a:lnTo>
                        <a:pt x="268" y="298"/>
                      </a:lnTo>
                      <a:lnTo>
                        <a:pt x="268" y="298"/>
                      </a:lnTo>
                      <a:lnTo>
                        <a:pt x="268" y="298"/>
                      </a:lnTo>
                      <a:lnTo>
                        <a:pt x="269" y="299"/>
                      </a:lnTo>
                      <a:lnTo>
                        <a:pt x="269" y="299"/>
                      </a:lnTo>
                      <a:lnTo>
                        <a:pt x="270" y="299"/>
                      </a:lnTo>
                      <a:lnTo>
                        <a:pt x="270" y="300"/>
                      </a:lnTo>
                      <a:lnTo>
                        <a:pt x="272" y="300"/>
                      </a:lnTo>
                      <a:lnTo>
                        <a:pt x="272" y="301"/>
                      </a:lnTo>
                      <a:lnTo>
                        <a:pt x="272" y="301"/>
                      </a:lnTo>
                      <a:lnTo>
                        <a:pt x="273" y="301"/>
                      </a:lnTo>
                      <a:lnTo>
                        <a:pt x="273" y="301"/>
                      </a:lnTo>
                      <a:lnTo>
                        <a:pt x="273" y="301"/>
                      </a:lnTo>
                      <a:lnTo>
                        <a:pt x="273" y="301"/>
                      </a:lnTo>
                      <a:lnTo>
                        <a:pt x="274" y="303"/>
                      </a:lnTo>
                      <a:lnTo>
                        <a:pt x="275" y="303"/>
                      </a:lnTo>
                      <a:lnTo>
                        <a:pt x="274" y="304"/>
                      </a:lnTo>
                      <a:lnTo>
                        <a:pt x="274" y="305"/>
                      </a:lnTo>
                      <a:lnTo>
                        <a:pt x="275" y="306"/>
                      </a:lnTo>
                      <a:lnTo>
                        <a:pt x="276" y="306"/>
                      </a:lnTo>
                      <a:lnTo>
                        <a:pt x="277" y="307"/>
                      </a:lnTo>
                      <a:lnTo>
                        <a:pt x="279" y="308"/>
                      </a:lnTo>
                      <a:lnTo>
                        <a:pt x="279" y="309"/>
                      </a:lnTo>
                      <a:lnTo>
                        <a:pt x="279" y="310"/>
                      </a:lnTo>
                      <a:lnTo>
                        <a:pt x="279" y="310"/>
                      </a:lnTo>
                      <a:lnTo>
                        <a:pt x="280" y="310"/>
                      </a:lnTo>
                      <a:lnTo>
                        <a:pt x="279" y="310"/>
                      </a:lnTo>
                      <a:lnTo>
                        <a:pt x="279" y="312"/>
                      </a:lnTo>
                      <a:lnTo>
                        <a:pt x="280" y="313"/>
                      </a:lnTo>
                      <a:lnTo>
                        <a:pt x="280" y="314"/>
                      </a:lnTo>
                      <a:lnTo>
                        <a:pt x="279" y="314"/>
                      </a:lnTo>
                      <a:lnTo>
                        <a:pt x="279" y="316"/>
                      </a:lnTo>
                      <a:lnTo>
                        <a:pt x="279" y="316"/>
                      </a:lnTo>
                      <a:lnTo>
                        <a:pt x="279" y="317"/>
                      </a:lnTo>
                      <a:lnTo>
                        <a:pt x="278" y="317"/>
                      </a:lnTo>
                      <a:lnTo>
                        <a:pt x="278" y="318"/>
                      </a:lnTo>
                      <a:lnTo>
                        <a:pt x="277" y="321"/>
                      </a:lnTo>
                      <a:lnTo>
                        <a:pt x="277" y="322"/>
                      </a:lnTo>
                      <a:lnTo>
                        <a:pt x="277" y="322"/>
                      </a:lnTo>
                      <a:lnTo>
                        <a:pt x="278" y="323"/>
                      </a:lnTo>
                      <a:lnTo>
                        <a:pt x="277" y="323"/>
                      </a:lnTo>
                      <a:lnTo>
                        <a:pt x="277" y="324"/>
                      </a:lnTo>
                      <a:lnTo>
                        <a:pt x="277" y="325"/>
                      </a:lnTo>
                      <a:lnTo>
                        <a:pt x="279" y="325"/>
                      </a:lnTo>
                      <a:lnTo>
                        <a:pt x="280" y="326"/>
                      </a:lnTo>
                      <a:lnTo>
                        <a:pt x="280" y="326"/>
                      </a:lnTo>
                      <a:lnTo>
                        <a:pt x="279" y="325"/>
                      </a:lnTo>
                      <a:lnTo>
                        <a:pt x="277" y="326"/>
                      </a:lnTo>
                      <a:lnTo>
                        <a:pt x="278" y="327"/>
                      </a:lnTo>
                      <a:lnTo>
                        <a:pt x="278" y="327"/>
                      </a:lnTo>
                      <a:lnTo>
                        <a:pt x="278" y="327"/>
                      </a:lnTo>
                      <a:lnTo>
                        <a:pt x="279" y="328"/>
                      </a:lnTo>
                      <a:lnTo>
                        <a:pt x="279" y="328"/>
                      </a:lnTo>
                      <a:lnTo>
                        <a:pt x="279" y="328"/>
                      </a:lnTo>
                      <a:lnTo>
                        <a:pt x="280" y="327"/>
                      </a:lnTo>
                      <a:lnTo>
                        <a:pt x="280" y="327"/>
                      </a:lnTo>
                      <a:lnTo>
                        <a:pt x="280" y="328"/>
                      </a:lnTo>
                      <a:lnTo>
                        <a:pt x="279" y="329"/>
                      </a:lnTo>
                      <a:lnTo>
                        <a:pt x="279" y="329"/>
                      </a:lnTo>
                      <a:lnTo>
                        <a:pt x="280" y="330"/>
                      </a:lnTo>
                      <a:lnTo>
                        <a:pt x="280" y="330"/>
                      </a:lnTo>
                      <a:lnTo>
                        <a:pt x="280" y="331"/>
                      </a:lnTo>
                      <a:lnTo>
                        <a:pt x="280" y="332"/>
                      </a:lnTo>
                      <a:lnTo>
                        <a:pt x="280" y="332"/>
                      </a:lnTo>
                      <a:lnTo>
                        <a:pt x="279" y="333"/>
                      </a:lnTo>
                      <a:lnTo>
                        <a:pt x="279" y="333"/>
                      </a:lnTo>
                      <a:lnTo>
                        <a:pt x="279" y="334"/>
                      </a:lnTo>
                      <a:lnTo>
                        <a:pt x="278" y="334"/>
                      </a:lnTo>
                      <a:lnTo>
                        <a:pt x="279" y="335"/>
                      </a:lnTo>
                      <a:lnTo>
                        <a:pt x="279" y="336"/>
                      </a:lnTo>
                      <a:lnTo>
                        <a:pt x="278" y="336"/>
                      </a:lnTo>
                      <a:lnTo>
                        <a:pt x="279" y="336"/>
                      </a:lnTo>
                      <a:lnTo>
                        <a:pt x="278" y="337"/>
                      </a:lnTo>
                      <a:lnTo>
                        <a:pt x="279" y="338"/>
                      </a:lnTo>
                      <a:lnTo>
                        <a:pt x="279" y="338"/>
                      </a:lnTo>
                      <a:lnTo>
                        <a:pt x="279" y="339"/>
                      </a:lnTo>
                      <a:lnTo>
                        <a:pt x="279" y="339"/>
                      </a:lnTo>
                      <a:lnTo>
                        <a:pt x="279" y="339"/>
                      </a:lnTo>
                      <a:lnTo>
                        <a:pt x="279" y="341"/>
                      </a:lnTo>
                      <a:lnTo>
                        <a:pt x="280" y="341"/>
                      </a:lnTo>
                      <a:lnTo>
                        <a:pt x="279" y="342"/>
                      </a:lnTo>
                      <a:lnTo>
                        <a:pt x="280" y="343"/>
                      </a:lnTo>
                      <a:lnTo>
                        <a:pt x="279" y="343"/>
                      </a:lnTo>
                      <a:lnTo>
                        <a:pt x="279" y="344"/>
                      </a:lnTo>
                      <a:lnTo>
                        <a:pt x="280" y="345"/>
                      </a:lnTo>
                      <a:lnTo>
                        <a:pt x="280" y="346"/>
                      </a:lnTo>
                      <a:lnTo>
                        <a:pt x="281" y="347"/>
                      </a:lnTo>
                      <a:lnTo>
                        <a:pt x="281" y="347"/>
                      </a:lnTo>
                      <a:lnTo>
                        <a:pt x="281" y="349"/>
                      </a:lnTo>
                      <a:lnTo>
                        <a:pt x="281" y="349"/>
                      </a:lnTo>
                      <a:lnTo>
                        <a:pt x="281" y="349"/>
                      </a:lnTo>
                      <a:lnTo>
                        <a:pt x="281" y="351"/>
                      </a:lnTo>
                      <a:lnTo>
                        <a:pt x="283" y="351"/>
                      </a:lnTo>
                      <a:lnTo>
                        <a:pt x="283" y="352"/>
                      </a:lnTo>
                      <a:lnTo>
                        <a:pt x="283" y="352"/>
                      </a:lnTo>
                      <a:lnTo>
                        <a:pt x="283" y="352"/>
                      </a:lnTo>
                      <a:lnTo>
                        <a:pt x="284" y="352"/>
                      </a:lnTo>
                      <a:lnTo>
                        <a:pt x="284" y="353"/>
                      </a:lnTo>
                      <a:lnTo>
                        <a:pt x="285" y="354"/>
                      </a:lnTo>
                      <a:lnTo>
                        <a:pt x="285" y="354"/>
                      </a:lnTo>
                      <a:lnTo>
                        <a:pt x="285" y="354"/>
                      </a:lnTo>
                      <a:lnTo>
                        <a:pt x="286" y="354"/>
                      </a:lnTo>
                      <a:lnTo>
                        <a:pt x="286" y="355"/>
                      </a:lnTo>
                      <a:lnTo>
                        <a:pt x="286" y="355"/>
                      </a:lnTo>
                      <a:lnTo>
                        <a:pt x="286" y="356"/>
                      </a:lnTo>
                      <a:lnTo>
                        <a:pt x="286" y="356"/>
                      </a:lnTo>
                      <a:lnTo>
                        <a:pt x="287" y="356"/>
                      </a:lnTo>
                      <a:lnTo>
                        <a:pt x="287" y="357"/>
                      </a:lnTo>
                      <a:lnTo>
                        <a:pt x="287" y="357"/>
                      </a:lnTo>
                      <a:lnTo>
                        <a:pt x="287" y="358"/>
                      </a:lnTo>
                      <a:lnTo>
                        <a:pt x="287" y="359"/>
                      </a:lnTo>
                      <a:lnTo>
                        <a:pt x="287" y="360"/>
                      </a:lnTo>
                      <a:lnTo>
                        <a:pt x="288" y="360"/>
                      </a:lnTo>
                      <a:lnTo>
                        <a:pt x="288" y="361"/>
                      </a:lnTo>
                      <a:lnTo>
                        <a:pt x="288" y="361"/>
                      </a:lnTo>
                      <a:lnTo>
                        <a:pt x="288" y="362"/>
                      </a:lnTo>
                      <a:lnTo>
                        <a:pt x="288" y="364"/>
                      </a:lnTo>
                      <a:lnTo>
                        <a:pt x="288" y="364"/>
                      </a:lnTo>
                      <a:lnTo>
                        <a:pt x="288" y="364"/>
                      </a:lnTo>
                      <a:lnTo>
                        <a:pt x="289" y="365"/>
                      </a:lnTo>
                      <a:lnTo>
                        <a:pt x="289" y="365"/>
                      </a:lnTo>
                      <a:lnTo>
                        <a:pt x="290" y="366"/>
                      </a:lnTo>
                      <a:lnTo>
                        <a:pt x="290" y="367"/>
                      </a:lnTo>
                      <a:lnTo>
                        <a:pt x="290" y="367"/>
                      </a:lnTo>
                      <a:lnTo>
                        <a:pt x="290" y="369"/>
                      </a:lnTo>
                      <a:lnTo>
                        <a:pt x="290" y="369"/>
                      </a:lnTo>
                      <a:lnTo>
                        <a:pt x="290" y="370"/>
                      </a:lnTo>
                      <a:lnTo>
                        <a:pt x="290" y="370"/>
                      </a:lnTo>
                      <a:lnTo>
                        <a:pt x="290" y="370"/>
                      </a:lnTo>
                      <a:lnTo>
                        <a:pt x="290" y="371"/>
                      </a:lnTo>
                      <a:lnTo>
                        <a:pt x="290" y="373"/>
                      </a:lnTo>
                      <a:lnTo>
                        <a:pt x="290" y="374"/>
                      </a:lnTo>
                      <a:lnTo>
                        <a:pt x="290" y="374"/>
                      </a:lnTo>
                      <a:lnTo>
                        <a:pt x="290" y="375"/>
                      </a:lnTo>
                      <a:lnTo>
                        <a:pt x="290" y="376"/>
                      </a:lnTo>
                      <a:lnTo>
                        <a:pt x="291" y="376"/>
                      </a:lnTo>
                      <a:lnTo>
                        <a:pt x="291" y="377"/>
                      </a:lnTo>
                      <a:lnTo>
                        <a:pt x="291" y="379"/>
                      </a:lnTo>
                      <a:lnTo>
                        <a:pt x="291" y="380"/>
                      </a:lnTo>
                      <a:lnTo>
                        <a:pt x="291" y="380"/>
                      </a:lnTo>
                      <a:lnTo>
                        <a:pt x="292" y="381"/>
                      </a:lnTo>
                      <a:lnTo>
                        <a:pt x="292" y="381"/>
                      </a:lnTo>
                      <a:lnTo>
                        <a:pt x="292" y="381"/>
                      </a:lnTo>
                      <a:lnTo>
                        <a:pt x="293" y="382"/>
                      </a:lnTo>
                      <a:lnTo>
                        <a:pt x="293" y="383"/>
                      </a:lnTo>
                      <a:lnTo>
                        <a:pt x="294" y="384"/>
                      </a:lnTo>
                      <a:lnTo>
                        <a:pt x="294" y="384"/>
                      </a:lnTo>
                      <a:lnTo>
                        <a:pt x="294" y="385"/>
                      </a:lnTo>
                      <a:lnTo>
                        <a:pt x="294" y="385"/>
                      </a:lnTo>
                      <a:lnTo>
                        <a:pt x="295" y="385"/>
                      </a:lnTo>
                      <a:lnTo>
                        <a:pt x="295" y="386"/>
                      </a:lnTo>
                      <a:lnTo>
                        <a:pt x="296" y="387"/>
                      </a:lnTo>
                      <a:lnTo>
                        <a:pt x="296" y="387"/>
                      </a:lnTo>
                      <a:lnTo>
                        <a:pt x="296" y="387"/>
                      </a:lnTo>
                      <a:lnTo>
                        <a:pt x="297" y="388"/>
                      </a:lnTo>
                      <a:lnTo>
                        <a:pt x="298" y="389"/>
                      </a:lnTo>
                      <a:lnTo>
                        <a:pt x="298" y="390"/>
                      </a:lnTo>
                      <a:lnTo>
                        <a:pt x="299" y="390"/>
                      </a:lnTo>
                      <a:lnTo>
                        <a:pt x="299" y="391"/>
                      </a:lnTo>
                      <a:lnTo>
                        <a:pt x="299" y="391"/>
                      </a:lnTo>
                      <a:lnTo>
                        <a:pt x="299" y="392"/>
                      </a:lnTo>
                      <a:lnTo>
                        <a:pt x="301" y="394"/>
                      </a:lnTo>
                      <a:lnTo>
                        <a:pt x="301" y="394"/>
                      </a:lnTo>
                      <a:lnTo>
                        <a:pt x="301" y="394"/>
                      </a:lnTo>
                      <a:lnTo>
                        <a:pt x="301" y="395"/>
                      </a:lnTo>
                      <a:lnTo>
                        <a:pt x="302" y="396"/>
                      </a:lnTo>
                      <a:lnTo>
                        <a:pt x="303" y="396"/>
                      </a:lnTo>
                      <a:lnTo>
                        <a:pt x="304" y="398"/>
                      </a:lnTo>
                      <a:lnTo>
                        <a:pt x="304" y="398"/>
                      </a:lnTo>
                      <a:lnTo>
                        <a:pt x="307" y="401"/>
                      </a:lnTo>
                      <a:lnTo>
                        <a:pt x="308" y="401"/>
                      </a:lnTo>
                      <a:lnTo>
                        <a:pt x="308" y="401"/>
                      </a:lnTo>
                      <a:lnTo>
                        <a:pt x="309" y="402"/>
                      </a:lnTo>
                      <a:lnTo>
                        <a:pt x="310" y="402"/>
                      </a:lnTo>
                      <a:lnTo>
                        <a:pt x="311" y="403"/>
                      </a:lnTo>
                      <a:lnTo>
                        <a:pt x="312" y="404"/>
                      </a:lnTo>
                      <a:lnTo>
                        <a:pt x="313" y="404"/>
                      </a:lnTo>
                      <a:lnTo>
                        <a:pt x="313" y="404"/>
                      </a:lnTo>
                      <a:lnTo>
                        <a:pt x="315" y="405"/>
                      </a:lnTo>
                      <a:lnTo>
                        <a:pt x="316" y="406"/>
                      </a:lnTo>
                      <a:lnTo>
                        <a:pt x="317" y="407"/>
                      </a:lnTo>
                      <a:lnTo>
                        <a:pt x="317" y="408"/>
                      </a:lnTo>
                      <a:lnTo>
                        <a:pt x="317" y="408"/>
                      </a:lnTo>
                      <a:lnTo>
                        <a:pt x="315" y="408"/>
                      </a:lnTo>
                      <a:lnTo>
                        <a:pt x="315" y="408"/>
                      </a:lnTo>
                      <a:lnTo>
                        <a:pt x="315" y="408"/>
                      </a:lnTo>
                      <a:lnTo>
                        <a:pt x="314" y="407"/>
                      </a:lnTo>
                      <a:lnTo>
                        <a:pt x="314" y="406"/>
                      </a:lnTo>
                      <a:lnTo>
                        <a:pt x="314" y="406"/>
                      </a:lnTo>
                      <a:lnTo>
                        <a:pt x="313" y="406"/>
                      </a:lnTo>
                      <a:lnTo>
                        <a:pt x="313" y="407"/>
                      </a:lnTo>
                      <a:lnTo>
                        <a:pt x="314" y="407"/>
                      </a:lnTo>
                      <a:lnTo>
                        <a:pt x="314" y="407"/>
                      </a:lnTo>
                      <a:lnTo>
                        <a:pt x="314" y="408"/>
                      </a:lnTo>
                      <a:lnTo>
                        <a:pt x="314" y="408"/>
                      </a:lnTo>
                      <a:lnTo>
                        <a:pt x="314" y="408"/>
                      </a:lnTo>
                      <a:lnTo>
                        <a:pt x="313" y="409"/>
                      </a:lnTo>
                      <a:lnTo>
                        <a:pt x="313" y="410"/>
                      </a:lnTo>
                      <a:lnTo>
                        <a:pt x="313" y="410"/>
                      </a:lnTo>
                      <a:lnTo>
                        <a:pt x="314" y="410"/>
                      </a:lnTo>
                      <a:lnTo>
                        <a:pt x="313" y="411"/>
                      </a:lnTo>
                      <a:lnTo>
                        <a:pt x="313" y="411"/>
                      </a:lnTo>
                      <a:lnTo>
                        <a:pt x="313" y="413"/>
                      </a:lnTo>
                      <a:lnTo>
                        <a:pt x="313" y="413"/>
                      </a:lnTo>
                      <a:lnTo>
                        <a:pt x="313" y="414"/>
                      </a:lnTo>
                      <a:lnTo>
                        <a:pt x="313" y="414"/>
                      </a:lnTo>
                      <a:lnTo>
                        <a:pt x="313" y="415"/>
                      </a:lnTo>
                      <a:lnTo>
                        <a:pt x="314" y="417"/>
                      </a:lnTo>
                      <a:lnTo>
                        <a:pt x="314" y="418"/>
                      </a:lnTo>
                      <a:lnTo>
                        <a:pt x="315" y="419"/>
                      </a:lnTo>
                      <a:lnTo>
                        <a:pt x="315" y="420"/>
                      </a:lnTo>
                      <a:lnTo>
                        <a:pt x="315" y="421"/>
                      </a:lnTo>
                      <a:lnTo>
                        <a:pt x="315" y="421"/>
                      </a:lnTo>
                      <a:lnTo>
                        <a:pt x="316" y="421"/>
                      </a:lnTo>
                      <a:lnTo>
                        <a:pt x="316" y="423"/>
                      </a:lnTo>
                      <a:lnTo>
                        <a:pt x="317" y="423"/>
                      </a:lnTo>
                      <a:lnTo>
                        <a:pt x="317" y="423"/>
                      </a:lnTo>
                      <a:lnTo>
                        <a:pt x="317" y="423"/>
                      </a:lnTo>
                      <a:lnTo>
                        <a:pt x="318" y="425"/>
                      </a:lnTo>
                      <a:lnTo>
                        <a:pt x="320" y="425"/>
                      </a:lnTo>
                      <a:lnTo>
                        <a:pt x="320" y="425"/>
                      </a:lnTo>
                      <a:lnTo>
                        <a:pt x="321" y="426"/>
                      </a:lnTo>
                      <a:lnTo>
                        <a:pt x="322" y="425"/>
                      </a:lnTo>
                      <a:lnTo>
                        <a:pt x="321" y="426"/>
                      </a:lnTo>
                      <a:lnTo>
                        <a:pt x="320" y="426"/>
                      </a:lnTo>
                      <a:lnTo>
                        <a:pt x="320" y="426"/>
                      </a:lnTo>
                      <a:lnTo>
                        <a:pt x="320" y="429"/>
                      </a:lnTo>
                      <a:lnTo>
                        <a:pt x="321" y="429"/>
                      </a:lnTo>
                      <a:lnTo>
                        <a:pt x="321" y="430"/>
                      </a:lnTo>
                      <a:lnTo>
                        <a:pt x="321" y="431"/>
                      </a:lnTo>
                      <a:lnTo>
                        <a:pt x="320" y="431"/>
                      </a:lnTo>
                      <a:lnTo>
                        <a:pt x="320" y="430"/>
                      </a:lnTo>
                      <a:lnTo>
                        <a:pt x="320" y="430"/>
                      </a:lnTo>
                      <a:lnTo>
                        <a:pt x="321" y="430"/>
                      </a:lnTo>
                      <a:lnTo>
                        <a:pt x="320" y="429"/>
                      </a:lnTo>
                      <a:lnTo>
                        <a:pt x="320" y="429"/>
                      </a:lnTo>
                      <a:lnTo>
                        <a:pt x="318" y="430"/>
                      </a:lnTo>
                      <a:lnTo>
                        <a:pt x="320" y="430"/>
                      </a:lnTo>
                      <a:lnTo>
                        <a:pt x="320" y="431"/>
                      </a:lnTo>
                      <a:lnTo>
                        <a:pt x="316" y="431"/>
                      </a:lnTo>
                      <a:lnTo>
                        <a:pt x="315" y="431"/>
                      </a:lnTo>
                      <a:lnTo>
                        <a:pt x="315" y="431"/>
                      </a:lnTo>
                      <a:lnTo>
                        <a:pt x="314" y="432"/>
                      </a:lnTo>
                      <a:lnTo>
                        <a:pt x="314" y="432"/>
                      </a:lnTo>
                      <a:lnTo>
                        <a:pt x="314" y="432"/>
                      </a:lnTo>
                      <a:lnTo>
                        <a:pt x="313" y="432"/>
                      </a:lnTo>
                      <a:lnTo>
                        <a:pt x="313" y="433"/>
                      </a:lnTo>
                      <a:lnTo>
                        <a:pt x="313" y="434"/>
                      </a:lnTo>
                      <a:lnTo>
                        <a:pt x="312" y="434"/>
                      </a:lnTo>
                      <a:lnTo>
                        <a:pt x="312" y="435"/>
                      </a:lnTo>
                      <a:lnTo>
                        <a:pt x="318" y="435"/>
                      </a:lnTo>
                      <a:lnTo>
                        <a:pt x="320" y="433"/>
                      </a:lnTo>
                      <a:lnTo>
                        <a:pt x="320" y="433"/>
                      </a:lnTo>
                      <a:lnTo>
                        <a:pt x="320" y="433"/>
                      </a:lnTo>
                      <a:lnTo>
                        <a:pt x="320" y="432"/>
                      </a:lnTo>
                      <a:lnTo>
                        <a:pt x="321" y="432"/>
                      </a:lnTo>
                      <a:lnTo>
                        <a:pt x="321" y="434"/>
                      </a:lnTo>
                      <a:lnTo>
                        <a:pt x="320" y="434"/>
                      </a:lnTo>
                      <a:lnTo>
                        <a:pt x="320" y="434"/>
                      </a:lnTo>
                      <a:lnTo>
                        <a:pt x="320" y="435"/>
                      </a:lnTo>
                      <a:lnTo>
                        <a:pt x="320" y="435"/>
                      </a:lnTo>
                      <a:lnTo>
                        <a:pt x="321" y="434"/>
                      </a:lnTo>
                      <a:lnTo>
                        <a:pt x="321" y="433"/>
                      </a:lnTo>
                      <a:lnTo>
                        <a:pt x="323" y="433"/>
                      </a:lnTo>
                      <a:lnTo>
                        <a:pt x="323" y="433"/>
                      </a:lnTo>
                      <a:lnTo>
                        <a:pt x="323" y="432"/>
                      </a:lnTo>
                      <a:lnTo>
                        <a:pt x="325" y="432"/>
                      </a:lnTo>
                      <a:lnTo>
                        <a:pt x="326" y="432"/>
                      </a:lnTo>
                      <a:lnTo>
                        <a:pt x="326" y="432"/>
                      </a:lnTo>
                      <a:lnTo>
                        <a:pt x="326" y="432"/>
                      </a:lnTo>
                      <a:lnTo>
                        <a:pt x="327" y="432"/>
                      </a:lnTo>
                      <a:lnTo>
                        <a:pt x="327" y="431"/>
                      </a:lnTo>
                      <a:lnTo>
                        <a:pt x="326" y="430"/>
                      </a:lnTo>
                      <a:lnTo>
                        <a:pt x="325" y="429"/>
                      </a:lnTo>
                      <a:lnTo>
                        <a:pt x="326" y="429"/>
                      </a:lnTo>
                      <a:lnTo>
                        <a:pt x="326" y="426"/>
                      </a:lnTo>
                      <a:lnTo>
                        <a:pt x="326" y="426"/>
                      </a:lnTo>
                      <a:lnTo>
                        <a:pt x="326" y="425"/>
                      </a:lnTo>
                      <a:lnTo>
                        <a:pt x="326" y="425"/>
                      </a:lnTo>
                      <a:lnTo>
                        <a:pt x="326" y="427"/>
                      </a:lnTo>
                      <a:lnTo>
                        <a:pt x="326" y="428"/>
                      </a:lnTo>
                      <a:lnTo>
                        <a:pt x="329" y="430"/>
                      </a:lnTo>
                      <a:lnTo>
                        <a:pt x="329" y="432"/>
                      </a:lnTo>
                      <a:lnTo>
                        <a:pt x="333" y="434"/>
                      </a:lnTo>
                      <a:lnTo>
                        <a:pt x="336" y="435"/>
                      </a:lnTo>
                      <a:lnTo>
                        <a:pt x="336" y="435"/>
                      </a:lnTo>
                      <a:lnTo>
                        <a:pt x="338" y="435"/>
                      </a:lnTo>
                      <a:lnTo>
                        <a:pt x="339" y="435"/>
                      </a:lnTo>
                      <a:lnTo>
                        <a:pt x="341" y="436"/>
                      </a:lnTo>
                      <a:lnTo>
                        <a:pt x="342" y="436"/>
                      </a:lnTo>
                      <a:lnTo>
                        <a:pt x="342" y="436"/>
                      </a:lnTo>
                      <a:lnTo>
                        <a:pt x="344" y="436"/>
                      </a:lnTo>
                      <a:lnTo>
                        <a:pt x="344" y="437"/>
                      </a:lnTo>
                      <a:lnTo>
                        <a:pt x="345" y="438"/>
                      </a:lnTo>
                      <a:lnTo>
                        <a:pt x="345" y="439"/>
                      </a:lnTo>
                      <a:lnTo>
                        <a:pt x="345" y="439"/>
                      </a:lnTo>
                      <a:lnTo>
                        <a:pt x="346" y="439"/>
                      </a:lnTo>
                      <a:lnTo>
                        <a:pt x="346" y="439"/>
                      </a:lnTo>
                      <a:lnTo>
                        <a:pt x="346" y="440"/>
                      </a:lnTo>
                      <a:lnTo>
                        <a:pt x="347" y="440"/>
                      </a:lnTo>
                      <a:lnTo>
                        <a:pt x="349" y="442"/>
                      </a:lnTo>
                      <a:lnTo>
                        <a:pt x="352" y="443"/>
                      </a:lnTo>
                      <a:lnTo>
                        <a:pt x="354" y="444"/>
                      </a:lnTo>
                      <a:lnTo>
                        <a:pt x="354" y="444"/>
                      </a:lnTo>
                      <a:lnTo>
                        <a:pt x="355" y="444"/>
                      </a:lnTo>
                      <a:lnTo>
                        <a:pt x="355" y="445"/>
                      </a:lnTo>
                      <a:lnTo>
                        <a:pt x="358" y="445"/>
                      </a:lnTo>
                      <a:lnTo>
                        <a:pt x="362" y="447"/>
                      </a:lnTo>
                      <a:lnTo>
                        <a:pt x="363" y="447"/>
                      </a:lnTo>
                      <a:lnTo>
                        <a:pt x="364" y="447"/>
                      </a:lnTo>
                      <a:lnTo>
                        <a:pt x="364" y="447"/>
                      </a:lnTo>
                      <a:lnTo>
                        <a:pt x="365" y="447"/>
                      </a:lnTo>
                      <a:lnTo>
                        <a:pt x="366" y="447"/>
                      </a:lnTo>
                      <a:lnTo>
                        <a:pt x="367" y="446"/>
                      </a:lnTo>
                      <a:lnTo>
                        <a:pt x="368" y="446"/>
                      </a:lnTo>
                      <a:lnTo>
                        <a:pt x="369" y="447"/>
                      </a:lnTo>
                      <a:lnTo>
                        <a:pt x="371" y="447"/>
                      </a:lnTo>
                      <a:lnTo>
                        <a:pt x="371" y="447"/>
                      </a:lnTo>
                      <a:lnTo>
                        <a:pt x="372" y="448"/>
                      </a:lnTo>
                      <a:lnTo>
                        <a:pt x="372" y="448"/>
                      </a:lnTo>
                      <a:lnTo>
                        <a:pt x="373" y="449"/>
                      </a:lnTo>
                      <a:lnTo>
                        <a:pt x="376" y="451"/>
                      </a:lnTo>
                      <a:lnTo>
                        <a:pt x="376" y="452"/>
                      </a:lnTo>
                      <a:lnTo>
                        <a:pt x="377" y="452"/>
                      </a:lnTo>
                      <a:lnTo>
                        <a:pt x="377" y="452"/>
                      </a:lnTo>
                      <a:lnTo>
                        <a:pt x="378" y="452"/>
                      </a:lnTo>
                      <a:lnTo>
                        <a:pt x="379" y="452"/>
                      </a:lnTo>
                      <a:lnTo>
                        <a:pt x="380" y="453"/>
                      </a:lnTo>
                      <a:lnTo>
                        <a:pt x="382" y="453"/>
                      </a:lnTo>
                      <a:lnTo>
                        <a:pt x="384" y="452"/>
                      </a:lnTo>
                      <a:lnTo>
                        <a:pt x="386" y="452"/>
                      </a:lnTo>
                      <a:lnTo>
                        <a:pt x="390" y="455"/>
                      </a:lnTo>
                      <a:lnTo>
                        <a:pt x="391" y="456"/>
                      </a:lnTo>
                      <a:lnTo>
                        <a:pt x="391" y="457"/>
                      </a:lnTo>
                      <a:lnTo>
                        <a:pt x="392" y="457"/>
                      </a:lnTo>
                      <a:lnTo>
                        <a:pt x="395" y="457"/>
                      </a:lnTo>
                      <a:lnTo>
                        <a:pt x="395" y="457"/>
                      </a:lnTo>
                      <a:lnTo>
                        <a:pt x="396" y="458"/>
                      </a:lnTo>
                      <a:lnTo>
                        <a:pt x="397" y="458"/>
                      </a:lnTo>
                      <a:lnTo>
                        <a:pt x="397" y="457"/>
                      </a:lnTo>
                      <a:lnTo>
                        <a:pt x="398" y="458"/>
                      </a:lnTo>
                      <a:lnTo>
                        <a:pt x="399" y="457"/>
                      </a:lnTo>
                      <a:lnTo>
                        <a:pt x="399" y="458"/>
                      </a:lnTo>
                      <a:lnTo>
                        <a:pt x="401" y="458"/>
                      </a:lnTo>
                      <a:lnTo>
                        <a:pt x="401" y="458"/>
                      </a:lnTo>
                      <a:lnTo>
                        <a:pt x="402" y="458"/>
                      </a:lnTo>
                      <a:lnTo>
                        <a:pt x="402" y="458"/>
                      </a:lnTo>
                      <a:lnTo>
                        <a:pt x="400" y="462"/>
                      </a:lnTo>
                      <a:lnTo>
                        <a:pt x="393" y="464"/>
                      </a:lnTo>
                      <a:lnTo>
                        <a:pt x="390" y="468"/>
                      </a:lnTo>
                      <a:lnTo>
                        <a:pt x="389" y="473"/>
                      </a:lnTo>
                      <a:lnTo>
                        <a:pt x="389" y="483"/>
                      </a:lnTo>
                      <a:lnTo>
                        <a:pt x="380" y="480"/>
                      </a:lnTo>
                      <a:lnTo>
                        <a:pt x="369" y="483"/>
                      </a:lnTo>
                      <a:lnTo>
                        <a:pt x="365" y="479"/>
                      </a:lnTo>
                      <a:lnTo>
                        <a:pt x="360" y="479"/>
                      </a:lnTo>
                      <a:lnTo>
                        <a:pt x="348" y="481"/>
                      </a:lnTo>
                      <a:lnTo>
                        <a:pt x="339" y="477"/>
                      </a:lnTo>
                      <a:lnTo>
                        <a:pt x="331" y="479"/>
                      </a:lnTo>
                      <a:lnTo>
                        <a:pt x="312" y="477"/>
                      </a:lnTo>
                      <a:lnTo>
                        <a:pt x="305" y="479"/>
                      </a:lnTo>
                      <a:lnTo>
                        <a:pt x="303" y="483"/>
                      </a:lnTo>
                      <a:lnTo>
                        <a:pt x="286" y="493"/>
                      </a:lnTo>
                      <a:lnTo>
                        <a:pt x="285" y="490"/>
                      </a:lnTo>
                      <a:lnTo>
                        <a:pt x="278" y="490"/>
                      </a:lnTo>
                      <a:lnTo>
                        <a:pt x="277" y="483"/>
                      </a:lnTo>
                      <a:lnTo>
                        <a:pt x="274" y="481"/>
                      </a:lnTo>
                      <a:lnTo>
                        <a:pt x="273" y="483"/>
                      </a:lnTo>
                      <a:lnTo>
                        <a:pt x="269" y="481"/>
                      </a:lnTo>
                      <a:lnTo>
                        <a:pt x="267" y="486"/>
                      </a:lnTo>
                      <a:lnTo>
                        <a:pt x="264" y="485"/>
                      </a:lnTo>
                      <a:lnTo>
                        <a:pt x="263" y="482"/>
                      </a:lnTo>
                      <a:lnTo>
                        <a:pt x="261" y="479"/>
                      </a:lnTo>
                      <a:lnTo>
                        <a:pt x="258" y="479"/>
                      </a:lnTo>
                      <a:lnTo>
                        <a:pt x="257" y="481"/>
                      </a:lnTo>
                      <a:lnTo>
                        <a:pt x="257" y="485"/>
                      </a:lnTo>
                      <a:lnTo>
                        <a:pt x="261" y="497"/>
                      </a:lnTo>
                      <a:lnTo>
                        <a:pt x="260" y="499"/>
                      </a:lnTo>
                      <a:lnTo>
                        <a:pt x="258" y="500"/>
                      </a:lnTo>
                      <a:lnTo>
                        <a:pt x="256" y="498"/>
                      </a:lnTo>
                      <a:lnTo>
                        <a:pt x="253" y="489"/>
                      </a:lnTo>
                      <a:lnTo>
                        <a:pt x="251" y="486"/>
                      </a:lnTo>
                      <a:lnTo>
                        <a:pt x="244" y="485"/>
                      </a:lnTo>
                      <a:lnTo>
                        <a:pt x="246" y="490"/>
                      </a:lnTo>
                      <a:lnTo>
                        <a:pt x="242" y="491"/>
                      </a:lnTo>
                      <a:lnTo>
                        <a:pt x="233" y="482"/>
                      </a:lnTo>
                      <a:lnTo>
                        <a:pt x="230" y="476"/>
                      </a:lnTo>
                      <a:lnTo>
                        <a:pt x="228" y="474"/>
                      </a:lnTo>
                      <a:lnTo>
                        <a:pt x="222" y="476"/>
                      </a:lnTo>
                      <a:lnTo>
                        <a:pt x="221" y="475"/>
                      </a:lnTo>
                      <a:lnTo>
                        <a:pt x="220" y="470"/>
                      </a:lnTo>
                      <a:lnTo>
                        <a:pt x="216" y="468"/>
                      </a:lnTo>
                      <a:lnTo>
                        <a:pt x="204" y="467"/>
                      </a:lnTo>
                      <a:lnTo>
                        <a:pt x="202" y="470"/>
                      </a:lnTo>
                      <a:lnTo>
                        <a:pt x="197" y="468"/>
                      </a:lnTo>
                      <a:lnTo>
                        <a:pt x="193" y="469"/>
                      </a:lnTo>
                      <a:lnTo>
                        <a:pt x="193" y="474"/>
                      </a:lnTo>
                      <a:lnTo>
                        <a:pt x="191" y="478"/>
                      </a:lnTo>
                      <a:lnTo>
                        <a:pt x="189" y="485"/>
                      </a:lnTo>
                      <a:lnTo>
                        <a:pt x="181" y="478"/>
                      </a:lnTo>
                      <a:lnTo>
                        <a:pt x="179" y="477"/>
                      </a:lnTo>
                      <a:lnTo>
                        <a:pt x="176" y="481"/>
                      </a:lnTo>
                      <a:lnTo>
                        <a:pt x="176" y="485"/>
                      </a:lnTo>
                      <a:lnTo>
                        <a:pt x="159" y="496"/>
                      </a:lnTo>
                      <a:lnTo>
                        <a:pt x="153" y="496"/>
                      </a:lnTo>
                      <a:lnTo>
                        <a:pt x="143" y="488"/>
                      </a:lnTo>
                      <a:lnTo>
                        <a:pt x="135" y="486"/>
                      </a:lnTo>
                      <a:lnTo>
                        <a:pt x="123" y="490"/>
                      </a:lnTo>
                      <a:lnTo>
                        <a:pt x="115" y="497"/>
                      </a:lnTo>
                      <a:lnTo>
                        <a:pt x="112" y="495"/>
                      </a:lnTo>
                      <a:lnTo>
                        <a:pt x="112" y="495"/>
                      </a:lnTo>
                      <a:lnTo>
                        <a:pt x="113" y="488"/>
                      </a:lnTo>
                      <a:lnTo>
                        <a:pt x="111" y="484"/>
                      </a:lnTo>
                      <a:lnTo>
                        <a:pt x="110" y="469"/>
                      </a:lnTo>
                      <a:lnTo>
                        <a:pt x="104" y="467"/>
                      </a:lnTo>
                      <a:lnTo>
                        <a:pt x="100" y="460"/>
                      </a:lnTo>
                      <a:lnTo>
                        <a:pt x="84" y="446"/>
                      </a:lnTo>
                      <a:lnTo>
                        <a:pt x="82" y="441"/>
                      </a:lnTo>
                      <a:lnTo>
                        <a:pt x="80" y="432"/>
                      </a:lnTo>
                      <a:lnTo>
                        <a:pt x="84" y="428"/>
                      </a:lnTo>
                      <a:lnTo>
                        <a:pt x="85" y="425"/>
                      </a:lnTo>
                      <a:lnTo>
                        <a:pt x="85" y="422"/>
                      </a:lnTo>
                      <a:lnTo>
                        <a:pt x="83" y="419"/>
                      </a:lnTo>
                      <a:lnTo>
                        <a:pt x="72" y="412"/>
                      </a:lnTo>
                      <a:lnTo>
                        <a:pt x="70" y="409"/>
                      </a:lnTo>
                      <a:lnTo>
                        <a:pt x="75" y="396"/>
                      </a:lnTo>
                      <a:lnTo>
                        <a:pt x="80" y="375"/>
                      </a:lnTo>
                      <a:lnTo>
                        <a:pt x="68" y="366"/>
                      </a:lnTo>
                      <a:lnTo>
                        <a:pt x="60" y="353"/>
                      </a:lnTo>
                      <a:lnTo>
                        <a:pt x="57" y="353"/>
                      </a:lnTo>
                      <a:lnTo>
                        <a:pt x="53" y="358"/>
                      </a:lnTo>
                      <a:lnTo>
                        <a:pt x="39" y="368"/>
                      </a:lnTo>
                      <a:lnTo>
                        <a:pt x="32" y="367"/>
                      </a:lnTo>
                      <a:lnTo>
                        <a:pt x="26" y="361"/>
                      </a:lnTo>
                      <a:lnTo>
                        <a:pt x="25" y="357"/>
                      </a:lnTo>
                      <a:lnTo>
                        <a:pt x="26" y="353"/>
                      </a:lnTo>
                      <a:lnTo>
                        <a:pt x="25" y="349"/>
                      </a:lnTo>
                      <a:lnTo>
                        <a:pt x="21" y="344"/>
                      </a:lnTo>
                      <a:lnTo>
                        <a:pt x="19" y="339"/>
                      </a:lnTo>
                      <a:lnTo>
                        <a:pt x="25" y="336"/>
                      </a:lnTo>
                      <a:lnTo>
                        <a:pt x="27" y="327"/>
                      </a:lnTo>
                      <a:lnTo>
                        <a:pt x="30" y="325"/>
                      </a:lnTo>
                      <a:lnTo>
                        <a:pt x="27" y="320"/>
                      </a:lnTo>
                      <a:lnTo>
                        <a:pt x="26" y="312"/>
                      </a:lnTo>
                      <a:lnTo>
                        <a:pt x="19" y="309"/>
                      </a:lnTo>
                      <a:lnTo>
                        <a:pt x="25" y="301"/>
                      </a:lnTo>
                      <a:lnTo>
                        <a:pt x="25" y="294"/>
                      </a:lnTo>
                      <a:lnTo>
                        <a:pt x="27" y="292"/>
                      </a:lnTo>
                      <a:lnTo>
                        <a:pt x="43" y="282"/>
                      </a:lnTo>
                      <a:lnTo>
                        <a:pt x="40" y="276"/>
                      </a:lnTo>
                      <a:lnTo>
                        <a:pt x="41" y="273"/>
                      </a:lnTo>
                      <a:lnTo>
                        <a:pt x="40" y="271"/>
                      </a:lnTo>
                      <a:lnTo>
                        <a:pt x="42" y="268"/>
                      </a:lnTo>
                      <a:lnTo>
                        <a:pt x="38" y="265"/>
                      </a:lnTo>
                      <a:lnTo>
                        <a:pt x="29" y="268"/>
                      </a:lnTo>
                      <a:lnTo>
                        <a:pt x="28" y="265"/>
                      </a:lnTo>
                      <a:lnTo>
                        <a:pt x="21" y="259"/>
                      </a:lnTo>
                      <a:lnTo>
                        <a:pt x="18" y="251"/>
                      </a:lnTo>
                      <a:lnTo>
                        <a:pt x="9" y="248"/>
                      </a:lnTo>
                      <a:lnTo>
                        <a:pt x="6" y="244"/>
                      </a:lnTo>
                      <a:lnTo>
                        <a:pt x="2" y="229"/>
                      </a:lnTo>
                      <a:lnTo>
                        <a:pt x="0" y="227"/>
                      </a:lnTo>
                      <a:lnTo>
                        <a:pt x="0" y="227"/>
                      </a:lnTo>
                      <a:lnTo>
                        <a:pt x="5" y="217"/>
                      </a:lnTo>
                      <a:lnTo>
                        <a:pt x="12" y="215"/>
                      </a:lnTo>
                      <a:lnTo>
                        <a:pt x="14" y="207"/>
                      </a:lnTo>
                      <a:lnTo>
                        <a:pt x="11" y="203"/>
                      </a:lnTo>
                      <a:lnTo>
                        <a:pt x="12" y="199"/>
                      </a:lnTo>
                      <a:lnTo>
                        <a:pt x="25" y="190"/>
                      </a:lnTo>
                      <a:lnTo>
                        <a:pt x="28" y="181"/>
                      </a:lnTo>
                      <a:lnTo>
                        <a:pt x="34" y="177"/>
                      </a:lnTo>
                      <a:lnTo>
                        <a:pt x="40" y="170"/>
                      </a:lnTo>
                      <a:lnTo>
                        <a:pt x="46" y="164"/>
                      </a:lnTo>
                      <a:lnTo>
                        <a:pt x="54" y="162"/>
                      </a:lnTo>
                      <a:lnTo>
                        <a:pt x="60" y="164"/>
                      </a:lnTo>
                      <a:lnTo>
                        <a:pt x="63" y="170"/>
                      </a:lnTo>
                      <a:lnTo>
                        <a:pt x="71" y="163"/>
                      </a:lnTo>
                      <a:lnTo>
                        <a:pt x="72" y="155"/>
                      </a:lnTo>
                      <a:lnTo>
                        <a:pt x="75" y="150"/>
                      </a:lnTo>
                      <a:lnTo>
                        <a:pt x="82" y="148"/>
                      </a:lnTo>
                      <a:lnTo>
                        <a:pt x="86" y="142"/>
                      </a:lnTo>
                      <a:lnTo>
                        <a:pt x="99" y="140"/>
                      </a:lnTo>
                      <a:lnTo>
                        <a:pt x="106" y="128"/>
                      </a:lnTo>
                      <a:lnTo>
                        <a:pt x="105" y="124"/>
                      </a:lnTo>
                      <a:lnTo>
                        <a:pt x="100" y="117"/>
                      </a:lnTo>
                      <a:lnTo>
                        <a:pt x="99" y="109"/>
                      </a:lnTo>
                      <a:lnTo>
                        <a:pt x="90" y="94"/>
                      </a:lnTo>
                      <a:lnTo>
                        <a:pt x="85" y="80"/>
                      </a:lnTo>
                      <a:lnTo>
                        <a:pt x="81" y="73"/>
                      </a:lnTo>
                      <a:lnTo>
                        <a:pt x="81" y="70"/>
                      </a:lnTo>
                      <a:lnTo>
                        <a:pt x="76" y="67"/>
                      </a:lnTo>
                      <a:lnTo>
                        <a:pt x="75" y="60"/>
                      </a:lnTo>
                      <a:lnTo>
                        <a:pt x="94" y="56"/>
                      </a:lnTo>
                      <a:lnTo>
                        <a:pt x="98" y="52"/>
                      </a:lnTo>
                      <a:lnTo>
                        <a:pt x="104" y="41"/>
                      </a:lnTo>
                      <a:lnTo>
                        <a:pt x="107" y="38"/>
                      </a:lnTo>
                      <a:lnTo>
                        <a:pt x="108" y="31"/>
                      </a:lnTo>
                      <a:lnTo>
                        <a:pt x="115" y="25"/>
                      </a:lnTo>
                      <a:lnTo>
                        <a:pt x="119" y="23"/>
                      </a:lnTo>
                      <a:lnTo>
                        <a:pt x="125" y="17"/>
                      </a:lnTo>
                      <a:lnTo>
                        <a:pt x="127" y="4"/>
                      </a:lnTo>
                      <a:lnTo>
                        <a:pt x="138" y="0"/>
                      </a:lnTo>
                      <a:close/>
                    </a:path>
                  </a:pathLst>
                </a:custGeom>
                <a:grpFill/>
                <a:ln w="317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900" dirty="0"/>
                </a:p>
              </p:txBody>
            </p:sp>
            <p:sp>
              <p:nvSpPr>
                <p:cNvPr id="129" name="North West" descr="{&quot;Key&quot;:&quot;north west&quot;,&quot;Name&quot;:&quot;North West&quot;,&quot;Value&quot;:1.0,&quot;Formula&quot;:&quot;&quot;,&quot;Text&quot;:&quot;1&quot;,&quot;HasValue&quot;:true}">
                  <a:extLst>
                    <a:ext uri="{FF2B5EF4-FFF2-40B4-BE49-F238E27FC236}">
                      <a16:creationId xmlns:a16="http://schemas.microsoft.com/office/drawing/2014/main" id="{BF183C75-7718-9D57-017A-86A0C09F5937}"/>
                    </a:ext>
                  </a:extLst>
                </p:cNvPr>
                <p:cNvSpPr>
                  <a:spLocks noEditPoints="1"/>
                </p:cNvSpPr>
                <p:nvPr/>
              </p:nvSpPr>
              <p:spPr bwMode="auto">
                <a:xfrm>
                  <a:off x="6338888" y="3575050"/>
                  <a:ext cx="581025" cy="1274763"/>
                </a:xfrm>
                <a:custGeom>
                  <a:avLst/>
                  <a:gdLst>
                    <a:gd name="T0" fmla="*/ 85 w 366"/>
                    <a:gd name="T1" fmla="*/ 401 h 803"/>
                    <a:gd name="T2" fmla="*/ 95 w 366"/>
                    <a:gd name="T3" fmla="*/ 414 h 803"/>
                    <a:gd name="T4" fmla="*/ 76 w 366"/>
                    <a:gd name="T5" fmla="*/ 378 h 803"/>
                    <a:gd name="T6" fmla="*/ 226 w 366"/>
                    <a:gd name="T7" fmla="*/ 126 h 803"/>
                    <a:gd name="T8" fmla="*/ 284 w 366"/>
                    <a:gd name="T9" fmla="*/ 289 h 803"/>
                    <a:gd name="T10" fmla="*/ 273 w 366"/>
                    <a:gd name="T11" fmla="*/ 425 h 803"/>
                    <a:gd name="T12" fmla="*/ 338 w 366"/>
                    <a:gd name="T13" fmla="*/ 551 h 803"/>
                    <a:gd name="T14" fmla="*/ 330 w 366"/>
                    <a:gd name="T15" fmla="*/ 727 h 803"/>
                    <a:gd name="T16" fmla="*/ 164 w 366"/>
                    <a:gd name="T17" fmla="*/ 773 h 803"/>
                    <a:gd name="T18" fmla="*/ 115 w 366"/>
                    <a:gd name="T19" fmla="*/ 690 h 803"/>
                    <a:gd name="T20" fmla="*/ 112 w 366"/>
                    <a:gd name="T21" fmla="*/ 686 h 803"/>
                    <a:gd name="T22" fmla="*/ 105 w 366"/>
                    <a:gd name="T23" fmla="*/ 670 h 803"/>
                    <a:gd name="T24" fmla="*/ 96 w 366"/>
                    <a:gd name="T25" fmla="*/ 645 h 803"/>
                    <a:gd name="T26" fmla="*/ 126 w 366"/>
                    <a:gd name="T27" fmla="*/ 630 h 803"/>
                    <a:gd name="T28" fmla="*/ 129 w 366"/>
                    <a:gd name="T29" fmla="*/ 644 h 803"/>
                    <a:gd name="T30" fmla="*/ 139 w 366"/>
                    <a:gd name="T31" fmla="*/ 661 h 803"/>
                    <a:gd name="T32" fmla="*/ 154 w 366"/>
                    <a:gd name="T33" fmla="*/ 679 h 803"/>
                    <a:gd name="T34" fmla="*/ 177 w 366"/>
                    <a:gd name="T35" fmla="*/ 677 h 803"/>
                    <a:gd name="T36" fmla="*/ 177 w 366"/>
                    <a:gd name="T37" fmla="*/ 672 h 803"/>
                    <a:gd name="T38" fmla="*/ 148 w 366"/>
                    <a:gd name="T39" fmla="*/ 658 h 803"/>
                    <a:gd name="T40" fmla="*/ 132 w 366"/>
                    <a:gd name="T41" fmla="*/ 628 h 803"/>
                    <a:gd name="T42" fmla="*/ 125 w 366"/>
                    <a:gd name="T43" fmla="*/ 618 h 803"/>
                    <a:gd name="T44" fmla="*/ 117 w 366"/>
                    <a:gd name="T45" fmla="*/ 577 h 803"/>
                    <a:gd name="T46" fmla="*/ 130 w 366"/>
                    <a:gd name="T47" fmla="*/ 555 h 803"/>
                    <a:gd name="T48" fmla="*/ 144 w 366"/>
                    <a:gd name="T49" fmla="*/ 533 h 803"/>
                    <a:gd name="T50" fmla="*/ 122 w 366"/>
                    <a:gd name="T51" fmla="*/ 514 h 803"/>
                    <a:gd name="T52" fmla="*/ 132 w 366"/>
                    <a:gd name="T53" fmla="*/ 456 h 803"/>
                    <a:gd name="T54" fmla="*/ 147 w 366"/>
                    <a:gd name="T55" fmla="*/ 484 h 803"/>
                    <a:gd name="T56" fmla="*/ 134 w 366"/>
                    <a:gd name="T57" fmla="*/ 461 h 803"/>
                    <a:gd name="T58" fmla="*/ 160 w 366"/>
                    <a:gd name="T59" fmla="*/ 447 h 803"/>
                    <a:gd name="T60" fmla="*/ 151 w 366"/>
                    <a:gd name="T61" fmla="*/ 421 h 803"/>
                    <a:gd name="T62" fmla="*/ 159 w 366"/>
                    <a:gd name="T63" fmla="*/ 404 h 803"/>
                    <a:gd name="T64" fmla="*/ 177 w 366"/>
                    <a:gd name="T65" fmla="*/ 385 h 803"/>
                    <a:gd name="T66" fmla="*/ 163 w 366"/>
                    <a:gd name="T67" fmla="*/ 362 h 803"/>
                    <a:gd name="T68" fmla="*/ 175 w 366"/>
                    <a:gd name="T69" fmla="*/ 344 h 803"/>
                    <a:gd name="T70" fmla="*/ 157 w 366"/>
                    <a:gd name="T71" fmla="*/ 361 h 803"/>
                    <a:gd name="T72" fmla="*/ 143 w 366"/>
                    <a:gd name="T73" fmla="*/ 376 h 803"/>
                    <a:gd name="T74" fmla="*/ 127 w 366"/>
                    <a:gd name="T75" fmla="*/ 361 h 803"/>
                    <a:gd name="T76" fmla="*/ 126 w 366"/>
                    <a:gd name="T77" fmla="*/ 346 h 803"/>
                    <a:gd name="T78" fmla="*/ 121 w 366"/>
                    <a:gd name="T79" fmla="*/ 368 h 803"/>
                    <a:gd name="T80" fmla="*/ 106 w 366"/>
                    <a:gd name="T81" fmla="*/ 394 h 803"/>
                    <a:gd name="T82" fmla="*/ 97 w 366"/>
                    <a:gd name="T83" fmla="*/ 404 h 803"/>
                    <a:gd name="T84" fmla="*/ 86 w 366"/>
                    <a:gd name="T85" fmla="*/ 398 h 803"/>
                    <a:gd name="T86" fmla="*/ 87 w 366"/>
                    <a:gd name="T87" fmla="*/ 370 h 803"/>
                    <a:gd name="T88" fmla="*/ 94 w 366"/>
                    <a:gd name="T89" fmla="*/ 348 h 803"/>
                    <a:gd name="T90" fmla="*/ 86 w 366"/>
                    <a:gd name="T91" fmla="*/ 339 h 803"/>
                    <a:gd name="T92" fmla="*/ 83 w 366"/>
                    <a:gd name="T93" fmla="*/ 359 h 803"/>
                    <a:gd name="T94" fmla="*/ 53 w 366"/>
                    <a:gd name="T95" fmla="*/ 342 h 803"/>
                    <a:gd name="T96" fmla="*/ 48 w 366"/>
                    <a:gd name="T97" fmla="*/ 306 h 803"/>
                    <a:gd name="T98" fmla="*/ 49 w 366"/>
                    <a:gd name="T99" fmla="*/ 301 h 803"/>
                    <a:gd name="T100" fmla="*/ 43 w 366"/>
                    <a:gd name="T101" fmla="*/ 308 h 803"/>
                    <a:gd name="T102" fmla="*/ 17 w 366"/>
                    <a:gd name="T103" fmla="*/ 271 h 803"/>
                    <a:gd name="T104" fmla="*/ 5 w 366"/>
                    <a:gd name="T105" fmla="*/ 242 h 803"/>
                    <a:gd name="T106" fmla="*/ 14 w 366"/>
                    <a:gd name="T107" fmla="*/ 212 h 803"/>
                    <a:gd name="T108" fmla="*/ 25 w 366"/>
                    <a:gd name="T109" fmla="*/ 181 h 803"/>
                    <a:gd name="T110" fmla="*/ 43 w 366"/>
                    <a:gd name="T111" fmla="*/ 156 h 803"/>
                    <a:gd name="T112" fmla="*/ 53 w 366"/>
                    <a:gd name="T113" fmla="*/ 115 h 803"/>
                    <a:gd name="T114" fmla="*/ 75 w 366"/>
                    <a:gd name="T115" fmla="*/ 116 h 803"/>
                    <a:gd name="T116" fmla="*/ 84 w 366"/>
                    <a:gd name="T117" fmla="*/ 102 h 803"/>
                    <a:gd name="T118" fmla="*/ 83 w 366"/>
                    <a:gd name="T119" fmla="*/ 89 h 803"/>
                    <a:gd name="T120" fmla="*/ 120 w 366"/>
                    <a:gd name="T121" fmla="*/ 90 h 803"/>
                    <a:gd name="T122" fmla="*/ 118 w 366"/>
                    <a:gd name="T123" fmla="*/ 83 h 803"/>
                    <a:gd name="T124" fmla="*/ 149 w 366"/>
                    <a:gd name="T125" fmla="*/ 44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6" h="803">
                      <a:moveTo>
                        <a:pt x="80" y="376"/>
                      </a:moveTo>
                      <a:lnTo>
                        <a:pt x="81" y="377"/>
                      </a:lnTo>
                      <a:lnTo>
                        <a:pt x="81" y="377"/>
                      </a:lnTo>
                      <a:lnTo>
                        <a:pt x="80" y="377"/>
                      </a:lnTo>
                      <a:lnTo>
                        <a:pt x="79" y="378"/>
                      </a:lnTo>
                      <a:lnTo>
                        <a:pt x="78" y="378"/>
                      </a:lnTo>
                      <a:lnTo>
                        <a:pt x="78" y="380"/>
                      </a:lnTo>
                      <a:lnTo>
                        <a:pt x="78" y="382"/>
                      </a:lnTo>
                      <a:lnTo>
                        <a:pt x="79" y="382"/>
                      </a:lnTo>
                      <a:lnTo>
                        <a:pt x="79" y="383"/>
                      </a:lnTo>
                      <a:lnTo>
                        <a:pt x="80" y="384"/>
                      </a:lnTo>
                      <a:lnTo>
                        <a:pt x="80" y="384"/>
                      </a:lnTo>
                      <a:lnTo>
                        <a:pt x="81" y="385"/>
                      </a:lnTo>
                      <a:lnTo>
                        <a:pt x="81" y="388"/>
                      </a:lnTo>
                      <a:lnTo>
                        <a:pt x="81" y="390"/>
                      </a:lnTo>
                      <a:lnTo>
                        <a:pt x="82" y="391"/>
                      </a:lnTo>
                      <a:lnTo>
                        <a:pt x="82" y="392"/>
                      </a:lnTo>
                      <a:lnTo>
                        <a:pt x="82" y="393"/>
                      </a:lnTo>
                      <a:lnTo>
                        <a:pt x="82" y="395"/>
                      </a:lnTo>
                      <a:lnTo>
                        <a:pt x="83" y="396"/>
                      </a:lnTo>
                      <a:lnTo>
                        <a:pt x="83" y="396"/>
                      </a:lnTo>
                      <a:lnTo>
                        <a:pt x="82" y="397"/>
                      </a:lnTo>
                      <a:lnTo>
                        <a:pt x="82" y="398"/>
                      </a:lnTo>
                      <a:lnTo>
                        <a:pt x="82" y="398"/>
                      </a:lnTo>
                      <a:lnTo>
                        <a:pt x="83" y="398"/>
                      </a:lnTo>
                      <a:lnTo>
                        <a:pt x="84" y="399"/>
                      </a:lnTo>
                      <a:lnTo>
                        <a:pt x="84" y="399"/>
                      </a:lnTo>
                      <a:lnTo>
                        <a:pt x="84" y="400"/>
                      </a:lnTo>
                      <a:lnTo>
                        <a:pt x="85" y="400"/>
                      </a:lnTo>
                      <a:lnTo>
                        <a:pt x="86" y="400"/>
                      </a:lnTo>
                      <a:lnTo>
                        <a:pt x="86" y="401"/>
                      </a:lnTo>
                      <a:lnTo>
                        <a:pt x="85" y="401"/>
                      </a:lnTo>
                      <a:lnTo>
                        <a:pt x="85" y="401"/>
                      </a:lnTo>
                      <a:lnTo>
                        <a:pt x="86" y="401"/>
                      </a:lnTo>
                      <a:lnTo>
                        <a:pt x="87" y="403"/>
                      </a:lnTo>
                      <a:lnTo>
                        <a:pt x="86" y="403"/>
                      </a:lnTo>
                      <a:lnTo>
                        <a:pt x="87" y="404"/>
                      </a:lnTo>
                      <a:lnTo>
                        <a:pt x="87" y="404"/>
                      </a:lnTo>
                      <a:lnTo>
                        <a:pt x="87" y="405"/>
                      </a:lnTo>
                      <a:lnTo>
                        <a:pt x="87" y="406"/>
                      </a:lnTo>
                      <a:lnTo>
                        <a:pt x="88" y="407"/>
                      </a:lnTo>
                      <a:lnTo>
                        <a:pt x="89" y="407"/>
                      </a:lnTo>
                      <a:lnTo>
                        <a:pt x="89" y="408"/>
                      </a:lnTo>
                      <a:lnTo>
                        <a:pt x="89" y="409"/>
                      </a:lnTo>
                      <a:lnTo>
                        <a:pt x="90" y="409"/>
                      </a:lnTo>
                      <a:lnTo>
                        <a:pt x="90" y="410"/>
                      </a:lnTo>
                      <a:lnTo>
                        <a:pt x="90" y="412"/>
                      </a:lnTo>
                      <a:lnTo>
                        <a:pt x="91" y="413"/>
                      </a:lnTo>
                      <a:lnTo>
                        <a:pt x="91" y="413"/>
                      </a:lnTo>
                      <a:lnTo>
                        <a:pt x="92" y="414"/>
                      </a:lnTo>
                      <a:lnTo>
                        <a:pt x="92" y="414"/>
                      </a:lnTo>
                      <a:lnTo>
                        <a:pt x="93" y="413"/>
                      </a:lnTo>
                      <a:lnTo>
                        <a:pt x="96" y="411"/>
                      </a:lnTo>
                      <a:lnTo>
                        <a:pt x="96" y="412"/>
                      </a:lnTo>
                      <a:lnTo>
                        <a:pt x="97" y="413"/>
                      </a:lnTo>
                      <a:lnTo>
                        <a:pt x="97" y="413"/>
                      </a:lnTo>
                      <a:lnTo>
                        <a:pt x="97" y="411"/>
                      </a:lnTo>
                      <a:lnTo>
                        <a:pt x="97" y="411"/>
                      </a:lnTo>
                      <a:lnTo>
                        <a:pt x="98" y="412"/>
                      </a:lnTo>
                      <a:lnTo>
                        <a:pt x="98" y="412"/>
                      </a:lnTo>
                      <a:lnTo>
                        <a:pt x="97" y="414"/>
                      </a:lnTo>
                      <a:lnTo>
                        <a:pt x="96" y="414"/>
                      </a:lnTo>
                      <a:lnTo>
                        <a:pt x="96" y="414"/>
                      </a:lnTo>
                      <a:lnTo>
                        <a:pt x="95" y="414"/>
                      </a:lnTo>
                      <a:lnTo>
                        <a:pt x="95" y="415"/>
                      </a:lnTo>
                      <a:lnTo>
                        <a:pt x="93" y="415"/>
                      </a:lnTo>
                      <a:lnTo>
                        <a:pt x="93" y="415"/>
                      </a:lnTo>
                      <a:lnTo>
                        <a:pt x="91" y="415"/>
                      </a:lnTo>
                      <a:lnTo>
                        <a:pt x="90" y="414"/>
                      </a:lnTo>
                      <a:lnTo>
                        <a:pt x="90" y="414"/>
                      </a:lnTo>
                      <a:lnTo>
                        <a:pt x="89" y="413"/>
                      </a:lnTo>
                      <a:lnTo>
                        <a:pt x="89" y="412"/>
                      </a:lnTo>
                      <a:lnTo>
                        <a:pt x="88" y="412"/>
                      </a:lnTo>
                      <a:lnTo>
                        <a:pt x="87" y="410"/>
                      </a:lnTo>
                      <a:lnTo>
                        <a:pt x="87" y="409"/>
                      </a:lnTo>
                      <a:lnTo>
                        <a:pt x="86" y="409"/>
                      </a:lnTo>
                      <a:lnTo>
                        <a:pt x="85" y="406"/>
                      </a:lnTo>
                      <a:lnTo>
                        <a:pt x="84" y="406"/>
                      </a:lnTo>
                      <a:lnTo>
                        <a:pt x="83" y="404"/>
                      </a:lnTo>
                      <a:lnTo>
                        <a:pt x="83" y="403"/>
                      </a:lnTo>
                      <a:lnTo>
                        <a:pt x="79" y="398"/>
                      </a:lnTo>
                      <a:lnTo>
                        <a:pt x="79" y="396"/>
                      </a:lnTo>
                      <a:lnTo>
                        <a:pt x="79" y="396"/>
                      </a:lnTo>
                      <a:lnTo>
                        <a:pt x="78" y="395"/>
                      </a:lnTo>
                      <a:lnTo>
                        <a:pt x="77" y="393"/>
                      </a:lnTo>
                      <a:lnTo>
                        <a:pt x="77" y="391"/>
                      </a:lnTo>
                      <a:lnTo>
                        <a:pt x="77" y="390"/>
                      </a:lnTo>
                      <a:lnTo>
                        <a:pt x="76" y="389"/>
                      </a:lnTo>
                      <a:lnTo>
                        <a:pt x="77" y="389"/>
                      </a:lnTo>
                      <a:lnTo>
                        <a:pt x="77" y="388"/>
                      </a:lnTo>
                      <a:lnTo>
                        <a:pt x="76" y="387"/>
                      </a:lnTo>
                      <a:lnTo>
                        <a:pt x="76" y="386"/>
                      </a:lnTo>
                      <a:lnTo>
                        <a:pt x="76" y="384"/>
                      </a:lnTo>
                      <a:lnTo>
                        <a:pt x="76" y="379"/>
                      </a:lnTo>
                      <a:lnTo>
                        <a:pt x="76" y="379"/>
                      </a:lnTo>
                      <a:lnTo>
                        <a:pt x="76" y="378"/>
                      </a:lnTo>
                      <a:lnTo>
                        <a:pt x="77" y="377"/>
                      </a:lnTo>
                      <a:lnTo>
                        <a:pt x="79" y="377"/>
                      </a:lnTo>
                      <a:lnTo>
                        <a:pt x="80" y="376"/>
                      </a:lnTo>
                      <a:lnTo>
                        <a:pt x="80" y="376"/>
                      </a:lnTo>
                      <a:lnTo>
                        <a:pt x="80" y="376"/>
                      </a:lnTo>
                      <a:close/>
                      <a:moveTo>
                        <a:pt x="200" y="0"/>
                      </a:moveTo>
                      <a:lnTo>
                        <a:pt x="202" y="2"/>
                      </a:lnTo>
                      <a:lnTo>
                        <a:pt x="206" y="17"/>
                      </a:lnTo>
                      <a:lnTo>
                        <a:pt x="209" y="21"/>
                      </a:lnTo>
                      <a:lnTo>
                        <a:pt x="218" y="24"/>
                      </a:lnTo>
                      <a:lnTo>
                        <a:pt x="221" y="32"/>
                      </a:lnTo>
                      <a:lnTo>
                        <a:pt x="228" y="36"/>
                      </a:lnTo>
                      <a:lnTo>
                        <a:pt x="229" y="41"/>
                      </a:lnTo>
                      <a:lnTo>
                        <a:pt x="238" y="38"/>
                      </a:lnTo>
                      <a:lnTo>
                        <a:pt x="242" y="41"/>
                      </a:lnTo>
                      <a:lnTo>
                        <a:pt x="240" y="44"/>
                      </a:lnTo>
                      <a:lnTo>
                        <a:pt x="241" y="46"/>
                      </a:lnTo>
                      <a:lnTo>
                        <a:pt x="240" y="49"/>
                      </a:lnTo>
                      <a:lnTo>
                        <a:pt x="243" y="55"/>
                      </a:lnTo>
                      <a:lnTo>
                        <a:pt x="227" y="65"/>
                      </a:lnTo>
                      <a:lnTo>
                        <a:pt x="225" y="67"/>
                      </a:lnTo>
                      <a:lnTo>
                        <a:pt x="225" y="74"/>
                      </a:lnTo>
                      <a:lnTo>
                        <a:pt x="219" y="82"/>
                      </a:lnTo>
                      <a:lnTo>
                        <a:pt x="226" y="85"/>
                      </a:lnTo>
                      <a:lnTo>
                        <a:pt x="227" y="93"/>
                      </a:lnTo>
                      <a:lnTo>
                        <a:pt x="231" y="98"/>
                      </a:lnTo>
                      <a:lnTo>
                        <a:pt x="227" y="100"/>
                      </a:lnTo>
                      <a:lnTo>
                        <a:pt x="225" y="108"/>
                      </a:lnTo>
                      <a:lnTo>
                        <a:pt x="219" y="112"/>
                      </a:lnTo>
                      <a:lnTo>
                        <a:pt x="221" y="117"/>
                      </a:lnTo>
                      <a:lnTo>
                        <a:pt x="225" y="122"/>
                      </a:lnTo>
                      <a:lnTo>
                        <a:pt x="226" y="126"/>
                      </a:lnTo>
                      <a:lnTo>
                        <a:pt x="225" y="130"/>
                      </a:lnTo>
                      <a:lnTo>
                        <a:pt x="226" y="134"/>
                      </a:lnTo>
                      <a:lnTo>
                        <a:pt x="232" y="140"/>
                      </a:lnTo>
                      <a:lnTo>
                        <a:pt x="239" y="141"/>
                      </a:lnTo>
                      <a:lnTo>
                        <a:pt x="253" y="131"/>
                      </a:lnTo>
                      <a:lnTo>
                        <a:pt x="257" y="126"/>
                      </a:lnTo>
                      <a:lnTo>
                        <a:pt x="260" y="126"/>
                      </a:lnTo>
                      <a:lnTo>
                        <a:pt x="268" y="139"/>
                      </a:lnTo>
                      <a:lnTo>
                        <a:pt x="280" y="148"/>
                      </a:lnTo>
                      <a:lnTo>
                        <a:pt x="275" y="169"/>
                      </a:lnTo>
                      <a:lnTo>
                        <a:pt x="270" y="182"/>
                      </a:lnTo>
                      <a:lnTo>
                        <a:pt x="272" y="185"/>
                      </a:lnTo>
                      <a:lnTo>
                        <a:pt x="283" y="192"/>
                      </a:lnTo>
                      <a:lnTo>
                        <a:pt x="285" y="195"/>
                      </a:lnTo>
                      <a:lnTo>
                        <a:pt x="285" y="197"/>
                      </a:lnTo>
                      <a:lnTo>
                        <a:pt x="284" y="201"/>
                      </a:lnTo>
                      <a:lnTo>
                        <a:pt x="280" y="205"/>
                      </a:lnTo>
                      <a:lnTo>
                        <a:pt x="282" y="214"/>
                      </a:lnTo>
                      <a:lnTo>
                        <a:pt x="284" y="219"/>
                      </a:lnTo>
                      <a:lnTo>
                        <a:pt x="301" y="233"/>
                      </a:lnTo>
                      <a:lnTo>
                        <a:pt x="304" y="240"/>
                      </a:lnTo>
                      <a:lnTo>
                        <a:pt x="310" y="242"/>
                      </a:lnTo>
                      <a:lnTo>
                        <a:pt x="311" y="256"/>
                      </a:lnTo>
                      <a:lnTo>
                        <a:pt x="313" y="261"/>
                      </a:lnTo>
                      <a:lnTo>
                        <a:pt x="312" y="268"/>
                      </a:lnTo>
                      <a:lnTo>
                        <a:pt x="312" y="268"/>
                      </a:lnTo>
                      <a:lnTo>
                        <a:pt x="309" y="267"/>
                      </a:lnTo>
                      <a:lnTo>
                        <a:pt x="304" y="271"/>
                      </a:lnTo>
                      <a:lnTo>
                        <a:pt x="292" y="271"/>
                      </a:lnTo>
                      <a:lnTo>
                        <a:pt x="286" y="275"/>
                      </a:lnTo>
                      <a:lnTo>
                        <a:pt x="282" y="281"/>
                      </a:lnTo>
                      <a:lnTo>
                        <a:pt x="284" y="289"/>
                      </a:lnTo>
                      <a:lnTo>
                        <a:pt x="284" y="294"/>
                      </a:lnTo>
                      <a:lnTo>
                        <a:pt x="271" y="306"/>
                      </a:lnTo>
                      <a:lnTo>
                        <a:pt x="273" y="309"/>
                      </a:lnTo>
                      <a:lnTo>
                        <a:pt x="278" y="313"/>
                      </a:lnTo>
                      <a:lnTo>
                        <a:pt x="280" y="316"/>
                      </a:lnTo>
                      <a:lnTo>
                        <a:pt x="280" y="326"/>
                      </a:lnTo>
                      <a:lnTo>
                        <a:pt x="279" y="330"/>
                      </a:lnTo>
                      <a:lnTo>
                        <a:pt x="281" y="336"/>
                      </a:lnTo>
                      <a:lnTo>
                        <a:pt x="280" y="342"/>
                      </a:lnTo>
                      <a:lnTo>
                        <a:pt x="279" y="345"/>
                      </a:lnTo>
                      <a:lnTo>
                        <a:pt x="275" y="345"/>
                      </a:lnTo>
                      <a:lnTo>
                        <a:pt x="270" y="341"/>
                      </a:lnTo>
                      <a:lnTo>
                        <a:pt x="264" y="345"/>
                      </a:lnTo>
                      <a:lnTo>
                        <a:pt x="260" y="350"/>
                      </a:lnTo>
                      <a:lnTo>
                        <a:pt x="250" y="349"/>
                      </a:lnTo>
                      <a:lnTo>
                        <a:pt x="249" y="354"/>
                      </a:lnTo>
                      <a:lnTo>
                        <a:pt x="237" y="370"/>
                      </a:lnTo>
                      <a:lnTo>
                        <a:pt x="235" y="374"/>
                      </a:lnTo>
                      <a:lnTo>
                        <a:pt x="229" y="377"/>
                      </a:lnTo>
                      <a:lnTo>
                        <a:pt x="228" y="386"/>
                      </a:lnTo>
                      <a:lnTo>
                        <a:pt x="230" y="391"/>
                      </a:lnTo>
                      <a:lnTo>
                        <a:pt x="235" y="397"/>
                      </a:lnTo>
                      <a:lnTo>
                        <a:pt x="246" y="403"/>
                      </a:lnTo>
                      <a:lnTo>
                        <a:pt x="247" y="406"/>
                      </a:lnTo>
                      <a:lnTo>
                        <a:pt x="248" y="414"/>
                      </a:lnTo>
                      <a:lnTo>
                        <a:pt x="250" y="417"/>
                      </a:lnTo>
                      <a:lnTo>
                        <a:pt x="254" y="417"/>
                      </a:lnTo>
                      <a:lnTo>
                        <a:pt x="265" y="415"/>
                      </a:lnTo>
                      <a:lnTo>
                        <a:pt x="270" y="416"/>
                      </a:lnTo>
                      <a:lnTo>
                        <a:pt x="271" y="418"/>
                      </a:lnTo>
                      <a:lnTo>
                        <a:pt x="272" y="424"/>
                      </a:lnTo>
                      <a:lnTo>
                        <a:pt x="273" y="425"/>
                      </a:lnTo>
                      <a:lnTo>
                        <a:pt x="271" y="431"/>
                      </a:lnTo>
                      <a:lnTo>
                        <a:pt x="274" y="435"/>
                      </a:lnTo>
                      <a:lnTo>
                        <a:pt x="281" y="435"/>
                      </a:lnTo>
                      <a:lnTo>
                        <a:pt x="284" y="442"/>
                      </a:lnTo>
                      <a:lnTo>
                        <a:pt x="286" y="442"/>
                      </a:lnTo>
                      <a:lnTo>
                        <a:pt x="297" y="438"/>
                      </a:lnTo>
                      <a:lnTo>
                        <a:pt x="297" y="441"/>
                      </a:lnTo>
                      <a:lnTo>
                        <a:pt x="298" y="443"/>
                      </a:lnTo>
                      <a:lnTo>
                        <a:pt x="304" y="443"/>
                      </a:lnTo>
                      <a:lnTo>
                        <a:pt x="307" y="447"/>
                      </a:lnTo>
                      <a:lnTo>
                        <a:pt x="308" y="454"/>
                      </a:lnTo>
                      <a:lnTo>
                        <a:pt x="322" y="462"/>
                      </a:lnTo>
                      <a:lnTo>
                        <a:pt x="323" y="471"/>
                      </a:lnTo>
                      <a:lnTo>
                        <a:pt x="330" y="480"/>
                      </a:lnTo>
                      <a:lnTo>
                        <a:pt x="338" y="486"/>
                      </a:lnTo>
                      <a:lnTo>
                        <a:pt x="337" y="490"/>
                      </a:lnTo>
                      <a:lnTo>
                        <a:pt x="335" y="494"/>
                      </a:lnTo>
                      <a:lnTo>
                        <a:pt x="324" y="499"/>
                      </a:lnTo>
                      <a:lnTo>
                        <a:pt x="319" y="506"/>
                      </a:lnTo>
                      <a:lnTo>
                        <a:pt x="319" y="518"/>
                      </a:lnTo>
                      <a:lnTo>
                        <a:pt x="311" y="529"/>
                      </a:lnTo>
                      <a:lnTo>
                        <a:pt x="313" y="537"/>
                      </a:lnTo>
                      <a:lnTo>
                        <a:pt x="312" y="540"/>
                      </a:lnTo>
                      <a:lnTo>
                        <a:pt x="314" y="541"/>
                      </a:lnTo>
                      <a:lnTo>
                        <a:pt x="317" y="545"/>
                      </a:lnTo>
                      <a:lnTo>
                        <a:pt x="319" y="544"/>
                      </a:lnTo>
                      <a:lnTo>
                        <a:pt x="323" y="548"/>
                      </a:lnTo>
                      <a:lnTo>
                        <a:pt x="327" y="547"/>
                      </a:lnTo>
                      <a:lnTo>
                        <a:pt x="330" y="544"/>
                      </a:lnTo>
                      <a:lnTo>
                        <a:pt x="335" y="544"/>
                      </a:lnTo>
                      <a:lnTo>
                        <a:pt x="336" y="548"/>
                      </a:lnTo>
                      <a:lnTo>
                        <a:pt x="338" y="551"/>
                      </a:lnTo>
                      <a:lnTo>
                        <a:pt x="337" y="557"/>
                      </a:lnTo>
                      <a:lnTo>
                        <a:pt x="340" y="559"/>
                      </a:lnTo>
                      <a:lnTo>
                        <a:pt x="341" y="567"/>
                      </a:lnTo>
                      <a:lnTo>
                        <a:pt x="347" y="568"/>
                      </a:lnTo>
                      <a:lnTo>
                        <a:pt x="349" y="576"/>
                      </a:lnTo>
                      <a:lnTo>
                        <a:pt x="357" y="585"/>
                      </a:lnTo>
                      <a:lnTo>
                        <a:pt x="366" y="597"/>
                      </a:lnTo>
                      <a:lnTo>
                        <a:pt x="366" y="597"/>
                      </a:lnTo>
                      <a:lnTo>
                        <a:pt x="363" y="601"/>
                      </a:lnTo>
                      <a:lnTo>
                        <a:pt x="361" y="609"/>
                      </a:lnTo>
                      <a:lnTo>
                        <a:pt x="358" y="611"/>
                      </a:lnTo>
                      <a:lnTo>
                        <a:pt x="352" y="611"/>
                      </a:lnTo>
                      <a:lnTo>
                        <a:pt x="349" y="620"/>
                      </a:lnTo>
                      <a:lnTo>
                        <a:pt x="348" y="629"/>
                      </a:lnTo>
                      <a:lnTo>
                        <a:pt x="343" y="634"/>
                      </a:lnTo>
                      <a:lnTo>
                        <a:pt x="342" y="637"/>
                      </a:lnTo>
                      <a:lnTo>
                        <a:pt x="342" y="640"/>
                      </a:lnTo>
                      <a:lnTo>
                        <a:pt x="346" y="642"/>
                      </a:lnTo>
                      <a:lnTo>
                        <a:pt x="348" y="644"/>
                      </a:lnTo>
                      <a:lnTo>
                        <a:pt x="344" y="654"/>
                      </a:lnTo>
                      <a:lnTo>
                        <a:pt x="341" y="655"/>
                      </a:lnTo>
                      <a:lnTo>
                        <a:pt x="341" y="657"/>
                      </a:lnTo>
                      <a:lnTo>
                        <a:pt x="344" y="663"/>
                      </a:lnTo>
                      <a:lnTo>
                        <a:pt x="345" y="667"/>
                      </a:lnTo>
                      <a:lnTo>
                        <a:pt x="345" y="692"/>
                      </a:lnTo>
                      <a:lnTo>
                        <a:pt x="346" y="700"/>
                      </a:lnTo>
                      <a:lnTo>
                        <a:pt x="351" y="704"/>
                      </a:lnTo>
                      <a:lnTo>
                        <a:pt x="349" y="712"/>
                      </a:lnTo>
                      <a:lnTo>
                        <a:pt x="349" y="712"/>
                      </a:lnTo>
                      <a:lnTo>
                        <a:pt x="343" y="719"/>
                      </a:lnTo>
                      <a:lnTo>
                        <a:pt x="338" y="719"/>
                      </a:lnTo>
                      <a:lnTo>
                        <a:pt x="330" y="727"/>
                      </a:lnTo>
                      <a:lnTo>
                        <a:pt x="323" y="727"/>
                      </a:lnTo>
                      <a:lnTo>
                        <a:pt x="318" y="724"/>
                      </a:lnTo>
                      <a:lnTo>
                        <a:pt x="315" y="724"/>
                      </a:lnTo>
                      <a:lnTo>
                        <a:pt x="315" y="726"/>
                      </a:lnTo>
                      <a:lnTo>
                        <a:pt x="317" y="730"/>
                      </a:lnTo>
                      <a:lnTo>
                        <a:pt x="316" y="732"/>
                      </a:lnTo>
                      <a:lnTo>
                        <a:pt x="311" y="733"/>
                      </a:lnTo>
                      <a:lnTo>
                        <a:pt x="292" y="755"/>
                      </a:lnTo>
                      <a:lnTo>
                        <a:pt x="287" y="757"/>
                      </a:lnTo>
                      <a:lnTo>
                        <a:pt x="280" y="756"/>
                      </a:lnTo>
                      <a:lnTo>
                        <a:pt x="274" y="765"/>
                      </a:lnTo>
                      <a:lnTo>
                        <a:pt x="268" y="767"/>
                      </a:lnTo>
                      <a:lnTo>
                        <a:pt x="266" y="772"/>
                      </a:lnTo>
                      <a:lnTo>
                        <a:pt x="267" y="784"/>
                      </a:lnTo>
                      <a:lnTo>
                        <a:pt x="265" y="788"/>
                      </a:lnTo>
                      <a:lnTo>
                        <a:pt x="255" y="792"/>
                      </a:lnTo>
                      <a:lnTo>
                        <a:pt x="253" y="796"/>
                      </a:lnTo>
                      <a:lnTo>
                        <a:pt x="249" y="800"/>
                      </a:lnTo>
                      <a:lnTo>
                        <a:pt x="243" y="801"/>
                      </a:lnTo>
                      <a:lnTo>
                        <a:pt x="236" y="797"/>
                      </a:lnTo>
                      <a:lnTo>
                        <a:pt x="233" y="803"/>
                      </a:lnTo>
                      <a:lnTo>
                        <a:pt x="227" y="800"/>
                      </a:lnTo>
                      <a:lnTo>
                        <a:pt x="223" y="801"/>
                      </a:lnTo>
                      <a:lnTo>
                        <a:pt x="221" y="792"/>
                      </a:lnTo>
                      <a:lnTo>
                        <a:pt x="213" y="789"/>
                      </a:lnTo>
                      <a:lnTo>
                        <a:pt x="191" y="796"/>
                      </a:lnTo>
                      <a:lnTo>
                        <a:pt x="191" y="796"/>
                      </a:lnTo>
                      <a:lnTo>
                        <a:pt x="181" y="790"/>
                      </a:lnTo>
                      <a:lnTo>
                        <a:pt x="173" y="790"/>
                      </a:lnTo>
                      <a:lnTo>
                        <a:pt x="170" y="784"/>
                      </a:lnTo>
                      <a:lnTo>
                        <a:pt x="163" y="777"/>
                      </a:lnTo>
                      <a:lnTo>
                        <a:pt x="164" y="773"/>
                      </a:lnTo>
                      <a:lnTo>
                        <a:pt x="162" y="766"/>
                      </a:lnTo>
                      <a:lnTo>
                        <a:pt x="156" y="749"/>
                      </a:lnTo>
                      <a:lnTo>
                        <a:pt x="156" y="748"/>
                      </a:lnTo>
                      <a:lnTo>
                        <a:pt x="147" y="741"/>
                      </a:lnTo>
                      <a:lnTo>
                        <a:pt x="142" y="733"/>
                      </a:lnTo>
                      <a:lnTo>
                        <a:pt x="142" y="732"/>
                      </a:lnTo>
                      <a:lnTo>
                        <a:pt x="153" y="725"/>
                      </a:lnTo>
                      <a:lnTo>
                        <a:pt x="152" y="719"/>
                      </a:lnTo>
                      <a:lnTo>
                        <a:pt x="143" y="709"/>
                      </a:lnTo>
                      <a:lnTo>
                        <a:pt x="133" y="701"/>
                      </a:lnTo>
                      <a:lnTo>
                        <a:pt x="126" y="697"/>
                      </a:lnTo>
                      <a:lnTo>
                        <a:pt x="117" y="697"/>
                      </a:lnTo>
                      <a:lnTo>
                        <a:pt x="115" y="694"/>
                      </a:lnTo>
                      <a:lnTo>
                        <a:pt x="115" y="695"/>
                      </a:lnTo>
                      <a:lnTo>
                        <a:pt x="115" y="695"/>
                      </a:lnTo>
                      <a:lnTo>
                        <a:pt x="114" y="694"/>
                      </a:lnTo>
                      <a:lnTo>
                        <a:pt x="115" y="694"/>
                      </a:lnTo>
                      <a:lnTo>
                        <a:pt x="115" y="694"/>
                      </a:lnTo>
                      <a:lnTo>
                        <a:pt x="114" y="694"/>
                      </a:lnTo>
                      <a:lnTo>
                        <a:pt x="114" y="694"/>
                      </a:lnTo>
                      <a:lnTo>
                        <a:pt x="113" y="694"/>
                      </a:lnTo>
                      <a:lnTo>
                        <a:pt x="113" y="693"/>
                      </a:lnTo>
                      <a:lnTo>
                        <a:pt x="113" y="693"/>
                      </a:lnTo>
                      <a:lnTo>
                        <a:pt x="113" y="693"/>
                      </a:lnTo>
                      <a:lnTo>
                        <a:pt x="112" y="690"/>
                      </a:lnTo>
                      <a:lnTo>
                        <a:pt x="114" y="690"/>
                      </a:lnTo>
                      <a:lnTo>
                        <a:pt x="114" y="691"/>
                      </a:lnTo>
                      <a:lnTo>
                        <a:pt x="115" y="691"/>
                      </a:lnTo>
                      <a:lnTo>
                        <a:pt x="114" y="690"/>
                      </a:lnTo>
                      <a:lnTo>
                        <a:pt x="116" y="690"/>
                      </a:lnTo>
                      <a:lnTo>
                        <a:pt x="116" y="690"/>
                      </a:lnTo>
                      <a:lnTo>
                        <a:pt x="115" y="690"/>
                      </a:lnTo>
                      <a:lnTo>
                        <a:pt x="114" y="689"/>
                      </a:lnTo>
                      <a:lnTo>
                        <a:pt x="113" y="689"/>
                      </a:lnTo>
                      <a:lnTo>
                        <a:pt x="113" y="689"/>
                      </a:lnTo>
                      <a:lnTo>
                        <a:pt x="113" y="689"/>
                      </a:lnTo>
                      <a:lnTo>
                        <a:pt x="114" y="689"/>
                      </a:lnTo>
                      <a:lnTo>
                        <a:pt x="114" y="688"/>
                      </a:lnTo>
                      <a:lnTo>
                        <a:pt x="114" y="688"/>
                      </a:lnTo>
                      <a:lnTo>
                        <a:pt x="115" y="689"/>
                      </a:lnTo>
                      <a:lnTo>
                        <a:pt x="115" y="689"/>
                      </a:lnTo>
                      <a:lnTo>
                        <a:pt x="116" y="689"/>
                      </a:lnTo>
                      <a:lnTo>
                        <a:pt x="115" y="689"/>
                      </a:lnTo>
                      <a:lnTo>
                        <a:pt x="115" y="688"/>
                      </a:lnTo>
                      <a:lnTo>
                        <a:pt x="116" y="688"/>
                      </a:lnTo>
                      <a:lnTo>
                        <a:pt x="116" y="688"/>
                      </a:lnTo>
                      <a:lnTo>
                        <a:pt x="118" y="688"/>
                      </a:lnTo>
                      <a:lnTo>
                        <a:pt x="118" y="687"/>
                      </a:lnTo>
                      <a:lnTo>
                        <a:pt x="118" y="688"/>
                      </a:lnTo>
                      <a:lnTo>
                        <a:pt x="118" y="687"/>
                      </a:lnTo>
                      <a:lnTo>
                        <a:pt x="118" y="687"/>
                      </a:lnTo>
                      <a:lnTo>
                        <a:pt x="117" y="687"/>
                      </a:lnTo>
                      <a:lnTo>
                        <a:pt x="115" y="687"/>
                      </a:lnTo>
                      <a:lnTo>
                        <a:pt x="114" y="687"/>
                      </a:lnTo>
                      <a:lnTo>
                        <a:pt x="114" y="687"/>
                      </a:lnTo>
                      <a:lnTo>
                        <a:pt x="114" y="686"/>
                      </a:lnTo>
                      <a:lnTo>
                        <a:pt x="115" y="686"/>
                      </a:lnTo>
                      <a:lnTo>
                        <a:pt x="115" y="686"/>
                      </a:lnTo>
                      <a:lnTo>
                        <a:pt x="115" y="686"/>
                      </a:lnTo>
                      <a:lnTo>
                        <a:pt x="114" y="686"/>
                      </a:lnTo>
                      <a:lnTo>
                        <a:pt x="114" y="687"/>
                      </a:lnTo>
                      <a:lnTo>
                        <a:pt x="113" y="687"/>
                      </a:lnTo>
                      <a:lnTo>
                        <a:pt x="113" y="686"/>
                      </a:lnTo>
                      <a:lnTo>
                        <a:pt x="112" y="686"/>
                      </a:lnTo>
                      <a:lnTo>
                        <a:pt x="112" y="686"/>
                      </a:lnTo>
                      <a:lnTo>
                        <a:pt x="113" y="686"/>
                      </a:lnTo>
                      <a:lnTo>
                        <a:pt x="113" y="685"/>
                      </a:lnTo>
                      <a:lnTo>
                        <a:pt x="113" y="685"/>
                      </a:lnTo>
                      <a:lnTo>
                        <a:pt x="113" y="685"/>
                      </a:lnTo>
                      <a:lnTo>
                        <a:pt x="112" y="685"/>
                      </a:lnTo>
                      <a:lnTo>
                        <a:pt x="112" y="685"/>
                      </a:lnTo>
                      <a:lnTo>
                        <a:pt x="112" y="685"/>
                      </a:lnTo>
                      <a:lnTo>
                        <a:pt x="112" y="685"/>
                      </a:lnTo>
                      <a:lnTo>
                        <a:pt x="111" y="685"/>
                      </a:lnTo>
                      <a:lnTo>
                        <a:pt x="111" y="683"/>
                      </a:lnTo>
                      <a:lnTo>
                        <a:pt x="111" y="682"/>
                      </a:lnTo>
                      <a:lnTo>
                        <a:pt x="111" y="681"/>
                      </a:lnTo>
                      <a:lnTo>
                        <a:pt x="112" y="681"/>
                      </a:lnTo>
                      <a:lnTo>
                        <a:pt x="113" y="681"/>
                      </a:lnTo>
                      <a:lnTo>
                        <a:pt x="113" y="681"/>
                      </a:lnTo>
                      <a:lnTo>
                        <a:pt x="111" y="681"/>
                      </a:lnTo>
                      <a:lnTo>
                        <a:pt x="111" y="680"/>
                      </a:lnTo>
                      <a:lnTo>
                        <a:pt x="110" y="681"/>
                      </a:lnTo>
                      <a:lnTo>
                        <a:pt x="110" y="679"/>
                      </a:lnTo>
                      <a:lnTo>
                        <a:pt x="109" y="679"/>
                      </a:lnTo>
                      <a:lnTo>
                        <a:pt x="109" y="678"/>
                      </a:lnTo>
                      <a:lnTo>
                        <a:pt x="110" y="678"/>
                      </a:lnTo>
                      <a:lnTo>
                        <a:pt x="107" y="678"/>
                      </a:lnTo>
                      <a:lnTo>
                        <a:pt x="107" y="677"/>
                      </a:lnTo>
                      <a:lnTo>
                        <a:pt x="107" y="676"/>
                      </a:lnTo>
                      <a:lnTo>
                        <a:pt x="107" y="675"/>
                      </a:lnTo>
                      <a:lnTo>
                        <a:pt x="107" y="674"/>
                      </a:lnTo>
                      <a:lnTo>
                        <a:pt x="107" y="673"/>
                      </a:lnTo>
                      <a:lnTo>
                        <a:pt x="106" y="673"/>
                      </a:lnTo>
                      <a:lnTo>
                        <a:pt x="106" y="671"/>
                      </a:lnTo>
                      <a:lnTo>
                        <a:pt x="105" y="670"/>
                      </a:lnTo>
                      <a:lnTo>
                        <a:pt x="106" y="670"/>
                      </a:lnTo>
                      <a:lnTo>
                        <a:pt x="106" y="670"/>
                      </a:lnTo>
                      <a:lnTo>
                        <a:pt x="107" y="670"/>
                      </a:lnTo>
                      <a:lnTo>
                        <a:pt x="107" y="670"/>
                      </a:lnTo>
                      <a:lnTo>
                        <a:pt x="106" y="669"/>
                      </a:lnTo>
                      <a:lnTo>
                        <a:pt x="105" y="669"/>
                      </a:lnTo>
                      <a:lnTo>
                        <a:pt x="102" y="665"/>
                      </a:lnTo>
                      <a:lnTo>
                        <a:pt x="102" y="665"/>
                      </a:lnTo>
                      <a:lnTo>
                        <a:pt x="101" y="664"/>
                      </a:lnTo>
                      <a:lnTo>
                        <a:pt x="100" y="664"/>
                      </a:lnTo>
                      <a:lnTo>
                        <a:pt x="98" y="662"/>
                      </a:lnTo>
                      <a:lnTo>
                        <a:pt x="98" y="661"/>
                      </a:lnTo>
                      <a:lnTo>
                        <a:pt x="97" y="660"/>
                      </a:lnTo>
                      <a:lnTo>
                        <a:pt x="97" y="659"/>
                      </a:lnTo>
                      <a:lnTo>
                        <a:pt x="96" y="658"/>
                      </a:lnTo>
                      <a:lnTo>
                        <a:pt x="95" y="657"/>
                      </a:lnTo>
                      <a:lnTo>
                        <a:pt x="95" y="656"/>
                      </a:lnTo>
                      <a:lnTo>
                        <a:pt x="94" y="655"/>
                      </a:lnTo>
                      <a:lnTo>
                        <a:pt x="94" y="655"/>
                      </a:lnTo>
                      <a:lnTo>
                        <a:pt x="94" y="655"/>
                      </a:lnTo>
                      <a:lnTo>
                        <a:pt x="94" y="654"/>
                      </a:lnTo>
                      <a:lnTo>
                        <a:pt x="93" y="654"/>
                      </a:lnTo>
                      <a:lnTo>
                        <a:pt x="93" y="651"/>
                      </a:lnTo>
                      <a:lnTo>
                        <a:pt x="92" y="651"/>
                      </a:lnTo>
                      <a:lnTo>
                        <a:pt x="92" y="650"/>
                      </a:lnTo>
                      <a:lnTo>
                        <a:pt x="92" y="650"/>
                      </a:lnTo>
                      <a:lnTo>
                        <a:pt x="92" y="650"/>
                      </a:lnTo>
                      <a:lnTo>
                        <a:pt x="92" y="649"/>
                      </a:lnTo>
                      <a:lnTo>
                        <a:pt x="94" y="648"/>
                      </a:lnTo>
                      <a:lnTo>
                        <a:pt x="94" y="647"/>
                      </a:lnTo>
                      <a:lnTo>
                        <a:pt x="95" y="647"/>
                      </a:lnTo>
                      <a:lnTo>
                        <a:pt x="96" y="645"/>
                      </a:lnTo>
                      <a:lnTo>
                        <a:pt x="96" y="644"/>
                      </a:lnTo>
                      <a:lnTo>
                        <a:pt x="97" y="644"/>
                      </a:lnTo>
                      <a:lnTo>
                        <a:pt x="98" y="643"/>
                      </a:lnTo>
                      <a:lnTo>
                        <a:pt x="98" y="643"/>
                      </a:lnTo>
                      <a:lnTo>
                        <a:pt x="99" y="642"/>
                      </a:lnTo>
                      <a:lnTo>
                        <a:pt x="100" y="642"/>
                      </a:lnTo>
                      <a:lnTo>
                        <a:pt x="100" y="642"/>
                      </a:lnTo>
                      <a:lnTo>
                        <a:pt x="102" y="641"/>
                      </a:lnTo>
                      <a:lnTo>
                        <a:pt x="102" y="641"/>
                      </a:lnTo>
                      <a:lnTo>
                        <a:pt x="103" y="640"/>
                      </a:lnTo>
                      <a:lnTo>
                        <a:pt x="104" y="640"/>
                      </a:lnTo>
                      <a:lnTo>
                        <a:pt x="105" y="640"/>
                      </a:lnTo>
                      <a:lnTo>
                        <a:pt x="106" y="639"/>
                      </a:lnTo>
                      <a:lnTo>
                        <a:pt x="107" y="639"/>
                      </a:lnTo>
                      <a:lnTo>
                        <a:pt x="110" y="638"/>
                      </a:lnTo>
                      <a:lnTo>
                        <a:pt x="111" y="638"/>
                      </a:lnTo>
                      <a:lnTo>
                        <a:pt x="112" y="637"/>
                      </a:lnTo>
                      <a:lnTo>
                        <a:pt x="112" y="637"/>
                      </a:lnTo>
                      <a:lnTo>
                        <a:pt x="113" y="636"/>
                      </a:lnTo>
                      <a:lnTo>
                        <a:pt x="114" y="636"/>
                      </a:lnTo>
                      <a:lnTo>
                        <a:pt x="115" y="636"/>
                      </a:lnTo>
                      <a:lnTo>
                        <a:pt x="115" y="634"/>
                      </a:lnTo>
                      <a:lnTo>
                        <a:pt x="116" y="634"/>
                      </a:lnTo>
                      <a:lnTo>
                        <a:pt x="116" y="634"/>
                      </a:lnTo>
                      <a:lnTo>
                        <a:pt x="117" y="634"/>
                      </a:lnTo>
                      <a:lnTo>
                        <a:pt x="118" y="632"/>
                      </a:lnTo>
                      <a:lnTo>
                        <a:pt x="121" y="632"/>
                      </a:lnTo>
                      <a:lnTo>
                        <a:pt x="122" y="631"/>
                      </a:lnTo>
                      <a:lnTo>
                        <a:pt x="124" y="630"/>
                      </a:lnTo>
                      <a:lnTo>
                        <a:pt x="124" y="630"/>
                      </a:lnTo>
                      <a:lnTo>
                        <a:pt x="126" y="630"/>
                      </a:lnTo>
                      <a:lnTo>
                        <a:pt x="126" y="630"/>
                      </a:lnTo>
                      <a:lnTo>
                        <a:pt x="126" y="631"/>
                      </a:lnTo>
                      <a:lnTo>
                        <a:pt x="127" y="631"/>
                      </a:lnTo>
                      <a:lnTo>
                        <a:pt x="127" y="632"/>
                      </a:lnTo>
                      <a:lnTo>
                        <a:pt x="127" y="633"/>
                      </a:lnTo>
                      <a:lnTo>
                        <a:pt x="127" y="634"/>
                      </a:lnTo>
                      <a:lnTo>
                        <a:pt x="128" y="635"/>
                      </a:lnTo>
                      <a:lnTo>
                        <a:pt x="128" y="636"/>
                      </a:lnTo>
                      <a:lnTo>
                        <a:pt x="128" y="637"/>
                      </a:lnTo>
                      <a:lnTo>
                        <a:pt x="128" y="637"/>
                      </a:lnTo>
                      <a:lnTo>
                        <a:pt x="129" y="639"/>
                      </a:lnTo>
                      <a:lnTo>
                        <a:pt x="129" y="639"/>
                      </a:lnTo>
                      <a:lnTo>
                        <a:pt x="130" y="639"/>
                      </a:lnTo>
                      <a:lnTo>
                        <a:pt x="130" y="640"/>
                      </a:lnTo>
                      <a:lnTo>
                        <a:pt x="131" y="641"/>
                      </a:lnTo>
                      <a:lnTo>
                        <a:pt x="131" y="642"/>
                      </a:lnTo>
                      <a:lnTo>
                        <a:pt x="129" y="643"/>
                      </a:lnTo>
                      <a:lnTo>
                        <a:pt x="129" y="643"/>
                      </a:lnTo>
                      <a:lnTo>
                        <a:pt x="128" y="643"/>
                      </a:lnTo>
                      <a:lnTo>
                        <a:pt x="127" y="642"/>
                      </a:lnTo>
                      <a:lnTo>
                        <a:pt x="125" y="643"/>
                      </a:lnTo>
                      <a:lnTo>
                        <a:pt x="124" y="642"/>
                      </a:lnTo>
                      <a:lnTo>
                        <a:pt x="124" y="642"/>
                      </a:lnTo>
                      <a:lnTo>
                        <a:pt x="124" y="642"/>
                      </a:lnTo>
                      <a:lnTo>
                        <a:pt x="123" y="641"/>
                      </a:lnTo>
                      <a:lnTo>
                        <a:pt x="123" y="641"/>
                      </a:lnTo>
                      <a:lnTo>
                        <a:pt x="123" y="642"/>
                      </a:lnTo>
                      <a:lnTo>
                        <a:pt x="125" y="643"/>
                      </a:lnTo>
                      <a:lnTo>
                        <a:pt x="126" y="643"/>
                      </a:lnTo>
                      <a:lnTo>
                        <a:pt x="126" y="643"/>
                      </a:lnTo>
                      <a:lnTo>
                        <a:pt x="127" y="643"/>
                      </a:lnTo>
                      <a:lnTo>
                        <a:pt x="128" y="643"/>
                      </a:lnTo>
                      <a:lnTo>
                        <a:pt x="129" y="644"/>
                      </a:lnTo>
                      <a:lnTo>
                        <a:pt x="129" y="644"/>
                      </a:lnTo>
                      <a:lnTo>
                        <a:pt x="129" y="645"/>
                      </a:lnTo>
                      <a:lnTo>
                        <a:pt x="129" y="645"/>
                      </a:lnTo>
                      <a:lnTo>
                        <a:pt x="130" y="645"/>
                      </a:lnTo>
                      <a:lnTo>
                        <a:pt x="130" y="645"/>
                      </a:lnTo>
                      <a:lnTo>
                        <a:pt x="130" y="644"/>
                      </a:lnTo>
                      <a:lnTo>
                        <a:pt x="131" y="644"/>
                      </a:lnTo>
                      <a:lnTo>
                        <a:pt x="131" y="645"/>
                      </a:lnTo>
                      <a:lnTo>
                        <a:pt x="132" y="647"/>
                      </a:lnTo>
                      <a:lnTo>
                        <a:pt x="132" y="648"/>
                      </a:lnTo>
                      <a:lnTo>
                        <a:pt x="132" y="651"/>
                      </a:lnTo>
                      <a:lnTo>
                        <a:pt x="133" y="652"/>
                      </a:lnTo>
                      <a:lnTo>
                        <a:pt x="133" y="653"/>
                      </a:lnTo>
                      <a:lnTo>
                        <a:pt x="134" y="653"/>
                      </a:lnTo>
                      <a:lnTo>
                        <a:pt x="134" y="654"/>
                      </a:lnTo>
                      <a:lnTo>
                        <a:pt x="134" y="654"/>
                      </a:lnTo>
                      <a:lnTo>
                        <a:pt x="134" y="655"/>
                      </a:lnTo>
                      <a:lnTo>
                        <a:pt x="134" y="656"/>
                      </a:lnTo>
                      <a:lnTo>
                        <a:pt x="135" y="656"/>
                      </a:lnTo>
                      <a:lnTo>
                        <a:pt x="135" y="657"/>
                      </a:lnTo>
                      <a:lnTo>
                        <a:pt x="136" y="658"/>
                      </a:lnTo>
                      <a:lnTo>
                        <a:pt x="136" y="658"/>
                      </a:lnTo>
                      <a:lnTo>
                        <a:pt x="136" y="658"/>
                      </a:lnTo>
                      <a:lnTo>
                        <a:pt x="137" y="657"/>
                      </a:lnTo>
                      <a:lnTo>
                        <a:pt x="137" y="658"/>
                      </a:lnTo>
                      <a:lnTo>
                        <a:pt x="137" y="658"/>
                      </a:lnTo>
                      <a:lnTo>
                        <a:pt x="137" y="659"/>
                      </a:lnTo>
                      <a:lnTo>
                        <a:pt x="138" y="659"/>
                      </a:lnTo>
                      <a:lnTo>
                        <a:pt x="139" y="660"/>
                      </a:lnTo>
                      <a:lnTo>
                        <a:pt x="139" y="660"/>
                      </a:lnTo>
                      <a:lnTo>
                        <a:pt x="139" y="661"/>
                      </a:lnTo>
                      <a:lnTo>
                        <a:pt x="139" y="661"/>
                      </a:lnTo>
                      <a:lnTo>
                        <a:pt x="140" y="663"/>
                      </a:lnTo>
                      <a:lnTo>
                        <a:pt x="140" y="663"/>
                      </a:lnTo>
                      <a:lnTo>
                        <a:pt x="140" y="664"/>
                      </a:lnTo>
                      <a:lnTo>
                        <a:pt x="140" y="664"/>
                      </a:lnTo>
                      <a:lnTo>
                        <a:pt x="141" y="665"/>
                      </a:lnTo>
                      <a:lnTo>
                        <a:pt x="141" y="665"/>
                      </a:lnTo>
                      <a:lnTo>
                        <a:pt x="142" y="666"/>
                      </a:lnTo>
                      <a:lnTo>
                        <a:pt x="142" y="667"/>
                      </a:lnTo>
                      <a:lnTo>
                        <a:pt x="142" y="667"/>
                      </a:lnTo>
                      <a:lnTo>
                        <a:pt x="142" y="668"/>
                      </a:lnTo>
                      <a:lnTo>
                        <a:pt x="142" y="668"/>
                      </a:lnTo>
                      <a:lnTo>
                        <a:pt x="143" y="669"/>
                      </a:lnTo>
                      <a:lnTo>
                        <a:pt x="143" y="670"/>
                      </a:lnTo>
                      <a:lnTo>
                        <a:pt x="145" y="671"/>
                      </a:lnTo>
                      <a:lnTo>
                        <a:pt x="145" y="673"/>
                      </a:lnTo>
                      <a:lnTo>
                        <a:pt x="147" y="673"/>
                      </a:lnTo>
                      <a:lnTo>
                        <a:pt x="147" y="674"/>
                      </a:lnTo>
                      <a:lnTo>
                        <a:pt x="148" y="675"/>
                      </a:lnTo>
                      <a:lnTo>
                        <a:pt x="148" y="675"/>
                      </a:lnTo>
                      <a:lnTo>
                        <a:pt x="149" y="676"/>
                      </a:lnTo>
                      <a:lnTo>
                        <a:pt x="149" y="676"/>
                      </a:lnTo>
                      <a:lnTo>
                        <a:pt x="149" y="676"/>
                      </a:lnTo>
                      <a:lnTo>
                        <a:pt x="150" y="677"/>
                      </a:lnTo>
                      <a:lnTo>
                        <a:pt x="150" y="677"/>
                      </a:lnTo>
                      <a:lnTo>
                        <a:pt x="151" y="677"/>
                      </a:lnTo>
                      <a:lnTo>
                        <a:pt x="152" y="677"/>
                      </a:lnTo>
                      <a:lnTo>
                        <a:pt x="152" y="677"/>
                      </a:lnTo>
                      <a:lnTo>
                        <a:pt x="153" y="677"/>
                      </a:lnTo>
                      <a:lnTo>
                        <a:pt x="153" y="678"/>
                      </a:lnTo>
                      <a:lnTo>
                        <a:pt x="154" y="678"/>
                      </a:lnTo>
                      <a:lnTo>
                        <a:pt x="154" y="679"/>
                      </a:lnTo>
                      <a:lnTo>
                        <a:pt x="154" y="679"/>
                      </a:lnTo>
                      <a:lnTo>
                        <a:pt x="156" y="680"/>
                      </a:lnTo>
                      <a:lnTo>
                        <a:pt x="157" y="682"/>
                      </a:lnTo>
                      <a:lnTo>
                        <a:pt x="157" y="682"/>
                      </a:lnTo>
                      <a:lnTo>
                        <a:pt x="159" y="683"/>
                      </a:lnTo>
                      <a:lnTo>
                        <a:pt x="159" y="682"/>
                      </a:lnTo>
                      <a:lnTo>
                        <a:pt x="160" y="683"/>
                      </a:lnTo>
                      <a:lnTo>
                        <a:pt x="161" y="683"/>
                      </a:lnTo>
                      <a:lnTo>
                        <a:pt x="162" y="683"/>
                      </a:lnTo>
                      <a:lnTo>
                        <a:pt x="162" y="683"/>
                      </a:lnTo>
                      <a:lnTo>
                        <a:pt x="163" y="682"/>
                      </a:lnTo>
                      <a:lnTo>
                        <a:pt x="163" y="682"/>
                      </a:lnTo>
                      <a:lnTo>
                        <a:pt x="163" y="682"/>
                      </a:lnTo>
                      <a:lnTo>
                        <a:pt x="164" y="682"/>
                      </a:lnTo>
                      <a:lnTo>
                        <a:pt x="165" y="682"/>
                      </a:lnTo>
                      <a:lnTo>
                        <a:pt x="165" y="682"/>
                      </a:lnTo>
                      <a:lnTo>
                        <a:pt x="165" y="682"/>
                      </a:lnTo>
                      <a:lnTo>
                        <a:pt x="166" y="682"/>
                      </a:lnTo>
                      <a:lnTo>
                        <a:pt x="166" y="682"/>
                      </a:lnTo>
                      <a:lnTo>
                        <a:pt x="167" y="681"/>
                      </a:lnTo>
                      <a:lnTo>
                        <a:pt x="168" y="681"/>
                      </a:lnTo>
                      <a:lnTo>
                        <a:pt x="170" y="680"/>
                      </a:lnTo>
                      <a:lnTo>
                        <a:pt x="171" y="680"/>
                      </a:lnTo>
                      <a:lnTo>
                        <a:pt x="171" y="679"/>
                      </a:lnTo>
                      <a:lnTo>
                        <a:pt x="173" y="678"/>
                      </a:lnTo>
                      <a:lnTo>
                        <a:pt x="173" y="678"/>
                      </a:lnTo>
                      <a:lnTo>
                        <a:pt x="174" y="678"/>
                      </a:lnTo>
                      <a:lnTo>
                        <a:pt x="174" y="678"/>
                      </a:lnTo>
                      <a:lnTo>
                        <a:pt x="175" y="678"/>
                      </a:lnTo>
                      <a:lnTo>
                        <a:pt x="175" y="678"/>
                      </a:lnTo>
                      <a:lnTo>
                        <a:pt x="175" y="678"/>
                      </a:lnTo>
                      <a:lnTo>
                        <a:pt x="177" y="678"/>
                      </a:lnTo>
                      <a:lnTo>
                        <a:pt x="177" y="677"/>
                      </a:lnTo>
                      <a:lnTo>
                        <a:pt x="178" y="678"/>
                      </a:lnTo>
                      <a:lnTo>
                        <a:pt x="178" y="678"/>
                      </a:lnTo>
                      <a:lnTo>
                        <a:pt x="180" y="678"/>
                      </a:lnTo>
                      <a:lnTo>
                        <a:pt x="180" y="678"/>
                      </a:lnTo>
                      <a:lnTo>
                        <a:pt x="180" y="678"/>
                      </a:lnTo>
                      <a:lnTo>
                        <a:pt x="180" y="678"/>
                      </a:lnTo>
                      <a:lnTo>
                        <a:pt x="181" y="678"/>
                      </a:lnTo>
                      <a:lnTo>
                        <a:pt x="181" y="678"/>
                      </a:lnTo>
                      <a:lnTo>
                        <a:pt x="182" y="678"/>
                      </a:lnTo>
                      <a:lnTo>
                        <a:pt x="184" y="676"/>
                      </a:lnTo>
                      <a:lnTo>
                        <a:pt x="186" y="675"/>
                      </a:lnTo>
                      <a:lnTo>
                        <a:pt x="186" y="675"/>
                      </a:lnTo>
                      <a:lnTo>
                        <a:pt x="187" y="675"/>
                      </a:lnTo>
                      <a:lnTo>
                        <a:pt x="187" y="675"/>
                      </a:lnTo>
                      <a:lnTo>
                        <a:pt x="188" y="677"/>
                      </a:lnTo>
                      <a:lnTo>
                        <a:pt x="189" y="677"/>
                      </a:lnTo>
                      <a:lnTo>
                        <a:pt x="190" y="677"/>
                      </a:lnTo>
                      <a:lnTo>
                        <a:pt x="190" y="677"/>
                      </a:lnTo>
                      <a:lnTo>
                        <a:pt x="189" y="677"/>
                      </a:lnTo>
                      <a:lnTo>
                        <a:pt x="188" y="676"/>
                      </a:lnTo>
                      <a:lnTo>
                        <a:pt x="188" y="674"/>
                      </a:lnTo>
                      <a:lnTo>
                        <a:pt x="186" y="673"/>
                      </a:lnTo>
                      <a:lnTo>
                        <a:pt x="185" y="672"/>
                      </a:lnTo>
                      <a:lnTo>
                        <a:pt x="185" y="671"/>
                      </a:lnTo>
                      <a:lnTo>
                        <a:pt x="184" y="671"/>
                      </a:lnTo>
                      <a:lnTo>
                        <a:pt x="184" y="670"/>
                      </a:lnTo>
                      <a:lnTo>
                        <a:pt x="184" y="670"/>
                      </a:lnTo>
                      <a:lnTo>
                        <a:pt x="180" y="670"/>
                      </a:lnTo>
                      <a:lnTo>
                        <a:pt x="179" y="671"/>
                      </a:lnTo>
                      <a:lnTo>
                        <a:pt x="179" y="671"/>
                      </a:lnTo>
                      <a:lnTo>
                        <a:pt x="178" y="672"/>
                      </a:lnTo>
                      <a:lnTo>
                        <a:pt x="177" y="672"/>
                      </a:lnTo>
                      <a:lnTo>
                        <a:pt x="175" y="670"/>
                      </a:lnTo>
                      <a:lnTo>
                        <a:pt x="174" y="670"/>
                      </a:lnTo>
                      <a:lnTo>
                        <a:pt x="173" y="669"/>
                      </a:lnTo>
                      <a:lnTo>
                        <a:pt x="172" y="668"/>
                      </a:lnTo>
                      <a:lnTo>
                        <a:pt x="171" y="668"/>
                      </a:lnTo>
                      <a:lnTo>
                        <a:pt x="171" y="669"/>
                      </a:lnTo>
                      <a:lnTo>
                        <a:pt x="170" y="669"/>
                      </a:lnTo>
                      <a:lnTo>
                        <a:pt x="168" y="670"/>
                      </a:lnTo>
                      <a:lnTo>
                        <a:pt x="168" y="670"/>
                      </a:lnTo>
                      <a:lnTo>
                        <a:pt x="168" y="670"/>
                      </a:lnTo>
                      <a:lnTo>
                        <a:pt x="164" y="670"/>
                      </a:lnTo>
                      <a:lnTo>
                        <a:pt x="161" y="668"/>
                      </a:lnTo>
                      <a:lnTo>
                        <a:pt x="159" y="668"/>
                      </a:lnTo>
                      <a:lnTo>
                        <a:pt x="159" y="668"/>
                      </a:lnTo>
                      <a:lnTo>
                        <a:pt x="160" y="668"/>
                      </a:lnTo>
                      <a:lnTo>
                        <a:pt x="159" y="668"/>
                      </a:lnTo>
                      <a:lnTo>
                        <a:pt x="158" y="667"/>
                      </a:lnTo>
                      <a:lnTo>
                        <a:pt x="157" y="667"/>
                      </a:lnTo>
                      <a:lnTo>
                        <a:pt x="156" y="665"/>
                      </a:lnTo>
                      <a:lnTo>
                        <a:pt x="155" y="665"/>
                      </a:lnTo>
                      <a:lnTo>
                        <a:pt x="155" y="664"/>
                      </a:lnTo>
                      <a:lnTo>
                        <a:pt x="154" y="664"/>
                      </a:lnTo>
                      <a:lnTo>
                        <a:pt x="154" y="663"/>
                      </a:lnTo>
                      <a:lnTo>
                        <a:pt x="153" y="662"/>
                      </a:lnTo>
                      <a:lnTo>
                        <a:pt x="152" y="661"/>
                      </a:lnTo>
                      <a:lnTo>
                        <a:pt x="151" y="661"/>
                      </a:lnTo>
                      <a:lnTo>
                        <a:pt x="151" y="660"/>
                      </a:lnTo>
                      <a:lnTo>
                        <a:pt x="150" y="660"/>
                      </a:lnTo>
                      <a:lnTo>
                        <a:pt x="150" y="660"/>
                      </a:lnTo>
                      <a:lnTo>
                        <a:pt x="149" y="659"/>
                      </a:lnTo>
                      <a:lnTo>
                        <a:pt x="148" y="659"/>
                      </a:lnTo>
                      <a:lnTo>
                        <a:pt x="148" y="658"/>
                      </a:lnTo>
                      <a:lnTo>
                        <a:pt x="147" y="657"/>
                      </a:lnTo>
                      <a:lnTo>
                        <a:pt x="145" y="657"/>
                      </a:lnTo>
                      <a:lnTo>
                        <a:pt x="144" y="656"/>
                      </a:lnTo>
                      <a:lnTo>
                        <a:pt x="144" y="656"/>
                      </a:lnTo>
                      <a:lnTo>
                        <a:pt x="142" y="655"/>
                      </a:lnTo>
                      <a:lnTo>
                        <a:pt x="142" y="655"/>
                      </a:lnTo>
                      <a:lnTo>
                        <a:pt x="142" y="655"/>
                      </a:lnTo>
                      <a:lnTo>
                        <a:pt x="140" y="654"/>
                      </a:lnTo>
                      <a:lnTo>
                        <a:pt x="139" y="653"/>
                      </a:lnTo>
                      <a:lnTo>
                        <a:pt x="138" y="651"/>
                      </a:lnTo>
                      <a:lnTo>
                        <a:pt x="137" y="651"/>
                      </a:lnTo>
                      <a:lnTo>
                        <a:pt x="137" y="650"/>
                      </a:lnTo>
                      <a:lnTo>
                        <a:pt x="136" y="649"/>
                      </a:lnTo>
                      <a:lnTo>
                        <a:pt x="135" y="645"/>
                      </a:lnTo>
                      <a:lnTo>
                        <a:pt x="135" y="645"/>
                      </a:lnTo>
                      <a:lnTo>
                        <a:pt x="134" y="643"/>
                      </a:lnTo>
                      <a:lnTo>
                        <a:pt x="134" y="643"/>
                      </a:lnTo>
                      <a:lnTo>
                        <a:pt x="134" y="641"/>
                      </a:lnTo>
                      <a:lnTo>
                        <a:pt x="133" y="641"/>
                      </a:lnTo>
                      <a:lnTo>
                        <a:pt x="133" y="639"/>
                      </a:lnTo>
                      <a:lnTo>
                        <a:pt x="133" y="639"/>
                      </a:lnTo>
                      <a:lnTo>
                        <a:pt x="132" y="636"/>
                      </a:lnTo>
                      <a:lnTo>
                        <a:pt x="132" y="633"/>
                      </a:lnTo>
                      <a:lnTo>
                        <a:pt x="132" y="631"/>
                      </a:lnTo>
                      <a:lnTo>
                        <a:pt x="132" y="630"/>
                      </a:lnTo>
                      <a:lnTo>
                        <a:pt x="131" y="630"/>
                      </a:lnTo>
                      <a:lnTo>
                        <a:pt x="131" y="629"/>
                      </a:lnTo>
                      <a:lnTo>
                        <a:pt x="131" y="628"/>
                      </a:lnTo>
                      <a:lnTo>
                        <a:pt x="132" y="628"/>
                      </a:lnTo>
                      <a:lnTo>
                        <a:pt x="132" y="628"/>
                      </a:lnTo>
                      <a:lnTo>
                        <a:pt x="131" y="628"/>
                      </a:lnTo>
                      <a:lnTo>
                        <a:pt x="132" y="628"/>
                      </a:lnTo>
                      <a:lnTo>
                        <a:pt x="132" y="627"/>
                      </a:lnTo>
                      <a:lnTo>
                        <a:pt x="131" y="628"/>
                      </a:lnTo>
                      <a:lnTo>
                        <a:pt x="131" y="628"/>
                      </a:lnTo>
                      <a:lnTo>
                        <a:pt x="131" y="627"/>
                      </a:lnTo>
                      <a:lnTo>
                        <a:pt x="130" y="627"/>
                      </a:lnTo>
                      <a:lnTo>
                        <a:pt x="131" y="628"/>
                      </a:lnTo>
                      <a:lnTo>
                        <a:pt x="130" y="628"/>
                      </a:lnTo>
                      <a:lnTo>
                        <a:pt x="130" y="627"/>
                      </a:lnTo>
                      <a:lnTo>
                        <a:pt x="129" y="626"/>
                      </a:lnTo>
                      <a:lnTo>
                        <a:pt x="129" y="626"/>
                      </a:lnTo>
                      <a:lnTo>
                        <a:pt x="130" y="626"/>
                      </a:lnTo>
                      <a:lnTo>
                        <a:pt x="131" y="625"/>
                      </a:lnTo>
                      <a:lnTo>
                        <a:pt x="131" y="625"/>
                      </a:lnTo>
                      <a:lnTo>
                        <a:pt x="130" y="625"/>
                      </a:lnTo>
                      <a:lnTo>
                        <a:pt x="131" y="625"/>
                      </a:lnTo>
                      <a:lnTo>
                        <a:pt x="131" y="624"/>
                      </a:lnTo>
                      <a:lnTo>
                        <a:pt x="130" y="625"/>
                      </a:lnTo>
                      <a:lnTo>
                        <a:pt x="130" y="624"/>
                      </a:lnTo>
                      <a:lnTo>
                        <a:pt x="129" y="624"/>
                      </a:lnTo>
                      <a:lnTo>
                        <a:pt x="129" y="625"/>
                      </a:lnTo>
                      <a:lnTo>
                        <a:pt x="129" y="625"/>
                      </a:lnTo>
                      <a:lnTo>
                        <a:pt x="129" y="625"/>
                      </a:lnTo>
                      <a:lnTo>
                        <a:pt x="128" y="625"/>
                      </a:lnTo>
                      <a:lnTo>
                        <a:pt x="128" y="625"/>
                      </a:lnTo>
                      <a:lnTo>
                        <a:pt x="127" y="624"/>
                      </a:lnTo>
                      <a:lnTo>
                        <a:pt x="126" y="623"/>
                      </a:lnTo>
                      <a:lnTo>
                        <a:pt x="125" y="622"/>
                      </a:lnTo>
                      <a:lnTo>
                        <a:pt x="125" y="622"/>
                      </a:lnTo>
                      <a:lnTo>
                        <a:pt x="125" y="621"/>
                      </a:lnTo>
                      <a:lnTo>
                        <a:pt x="126" y="620"/>
                      </a:lnTo>
                      <a:lnTo>
                        <a:pt x="126" y="620"/>
                      </a:lnTo>
                      <a:lnTo>
                        <a:pt x="125" y="618"/>
                      </a:lnTo>
                      <a:lnTo>
                        <a:pt x="124" y="616"/>
                      </a:lnTo>
                      <a:lnTo>
                        <a:pt x="123" y="614"/>
                      </a:lnTo>
                      <a:lnTo>
                        <a:pt x="122" y="614"/>
                      </a:lnTo>
                      <a:lnTo>
                        <a:pt x="122" y="611"/>
                      </a:lnTo>
                      <a:lnTo>
                        <a:pt x="121" y="610"/>
                      </a:lnTo>
                      <a:lnTo>
                        <a:pt x="121" y="609"/>
                      </a:lnTo>
                      <a:lnTo>
                        <a:pt x="121" y="609"/>
                      </a:lnTo>
                      <a:lnTo>
                        <a:pt x="121" y="605"/>
                      </a:lnTo>
                      <a:lnTo>
                        <a:pt x="120" y="605"/>
                      </a:lnTo>
                      <a:lnTo>
                        <a:pt x="120" y="603"/>
                      </a:lnTo>
                      <a:lnTo>
                        <a:pt x="121" y="602"/>
                      </a:lnTo>
                      <a:lnTo>
                        <a:pt x="120" y="600"/>
                      </a:lnTo>
                      <a:lnTo>
                        <a:pt x="120" y="600"/>
                      </a:lnTo>
                      <a:lnTo>
                        <a:pt x="118" y="599"/>
                      </a:lnTo>
                      <a:lnTo>
                        <a:pt x="117" y="597"/>
                      </a:lnTo>
                      <a:lnTo>
                        <a:pt x="116" y="597"/>
                      </a:lnTo>
                      <a:lnTo>
                        <a:pt x="116" y="596"/>
                      </a:lnTo>
                      <a:lnTo>
                        <a:pt x="115" y="596"/>
                      </a:lnTo>
                      <a:lnTo>
                        <a:pt x="114" y="595"/>
                      </a:lnTo>
                      <a:lnTo>
                        <a:pt x="114" y="594"/>
                      </a:lnTo>
                      <a:lnTo>
                        <a:pt x="113" y="594"/>
                      </a:lnTo>
                      <a:lnTo>
                        <a:pt x="112" y="591"/>
                      </a:lnTo>
                      <a:lnTo>
                        <a:pt x="113" y="586"/>
                      </a:lnTo>
                      <a:lnTo>
                        <a:pt x="113" y="586"/>
                      </a:lnTo>
                      <a:lnTo>
                        <a:pt x="113" y="585"/>
                      </a:lnTo>
                      <a:lnTo>
                        <a:pt x="114" y="584"/>
                      </a:lnTo>
                      <a:lnTo>
                        <a:pt x="115" y="582"/>
                      </a:lnTo>
                      <a:lnTo>
                        <a:pt x="115" y="581"/>
                      </a:lnTo>
                      <a:lnTo>
                        <a:pt x="116" y="581"/>
                      </a:lnTo>
                      <a:lnTo>
                        <a:pt x="116" y="580"/>
                      </a:lnTo>
                      <a:lnTo>
                        <a:pt x="117" y="578"/>
                      </a:lnTo>
                      <a:lnTo>
                        <a:pt x="117" y="577"/>
                      </a:lnTo>
                      <a:lnTo>
                        <a:pt x="118" y="577"/>
                      </a:lnTo>
                      <a:lnTo>
                        <a:pt x="119" y="575"/>
                      </a:lnTo>
                      <a:lnTo>
                        <a:pt x="119" y="574"/>
                      </a:lnTo>
                      <a:lnTo>
                        <a:pt x="120" y="574"/>
                      </a:lnTo>
                      <a:lnTo>
                        <a:pt x="120" y="572"/>
                      </a:lnTo>
                      <a:lnTo>
                        <a:pt x="121" y="571"/>
                      </a:lnTo>
                      <a:lnTo>
                        <a:pt x="121" y="571"/>
                      </a:lnTo>
                      <a:lnTo>
                        <a:pt x="121" y="571"/>
                      </a:lnTo>
                      <a:lnTo>
                        <a:pt x="122" y="569"/>
                      </a:lnTo>
                      <a:lnTo>
                        <a:pt x="122" y="568"/>
                      </a:lnTo>
                      <a:lnTo>
                        <a:pt x="122" y="567"/>
                      </a:lnTo>
                      <a:lnTo>
                        <a:pt x="123" y="567"/>
                      </a:lnTo>
                      <a:lnTo>
                        <a:pt x="123" y="565"/>
                      </a:lnTo>
                      <a:lnTo>
                        <a:pt x="123" y="565"/>
                      </a:lnTo>
                      <a:lnTo>
                        <a:pt x="124" y="564"/>
                      </a:lnTo>
                      <a:lnTo>
                        <a:pt x="125" y="562"/>
                      </a:lnTo>
                      <a:lnTo>
                        <a:pt x="125" y="562"/>
                      </a:lnTo>
                      <a:lnTo>
                        <a:pt x="125" y="561"/>
                      </a:lnTo>
                      <a:lnTo>
                        <a:pt x="125" y="561"/>
                      </a:lnTo>
                      <a:lnTo>
                        <a:pt x="126" y="561"/>
                      </a:lnTo>
                      <a:lnTo>
                        <a:pt x="126" y="561"/>
                      </a:lnTo>
                      <a:lnTo>
                        <a:pt x="126" y="560"/>
                      </a:lnTo>
                      <a:lnTo>
                        <a:pt x="127" y="559"/>
                      </a:lnTo>
                      <a:lnTo>
                        <a:pt x="128" y="557"/>
                      </a:lnTo>
                      <a:lnTo>
                        <a:pt x="129" y="557"/>
                      </a:lnTo>
                      <a:lnTo>
                        <a:pt x="130" y="555"/>
                      </a:lnTo>
                      <a:lnTo>
                        <a:pt x="130" y="555"/>
                      </a:lnTo>
                      <a:lnTo>
                        <a:pt x="129" y="554"/>
                      </a:lnTo>
                      <a:lnTo>
                        <a:pt x="129" y="554"/>
                      </a:lnTo>
                      <a:lnTo>
                        <a:pt x="129" y="554"/>
                      </a:lnTo>
                      <a:lnTo>
                        <a:pt x="129" y="554"/>
                      </a:lnTo>
                      <a:lnTo>
                        <a:pt x="130" y="555"/>
                      </a:lnTo>
                      <a:lnTo>
                        <a:pt x="131" y="555"/>
                      </a:lnTo>
                      <a:lnTo>
                        <a:pt x="131" y="554"/>
                      </a:lnTo>
                      <a:lnTo>
                        <a:pt x="132" y="554"/>
                      </a:lnTo>
                      <a:lnTo>
                        <a:pt x="132" y="553"/>
                      </a:lnTo>
                      <a:lnTo>
                        <a:pt x="134" y="551"/>
                      </a:lnTo>
                      <a:lnTo>
                        <a:pt x="134" y="551"/>
                      </a:lnTo>
                      <a:lnTo>
                        <a:pt x="135" y="551"/>
                      </a:lnTo>
                      <a:lnTo>
                        <a:pt x="135" y="550"/>
                      </a:lnTo>
                      <a:lnTo>
                        <a:pt x="135" y="550"/>
                      </a:lnTo>
                      <a:lnTo>
                        <a:pt x="136" y="547"/>
                      </a:lnTo>
                      <a:lnTo>
                        <a:pt x="135" y="547"/>
                      </a:lnTo>
                      <a:lnTo>
                        <a:pt x="135" y="546"/>
                      </a:lnTo>
                      <a:lnTo>
                        <a:pt x="136" y="546"/>
                      </a:lnTo>
                      <a:lnTo>
                        <a:pt x="136" y="545"/>
                      </a:lnTo>
                      <a:lnTo>
                        <a:pt x="137" y="544"/>
                      </a:lnTo>
                      <a:lnTo>
                        <a:pt x="137" y="543"/>
                      </a:lnTo>
                      <a:lnTo>
                        <a:pt x="138" y="543"/>
                      </a:lnTo>
                      <a:lnTo>
                        <a:pt x="138" y="542"/>
                      </a:lnTo>
                      <a:lnTo>
                        <a:pt x="139" y="542"/>
                      </a:lnTo>
                      <a:lnTo>
                        <a:pt x="139" y="541"/>
                      </a:lnTo>
                      <a:lnTo>
                        <a:pt x="140" y="540"/>
                      </a:lnTo>
                      <a:lnTo>
                        <a:pt x="142" y="540"/>
                      </a:lnTo>
                      <a:lnTo>
                        <a:pt x="142" y="539"/>
                      </a:lnTo>
                      <a:lnTo>
                        <a:pt x="143" y="538"/>
                      </a:lnTo>
                      <a:lnTo>
                        <a:pt x="143" y="538"/>
                      </a:lnTo>
                      <a:lnTo>
                        <a:pt x="143" y="537"/>
                      </a:lnTo>
                      <a:lnTo>
                        <a:pt x="144" y="536"/>
                      </a:lnTo>
                      <a:lnTo>
                        <a:pt x="145" y="535"/>
                      </a:lnTo>
                      <a:lnTo>
                        <a:pt x="145" y="535"/>
                      </a:lnTo>
                      <a:lnTo>
                        <a:pt x="143" y="535"/>
                      </a:lnTo>
                      <a:lnTo>
                        <a:pt x="143" y="533"/>
                      </a:lnTo>
                      <a:lnTo>
                        <a:pt x="144" y="533"/>
                      </a:lnTo>
                      <a:lnTo>
                        <a:pt x="145" y="531"/>
                      </a:lnTo>
                      <a:lnTo>
                        <a:pt x="145" y="531"/>
                      </a:lnTo>
                      <a:lnTo>
                        <a:pt x="145" y="530"/>
                      </a:lnTo>
                      <a:lnTo>
                        <a:pt x="147" y="530"/>
                      </a:lnTo>
                      <a:lnTo>
                        <a:pt x="147" y="529"/>
                      </a:lnTo>
                      <a:lnTo>
                        <a:pt x="145" y="527"/>
                      </a:lnTo>
                      <a:lnTo>
                        <a:pt x="145" y="526"/>
                      </a:lnTo>
                      <a:lnTo>
                        <a:pt x="144" y="526"/>
                      </a:lnTo>
                      <a:lnTo>
                        <a:pt x="144" y="526"/>
                      </a:lnTo>
                      <a:lnTo>
                        <a:pt x="144" y="526"/>
                      </a:lnTo>
                      <a:lnTo>
                        <a:pt x="143" y="526"/>
                      </a:lnTo>
                      <a:lnTo>
                        <a:pt x="143" y="526"/>
                      </a:lnTo>
                      <a:lnTo>
                        <a:pt x="143" y="526"/>
                      </a:lnTo>
                      <a:lnTo>
                        <a:pt x="142" y="526"/>
                      </a:lnTo>
                      <a:lnTo>
                        <a:pt x="138" y="526"/>
                      </a:lnTo>
                      <a:lnTo>
                        <a:pt x="135" y="525"/>
                      </a:lnTo>
                      <a:lnTo>
                        <a:pt x="134" y="524"/>
                      </a:lnTo>
                      <a:lnTo>
                        <a:pt x="134" y="524"/>
                      </a:lnTo>
                      <a:lnTo>
                        <a:pt x="134" y="525"/>
                      </a:lnTo>
                      <a:lnTo>
                        <a:pt x="133" y="525"/>
                      </a:lnTo>
                      <a:lnTo>
                        <a:pt x="133" y="525"/>
                      </a:lnTo>
                      <a:lnTo>
                        <a:pt x="132" y="525"/>
                      </a:lnTo>
                      <a:lnTo>
                        <a:pt x="130" y="524"/>
                      </a:lnTo>
                      <a:lnTo>
                        <a:pt x="129" y="523"/>
                      </a:lnTo>
                      <a:lnTo>
                        <a:pt x="128" y="523"/>
                      </a:lnTo>
                      <a:lnTo>
                        <a:pt x="128" y="522"/>
                      </a:lnTo>
                      <a:lnTo>
                        <a:pt x="127" y="522"/>
                      </a:lnTo>
                      <a:lnTo>
                        <a:pt x="126" y="520"/>
                      </a:lnTo>
                      <a:lnTo>
                        <a:pt x="125" y="519"/>
                      </a:lnTo>
                      <a:lnTo>
                        <a:pt x="124" y="518"/>
                      </a:lnTo>
                      <a:lnTo>
                        <a:pt x="123" y="515"/>
                      </a:lnTo>
                      <a:lnTo>
                        <a:pt x="122" y="514"/>
                      </a:lnTo>
                      <a:lnTo>
                        <a:pt x="122" y="510"/>
                      </a:lnTo>
                      <a:lnTo>
                        <a:pt x="122" y="505"/>
                      </a:lnTo>
                      <a:lnTo>
                        <a:pt x="122" y="503"/>
                      </a:lnTo>
                      <a:lnTo>
                        <a:pt x="122" y="498"/>
                      </a:lnTo>
                      <a:lnTo>
                        <a:pt x="122" y="496"/>
                      </a:lnTo>
                      <a:lnTo>
                        <a:pt x="122" y="491"/>
                      </a:lnTo>
                      <a:lnTo>
                        <a:pt x="122" y="486"/>
                      </a:lnTo>
                      <a:lnTo>
                        <a:pt x="122" y="486"/>
                      </a:lnTo>
                      <a:lnTo>
                        <a:pt x="123" y="479"/>
                      </a:lnTo>
                      <a:lnTo>
                        <a:pt x="124" y="478"/>
                      </a:lnTo>
                      <a:lnTo>
                        <a:pt x="124" y="476"/>
                      </a:lnTo>
                      <a:lnTo>
                        <a:pt x="124" y="475"/>
                      </a:lnTo>
                      <a:lnTo>
                        <a:pt x="124" y="470"/>
                      </a:lnTo>
                      <a:lnTo>
                        <a:pt x="123" y="468"/>
                      </a:lnTo>
                      <a:lnTo>
                        <a:pt x="123" y="467"/>
                      </a:lnTo>
                      <a:lnTo>
                        <a:pt x="123" y="466"/>
                      </a:lnTo>
                      <a:lnTo>
                        <a:pt x="123" y="465"/>
                      </a:lnTo>
                      <a:lnTo>
                        <a:pt x="123" y="464"/>
                      </a:lnTo>
                      <a:lnTo>
                        <a:pt x="123" y="464"/>
                      </a:lnTo>
                      <a:lnTo>
                        <a:pt x="123" y="462"/>
                      </a:lnTo>
                      <a:lnTo>
                        <a:pt x="123" y="462"/>
                      </a:lnTo>
                      <a:lnTo>
                        <a:pt x="123" y="461"/>
                      </a:lnTo>
                      <a:lnTo>
                        <a:pt x="124" y="459"/>
                      </a:lnTo>
                      <a:lnTo>
                        <a:pt x="126" y="458"/>
                      </a:lnTo>
                      <a:lnTo>
                        <a:pt x="127" y="458"/>
                      </a:lnTo>
                      <a:lnTo>
                        <a:pt x="128" y="458"/>
                      </a:lnTo>
                      <a:lnTo>
                        <a:pt x="128" y="458"/>
                      </a:lnTo>
                      <a:lnTo>
                        <a:pt x="129" y="458"/>
                      </a:lnTo>
                      <a:lnTo>
                        <a:pt x="129" y="458"/>
                      </a:lnTo>
                      <a:lnTo>
                        <a:pt x="131" y="456"/>
                      </a:lnTo>
                      <a:lnTo>
                        <a:pt x="132" y="456"/>
                      </a:lnTo>
                      <a:lnTo>
                        <a:pt x="132" y="456"/>
                      </a:lnTo>
                      <a:lnTo>
                        <a:pt x="133" y="459"/>
                      </a:lnTo>
                      <a:lnTo>
                        <a:pt x="132" y="460"/>
                      </a:lnTo>
                      <a:lnTo>
                        <a:pt x="131" y="460"/>
                      </a:lnTo>
                      <a:lnTo>
                        <a:pt x="132" y="461"/>
                      </a:lnTo>
                      <a:lnTo>
                        <a:pt x="132" y="461"/>
                      </a:lnTo>
                      <a:lnTo>
                        <a:pt x="132" y="464"/>
                      </a:lnTo>
                      <a:lnTo>
                        <a:pt x="132" y="468"/>
                      </a:lnTo>
                      <a:lnTo>
                        <a:pt x="133" y="470"/>
                      </a:lnTo>
                      <a:lnTo>
                        <a:pt x="134" y="470"/>
                      </a:lnTo>
                      <a:lnTo>
                        <a:pt x="134" y="471"/>
                      </a:lnTo>
                      <a:lnTo>
                        <a:pt x="134" y="472"/>
                      </a:lnTo>
                      <a:lnTo>
                        <a:pt x="135" y="472"/>
                      </a:lnTo>
                      <a:lnTo>
                        <a:pt x="139" y="474"/>
                      </a:lnTo>
                      <a:lnTo>
                        <a:pt x="139" y="475"/>
                      </a:lnTo>
                      <a:lnTo>
                        <a:pt x="140" y="476"/>
                      </a:lnTo>
                      <a:lnTo>
                        <a:pt x="140" y="477"/>
                      </a:lnTo>
                      <a:lnTo>
                        <a:pt x="139" y="477"/>
                      </a:lnTo>
                      <a:lnTo>
                        <a:pt x="138" y="477"/>
                      </a:lnTo>
                      <a:lnTo>
                        <a:pt x="138" y="478"/>
                      </a:lnTo>
                      <a:lnTo>
                        <a:pt x="138" y="480"/>
                      </a:lnTo>
                      <a:lnTo>
                        <a:pt x="138" y="480"/>
                      </a:lnTo>
                      <a:lnTo>
                        <a:pt x="139" y="481"/>
                      </a:lnTo>
                      <a:lnTo>
                        <a:pt x="140" y="481"/>
                      </a:lnTo>
                      <a:lnTo>
                        <a:pt x="140" y="481"/>
                      </a:lnTo>
                      <a:lnTo>
                        <a:pt x="141" y="480"/>
                      </a:lnTo>
                      <a:lnTo>
                        <a:pt x="142" y="481"/>
                      </a:lnTo>
                      <a:lnTo>
                        <a:pt x="143" y="483"/>
                      </a:lnTo>
                      <a:lnTo>
                        <a:pt x="144" y="484"/>
                      </a:lnTo>
                      <a:lnTo>
                        <a:pt x="145" y="484"/>
                      </a:lnTo>
                      <a:lnTo>
                        <a:pt x="147" y="484"/>
                      </a:lnTo>
                      <a:lnTo>
                        <a:pt x="147" y="484"/>
                      </a:lnTo>
                      <a:lnTo>
                        <a:pt x="147" y="484"/>
                      </a:lnTo>
                      <a:lnTo>
                        <a:pt x="145" y="484"/>
                      </a:lnTo>
                      <a:lnTo>
                        <a:pt x="144" y="484"/>
                      </a:lnTo>
                      <a:lnTo>
                        <a:pt x="143" y="483"/>
                      </a:lnTo>
                      <a:lnTo>
                        <a:pt x="143" y="481"/>
                      </a:lnTo>
                      <a:lnTo>
                        <a:pt x="142" y="481"/>
                      </a:lnTo>
                      <a:lnTo>
                        <a:pt x="142" y="481"/>
                      </a:lnTo>
                      <a:lnTo>
                        <a:pt x="142" y="480"/>
                      </a:lnTo>
                      <a:lnTo>
                        <a:pt x="141" y="480"/>
                      </a:lnTo>
                      <a:lnTo>
                        <a:pt x="141" y="480"/>
                      </a:lnTo>
                      <a:lnTo>
                        <a:pt x="140" y="480"/>
                      </a:lnTo>
                      <a:lnTo>
                        <a:pt x="139" y="480"/>
                      </a:lnTo>
                      <a:lnTo>
                        <a:pt x="140" y="478"/>
                      </a:lnTo>
                      <a:lnTo>
                        <a:pt x="140" y="478"/>
                      </a:lnTo>
                      <a:lnTo>
                        <a:pt x="141" y="477"/>
                      </a:lnTo>
                      <a:lnTo>
                        <a:pt x="141" y="476"/>
                      </a:lnTo>
                      <a:lnTo>
                        <a:pt x="140" y="475"/>
                      </a:lnTo>
                      <a:lnTo>
                        <a:pt x="140" y="474"/>
                      </a:lnTo>
                      <a:lnTo>
                        <a:pt x="140" y="474"/>
                      </a:lnTo>
                      <a:lnTo>
                        <a:pt x="138" y="473"/>
                      </a:lnTo>
                      <a:lnTo>
                        <a:pt x="138" y="473"/>
                      </a:lnTo>
                      <a:lnTo>
                        <a:pt x="138" y="473"/>
                      </a:lnTo>
                      <a:lnTo>
                        <a:pt x="138" y="472"/>
                      </a:lnTo>
                      <a:lnTo>
                        <a:pt x="137" y="472"/>
                      </a:lnTo>
                      <a:lnTo>
                        <a:pt x="137" y="471"/>
                      </a:lnTo>
                      <a:lnTo>
                        <a:pt x="136" y="469"/>
                      </a:lnTo>
                      <a:lnTo>
                        <a:pt x="135" y="469"/>
                      </a:lnTo>
                      <a:lnTo>
                        <a:pt x="135" y="466"/>
                      </a:lnTo>
                      <a:lnTo>
                        <a:pt x="135" y="465"/>
                      </a:lnTo>
                      <a:lnTo>
                        <a:pt x="134" y="464"/>
                      </a:lnTo>
                      <a:lnTo>
                        <a:pt x="135" y="462"/>
                      </a:lnTo>
                      <a:lnTo>
                        <a:pt x="134" y="462"/>
                      </a:lnTo>
                      <a:lnTo>
                        <a:pt x="134" y="461"/>
                      </a:lnTo>
                      <a:lnTo>
                        <a:pt x="134" y="458"/>
                      </a:lnTo>
                      <a:lnTo>
                        <a:pt x="134" y="458"/>
                      </a:lnTo>
                      <a:lnTo>
                        <a:pt x="134" y="456"/>
                      </a:lnTo>
                      <a:lnTo>
                        <a:pt x="136" y="456"/>
                      </a:lnTo>
                      <a:lnTo>
                        <a:pt x="136" y="456"/>
                      </a:lnTo>
                      <a:lnTo>
                        <a:pt x="138" y="455"/>
                      </a:lnTo>
                      <a:lnTo>
                        <a:pt x="139" y="455"/>
                      </a:lnTo>
                      <a:lnTo>
                        <a:pt x="139" y="455"/>
                      </a:lnTo>
                      <a:lnTo>
                        <a:pt x="141" y="453"/>
                      </a:lnTo>
                      <a:lnTo>
                        <a:pt x="142" y="453"/>
                      </a:lnTo>
                      <a:lnTo>
                        <a:pt x="143" y="452"/>
                      </a:lnTo>
                      <a:lnTo>
                        <a:pt x="145" y="452"/>
                      </a:lnTo>
                      <a:lnTo>
                        <a:pt x="147" y="452"/>
                      </a:lnTo>
                      <a:lnTo>
                        <a:pt x="148" y="451"/>
                      </a:lnTo>
                      <a:lnTo>
                        <a:pt x="149" y="451"/>
                      </a:lnTo>
                      <a:lnTo>
                        <a:pt x="150" y="451"/>
                      </a:lnTo>
                      <a:lnTo>
                        <a:pt x="150" y="450"/>
                      </a:lnTo>
                      <a:lnTo>
                        <a:pt x="151" y="450"/>
                      </a:lnTo>
                      <a:lnTo>
                        <a:pt x="152" y="450"/>
                      </a:lnTo>
                      <a:lnTo>
                        <a:pt x="154" y="452"/>
                      </a:lnTo>
                      <a:lnTo>
                        <a:pt x="154" y="452"/>
                      </a:lnTo>
                      <a:lnTo>
                        <a:pt x="156" y="452"/>
                      </a:lnTo>
                      <a:lnTo>
                        <a:pt x="156" y="452"/>
                      </a:lnTo>
                      <a:lnTo>
                        <a:pt x="156" y="451"/>
                      </a:lnTo>
                      <a:lnTo>
                        <a:pt x="158" y="451"/>
                      </a:lnTo>
                      <a:lnTo>
                        <a:pt x="159" y="450"/>
                      </a:lnTo>
                      <a:lnTo>
                        <a:pt x="159" y="450"/>
                      </a:lnTo>
                      <a:lnTo>
                        <a:pt x="159" y="450"/>
                      </a:lnTo>
                      <a:lnTo>
                        <a:pt x="160" y="449"/>
                      </a:lnTo>
                      <a:lnTo>
                        <a:pt x="160" y="449"/>
                      </a:lnTo>
                      <a:lnTo>
                        <a:pt x="160" y="448"/>
                      </a:lnTo>
                      <a:lnTo>
                        <a:pt x="160" y="447"/>
                      </a:lnTo>
                      <a:lnTo>
                        <a:pt x="161" y="447"/>
                      </a:lnTo>
                      <a:lnTo>
                        <a:pt x="162" y="447"/>
                      </a:lnTo>
                      <a:lnTo>
                        <a:pt x="162" y="446"/>
                      </a:lnTo>
                      <a:lnTo>
                        <a:pt x="163" y="446"/>
                      </a:lnTo>
                      <a:lnTo>
                        <a:pt x="163" y="445"/>
                      </a:lnTo>
                      <a:lnTo>
                        <a:pt x="164" y="445"/>
                      </a:lnTo>
                      <a:lnTo>
                        <a:pt x="164" y="444"/>
                      </a:lnTo>
                      <a:lnTo>
                        <a:pt x="165" y="444"/>
                      </a:lnTo>
                      <a:lnTo>
                        <a:pt x="165" y="443"/>
                      </a:lnTo>
                      <a:lnTo>
                        <a:pt x="163" y="443"/>
                      </a:lnTo>
                      <a:lnTo>
                        <a:pt x="160" y="442"/>
                      </a:lnTo>
                      <a:lnTo>
                        <a:pt x="160" y="439"/>
                      </a:lnTo>
                      <a:lnTo>
                        <a:pt x="160" y="439"/>
                      </a:lnTo>
                      <a:lnTo>
                        <a:pt x="160" y="439"/>
                      </a:lnTo>
                      <a:lnTo>
                        <a:pt x="159" y="434"/>
                      </a:lnTo>
                      <a:lnTo>
                        <a:pt x="157" y="433"/>
                      </a:lnTo>
                      <a:lnTo>
                        <a:pt x="157" y="433"/>
                      </a:lnTo>
                      <a:lnTo>
                        <a:pt x="156" y="432"/>
                      </a:lnTo>
                      <a:lnTo>
                        <a:pt x="156" y="430"/>
                      </a:lnTo>
                      <a:lnTo>
                        <a:pt x="155" y="429"/>
                      </a:lnTo>
                      <a:lnTo>
                        <a:pt x="155" y="428"/>
                      </a:lnTo>
                      <a:lnTo>
                        <a:pt x="155" y="426"/>
                      </a:lnTo>
                      <a:lnTo>
                        <a:pt x="154" y="426"/>
                      </a:lnTo>
                      <a:lnTo>
                        <a:pt x="154" y="424"/>
                      </a:lnTo>
                      <a:lnTo>
                        <a:pt x="154" y="424"/>
                      </a:lnTo>
                      <a:lnTo>
                        <a:pt x="153" y="424"/>
                      </a:lnTo>
                      <a:lnTo>
                        <a:pt x="153" y="424"/>
                      </a:lnTo>
                      <a:lnTo>
                        <a:pt x="152" y="423"/>
                      </a:lnTo>
                      <a:lnTo>
                        <a:pt x="152" y="423"/>
                      </a:lnTo>
                      <a:lnTo>
                        <a:pt x="151" y="422"/>
                      </a:lnTo>
                      <a:lnTo>
                        <a:pt x="150" y="421"/>
                      </a:lnTo>
                      <a:lnTo>
                        <a:pt x="151" y="421"/>
                      </a:lnTo>
                      <a:lnTo>
                        <a:pt x="151" y="420"/>
                      </a:lnTo>
                      <a:lnTo>
                        <a:pt x="152" y="420"/>
                      </a:lnTo>
                      <a:lnTo>
                        <a:pt x="152" y="420"/>
                      </a:lnTo>
                      <a:lnTo>
                        <a:pt x="152" y="420"/>
                      </a:lnTo>
                      <a:lnTo>
                        <a:pt x="151" y="420"/>
                      </a:lnTo>
                      <a:lnTo>
                        <a:pt x="150" y="420"/>
                      </a:lnTo>
                      <a:lnTo>
                        <a:pt x="150" y="420"/>
                      </a:lnTo>
                      <a:lnTo>
                        <a:pt x="150" y="420"/>
                      </a:lnTo>
                      <a:lnTo>
                        <a:pt x="151" y="418"/>
                      </a:lnTo>
                      <a:lnTo>
                        <a:pt x="152" y="418"/>
                      </a:lnTo>
                      <a:lnTo>
                        <a:pt x="152" y="417"/>
                      </a:lnTo>
                      <a:lnTo>
                        <a:pt x="153" y="417"/>
                      </a:lnTo>
                      <a:lnTo>
                        <a:pt x="153" y="417"/>
                      </a:lnTo>
                      <a:lnTo>
                        <a:pt x="154" y="417"/>
                      </a:lnTo>
                      <a:lnTo>
                        <a:pt x="154" y="416"/>
                      </a:lnTo>
                      <a:lnTo>
                        <a:pt x="153" y="416"/>
                      </a:lnTo>
                      <a:lnTo>
                        <a:pt x="153" y="415"/>
                      </a:lnTo>
                      <a:lnTo>
                        <a:pt x="154" y="415"/>
                      </a:lnTo>
                      <a:lnTo>
                        <a:pt x="153" y="415"/>
                      </a:lnTo>
                      <a:lnTo>
                        <a:pt x="154" y="414"/>
                      </a:lnTo>
                      <a:lnTo>
                        <a:pt x="155" y="414"/>
                      </a:lnTo>
                      <a:lnTo>
                        <a:pt x="155" y="414"/>
                      </a:lnTo>
                      <a:lnTo>
                        <a:pt x="156" y="412"/>
                      </a:lnTo>
                      <a:lnTo>
                        <a:pt x="156" y="411"/>
                      </a:lnTo>
                      <a:lnTo>
                        <a:pt x="156" y="410"/>
                      </a:lnTo>
                      <a:lnTo>
                        <a:pt x="157" y="409"/>
                      </a:lnTo>
                      <a:lnTo>
                        <a:pt x="157" y="408"/>
                      </a:lnTo>
                      <a:lnTo>
                        <a:pt x="158" y="408"/>
                      </a:lnTo>
                      <a:lnTo>
                        <a:pt x="160" y="407"/>
                      </a:lnTo>
                      <a:lnTo>
                        <a:pt x="160" y="406"/>
                      </a:lnTo>
                      <a:lnTo>
                        <a:pt x="159" y="404"/>
                      </a:lnTo>
                      <a:lnTo>
                        <a:pt x="159" y="404"/>
                      </a:lnTo>
                      <a:lnTo>
                        <a:pt x="160" y="405"/>
                      </a:lnTo>
                      <a:lnTo>
                        <a:pt x="160" y="405"/>
                      </a:lnTo>
                      <a:lnTo>
                        <a:pt x="162" y="405"/>
                      </a:lnTo>
                      <a:lnTo>
                        <a:pt x="163" y="404"/>
                      </a:lnTo>
                      <a:lnTo>
                        <a:pt x="164" y="404"/>
                      </a:lnTo>
                      <a:lnTo>
                        <a:pt x="164" y="404"/>
                      </a:lnTo>
                      <a:lnTo>
                        <a:pt x="165" y="404"/>
                      </a:lnTo>
                      <a:lnTo>
                        <a:pt x="166" y="404"/>
                      </a:lnTo>
                      <a:lnTo>
                        <a:pt x="167" y="403"/>
                      </a:lnTo>
                      <a:lnTo>
                        <a:pt x="168" y="402"/>
                      </a:lnTo>
                      <a:lnTo>
                        <a:pt x="168" y="401"/>
                      </a:lnTo>
                      <a:lnTo>
                        <a:pt x="170" y="401"/>
                      </a:lnTo>
                      <a:lnTo>
                        <a:pt x="170" y="401"/>
                      </a:lnTo>
                      <a:lnTo>
                        <a:pt x="171" y="400"/>
                      </a:lnTo>
                      <a:lnTo>
                        <a:pt x="172" y="400"/>
                      </a:lnTo>
                      <a:lnTo>
                        <a:pt x="172" y="397"/>
                      </a:lnTo>
                      <a:lnTo>
                        <a:pt x="173" y="396"/>
                      </a:lnTo>
                      <a:lnTo>
                        <a:pt x="173" y="394"/>
                      </a:lnTo>
                      <a:lnTo>
                        <a:pt x="173" y="394"/>
                      </a:lnTo>
                      <a:lnTo>
                        <a:pt x="173" y="394"/>
                      </a:lnTo>
                      <a:lnTo>
                        <a:pt x="173" y="393"/>
                      </a:lnTo>
                      <a:lnTo>
                        <a:pt x="174" y="393"/>
                      </a:lnTo>
                      <a:lnTo>
                        <a:pt x="174" y="392"/>
                      </a:lnTo>
                      <a:lnTo>
                        <a:pt x="175" y="392"/>
                      </a:lnTo>
                      <a:lnTo>
                        <a:pt x="176" y="390"/>
                      </a:lnTo>
                      <a:lnTo>
                        <a:pt x="176" y="388"/>
                      </a:lnTo>
                      <a:lnTo>
                        <a:pt x="176" y="387"/>
                      </a:lnTo>
                      <a:lnTo>
                        <a:pt x="177" y="387"/>
                      </a:lnTo>
                      <a:lnTo>
                        <a:pt x="177" y="386"/>
                      </a:lnTo>
                      <a:lnTo>
                        <a:pt x="177" y="386"/>
                      </a:lnTo>
                      <a:lnTo>
                        <a:pt x="177" y="385"/>
                      </a:lnTo>
                      <a:lnTo>
                        <a:pt x="177" y="385"/>
                      </a:lnTo>
                      <a:lnTo>
                        <a:pt x="176" y="386"/>
                      </a:lnTo>
                      <a:lnTo>
                        <a:pt x="175" y="386"/>
                      </a:lnTo>
                      <a:lnTo>
                        <a:pt x="174" y="386"/>
                      </a:lnTo>
                      <a:lnTo>
                        <a:pt x="174" y="385"/>
                      </a:lnTo>
                      <a:lnTo>
                        <a:pt x="174" y="385"/>
                      </a:lnTo>
                      <a:lnTo>
                        <a:pt x="172" y="384"/>
                      </a:lnTo>
                      <a:lnTo>
                        <a:pt x="172" y="384"/>
                      </a:lnTo>
                      <a:lnTo>
                        <a:pt x="172" y="383"/>
                      </a:lnTo>
                      <a:lnTo>
                        <a:pt x="172" y="382"/>
                      </a:lnTo>
                      <a:lnTo>
                        <a:pt x="171" y="382"/>
                      </a:lnTo>
                      <a:lnTo>
                        <a:pt x="171" y="380"/>
                      </a:lnTo>
                      <a:lnTo>
                        <a:pt x="171" y="378"/>
                      </a:lnTo>
                      <a:lnTo>
                        <a:pt x="171" y="378"/>
                      </a:lnTo>
                      <a:lnTo>
                        <a:pt x="172" y="377"/>
                      </a:lnTo>
                      <a:lnTo>
                        <a:pt x="172" y="376"/>
                      </a:lnTo>
                      <a:lnTo>
                        <a:pt x="171" y="376"/>
                      </a:lnTo>
                      <a:lnTo>
                        <a:pt x="170" y="376"/>
                      </a:lnTo>
                      <a:lnTo>
                        <a:pt x="168" y="374"/>
                      </a:lnTo>
                      <a:lnTo>
                        <a:pt x="168" y="370"/>
                      </a:lnTo>
                      <a:lnTo>
                        <a:pt x="168" y="369"/>
                      </a:lnTo>
                      <a:lnTo>
                        <a:pt x="167" y="369"/>
                      </a:lnTo>
                      <a:lnTo>
                        <a:pt x="167" y="368"/>
                      </a:lnTo>
                      <a:lnTo>
                        <a:pt x="166" y="368"/>
                      </a:lnTo>
                      <a:lnTo>
                        <a:pt x="165" y="368"/>
                      </a:lnTo>
                      <a:lnTo>
                        <a:pt x="165" y="367"/>
                      </a:lnTo>
                      <a:lnTo>
                        <a:pt x="163" y="366"/>
                      </a:lnTo>
                      <a:lnTo>
                        <a:pt x="163" y="366"/>
                      </a:lnTo>
                      <a:lnTo>
                        <a:pt x="162" y="366"/>
                      </a:lnTo>
                      <a:lnTo>
                        <a:pt x="162" y="365"/>
                      </a:lnTo>
                      <a:lnTo>
                        <a:pt x="163" y="364"/>
                      </a:lnTo>
                      <a:lnTo>
                        <a:pt x="162" y="363"/>
                      </a:lnTo>
                      <a:lnTo>
                        <a:pt x="163" y="362"/>
                      </a:lnTo>
                      <a:lnTo>
                        <a:pt x="164" y="362"/>
                      </a:lnTo>
                      <a:lnTo>
                        <a:pt x="165" y="361"/>
                      </a:lnTo>
                      <a:lnTo>
                        <a:pt x="166" y="361"/>
                      </a:lnTo>
                      <a:lnTo>
                        <a:pt x="167" y="360"/>
                      </a:lnTo>
                      <a:lnTo>
                        <a:pt x="168" y="359"/>
                      </a:lnTo>
                      <a:lnTo>
                        <a:pt x="168" y="359"/>
                      </a:lnTo>
                      <a:lnTo>
                        <a:pt x="171" y="359"/>
                      </a:lnTo>
                      <a:lnTo>
                        <a:pt x="171" y="358"/>
                      </a:lnTo>
                      <a:lnTo>
                        <a:pt x="171" y="358"/>
                      </a:lnTo>
                      <a:lnTo>
                        <a:pt x="171" y="357"/>
                      </a:lnTo>
                      <a:lnTo>
                        <a:pt x="172" y="357"/>
                      </a:lnTo>
                      <a:lnTo>
                        <a:pt x="172" y="357"/>
                      </a:lnTo>
                      <a:lnTo>
                        <a:pt x="173" y="356"/>
                      </a:lnTo>
                      <a:lnTo>
                        <a:pt x="173" y="355"/>
                      </a:lnTo>
                      <a:lnTo>
                        <a:pt x="174" y="354"/>
                      </a:lnTo>
                      <a:lnTo>
                        <a:pt x="174" y="353"/>
                      </a:lnTo>
                      <a:lnTo>
                        <a:pt x="174" y="353"/>
                      </a:lnTo>
                      <a:lnTo>
                        <a:pt x="175" y="353"/>
                      </a:lnTo>
                      <a:lnTo>
                        <a:pt x="176" y="352"/>
                      </a:lnTo>
                      <a:lnTo>
                        <a:pt x="177" y="352"/>
                      </a:lnTo>
                      <a:lnTo>
                        <a:pt x="177" y="351"/>
                      </a:lnTo>
                      <a:lnTo>
                        <a:pt x="178" y="350"/>
                      </a:lnTo>
                      <a:lnTo>
                        <a:pt x="178" y="350"/>
                      </a:lnTo>
                      <a:lnTo>
                        <a:pt x="177" y="349"/>
                      </a:lnTo>
                      <a:lnTo>
                        <a:pt x="177" y="348"/>
                      </a:lnTo>
                      <a:lnTo>
                        <a:pt x="176" y="348"/>
                      </a:lnTo>
                      <a:lnTo>
                        <a:pt x="176" y="347"/>
                      </a:lnTo>
                      <a:lnTo>
                        <a:pt x="176" y="347"/>
                      </a:lnTo>
                      <a:lnTo>
                        <a:pt x="176" y="346"/>
                      </a:lnTo>
                      <a:lnTo>
                        <a:pt x="176" y="345"/>
                      </a:lnTo>
                      <a:lnTo>
                        <a:pt x="176" y="345"/>
                      </a:lnTo>
                      <a:lnTo>
                        <a:pt x="175" y="344"/>
                      </a:lnTo>
                      <a:lnTo>
                        <a:pt x="174" y="344"/>
                      </a:lnTo>
                      <a:lnTo>
                        <a:pt x="172" y="344"/>
                      </a:lnTo>
                      <a:lnTo>
                        <a:pt x="173" y="344"/>
                      </a:lnTo>
                      <a:lnTo>
                        <a:pt x="173" y="345"/>
                      </a:lnTo>
                      <a:lnTo>
                        <a:pt x="173" y="345"/>
                      </a:lnTo>
                      <a:lnTo>
                        <a:pt x="174" y="345"/>
                      </a:lnTo>
                      <a:lnTo>
                        <a:pt x="174" y="345"/>
                      </a:lnTo>
                      <a:lnTo>
                        <a:pt x="174" y="345"/>
                      </a:lnTo>
                      <a:lnTo>
                        <a:pt x="175" y="345"/>
                      </a:lnTo>
                      <a:lnTo>
                        <a:pt x="175" y="346"/>
                      </a:lnTo>
                      <a:lnTo>
                        <a:pt x="174" y="347"/>
                      </a:lnTo>
                      <a:lnTo>
                        <a:pt x="174" y="348"/>
                      </a:lnTo>
                      <a:lnTo>
                        <a:pt x="174" y="351"/>
                      </a:lnTo>
                      <a:lnTo>
                        <a:pt x="173" y="352"/>
                      </a:lnTo>
                      <a:lnTo>
                        <a:pt x="172" y="352"/>
                      </a:lnTo>
                      <a:lnTo>
                        <a:pt x="168" y="354"/>
                      </a:lnTo>
                      <a:lnTo>
                        <a:pt x="168" y="354"/>
                      </a:lnTo>
                      <a:lnTo>
                        <a:pt x="167" y="356"/>
                      </a:lnTo>
                      <a:lnTo>
                        <a:pt x="167" y="357"/>
                      </a:lnTo>
                      <a:lnTo>
                        <a:pt x="167" y="358"/>
                      </a:lnTo>
                      <a:lnTo>
                        <a:pt x="167" y="358"/>
                      </a:lnTo>
                      <a:lnTo>
                        <a:pt x="166" y="358"/>
                      </a:lnTo>
                      <a:lnTo>
                        <a:pt x="164" y="358"/>
                      </a:lnTo>
                      <a:lnTo>
                        <a:pt x="163" y="359"/>
                      </a:lnTo>
                      <a:lnTo>
                        <a:pt x="161" y="359"/>
                      </a:lnTo>
                      <a:lnTo>
                        <a:pt x="159" y="359"/>
                      </a:lnTo>
                      <a:lnTo>
                        <a:pt x="158" y="360"/>
                      </a:lnTo>
                      <a:lnTo>
                        <a:pt x="158" y="361"/>
                      </a:lnTo>
                      <a:lnTo>
                        <a:pt x="158" y="362"/>
                      </a:lnTo>
                      <a:lnTo>
                        <a:pt x="157" y="362"/>
                      </a:lnTo>
                      <a:lnTo>
                        <a:pt x="157" y="361"/>
                      </a:lnTo>
                      <a:lnTo>
                        <a:pt x="157" y="361"/>
                      </a:lnTo>
                      <a:lnTo>
                        <a:pt x="155" y="362"/>
                      </a:lnTo>
                      <a:lnTo>
                        <a:pt x="155" y="362"/>
                      </a:lnTo>
                      <a:lnTo>
                        <a:pt x="154" y="363"/>
                      </a:lnTo>
                      <a:lnTo>
                        <a:pt x="154" y="363"/>
                      </a:lnTo>
                      <a:lnTo>
                        <a:pt x="153" y="363"/>
                      </a:lnTo>
                      <a:lnTo>
                        <a:pt x="153" y="364"/>
                      </a:lnTo>
                      <a:lnTo>
                        <a:pt x="153" y="364"/>
                      </a:lnTo>
                      <a:lnTo>
                        <a:pt x="153" y="365"/>
                      </a:lnTo>
                      <a:lnTo>
                        <a:pt x="152" y="365"/>
                      </a:lnTo>
                      <a:lnTo>
                        <a:pt x="152" y="366"/>
                      </a:lnTo>
                      <a:lnTo>
                        <a:pt x="152" y="367"/>
                      </a:lnTo>
                      <a:lnTo>
                        <a:pt x="152" y="368"/>
                      </a:lnTo>
                      <a:lnTo>
                        <a:pt x="152" y="369"/>
                      </a:lnTo>
                      <a:lnTo>
                        <a:pt x="151" y="370"/>
                      </a:lnTo>
                      <a:lnTo>
                        <a:pt x="151" y="372"/>
                      </a:lnTo>
                      <a:lnTo>
                        <a:pt x="151" y="372"/>
                      </a:lnTo>
                      <a:lnTo>
                        <a:pt x="151" y="372"/>
                      </a:lnTo>
                      <a:lnTo>
                        <a:pt x="150" y="372"/>
                      </a:lnTo>
                      <a:lnTo>
                        <a:pt x="150" y="372"/>
                      </a:lnTo>
                      <a:lnTo>
                        <a:pt x="150" y="372"/>
                      </a:lnTo>
                      <a:lnTo>
                        <a:pt x="151" y="372"/>
                      </a:lnTo>
                      <a:lnTo>
                        <a:pt x="151" y="373"/>
                      </a:lnTo>
                      <a:lnTo>
                        <a:pt x="151" y="374"/>
                      </a:lnTo>
                      <a:lnTo>
                        <a:pt x="150" y="375"/>
                      </a:lnTo>
                      <a:lnTo>
                        <a:pt x="149" y="376"/>
                      </a:lnTo>
                      <a:lnTo>
                        <a:pt x="149" y="377"/>
                      </a:lnTo>
                      <a:lnTo>
                        <a:pt x="148" y="376"/>
                      </a:lnTo>
                      <a:lnTo>
                        <a:pt x="148" y="375"/>
                      </a:lnTo>
                      <a:lnTo>
                        <a:pt x="147" y="374"/>
                      </a:lnTo>
                      <a:lnTo>
                        <a:pt x="145" y="375"/>
                      </a:lnTo>
                      <a:lnTo>
                        <a:pt x="144" y="375"/>
                      </a:lnTo>
                      <a:lnTo>
                        <a:pt x="143" y="376"/>
                      </a:lnTo>
                      <a:lnTo>
                        <a:pt x="142" y="376"/>
                      </a:lnTo>
                      <a:lnTo>
                        <a:pt x="142" y="377"/>
                      </a:lnTo>
                      <a:lnTo>
                        <a:pt x="141" y="377"/>
                      </a:lnTo>
                      <a:lnTo>
                        <a:pt x="139" y="378"/>
                      </a:lnTo>
                      <a:lnTo>
                        <a:pt x="137" y="378"/>
                      </a:lnTo>
                      <a:lnTo>
                        <a:pt x="136" y="377"/>
                      </a:lnTo>
                      <a:lnTo>
                        <a:pt x="135" y="376"/>
                      </a:lnTo>
                      <a:lnTo>
                        <a:pt x="135" y="376"/>
                      </a:lnTo>
                      <a:lnTo>
                        <a:pt x="134" y="376"/>
                      </a:lnTo>
                      <a:lnTo>
                        <a:pt x="134" y="375"/>
                      </a:lnTo>
                      <a:lnTo>
                        <a:pt x="133" y="375"/>
                      </a:lnTo>
                      <a:lnTo>
                        <a:pt x="133" y="374"/>
                      </a:lnTo>
                      <a:lnTo>
                        <a:pt x="133" y="374"/>
                      </a:lnTo>
                      <a:lnTo>
                        <a:pt x="133" y="373"/>
                      </a:lnTo>
                      <a:lnTo>
                        <a:pt x="133" y="373"/>
                      </a:lnTo>
                      <a:lnTo>
                        <a:pt x="134" y="373"/>
                      </a:lnTo>
                      <a:lnTo>
                        <a:pt x="134" y="372"/>
                      </a:lnTo>
                      <a:lnTo>
                        <a:pt x="134" y="371"/>
                      </a:lnTo>
                      <a:lnTo>
                        <a:pt x="135" y="370"/>
                      </a:lnTo>
                      <a:lnTo>
                        <a:pt x="134" y="368"/>
                      </a:lnTo>
                      <a:lnTo>
                        <a:pt x="134" y="368"/>
                      </a:lnTo>
                      <a:lnTo>
                        <a:pt x="134" y="368"/>
                      </a:lnTo>
                      <a:lnTo>
                        <a:pt x="133" y="368"/>
                      </a:lnTo>
                      <a:lnTo>
                        <a:pt x="133" y="368"/>
                      </a:lnTo>
                      <a:lnTo>
                        <a:pt x="131" y="366"/>
                      </a:lnTo>
                      <a:lnTo>
                        <a:pt x="130" y="365"/>
                      </a:lnTo>
                      <a:lnTo>
                        <a:pt x="130" y="364"/>
                      </a:lnTo>
                      <a:lnTo>
                        <a:pt x="129" y="364"/>
                      </a:lnTo>
                      <a:lnTo>
                        <a:pt x="128" y="363"/>
                      </a:lnTo>
                      <a:lnTo>
                        <a:pt x="128" y="362"/>
                      </a:lnTo>
                      <a:lnTo>
                        <a:pt x="126" y="362"/>
                      </a:lnTo>
                      <a:lnTo>
                        <a:pt x="127" y="361"/>
                      </a:lnTo>
                      <a:lnTo>
                        <a:pt x="127" y="361"/>
                      </a:lnTo>
                      <a:lnTo>
                        <a:pt x="128" y="361"/>
                      </a:lnTo>
                      <a:lnTo>
                        <a:pt x="128" y="361"/>
                      </a:lnTo>
                      <a:lnTo>
                        <a:pt x="129" y="360"/>
                      </a:lnTo>
                      <a:lnTo>
                        <a:pt x="129" y="360"/>
                      </a:lnTo>
                      <a:lnTo>
                        <a:pt x="130" y="360"/>
                      </a:lnTo>
                      <a:lnTo>
                        <a:pt x="130" y="359"/>
                      </a:lnTo>
                      <a:lnTo>
                        <a:pt x="131" y="359"/>
                      </a:lnTo>
                      <a:lnTo>
                        <a:pt x="131" y="358"/>
                      </a:lnTo>
                      <a:lnTo>
                        <a:pt x="130" y="357"/>
                      </a:lnTo>
                      <a:lnTo>
                        <a:pt x="129" y="356"/>
                      </a:lnTo>
                      <a:lnTo>
                        <a:pt x="129" y="354"/>
                      </a:lnTo>
                      <a:lnTo>
                        <a:pt x="128" y="354"/>
                      </a:lnTo>
                      <a:lnTo>
                        <a:pt x="128" y="352"/>
                      </a:lnTo>
                      <a:lnTo>
                        <a:pt x="127" y="350"/>
                      </a:lnTo>
                      <a:lnTo>
                        <a:pt x="127" y="350"/>
                      </a:lnTo>
                      <a:lnTo>
                        <a:pt x="126" y="350"/>
                      </a:lnTo>
                      <a:lnTo>
                        <a:pt x="125" y="351"/>
                      </a:lnTo>
                      <a:lnTo>
                        <a:pt x="125" y="351"/>
                      </a:lnTo>
                      <a:lnTo>
                        <a:pt x="124" y="350"/>
                      </a:lnTo>
                      <a:lnTo>
                        <a:pt x="124" y="348"/>
                      </a:lnTo>
                      <a:lnTo>
                        <a:pt x="124" y="348"/>
                      </a:lnTo>
                      <a:lnTo>
                        <a:pt x="124" y="347"/>
                      </a:lnTo>
                      <a:lnTo>
                        <a:pt x="126" y="347"/>
                      </a:lnTo>
                      <a:lnTo>
                        <a:pt x="126" y="347"/>
                      </a:lnTo>
                      <a:lnTo>
                        <a:pt x="127" y="346"/>
                      </a:lnTo>
                      <a:lnTo>
                        <a:pt x="127" y="345"/>
                      </a:lnTo>
                      <a:lnTo>
                        <a:pt x="127" y="345"/>
                      </a:lnTo>
                      <a:lnTo>
                        <a:pt x="127" y="344"/>
                      </a:lnTo>
                      <a:lnTo>
                        <a:pt x="127" y="344"/>
                      </a:lnTo>
                      <a:lnTo>
                        <a:pt x="126" y="345"/>
                      </a:lnTo>
                      <a:lnTo>
                        <a:pt x="126" y="346"/>
                      </a:lnTo>
                      <a:lnTo>
                        <a:pt x="126" y="346"/>
                      </a:lnTo>
                      <a:lnTo>
                        <a:pt x="124" y="346"/>
                      </a:lnTo>
                      <a:lnTo>
                        <a:pt x="124" y="346"/>
                      </a:lnTo>
                      <a:lnTo>
                        <a:pt x="124" y="348"/>
                      </a:lnTo>
                      <a:lnTo>
                        <a:pt x="123" y="349"/>
                      </a:lnTo>
                      <a:lnTo>
                        <a:pt x="123" y="350"/>
                      </a:lnTo>
                      <a:lnTo>
                        <a:pt x="123" y="351"/>
                      </a:lnTo>
                      <a:lnTo>
                        <a:pt x="123" y="351"/>
                      </a:lnTo>
                      <a:lnTo>
                        <a:pt x="123" y="353"/>
                      </a:lnTo>
                      <a:lnTo>
                        <a:pt x="122" y="353"/>
                      </a:lnTo>
                      <a:lnTo>
                        <a:pt x="123" y="354"/>
                      </a:lnTo>
                      <a:lnTo>
                        <a:pt x="124" y="354"/>
                      </a:lnTo>
                      <a:lnTo>
                        <a:pt x="126" y="354"/>
                      </a:lnTo>
                      <a:lnTo>
                        <a:pt x="126" y="355"/>
                      </a:lnTo>
                      <a:lnTo>
                        <a:pt x="126" y="356"/>
                      </a:lnTo>
                      <a:lnTo>
                        <a:pt x="126" y="358"/>
                      </a:lnTo>
                      <a:lnTo>
                        <a:pt x="125" y="359"/>
                      </a:lnTo>
                      <a:lnTo>
                        <a:pt x="125" y="360"/>
                      </a:lnTo>
                      <a:lnTo>
                        <a:pt x="124" y="360"/>
                      </a:lnTo>
                      <a:lnTo>
                        <a:pt x="123" y="360"/>
                      </a:lnTo>
                      <a:lnTo>
                        <a:pt x="123" y="361"/>
                      </a:lnTo>
                      <a:lnTo>
                        <a:pt x="122" y="362"/>
                      </a:lnTo>
                      <a:lnTo>
                        <a:pt x="122" y="362"/>
                      </a:lnTo>
                      <a:lnTo>
                        <a:pt x="122" y="363"/>
                      </a:lnTo>
                      <a:lnTo>
                        <a:pt x="123" y="363"/>
                      </a:lnTo>
                      <a:lnTo>
                        <a:pt x="123" y="364"/>
                      </a:lnTo>
                      <a:lnTo>
                        <a:pt x="122" y="365"/>
                      </a:lnTo>
                      <a:lnTo>
                        <a:pt x="121" y="366"/>
                      </a:lnTo>
                      <a:lnTo>
                        <a:pt x="121" y="366"/>
                      </a:lnTo>
                      <a:lnTo>
                        <a:pt x="121" y="367"/>
                      </a:lnTo>
                      <a:lnTo>
                        <a:pt x="121" y="368"/>
                      </a:lnTo>
                      <a:lnTo>
                        <a:pt x="121" y="368"/>
                      </a:lnTo>
                      <a:lnTo>
                        <a:pt x="121" y="369"/>
                      </a:lnTo>
                      <a:lnTo>
                        <a:pt x="121" y="370"/>
                      </a:lnTo>
                      <a:lnTo>
                        <a:pt x="121" y="370"/>
                      </a:lnTo>
                      <a:lnTo>
                        <a:pt x="121" y="371"/>
                      </a:lnTo>
                      <a:lnTo>
                        <a:pt x="121" y="373"/>
                      </a:lnTo>
                      <a:lnTo>
                        <a:pt x="121" y="373"/>
                      </a:lnTo>
                      <a:lnTo>
                        <a:pt x="121" y="374"/>
                      </a:lnTo>
                      <a:lnTo>
                        <a:pt x="120" y="374"/>
                      </a:lnTo>
                      <a:lnTo>
                        <a:pt x="120" y="374"/>
                      </a:lnTo>
                      <a:lnTo>
                        <a:pt x="119" y="375"/>
                      </a:lnTo>
                      <a:lnTo>
                        <a:pt x="119" y="375"/>
                      </a:lnTo>
                      <a:lnTo>
                        <a:pt x="119" y="376"/>
                      </a:lnTo>
                      <a:lnTo>
                        <a:pt x="118" y="376"/>
                      </a:lnTo>
                      <a:lnTo>
                        <a:pt x="117" y="377"/>
                      </a:lnTo>
                      <a:lnTo>
                        <a:pt x="117" y="378"/>
                      </a:lnTo>
                      <a:lnTo>
                        <a:pt x="117" y="379"/>
                      </a:lnTo>
                      <a:lnTo>
                        <a:pt x="116" y="379"/>
                      </a:lnTo>
                      <a:lnTo>
                        <a:pt x="116" y="380"/>
                      </a:lnTo>
                      <a:lnTo>
                        <a:pt x="116" y="383"/>
                      </a:lnTo>
                      <a:lnTo>
                        <a:pt x="116" y="384"/>
                      </a:lnTo>
                      <a:lnTo>
                        <a:pt x="115" y="384"/>
                      </a:lnTo>
                      <a:lnTo>
                        <a:pt x="114" y="386"/>
                      </a:lnTo>
                      <a:lnTo>
                        <a:pt x="113" y="386"/>
                      </a:lnTo>
                      <a:lnTo>
                        <a:pt x="113" y="387"/>
                      </a:lnTo>
                      <a:lnTo>
                        <a:pt x="112" y="387"/>
                      </a:lnTo>
                      <a:lnTo>
                        <a:pt x="112" y="389"/>
                      </a:lnTo>
                      <a:lnTo>
                        <a:pt x="112" y="390"/>
                      </a:lnTo>
                      <a:lnTo>
                        <a:pt x="110" y="391"/>
                      </a:lnTo>
                      <a:lnTo>
                        <a:pt x="109" y="391"/>
                      </a:lnTo>
                      <a:lnTo>
                        <a:pt x="107" y="393"/>
                      </a:lnTo>
                      <a:lnTo>
                        <a:pt x="107" y="393"/>
                      </a:lnTo>
                      <a:lnTo>
                        <a:pt x="106" y="394"/>
                      </a:lnTo>
                      <a:lnTo>
                        <a:pt x="106" y="395"/>
                      </a:lnTo>
                      <a:lnTo>
                        <a:pt x="106" y="395"/>
                      </a:lnTo>
                      <a:lnTo>
                        <a:pt x="104" y="396"/>
                      </a:lnTo>
                      <a:lnTo>
                        <a:pt x="104" y="397"/>
                      </a:lnTo>
                      <a:lnTo>
                        <a:pt x="104" y="397"/>
                      </a:lnTo>
                      <a:lnTo>
                        <a:pt x="103" y="397"/>
                      </a:lnTo>
                      <a:lnTo>
                        <a:pt x="102" y="399"/>
                      </a:lnTo>
                      <a:lnTo>
                        <a:pt x="100" y="400"/>
                      </a:lnTo>
                      <a:lnTo>
                        <a:pt x="100" y="401"/>
                      </a:lnTo>
                      <a:lnTo>
                        <a:pt x="99" y="402"/>
                      </a:lnTo>
                      <a:lnTo>
                        <a:pt x="98" y="403"/>
                      </a:lnTo>
                      <a:lnTo>
                        <a:pt x="98" y="404"/>
                      </a:lnTo>
                      <a:lnTo>
                        <a:pt x="98" y="404"/>
                      </a:lnTo>
                      <a:lnTo>
                        <a:pt x="99" y="404"/>
                      </a:lnTo>
                      <a:lnTo>
                        <a:pt x="99" y="405"/>
                      </a:lnTo>
                      <a:lnTo>
                        <a:pt x="100" y="405"/>
                      </a:lnTo>
                      <a:lnTo>
                        <a:pt x="100" y="406"/>
                      </a:lnTo>
                      <a:lnTo>
                        <a:pt x="101" y="407"/>
                      </a:lnTo>
                      <a:lnTo>
                        <a:pt x="102" y="407"/>
                      </a:lnTo>
                      <a:lnTo>
                        <a:pt x="103" y="408"/>
                      </a:lnTo>
                      <a:lnTo>
                        <a:pt x="102" y="409"/>
                      </a:lnTo>
                      <a:lnTo>
                        <a:pt x="102" y="409"/>
                      </a:lnTo>
                      <a:lnTo>
                        <a:pt x="102" y="409"/>
                      </a:lnTo>
                      <a:lnTo>
                        <a:pt x="101" y="409"/>
                      </a:lnTo>
                      <a:lnTo>
                        <a:pt x="101" y="409"/>
                      </a:lnTo>
                      <a:lnTo>
                        <a:pt x="101" y="409"/>
                      </a:lnTo>
                      <a:lnTo>
                        <a:pt x="100" y="407"/>
                      </a:lnTo>
                      <a:lnTo>
                        <a:pt x="98" y="405"/>
                      </a:lnTo>
                      <a:lnTo>
                        <a:pt x="98" y="405"/>
                      </a:lnTo>
                      <a:lnTo>
                        <a:pt x="98" y="404"/>
                      </a:lnTo>
                      <a:lnTo>
                        <a:pt x="98" y="403"/>
                      </a:lnTo>
                      <a:lnTo>
                        <a:pt x="97" y="404"/>
                      </a:lnTo>
                      <a:lnTo>
                        <a:pt x="97" y="404"/>
                      </a:lnTo>
                      <a:lnTo>
                        <a:pt x="97" y="404"/>
                      </a:lnTo>
                      <a:lnTo>
                        <a:pt x="97" y="406"/>
                      </a:lnTo>
                      <a:lnTo>
                        <a:pt x="97" y="406"/>
                      </a:lnTo>
                      <a:lnTo>
                        <a:pt x="97" y="405"/>
                      </a:lnTo>
                      <a:lnTo>
                        <a:pt x="96" y="405"/>
                      </a:lnTo>
                      <a:lnTo>
                        <a:pt x="97" y="405"/>
                      </a:lnTo>
                      <a:lnTo>
                        <a:pt x="97" y="404"/>
                      </a:lnTo>
                      <a:lnTo>
                        <a:pt x="97" y="404"/>
                      </a:lnTo>
                      <a:lnTo>
                        <a:pt x="97" y="403"/>
                      </a:lnTo>
                      <a:lnTo>
                        <a:pt x="97" y="402"/>
                      </a:lnTo>
                      <a:lnTo>
                        <a:pt x="95" y="400"/>
                      </a:lnTo>
                      <a:lnTo>
                        <a:pt x="94" y="399"/>
                      </a:lnTo>
                      <a:lnTo>
                        <a:pt x="94" y="398"/>
                      </a:lnTo>
                      <a:lnTo>
                        <a:pt x="95" y="398"/>
                      </a:lnTo>
                      <a:lnTo>
                        <a:pt x="95" y="397"/>
                      </a:lnTo>
                      <a:lnTo>
                        <a:pt x="94" y="397"/>
                      </a:lnTo>
                      <a:lnTo>
                        <a:pt x="94" y="396"/>
                      </a:lnTo>
                      <a:lnTo>
                        <a:pt x="93" y="395"/>
                      </a:lnTo>
                      <a:lnTo>
                        <a:pt x="92" y="395"/>
                      </a:lnTo>
                      <a:lnTo>
                        <a:pt x="92" y="394"/>
                      </a:lnTo>
                      <a:lnTo>
                        <a:pt x="91" y="393"/>
                      </a:lnTo>
                      <a:lnTo>
                        <a:pt x="91" y="393"/>
                      </a:lnTo>
                      <a:lnTo>
                        <a:pt x="90" y="394"/>
                      </a:lnTo>
                      <a:lnTo>
                        <a:pt x="89" y="394"/>
                      </a:lnTo>
                      <a:lnTo>
                        <a:pt x="89" y="394"/>
                      </a:lnTo>
                      <a:lnTo>
                        <a:pt x="90" y="395"/>
                      </a:lnTo>
                      <a:lnTo>
                        <a:pt x="90" y="396"/>
                      </a:lnTo>
                      <a:lnTo>
                        <a:pt x="89" y="396"/>
                      </a:lnTo>
                      <a:lnTo>
                        <a:pt x="88" y="397"/>
                      </a:lnTo>
                      <a:lnTo>
                        <a:pt x="88" y="399"/>
                      </a:lnTo>
                      <a:lnTo>
                        <a:pt x="86" y="398"/>
                      </a:lnTo>
                      <a:lnTo>
                        <a:pt x="85" y="396"/>
                      </a:lnTo>
                      <a:lnTo>
                        <a:pt x="84" y="396"/>
                      </a:lnTo>
                      <a:lnTo>
                        <a:pt x="84" y="395"/>
                      </a:lnTo>
                      <a:lnTo>
                        <a:pt x="83" y="394"/>
                      </a:lnTo>
                      <a:lnTo>
                        <a:pt x="83" y="392"/>
                      </a:lnTo>
                      <a:lnTo>
                        <a:pt x="83" y="392"/>
                      </a:lnTo>
                      <a:lnTo>
                        <a:pt x="83" y="391"/>
                      </a:lnTo>
                      <a:lnTo>
                        <a:pt x="82" y="391"/>
                      </a:lnTo>
                      <a:lnTo>
                        <a:pt x="82" y="390"/>
                      </a:lnTo>
                      <a:lnTo>
                        <a:pt x="83" y="388"/>
                      </a:lnTo>
                      <a:lnTo>
                        <a:pt x="82" y="386"/>
                      </a:lnTo>
                      <a:lnTo>
                        <a:pt x="83" y="384"/>
                      </a:lnTo>
                      <a:lnTo>
                        <a:pt x="83" y="380"/>
                      </a:lnTo>
                      <a:lnTo>
                        <a:pt x="83" y="379"/>
                      </a:lnTo>
                      <a:lnTo>
                        <a:pt x="84" y="379"/>
                      </a:lnTo>
                      <a:lnTo>
                        <a:pt x="83" y="378"/>
                      </a:lnTo>
                      <a:lnTo>
                        <a:pt x="84" y="377"/>
                      </a:lnTo>
                      <a:lnTo>
                        <a:pt x="84" y="376"/>
                      </a:lnTo>
                      <a:lnTo>
                        <a:pt x="83" y="375"/>
                      </a:lnTo>
                      <a:lnTo>
                        <a:pt x="82" y="375"/>
                      </a:lnTo>
                      <a:lnTo>
                        <a:pt x="82" y="376"/>
                      </a:lnTo>
                      <a:lnTo>
                        <a:pt x="82" y="376"/>
                      </a:lnTo>
                      <a:lnTo>
                        <a:pt x="81" y="374"/>
                      </a:lnTo>
                      <a:lnTo>
                        <a:pt x="80" y="374"/>
                      </a:lnTo>
                      <a:lnTo>
                        <a:pt x="80" y="373"/>
                      </a:lnTo>
                      <a:lnTo>
                        <a:pt x="80" y="372"/>
                      </a:lnTo>
                      <a:lnTo>
                        <a:pt x="81" y="371"/>
                      </a:lnTo>
                      <a:lnTo>
                        <a:pt x="83" y="370"/>
                      </a:lnTo>
                      <a:lnTo>
                        <a:pt x="85" y="370"/>
                      </a:lnTo>
                      <a:lnTo>
                        <a:pt x="85" y="370"/>
                      </a:lnTo>
                      <a:lnTo>
                        <a:pt x="86" y="370"/>
                      </a:lnTo>
                      <a:lnTo>
                        <a:pt x="87" y="370"/>
                      </a:lnTo>
                      <a:lnTo>
                        <a:pt x="87" y="369"/>
                      </a:lnTo>
                      <a:lnTo>
                        <a:pt x="88" y="368"/>
                      </a:lnTo>
                      <a:lnTo>
                        <a:pt x="89" y="367"/>
                      </a:lnTo>
                      <a:lnTo>
                        <a:pt x="89" y="366"/>
                      </a:lnTo>
                      <a:lnTo>
                        <a:pt x="88" y="365"/>
                      </a:lnTo>
                      <a:lnTo>
                        <a:pt x="88" y="365"/>
                      </a:lnTo>
                      <a:lnTo>
                        <a:pt x="87" y="365"/>
                      </a:lnTo>
                      <a:lnTo>
                        <a:pt x="87" y="364"/>
                      </a:lnTo>
                      <a:lnTo>
                        <a:pt x="88" y="365"/>
                      </a:lnTo>
                      <a:lnTo>
                        <a:pt x="89" y="365"/>
                      </a:lnTo>
                      <a:lnTo>
                        <a:pt x="89" y="363"/>
                      </a:lnTo>
                      <a:lnTo>
                        <a:pt x="89" y="363"/>
                      </a:lnTo>
                      <a:lnTo>
                        <a:pt x="89" y="362"/>
                      </a:lnTo>
                      <a:lnTo>
                        <a:pt x="90" y="361"/>
                      </a:lnTo>
                      <a:lnTo>
                        <a:pt x="90" y="360"/>
                      </a:lnTo>
                      <a:lnTo>
                        <a:pt x="90" y="360"/>
                      </a:lnTo>
                      <a:lnTo>
                        <a:pt x="90" y="359"/>
                      </a:lnTo>
                      <a:lnTo>
                        <a:pt x="90" y="358"/>
                      </a:lnTo>
                      <a:lnTo>
                        <a:pt x="89" y="358"/>
                      </a:lnTo>
                      <a:lnTo>
                        <a:pt x="89" y="357"/>
                      </a:lnTo>
                      <a:lnTo>
                        <a:pt x="90" y="357"/>
                      </a:lnTo>
                      <a:lnTo>
                        <a:pt x="90" y="357"/>
                      </a:lnTo>
                      <a:lnTo>
                        <a:pt x="91" y="357"/>
                      </a:lnTo>
                      <a:lnTo>
                        <a:pt x="91" y="356"/>
                      </a:lnTo>
                      <a:lnTo>
                        <a:pt x="91" y="353"/>
                      </a:lnTo>
                      <a:lnTo>
                        <a:pt x="92" y="353"/>
                      </a:lnTo>
                      <a:lnTo>
                        <a:pt x="92" y="352"/>
                      </a:lnTo>
                      <a:lnTo>
                        <a:pt x="92" y="352"/>
                      </a:lnTo>
                      <a:lnTo>
                        <a:pt x="92" y="351"/>
                      </a:lnTo>
                      <a:lnTo>
                        <a:pt x="93" y="350"/>
                      </a:lnTo>
                      <a:lnTo>
                        <a:pt x="93" y="349"/>
                      </a:lnTo>
                      <a:lnTo>
                        <a:pt x="94" y="348"/>
                      </a:lnTo>
                      <a:lnTo>
                        <a:pt x="95" y="348"/>
                      </a:lnTo>
                      <a:lnTo>
                        <a:pt x="94" y="348"/>
                      </a:lnTo>
                      <a:lnTo>
                        <a:pt x="94" y="348"/>
                      </a:lnTo>
                      <a:lnTo>
                        <a:pt x="93" y="349"/>
                      </a:lnTo>
                      <a:lnTo>
                        <a:pt x="93" y="350"/>
                      </a:lnTo>
                      <a:lnTo>
                        <a:pt x="92" y="350"/>
                      </a:lnTo>
                      <a:lnTo>
                        <a:pt x="92" y="350"/>
                      </a:lnTo>
                      <a:lnTo>
                        <a:pt x="92" y="350"/>
                      </a:lnTo>
                      <a:lnTo>
                        <a:pt x="91" y="346"/>
                      </a:lnTo>
                      <a:lnTo>
                        <a:pt x="91" y="346"/>
                      </a:lnTo>
                      <a:lnTo>
                        <a:pt x="90" y="345"/>
                      </a:lnTo>
                      <a:lnTo>
                        <a:pt x="89" y="344"/>
                      </a:lnTo>
                      <a:lnTo>
                        <a:pt x="89" y="344"/>
                      </a:lnTo>
                      <a:lnTo>
                        <a:pt x="89" y="342"/>
                      </a:lnTo>
                      <a:lnTo>
                        <a:pt x="89" y="342"/>
                      </a:lnTo>
                      <a:lnTo>
                        <a:pt x="89" y="340"/>
                      </a:lnTo>
                      <a:lnTo>
                        <a:pt x="87" y="338"/>
                      </a:lnTo>
                      <a:lnTo>
                        <a:pt x="86" y="338"/>
                      </a:lnTo>
                      <a:lnTo>
                        <a:pt x="86" y="338"/>
                      </a:lnTo>
                      <a:lnTo>
                        <a:pt x="86" y="337"/>
                      </a:lnTo>
                      <a:lnTo>
                        <a:pt x="87" y="336"/>
                      </a:lnTo>
                      <a:lnTo>
                        <a:pt x="86" y="335"/>
                      </a:lnTo>
                      <a:lnTo>
                        <a:pt x="86" y="335"/>
                      </a:lnTo>
                      <a:lnTo>
                        <a:pt x="86" y="335"/>
                      </a:lnTo>
                      <a:lnTo>
                        <a:pt x="85" y="336"/>
                      </a:lnTo>
                      <a:lnTo>
                        <a:pt x="85" y="336"/>
                      </a:lnTo>
                      <a:lnTo>
                        <a:pt x="85" y="337"/>
                      </a:lnTo>
                      <a:lnTo>
                        <a:pt x="85" y="337"/>
                      </a:lnTo>
                      <a:lnTo>
                        <a:pt x="85" y="338"/>
                      </a:lnTo>
                      <a:lnTo>
                        <a:pt x="85" y="338"/>
                      </a:lnTo>
                      <a:lnTo>
                        <a:pt x="85" y="339"/>
                      </a:lnTo>
                      <a:lnTo>
                        <a:pt x="86" y="339"/>
                      </a:lnTo>
                      <a:lnTo>
                        <a:pt x="87" y="340"/>
                      </a:lnTo>
                      <a:lnTo>
                        <a:pt x="86" y="342"/>
                      </a:lnTo>
                      <a:lnTo>
                        <a:pt x="86" y="342"/>
                      </a:lnTo>
                      <a:lnTo>
                        <a:pt x="86" y="344"/>
                      </a:lnTo>
                      <a:lnTo>
                        <a:pt x="86" y="344"/>
                      </a:lnTo>
                      <a:lnTo>
                        <a:pt x="86" y="345"/>
                      </a:lnTo>
                      <a:lnTo>
                        <a:pt x="86" y="346"/>
                      </a:lnTo>
                      <a:lnTo>
                        <a:pt x="86" y="347"/>
                      </a:lnTo>
                      <a:lnTo>
                        <a:pt x="85" y="347"/>
                      </a:lnTo>
                      <a:lnTo>
                        <a:pt x="85" y="348"/>
                      </a:lnTo>
                      <a:lnTo>
                        <a:pt x="85" y="349"/>
                      </a:lnTo>
                      <a:lnTo>
                        <a:pt x="84" y="350"/>
                      </a:lnTo>
                      <a:lnTo>
                        <a:pt x="84" y="350"/>
                      </a:lnTo>
                      <a:lnTo>
                        <a:pt x="84" y="351"/>
                      </a:lnTo>
                      <a:lnTo>
                        <a:pt x="83" y="351"/>
                      </a:lnTo>
                      <a:lnTo>
                        <a:pt x="83" y="351"/>
                      </a:lnTo>
                      <a:lnTo>
                        <a:pt x="82" y="351"/>
                      </a:lnTo>
                      <a:lnTo>
                        <a:pt x="82" y="353"/>
                      </a:lnTo>
                      <a:lnTo>
                        <a:pt x="81" y="353"/>
                      </a:lnTo>
                      <a:lnTo>
                        <a:pt x="81" y="353"/>
                      </a:lnTo>
                      <a:lnTo>
                        <a:pt x="81" y="354"/>
                      </a:lnTo>
                      <a:lnTo>
                        <a:pt x="81" y="355"/>
                      </a:lnTo>
                      <a:lnTo>
                        <a:pt x="81" y="355"/>
                      </a:lnTo>
                      <a:lnTo>
                        <a:pt x="81" y="355"/>
                      </a:lnTo>
                      <a:lnTo>
                        <a:pt x="82" y="355"/>
                      </a:lnTo>
                      <a:lnTo>
                        <a:pt x="82" y="355"/>
                      </a:lnTo>
                      <a:lnTo>
                        <a:pt x="81" y="356"/>
                      </a:lnTo>
                      <a:lnTo>
                        <a:pt x="81" y="357"/>
                      </a:lnTo>
                      <a:lnTo>
                        <a:pt x="83" y="357"/>
                      </a:lnTo>
                      <a:lnTo>
                        <a:pt x="83" y="358"/>
                      </a:lnTo>
                      <a:lnTo>
                        <a:pt x="83" y="359"/>
                      </a:lnTo>
                      <a:lnTo>
                        <a:pt x="83" y="359"/>
                      </a:lnTo>
                      <a:lnTo>
                        <a:pt x="83" y="359"/>
                      </a:lnTo>
                      <a:lnTo>
                        <a:pt x="82" y="362"/>
                      </a:lnTo>
                      <a:lnTo>
                        <a:pt x="81" y="363"/>
                      </a:lnTo>
                      <a:lnTo>
                        <a:pt x="81" y="363"/>
                      </a:lnTo>
                      <a:lnTo>
                        <a:pt x="80" y="363"/>
                      </a:lnTo>
                      <a:lnTo>
                        <a:pt x="80" y="363"/>
                      </a:lnTo>
                      <a:lnTo>
                        <a:pt x="78" y="364"/>
                      </a:lnTo>
                      <a:lnTo>
                        <a:pt x="78" y="364"/>
                      </a:lnTo>
                      <a:lnTo>
                        <a:pt x="76" y="363"/>
                      </a:lnTo>
                      <a:lnTo>
                        <a:pt x="75" y="362"/>
                      </a:lnTo>
                      <a:lnTo>
                        <a:pt x="75" y="361"/>
                      </a:lnTo>
                      <a:lnTo>
                        <a:pt x="75" y="361"/>
                      </a:lnTo>
                      <a:lnTo>
                        <a:pt x="74" y="361"/>
                      </a:lnTo>
                      <a:lnTo>
                        <a:pt x="73" y="363"/>
                      </a:lnTo>
                      <a:lnTo>
                        <a:pt x="70" y="364"/>
                      </a:lnTo>
                      <a:lnTo>
                        <a:pt x="68" y="365"/>
                      </a:lnTo>
                      <a:lnTo>
                        <a:pt x="66" y="364"/>
                      </a:lnTo>
                      <a:lnTo>
                        <a:pt x="66" y="364"/>
                      </a:lnTo>
                      <a:lnTo>
                        <a:pt x="65" y="363"/>
                      </a:lnTo>
                      <a:lnTo>
                        <a:pt x="65" y="363"/>
                      </a:lnTo>
                      <a:lnTo>
                        <a:pt x="64" y="361"/>
                      </a:lnTo>
                      <a:lnTo>
                        <a:pt x="63" y="360"/>
                      </a:lnTo>
                      <a:lnTo>
                        <a:pt x="63" y="360"/>
                      </a:lnTo>
                      <a:lnTo>
                        <a:pt x="62" y="358"/>
                      </a:lnTo>
                      <a:lnTo>
                        <a:pt x="61" y="356"/>
                      </a:lnTo>
                      <a:lnTo>
                        <a:pt x="58" y="350"/>
                      </a:lnTo>
                      <a:lnTo>
                        <a:pt x="57" y="350"/>
                      </a:lnTo>
                      <a:lnTo>
                        <a:pt x="56" y="348"/>
                      </a:lnTo>
                      <a:lnTo>
                        <a:pt x="55" y="346"/>
                      </a:lnTo>
                      <a:lnTo>
                        <a:pt x="54" y="344"/>
                      </a:lnTo>
                      <a:lnTo>
                        <a:pt x="53" y="344"/>
                      </a:lnTo>
                      <a:lnTo>
                        <a:pt x="53" y="342"/>
                      </a:lnTo>
                      <a:lnTo>
                        <a:pt x="52" y="341"/>
                      </a:lnTo>
                      <a:lnTo>
                        <a:pt x="51" y="340"/>
                      </a:lnTo>
                      <a:lnTo>
                        <a:pt x="50" y="338"/>
                      </a:lnTo>
                      <a:lnTo>
                        <a:pt x="49" y="338"/>
                      </a:lnTo>
                      <a:lnTo>
                        <a:pt x="49" y="337"/>
                      </a:lnTo>
                      <a:lnTo>
                        <a:pt x="49" y="335"/>
                      </a:lnTo>
                      <a:lnTo>
                        <a:pt x="48" y="335"/>
                      </a:lnTo>
                      <a:lnTo>
                        <a:pt x="48" y="334"/>
                      </a:lnTo>
                      <a:lnTo>
                        <a:pt x="48" y="334"/>
                      </a:lnTo>
                      <a:lnTo>
                        <a:pt x="46" y="332"/>
                      </a:lnTo>
                      <a:lnTo>
                        <a:pt x="46" y="330"/>
                      </a:lnTo>
                      <a:lnTo>
                        <a:pt x="46" y="329"/>
                      </a:lnTo>
                      <a:lnTo>
                        <a:pt x="46" y="328"/>
                      </a:lnTo>
                      <a:lnTo>
                        <a:pt x="45" y="328"/>
                      </a:lnTo>
                      <a:lnTo>
                        <a:pt x="45" y="327"/>
                      </a:lnTo>
                      <a:lnTo>
                        <a:pt x="45" y="326"/>
                      </a:lnTo>
                      <a:lnTo>
                        <a:pt x="45" y="325"/>
                      </a:lnTo>
                      <a:lnTo>
                        <a:pt x="46" y="324"/>
                      </a:lnTo>
                      <a:lnTo>
                        <a:pt x="47" y="322"/>
                      </a:lnTo>
                      <a:lnTo>
                        <a:pt x="46" y="320"/>
                      </a:lnTo>
                      <a:lnTo>
                        <a:pt x="46" y="320"/>
                      </a:lnTo>
                      <a:lnTo>
                        <a:pt x="46" y="318"/>
                      </a:lnTo>
                      <a:lnTo>
                        <a:pt x="45" y="317"/>
                      </a:lnTo>
                      <a:lnTo>
                        <a:pt x="45" y="315"/>
                      </a:lnTo>
                      <a:lnTo>
                        <a:pt x="45" y="315"/>
                      </a:lnTo>
                      <a:lnTo>
                        <a:pt x="45" y="314"/>
                      </a:lnTo>
                      <a:lnTo>
                        <a:pt x="45" y="312"/>
                      </a:lnTo>
                      <a:lnTo>
                        <a:pt x="45" y="312"/>
                      </a:lnTo>
                      <a:lnTo>
                        <a:pt x="45" y="310"/>
                      </a:lnTo>
                      <a:lnTo>
                        <a:pt x="46" y="309"/>
                      </a:lnTo>
                      <a:lnTo>
                        <a:pt x="47" y="308"/>
                      </a:lnTo>
                      <a:lnTo>
                        <a:pt x="48" y="306"/>
                      </a:lnTo>
                      <a:lnTo>
                        <a:pt x="48" y="306"/>
                      </a:lnTo>
                      <a:lnTo>
                        <a:pt x="48" y="307"/>
                      </a:lnTo>
                      <a:lnTo>
                        <a:pt x="48" y="308"/>
                      </a:lnTo>
                      <a:lnTo>
                        <a:pt x="48" y="309"/>
                      </a:lnTo>
                      <a:lnTo>
                        <a:pt x="47" y="310"/>
                      </a:lnTo>
                      <a:lnTo>
                        <a:pt x="48" y="311"/>
                      </a:lnTo>
                      <a:lnTo>
                        <a:pt x="49" y="311"/>
                      </a:lnTo>
                      <a:lnTo>
                        <a:pt x="50" y="311"/>
                      </a:lnTo>
                      <a:lnTo>
                        <a:pt x="51" y="310"/>
                      </a:lnTo>
                      <a:lnTo>
                        <a:pt x="52" y="310"/>
                      </a:lnTo>
                      <a:lnTo>
                        <a:pt x="53" y="309"/>
                      </a:lnTo>
                      <a:lnTo>
                        <a:pt x="53" y="308"/>
                      </a:lnTo>
                      <a:lnTo>
                        <a:pt x="52" y="308"/>
                      </a:lnTo>
                      <a:lnTo>
                        <a:pt x="52" y="309"/>
                      </a:lnTo>
                      <a:lnTo>
                        <a:pt x="52" y="309"/>
                      </a:lnTo>
                      <a:lnTo>
                        <a:pt x="51" y="310"/>
                      </a:lnTo>
                      <a:lnTo>
                        <a:pt x="51" y="310"/>
                      </a:lnTo>
                      <a:lnTo>
                        <a:pt x="50" y="310"/>
                      </a:lnTo>
                      <a:lnTo>
                        <a:pt x="49" y="310"/>
                      </a:lnTo>
                      <a:lnTo>
                        <a:pt x="48" y="310"/>
                      </a:lnTo>
                      <a:lnTo>
                        <a:pt x="48" y="309"/>
                      </a:lnTo>
                      <a:lnTo>
                        <a:pt x="49" y="308"/>
                      </a:lnTo>
                      <a:lnTo>
                        <a:pt x="49" y="307"/>
                      </a:lnTo>
                      <a:lnTo>
                        <a:pt x="48" y="306"/>
                      </a:lnTo>
                      <a:lnTo>
                        <a:pt x="47" y="304"/>
                      </a:lnTo>
                      <a:lnTo>
                        <a:pt x="48" y="303"/>
                      </a:lnTo>
                      <a:lnTo>
                        <a:pt x="48" y="301"/>
                      </a:lnTo>
                      <a:lnTo>
                        <a:pt x="49" y="301"/>
                      </a:lnTo>
                      <a:lnTo>
                        <a:pt x="49" y="301"/>
                      </a:lnTo>
                      <a:lnTo>
                        <a:pt x="50" y="300"/>
                      </a:lnTo>
                      <a:lnTo>
                        <a:pt x="49" y="300"/>
                      </a:lnTo>
                      <a:lnTo>
                        <a:pt x="49" y="301"/>
                      </a:lnTo>
                      <a:lnTo>
                        <a:pt x="48" y="301"/>
                      </a:lnTo>
                      <a:lnTo>
                        <a:pt x="47" y="300"/>
                      </a:lnTo>
                      <a:lnTo>
                        <a:pt x="47" y="300"/>
                      </a:lnTo>
                      <a:lnTo>
                        <a:pt x="47" y="301"/>
                      </a:lnTo>
                      <a:lnTo>
                        <a:pt x="47" y="301"/>
                      </a:lnTo>
                      <a:lnTo>
                        <a:pt x="47" y="302"/>
                      </a:lnTo>
                      <a:lnTo>
                        <a:pt x="47" y="302"/>
                      </a:lnTo>
                      <a:lnTo>
                        <a:pt x="47" y="303"/>
                      </a:lnTo>
                      <a:lnTo>
                        <a:pt x="47" y="303"/>
                      </a:lnTo>
                      <a:lnTo>
                        <a:pt x="46" y="302"/>
                      </a:lnTo>
                      <a:lnTo>
                        <a:pt x="45" y="302"/>
                      </a:lnTo>
                      <a:lnTo>
                        <a:pt x="45" y="302"/>
                      </a:lnTo>
                      <a:lnTo>
                        <a:pt x="44" y="303"/>
                      </a:lnTo>
                      <a:lnTo>
                        <a:pt x="44" y="303"/>
                      </a:lnTo>
                      <a:lnTo>
                        <a:pt x="42" y="302"/>
                      </a:lnTo>
                      <a:lnTo>
                        <a:pt x="42" y="301"/>
                      </a:lnTo>
                      <a:lnTo>
                        <a:pt x="43" y="301"/>
                      </a:lnTo>
                      <a:lnTo>
                        <a:pt x="43" y="300"/>
                      </a:lnTo>
                      <a:lnTo>
                        <a:pt x="42" y="299"/>
                      </a:lnTo>
                      <a:lnTo>
                        <a:pt x="41" y="299"/>
                      </a:lnTo>
                      <a:lnTo>
                        <a:pt x="41" y="299"/>
                      </a:lnTo>
                      <a:lnTo>
                        <a:pt x="42" y="300"/>
                      </a:lnTo>
                      <a:lnTo>
                        <a:pt x="42" y="301"/>
                      </a:lnTo>
                      <a:lnTo>
                        <a:pt x="41" y="301"/>
                      </a:lnTo>
                      <a:lnTo>
                        <a:pt x="41" y="302"/>
                      </a:lnTo>
                      <a:lnTo>
                        <a:pt x="43" y="303"/>
                      </a:lnTo>
                      <a:lnTo>
                        <a:pt x="44" y="304"/>
                      </a:lnTo>
                      <a:lnTo>
                        <a:pt x="46" y="306"/>
                      </a:lnTo>
                      <a:lnTo>
                        <a:pt x="46" y="307"/>
                      </a:lnTo>
                      <a:lnTo>
                        <a:pt x="44" y="308"/>
                      </a:lnTo>
                      <a:lnTo>
                        <a:pt x="43" y="308"/>
                      </a:lnTo>
                      <a:lnTo>
                        <a:pt x="43" y="308"/>
                      </a:lnTo>
                      <a:lnTo>
                        <a:pt x="42" y="307"/>
                      </a:lnTo>
                      <a:lnTo>
                        <a:pt x="41" y="306"/>
                      </a:lnTo>
                      <a:lnTo>
                        <a:pt x="39" y="303"/>
                      </a:lnTo>
                      <a:lnTo>
                        <a:pt x="39" y="302"/>
                      </a:lnTo>
                      <a:lnTo>
                        <a:pt x="37" y="300"/>
                      </a:lnTo>
                      <a:lnTo>
                        <a:pt x="37" y="298"/>
                      </a:lnTo>
                      <a:lnTo>
                        <a:pt x="36" y="297"/>
                      </a:lnTo>
                      <a:lnTo>
                        <a:pt x="35" y="294"/>
                      </a:lnTo>
                      <a:lnTo>
                        <a:pt x="35" y="293"/>
                      </a:lnTo>
                      <a:lnTo>
                        <a:pt x="33" y="292"/>
                      </a:lnTo>
                      <a:lnTo>
                        <a:pt x="32" y="291"/>
                      </a:lnTo>
                      <a:lnTo>
                        <a:pt x="31" y="288"/>
                      </a:lnTo>
                      <a:lnTo>
                        <a:pt x="30" y="288"/>
                      </a:lnTo>
                      <a:lnTo>
                        <a:pt x="30" y="288"/>
                      </a:lnTo>
                      <a:lnTo>
                        <a:pt x="28" y="285"/>
                      </a:lnTo>
                      <a:lnTo>
                        <a:pt x="28" y="285"/>
                      </a:lnTo>
                      <a:lnTo>
                        <a:pt x="27" y="284"/>
                      </a:lnTo>
                      <a:lnTo>
                        <a:pt x="27" y="283"/>
                      </a:lnTo>
                      <a:lnTo>
                        <a:pt x="25" y="282"/>
                      </a:lnTo>
                      <a:lnTo>
                        <a:pt x="25" y="281"/>
                      </a:lnTo>
                      <a:lnTo>
                        <a:pt x="25" y="281"/>
                      </a:lnTo>
                      <a:lnTo>
                        <a:pt x="25" y="281"/>
                      </a:lnTo>
                      <a:lnTo>
                        <a:pt x="25" y="281"/>
                      </a:lnTo>
                      <a:lnTo>
                        <a:pt x="24" y="281"/>
                      </a:lnTo>
                      <a:lnTo>
                        <a:pt x="24" y="279"/>
                      </a:lnTo>
                      <a:lnTo>
                        <a:pt x="22" y="277"/>
                      </a:lnTo>
                      <a:lnTo>
                        <a:pt x="22" y="277"/>
                      </a:lnTo>
                      <a:lnTo>
                        <a:pt x="21" y="276"/>
                      </a:lnTo>
                      <a:lnTo>
                        <a:pt x="20" y="275"/>
                      </a:lnTo>
                      <a:lnTo>
                        <a:pt x="19" y="274"/>
                      </a:lnTo>
                      <a:lnTo>
                        <a:pt x="19" y="273"/>
                      </a:lnTo>
                      <a:lnTo>
                        <a:pt x="17" y="271"/>
                      </a:lnTo>
                      <a:lnTo>
                        <a:pt x="16" y="270"/>
                      </a:lnTo>
                      <a:lnTo>
                        <a:pt x="15" y="270"/>
                      </a:lnTo>
                      <a:lnTo>
                        <a:pt x="15" y="268"/>
                      </a:lnTo>
                      <a:lnTo>
                        <a:pt x="14" y="268"/>
                      </a:lnTo>
                      <a:lnTo>
                        <a:pt x="14" y="267"/>
                      </a:lnTo>
                      <a:lnTo>
                        <a:pt x="14" y="266"/>
                      </a:lnTo>
                      <a:lnTo>
                        <a:pt x="13" y="264"/>
                      </a:lnTo>
                      <a:lnTo>
                        <a:pt x="12" y="261"/>
                      </a:lnTo>
                      <a:lnTo>
                        <a:pt x="10" y="260"/>
                      </a:lnTo>
                      <a:lnTo>
                        <a:pt x="10" y="259"/>
                      </a:lnTo>
                      <a:lnTo>
                        <a:pt x="9" y="258"/>
                      </a:lnTo>
                      <a:lnTo>
                        <a:pt x="9" y="257"/>
                      </a:lnTo>
                      <a:lnTo>
                        <a:pt x="8" y="257"/>
                      </a:lnTo>
                      <a:lnTo>
                        <a:pt x="8" y="256"/>
                      </a:lnTo>
                      <a:lnTo>
                        <a:pt x="6" y="255"/>
                      </a:lnTo>
                      <a:lnTo>
                        <a:pt x="6" y="255"/>
                      </a:lnTo>
                      <a:lnTo>
                        <a:pt x="6" y="255"/>
                      </a:lnTo>
                      <a:lnTo>
                        <a:pt x="4" y="255"/>
                      </a:lnTo>
                      <a:lnTo>
                        <a:pt x="4" y="255"/>
                      </a:lnTo>
                      <a:lnTo>
                        <a:pt x="3" y="253"/>
                      </a:lnTo>
                      <a:lnTo>
                        <a:pt x="2" y="252"/>
                      </a:lnTo>
                      <a:lnTo>
                        <a:pt x="2" y="250"/>
                      </a:lnTo>
                      <a:lnTo>
                        <a:pt x="1" y="250"/>
                      </a:lnTo>
                      <a:lnTo>
                        <a:pt x="0" y="249"/>
                      </a:lnTo>
                      <a:lnTo>
                        <a:pt x="0" y="246"/>
                      </a:lnTo>
                      <a:lnTo>
                        <a:pt x="0" y="245"/>
                      </a:lnTo>
                      <a:lnTo>
                        <a:pt x="0" y="245"/>
                      </a:lnTo>
                      <a:lnTo>
                        <a:pt x="2" y="244"/>
                      </a:lnTo>
                      <a:lnTo>
                        <a:pt x="3" y="243"/>
                      </a:lnTo>
                      <a:lnTo>
                        <a:pt x="5" y="243"/>
                      </a:lnTo>
                      <a:lnTo>
                        <a:pt x="5" y="243"/>
                      </a:lnTo>
                      <a:lnTo>
                        <a:pt x="5" y="242"/>
                      </a:lnTo>
                      <a:lnTo>
                        <a:pt x="6" y="241"/>
                      </a:lnTo>
                      <a:lnTo>
                        <a:pt x="6" y="241"/>
                      </a:lnTo>
                      <a:lnTo>
                        <a:pt x="7" y="239"/>
                      </a:lnTo>
                      <a:lnTo>
                        <a:pt x="7" y="239"/>
                      </a:lnTo>
                      <a:lnTo>
                        <a:pt x="7" y="237"/>
                      </a:lnTo>
                      <a:lnTo>
                        <a:pt x="8" y="234"/>
                      </a:lnTo>
                      <a:lnTo>
                        <a:pt x="8" y="233"/>
                      </a:lnTo>
                      <a:lnTo>
                        <a:pt x="9" y="234"/>
                      </a:lnTo>
                      <a:lnTo>
                        <a:pt x="9" y="234"/>
                      </a:lnTo>
                      <a:lnTo>
                        <a:pt x="10" y="234"/>
                      </a:lnTo>
                      <a:lnTo>
                        <a:pt x="10" y="234"/>
                      </a:lnTo>
                      <a:lnTo>
                        <a:pt x="10" y="233"/>
                      </a:lnTo>
                      <a:lnTo>
                        <a:pt x="10" y="232"/>
                      </a:lnTo>
                      <a:lnTo>
                        <a:pt x="10" y="230"/>
                      </a:lnTo>
                      <a:lnTo>
                        <a:pt x="11" y="229"/>
                      </a:lnTo>
                      <a:lnTo>
                        <a:pt x="11" y="226"/>
                      </a:lnTo>
                      <a:lnTo>
                        <a:pt x="12" y="225"/>
                      </a:lnTo>
                      <a:lnTo>
                        <a:pt x="12" y="225"/>
                      </a:lnTo>
                      <a:lnTo>
                        <a:pt x="12" y="224"/>
                      </a:lnTo>
                      <a:lnTo>
                        <a:pt x="12" y="223"/>
                      </a:lnTo>
                      <a:lnTo>
                        <a:pt x="11" y="223"/>
                      </a:lnTo>
                      <a:lnTo>
                        <a:pt x="12" y="220"/>
                      </a:lnTo>
                      <a:lnTo>
                        <a:pt x="11" y="218"/>
                      </a:lnTo>
                      <a:lnTo>
                        <a:pt x="12" y="218"/>
                      </a:lnTo>
                      <a:lnTo>
                        <a:pt x="13" y="217"/>
                      </a:lnTo>
                      <a:lnTo>
                        <a:pt x="13" y="215"/>
                      </a:lnTo>
                      <a:lnTo>
                        <a:pt x="13" y="215"/>
                      </a:lnTo>
                      <a:lnTo>
                        <a:pt x="14" y="214"/>
                      </a:lnTo>
                      <a:lnTo>
                        <a:pt x="14" y="214"/>
                      </a:lnTo>
                      <a:lnTo>
                        <a:pt x="14" y="213"/>
                      </a:lnTo>
                      <a:lnTo>
                        <a:pt x="14" y="212"/>
                      </a:lnTo>
                      <a:lnTo>
                        <a:pt x="14" y="212"/>
                      </a:lnTo>
                      <a:lnTo>
                        <a:pt x="14" y="210"/>
                      </a:lnTo>
                      <a:lnTo>
                        <a:pt x="14" y="207"/>
                      </a:lnTo>
                      <a:lnTo>
                        <a:pt x="13" y="206"/>
                      </a:lnTo>
                      <a:lnTo>
                        <a:pt x="13" y="203"/>
                      </a:lnTo>
                      <a:lnTo>
                        <a:pt x="13" y="200"/>
                      </a:lnTo>
                      <a:lnTo>
                        <a:pt x="12" y="197"/>
                      </a:lnTo>
                      <a:lnTo>
                        <a:pt x="13" y="197"/>
                      </a:lnTo>
                      <a:lnTo>
                        <a:pt x="13" y="198"/>
                      </a:lnTo>
                      <a:lnTo>
                        <a:pt x="14" y="198"/>
                      </a:lnTo>
                      <a:lnTo>
                        <a:pt x="15" y="198"/>
                      </a:lnTo>
                      <a:lnTo>
                        <a:pt x="14" y="197"/>
                      </a:lnTo>
                      <a:lnTo>
                        <a:pt x="15" y="196"/>
                      </a:lnTo>
                      <a:lnTo>
                        <a:pt x="15" y="195"/>
                      </a:lnTo>
                      <a:lnTo>
                        <a:pt x="16" y="195"/>
                      </a:lnTo>
                      <a:lnTo>
                        <a:pt x="16" y="194"/>
                      </a:lnTo>
                      <a:lnTo>
                        <a:pt x="17" y="192"/>
                      </a:lnTo>
                      <a:lnTo>
                        <a:pt x="18" y="192"/>
                      </a:lnTo>
                      <a:lnTo>
                        <a:pt x="18" y="191"/>
                      </a:lnTo>
                      <a:lnTo>
                        <a:pt x="18" y="191"/>
                      </a:lnTo>
                      <a:lnTo>
                        <a:pt x="18" y="190"/>
                      </a:lnTo>
                      <a:lnTo>
                        <a:pt x="19" y="190"/>
                      </a:lnTo>
                      <a:lnTo>
                        <a:pt x="19" y="188"/>
                      </a:lnTo>
                      <a:lnTo>
                        <a:pt x="20" y="187"/>
                      </a:lnTo>
                      <a:lnTo>
                        <a:pt x="20" y="187"/>
                      </a:lnTo>
                      <a:lnTo>
                        <a:pt x="21" y="187"/>
                      </a:lnTo>
                      <a:lnTo>
                        <a:pt x="22" y="186"/>
                      </a:lnTo>
                      <a:lnTo>
                        <a:pt x="22" y="185"/>
                      </a:lnTo>
                      <a:lnTo>
                        <a:pt x="22" y="185"/>
                      </a:lnTo>
                      <a:lnTo>
                        <a:pt x="23" y="184"/>
                      </a:lnTo>
                      <a:lnTo>
                        <a:pt x="24" y="184"/>
                      </a:lnTo>
                      <a:lnTo>
                        <a:pt x="24" y="182"/>
                      </a:lnTo>
                      <a:lnTo>
                        <a:pt x="25" y="181"/>
                      </a:lnTo>
                      <a:lnTo>
                        <a:pt x="25" y="181"/>
                      </a:lnTo>
                      <a:lnTo>
                        <a:pt x="25" y="180"/>
                      </a:lnTo>
                      <a:lnTo>
                        <a:pt x="25" y="179"/>
                      </a:lnTo>
                      <a:lnTo>
                        <a:pt x="26" y="178"/>
                      </a:lnTo>
                      <a:lnTo>
                        <a:pt x="26" y="177"/>
                      </a:lnTo>
                      <a:lnTo>
                        <a:pt x="26" y="177"/>
                      </a:lnTo>
                      <a:lnTo>
                        <a:pt x="26" y="176"/>
                      </a:lnTo>
                      <a:lnTo>
                        <a:pt x="26" y="176"/>
                      </a:lnTo>
                      <a:lnTo>
                        <a:pt x="26" y="173"/>
                      </a:lnTo>
                      <a:lnTo>
                        <a:pt x="27" y="173"/>
                      </a:lnTo>
                      <a:lnTo>
                        <a:pt x="27" y="174"/>
                      </a:lnTo>
                      <a:lnTo>
                        <a:pt x="28" y="174"/>
                      </a:lnTo>
                      <a:lnTo>
                        <a:pt x="28" y="173"/>
                      </a:lnTo>
                      <a:lnTo>
                        <a:pt x="29" y="172"/>
                      </a:lnTo>
                      <a:lnTo>
                        <a:pt x="29" y="170"/>
                      </a:lnTo>
                      <a:lnTo>
                        <a:pt x="32" y="169"/>
                      </a:lnTo>
                      <a:lnTo>
                        <a:pt x="33" y="167"/>
                      </a:lnTo>
                      <a:lnTo>
                        <a:pt x="33" y="167"/>
                      </a:lnTo>
                      <a:lnTo>
                        <a:pt x="36" y="166"/>
                      </a:lnTo>
                      <a:lnTo>
                        <a:pt x="37" y="165"/>
                      </a:lnTo>
                      <a:lnTo>
                        <a:pt x="37" y="165"/>
                      </a:lnTo>
                      <a:lnTo>
                        <a:pt x="38" y="164"/>
                      </a:lnTo>
                      <a:lnTo>
                        <a:pt x="39" y="163"/>
                      </a:lnTo>
                      <a:lnTo>
                        <a:pt x="39" y="163"/>
                      </a:lnTo>
                      <a:lnTo>
                        <a:pt x="39" y="163"/>
                      </a:lnTo>
                      <a:lnTo>
                        <a:pt x="39" y="162"/>
                      </a:lnTo>
                      <a:lnTo>
                        <a:pt x="41" y="161"/>
                      </a:lnTo>
                      <a:lnTo>
                        <a:pt x="41" y="160"/>
                      </a:lnTo>
                      <a:lnTo>
                        <a:pt x="42" y="160"/>
                      </a:lnTo>
                      <a:lnTo>
                        <a:pt x="43" y="158"/>
                      </a:lnTo>
                      <a:lnTo>
                        <a:pt x="43" y="157"/>
                      </a:lnTo>
                      <a:lnTo>
                        <a:pt x="43" y="156"/>
                      </a:lnTo>
                      <a:lnTo>
                        <a:pt x="43" y="152"/>
                      </a:lnTo>
                      <a:lnTo>
                        <a:pt x="44" y="152"/>
                      </a:lnTo>
                      <a:lnTo>
                        <a:pt x="43" y="149"/>
                      </a:lnTo>
                      <a:lnTo>
                        <a:pt x="44" y="149"/>
                      </a:lnTo>
                      <a:lnTo>
                        <a:pt x="44" y="149"/>
                      </a:lnTo>
                      <a:lnTo>
                        <a:pt x="44" y="148"/>
                      </a:lnTo>
                      <a:lnTo>
                        <a:pt x="43" y="148"/>
                      </a:lnTo>
                      <a:lnTo>
                        <a:pt x="43" y="147"/>
                      </a:lnTo>
                      <a:lnTo>
                        <a:pt x="43" y="147"/>
                      </a:lnTo>
                      <a:lnTo>
                        <a:pt x="43" y="146"/>
                      </a:lnTo>
                      <a:lnTo>
                        <a:pt x="42" y="145"/>
                      </a:lnTo>
                      <a:lnTo>
                        <a:pt x="42" y="142"/>
                      </a:lnTo>
                      <a:lnTo>
                        <a:pt x="43" y="140"/>
                      </a:lnTo>
                      <a:lnTo>
                        <a:pt x="44" y="137"/>
                      </a:lnTo>
                      <a:lnTo>
                        <a:pt x="44" y="137"/>
                      </a:lnTo>
                      <a:lnTo>
                        <a:pt x="45" y="135"/>
                      </a:lnTo>
                      <a:lnTo>
                        <a:pt x="45" y="135"/>
                      </a:lnTo>
                      <a:lnTo>
                        <a:pt x="45" y="134"/>
                      </a:lnTo>
                      <a:lnTo>
                        <a:pt x="46" y="133"/>
                      </a:lnTo>
                      <a:lnTo>
                        <a:pt x="46" y="133"/>
                      </a:lnTo>
                      <a:lnTo>
                        <a:pt x="46" y="132"/>
                      </a:lnTo>
                      <a:lnTo>
                        <a:pt x="47" y="130"/>
                      </a:lnTo>
                      <a:lnTo>
                        <a:pt x="48" y="128"/>
                      </a:lnTo>
                      <a:lnTo>
                        <a:pt x="49" y="123"/>
                      </a:lnTo>
                      <a:lnTo>
                        <a:pt x="49" y="123"/>
                      </a:lnTo>
                      <a:lnTo>
                        <a:pt x="49" y="122"/>
                      </a:lnTo>
                      <a:lnTo>
                        <a:pt x="49" y="120"/>
                      </a:lnTo>
                      <a:lnTo>
                        <a:pt x="50" y="120"/>
                      </a:lnTo>
                      <a:lnTo>
                        <a:pt x="50" y="119"/>
                      </a:lnTo>
                      <a:lnTo>
                        <a:pt x="50" y="118"/>
                      </a:lnTo>
                      <a:lnTo>
                        <a:pt x="51" y="118"/>
                      </a:lnTo>
                      <a:lnTo>
                        <a:pt x="53" y="115"/>
                      </a:lnTo>
                      <a:lnTo>
                        <a:pt x="53" y="115"/>
                      </a:lnTo>
                      <a:lnTo>
                        <a:pt x="54" y="114"/>
                      </a:lnTo>
                      <a:lnTo>
                        <a:pt x="55" y="111"/>
                      </a:lnTo>
                      <a:lnTo>
                        <a:pt x="56" y="110"/>
                      </a:lnTo>
                      <a:lnTo>
                        <a:pt x="56" y="109"/>
                      </a:lnTo>
                      <a:lnTo>
                        <a:pt x="60" y="107"/>
                      </a:lnTo>
                      <a:lnTo>
                        <a:pt x="60" y="107"/>
                      </a:lnTo>
                      <a:lnTo>
                        <a:pt x="60" y="107"/>
                      </a:lnTo>
                      <a:lnTo>
                        <a:pt x="61" y="106"/>
                      </a:lnTo>
                      <a:lnTo>
                        <a:pt x="61" y="106"/>
                      </a:lnTo>
                      <a:lnTo>
                        <a:pt x="63" y="106"/>
                      </a:lnTo>
                      <a:lnTo>
                        <a:pt x="63" y="107"/>
                      </a:lnTo>
                      <a:lnTo>
                        <a:pt x="61" y="108"/>
                      </a:lnTo>
                      <a:lnTo>
                        <a:pt x="62" y="108"/>
                      </a:lnTo>
                      <a:lnTo>
                        <a:pt x="62" y="108"/>
                      </a:lnTo>
                      <a:lnTo>
                        <a:pt x="63" y="109"/>
                      </a:lnTo>
                      <a:lnTo>
                        <a:pt x="66" y="110"/>
                      </a:lnTo>
                      <a:lnTo>
                        <a:pt x="67" y="110"/>
                      </a:lnTo>
                      <a:lnTo>
                        <a:pt x="68" y="110"/>
                      </a:lnTo>
                      <a:lnTo>
                        <a:pt x="68" y="111"/>
                      </a:lnTo>
                      <a:lnTo>
                        <a:pt x="68" y="111"/>
                      </a:lnTo>
                      <a:lnTo>
                        <a:pt x="70" y="112"/>
                      </a:lnTo>
                      <a:lnTo>
                        <a:pt x="72" y="112"/>
                      </a:lnTo>
                      <a:lnTo>
                        <a:pt x="72" y="112"/>
                      </a:lnTo>
                      <a:lnTo>
                        <a:pt x="72" y="112"/>
                      </a:lnTo>
                      <a:lnTo>
                        <a:pt x="72" y="114"/>
                      </a:lnTo>
                      <a:lnTo>
                        <a:pt x="73" y="115"/>
                      </a:lnTo>
                      <a:lnTo>
                        <a:pt x="74" y="115"/>
                      </a:lnTo>
                      <a:lnTo>
                        <a:pt x="74" y="115"/>
                      </a:lnTo>
                      <a:lnTo>
                        <a:pt x="75" y="116"/>
                      </a:lnTo>
                      <a:lnTo>
                        <a:pt x="74" y="116"/>
                      </a:lnTo>
                      <a:lnTo>
                        <a:pt x="75" y="116"/>
                      </a:lnTo>
                      <a:lnTo>
                        <a:pt x="75" y="117"/>
                      </a:lnTo>
                      <a:lnTo>
                        <a:pt x="75" y="117"/>
                      </a:lnTo>
                      <a:lnTo>
                        <a:pt x="75" y="116"/>
                      </a:lnTo>
                      <a:lnTo>
                        <a:pt x="75" y="115"/>
                      </a:lnTo>
                      <a:lnTo>
                        <a:pt x="75" y="115"/>
                      </a:lnTo>
                      <a:lnTo>
                        <a:pt x="75" y="115"/>
                      </a:lnTo>
                      <a:lnTo>
                        <a:pt x="74" y="112"/>
                      </a:lnTo>
                      <a:lnTo>
                        <a:pt x="74" y="112"/>
                      </a:lnTo>
                      <a:lnTo>
                        <a:pt x="74" y="110"/>
                      </a:lnTo>
                      <a:lnTo>
                        <a:pt x="73" y="110"/>
                      </a:lnTo>
                      <a:lnTo>
                        <a:pt x="73" y="109"/>
                      </a:lnTo>
                      <a:lnTo>
                        <a:pt x="73" y="109"/>
                      </a:lnTo>
                      <a:lnTo>
                        <a:pt x="74" y="109"/>
                      </a:lnTo>
                      <a:lnTo>
                        <a:pt x="77" y="110"/>
                      </a:lnTo>
                      <a:lnTo>
                        <a:pt x="78" y="109"/>
                      </a:lnTo>
                      <a:lnTo>
                        <a:pt x="79" y="109"/>
                      </a:lnTo>
                      <a:lnTo>
                        <a:pt x="79" y="108"/>
                      </a:lnTo>
                      <a:lnTo>
                        <a:pt x="79" y="108"/>
                      </a:lnTo>
                      <a:lnTo>
                        <a:pt x="80" y="107"/>
                      </a:lnTo>
                      <a:lnTo>
                        <a:pt x="81" y="105"/>
                      </a:lnTo>
                      <a:lnTo>
                        <a:pt x="81" y="103"/>
                      </a:lnTo>
                      <a:lnTo>
                        <a:pt x="81" y="102"/>
                      </a:lnTo>
                      <a:lnTo>
                        <a:pt x="82" y="102"/>
                      </a:lnTo>
                      <a:lnTo>
                        <a:pt x="82" y="103"/>
                      </a:lnTo>
                      <a:lnTo>
                        <a:pt x="82" y="103"/>
                      </a:lnTo>
                      <a:lnTo>
                        <a:pt x="85" y="103"/>
                      </a:lnTo>
                      <a:lnTo>
                        <a:pt x="85" y="104"/>
                      </a:lnTo>
                      <a:lnTo>
                        <a:pt x="86" y="105"/>
                      </a:lnTo>
                      <a:lnTo>
                        <a:pt x="87" y="105"/>
                      </a:lnTo>
                      <a:lnTo>
                        <a:pt x="87" y="104"/>
                      </a:lnTo>
                      <a:lnTo>
                        <a:pt x="85" y="104"/>
                      </a:lnTo>
                      <a:lnTo>
                        <a:pt x="84" y="102"/>
                      </a:lnTo>
                      <a:lnTo>
                        <a:pt x="82" y="102"/>
                      </a:lnTo>
                      <a:lnTo>
                        <a:pt x="82" y="102"/>
                      </a:lnTo>
                      <a:lnTo>
                        <a:pt x="82" y="101"/>
                      </a:lnTo>
                      <a:lnTo>
                        <a:pt x="81" y="101"/>
                      </a:lnTo>
                      <a:lnTo>
                        <a:pt x="81" y="102"/>
                      </a:lnTo>
                      <a:lnTo>
                        <a:pt x="79" y="102"/>
                      </a:lnTo>
                      <a:lnTo>
                        <a:pt x="78" y="104"/>
                      </a:lnTo>
                      <a:lnTo>
                        <a:pt x="77" y="105"/>
                      </a:lnTo>
                      <a:lnTo>
                        <a:pt x="74" y="105"/>
                      </a:lnTo>
                      <a:lnTo>
                        <a:pt x="74" y="105"/>
                      </a:lnTo>
                      <a:lnTo>
                        <a:pt x="74" y="105"/>
                      </a:lnTo>
                      <a:lnTo>
                        <a:pt x="74" y="104"/>
                      </a:lnTo>
                      <a:lnTo>
                        <a:pt x="73" y="104"/>
                      </a:lnTo>
                      <a:lnTo>
                        <a:pt x="72" y="104"/>
                      </a:lnTo>
                      <a:lnTo>
                        <a:pt x="72" y="104"/>
                      </a:lnTo>
                      <a:lnTo>
                        <a:pt x="70" y="104"/>
                      </a:lnTo>
                      <a:lnTo>
                        <a:pt x="70" y="103"/>
                      </a:lnTo>
                      <a:lnTo>
                        <a:pt x="69" y="102"/>
                      </a:lnTo>
                      <a:lnTo>
                        <a:pt x="69" y="101"/>
                      </a:lnTo>
                      <a:lnTo>
                        <a:pt x="70" y="98"/>
                      </a:lnTo>
                      <a:lnTo>
                        <a:pt x="72" y="96"/>
                      </a:lnTo>
                      <a:lnTo>
                        <a:pt x="73" y="95"/>
                      </a:lnTo>
                      <a:lnTo>
                        <a:pt x="73" y="94"/>
                      </a:lnTo>
                      <a:lnTo>
                        <a:pt x="75" y="93"/>
                      </a:lnTo>
                      <a:lnTo>
                        <a:pt x="77" y="92"/>
                      </a:lnTo>
                      <a:lnTo>
                        <a:pt x="78" y="92"/>
                      </a:lnTo>
                      <a:lnTo>
                        <a:pt x="80" y="91"/>
                      </a:lnTo>
                      <a:lnTo>
                        <a:pt x="80" y="91"/>
                      </a:lnTo>
                      <a:lnTo>
                        <a:pt x="80" y="91"/>
                      </a:lnTo>
                      <a:lnTo>
                        <a:pt x="81" y="91"/>
                      </a:lnTo>
                      <a:lnTo>
                        <a:pt x="83" y="90"/>
                      </a:lnTo>
                      <a:lnTo>
                        <a:pt x="83" y="89"/>
                      </a:lnTo>
                      <a:lnTo>
                        <a:pt x="84" y="88"/>
                      </a:lnTo>
                      <a:lnTo>
                        <a:pt x="85" y="88"/>
                      </a:lnTo>
                      <a:lnTo>
                        <a:pt x="87" y="88"/>
                      </a:lnTo>
                      <a:lnTo>
                        <a:pt x="88" y="87"/>
                      </a:lnTo>
                      <a:lnTo>
                        <a:pt x="91" y="87"/>
                      </a:lnTo>
                      <a:lnTo>
                        <a:pt x="93" y="88"/>
                      </a:lnTo>
                      <a:lnTo>
                        <a:pt x="94" y="88"/>
                      </a:lnTo>
                      <a:lnTo>
                        <a:pt x="94" y="89"/>
                      </a:lnTo>
                      <a:lnTo>
                        <a:pt x="95" y="90"/>
                      </a:lnTo>
                      <a:lnTo>
                        <a:pt x="96" y="91"/>
                      </a:lnTo>
                      <a:lnTo>
                        <a:pt x="97" y="92"/>
                      </a:lnTo>
                      <a:lnTo>
                        <a:pt x="98" y="92"/>
                      </a:lnTo>
                      <a:lnTo>
                        <a:pt x="98" y="92"/>
                      </a:lnTo>
                      <a:lnTo>
                        <a:pt x="100" y="93"/>
                      </a:lnTo>
                      <a:lnTo>
                        <a:pt x="101" y="93"/>
                      </a:lnTo>
                      <a:lnTo>
                        <a:pt x="101" y="94"/>
                      </a:lnTo>
                      <a:lnTo>
                        <a:pt x="101" y="94"/>
                      </a:lnTo>
                      <a:lnTo>
                        <a:pt x="101" y="94"/>
                      </a:lnTo>
                      <a:lnTo>
                        <a:pt x="103" y="95"/>
                      </a:lnTo>
                      <a:lnTo>
                        <a:pt x="103" y="96"/>
                      </a:lnTo>
                      <a:lnTo>
                        <a:pt x="104" y="96"/>
                      </a:lnTo>
                      <a:lnTo>
                        <a:pt x="104" y="96"/>
                      </a:lnTo>
                      <a:lnTo>
                        <a:pt x="107" y="96"/>
                      </a:lnTo>
                      <a:lnTo>
                        <a:pt x="110" y="96"/>
                      </a:lnTo>
                      <a:lnTo>
                        <a:pt x="111" y="96"/>
                      </a:lnTo>
                      <a:lnTo>
                        <a:pt x="112" y="96"/>
                      </a:lnTo>
                      <a:lnTo>
                        <a:pt x="113" y="95"/>
                      </a:lnTo>
                      <a:lnTo>
                        <a:pt x="114" y="94"/>
                      </a:lnTo>
                      <a:lnTo>
                        <a:pt x="116" y="94"/>
                      </a:lnTo>
                      <a:lnTo>
                        <a:pt x="119" y="92"/>
                      </a:lnTo>
                      <a:lnTo>
                        <a:pt x="120" y="91"/>
                      </a:lnTo>
                      <a:lnTo>
                        <a:pt x="120" y="90"/>
                      </a:lnTo>
                      <a:lnTo>
                        <a:pt x="122" y="90"/>
                      </a:lnTo>
                      <a:lnTo>
                        <a:pt x="122" y="90"/>
                      </a:lnTo>
                      <a:lnTo>
                        <a:pt x="122" y="90"/>
                      </a:lnTo>
                      <a:lnTo>
                        <a:pt x="123" y="89"/>
                      </a:lnTo>
                      <a:lnTo>
                        <a:pt x="123" y="89"/>
                      </a:lnTo>
                      <a:lnTo>
                        <a:pt x="123" y="90"/>
                      </a:lnTo>
                      <a:lnTo>
                        <a:pt x="125" y="90"/>
                      </a:lnTo>
                      <a:lnTo>
                        <a:pt x="125" y="90"/>
                      </a:lnTo>
                      <a:lnTo>
                        <a:pt x="127" y="90"/>
                      </a:lnTo>
                      <a:lnTo>
                        <a:pt x="128" y="90"/>
                      </a:lnTo>
                      <a:lnTo>
                        <a:pt x="130" y="89"/>
                      </a:lnTo>
                      <a:lnTo>
                        <a:pt x="129" y="89"/>
                      </a:lnTo>
                      <a:lnTo>
                        <a:pt x="128" y="90"/>
                      </a:lnTo>
                      <a:lnTo>
                        <a:pt x="126" y="90"/>
                      </a:lnTo>
                      <a:lnTo>
                        <a:pt x="125" y="90"/>
                      </a:lnTo>
                      <a:lnTo>
                        <a:pt x="123" y="88"/>
                      </a:lnTo>
                      <a:lnTo>
                        <a:pt x="121" y="88"/>
                      </a:lnTo>
                      <a:lnTo>
                        <a:pt x="121" y="88"/>
                      </a:lnTo>
                      <a:lnTo>
                        <a:pt x="120" y="88"/>
                      </a:lnTo>
                      <a:lnTo>
                        <a:pt x="119" y="87"/>
                      </a:lnTo>
                      <a:lnTo>
                        <a:pt x="118" y="87"/>
                      </a:lnTo>
                      <a:lnTo>
                        <a:pt x="118" y="88"/>
                      </a:lnTo>
                      <a:lnTo>
                        <a:pt x="117" y="88"/>
                      </a:lnTo>
                      <a:lnTo>
                        <a:pt x="117" y="89"/>
                      </a:lnTo>
                      <a:lnTo>
                        <a:pt x="116" y="89"/>
                      </a:lnTo>
                      <a:lnTo>
                        <a:pt x="115" y="88"/>
                      </a:lnTo>
                      <a:lnTo>
                        <a:pt x="115" y="88"/>
                      </a:lnTo>
                      <a:lnTo>
                        <a:pt x="115" y="87"/>
                      </a:lnTo>
                      <a:lnTo>
                        <a:pt x="115" y="86"/>
                      </a:lnTo>
                      <a:lnTo>
                        <a:pt x="115" y="85"/>
                      </a:lnTo>
                      <a:lnTo>
                        <a:pt x="117" y="84"/>
                      </a:lnTo>
                      <a:lnTo>
                        <a:pt x="118" y="83"/>
                      </a:lnTo>
                      <a:lnTo>
                        <a:pt x="119" y="82"/>
                      </a:lnTo>
                      <a:lnTo>
                        <a:pt x="120" y="81"/>
                      </a:lnTo>
                      <a:lnTo>
                        <a:pt x="121" y="77"/>
                      </a:lnTo>
                      <a:lnTo>
                        <a:pt x="122" y="76"/>
                      </a:lnTo>
                      <a:lnTo>
                        <a:pt x="123" y="76"/>
                      </a:lnTo>
                      <a:lnTo>
                        <a:pt x="123" y="76"/>
                      </a:lnTo>
                      <a:lnTo>
                        <a:pt x="124" y="79"/>
                      </a:lnTo>
                      <a:lnTo>
                        <a:pt x="124" y="79"/>
                      </a:lnTo>
                      <a:lnTo>
                        <a:pt x="125" y="80"/>
                      </a:lnTo>
                      <a:lnTo>
                        <a:pt x="125" y="81"/>
                      </a:lnTo>
                      <a:lnTo>
                        <a:pt x="125" y="82"/>
                      </a:lnTo>
                      <a:lnTo>
                        <a:pt x="126" y="82"/>
                      </a:lnTo>
                      <a:lnTo>
                        <a:pt x="129" y="81"/>
                      </a:lnTo>
                      <a:lnTo>
                        <a:pt x="128" y="81"/>
                      </a:lnTo>
                      <a:lnTo>
                        <a:pt x="126" y="82"/>
                      </a:lnTo>
                      <a:lnTo>
                        <a:pt x="125" y="82"/>
                      </a:lnTo>
                      <a:lnTo>
                        <a:pt x="125" y="81"/>
                      </a:lnTo>
                      <a:lnTo>
                        <a:pt x="125" y="79"/>
                      </a:lnTo>
                      <a:lnTo>
                        <a:pt x="125" y="79"/>
                      </a:lnTo>
                      <a:lnTo>
                        <a:pt x="124" y="78"/>
                      </a:lnTo>
                      <a:lnTo>
                        <a:pt x="124" y="77"/>
                      </a:lnTo>
                      <a:lnTo>
                        <a:pt x="124" y="77"/>
                      </a:lnTo>
                      <a:lnTo>
                        <a:pt x="124" y="76"/>
                      </a:lnTo>
                      <a:lnTo>
                        <a:pt x="123" y="76"/>
                      </a:lnTo>
                      <a:lnTo>
                        <a:pt x="123" y="76"/>
                      </a:lnTo>
                      <a:lnTo>
                        <a:pt x="124" y="69"/>
                      </a:lnTo>
                      <a:lnTo>
                        <a:pt x="127" y="64"/>
                      </a:lnTo>
                      <a:lnTo>
                        <a:pt x="126" y="51"/>
                      </a:lnTo>
                      <a:lnTo>
                        <a:pt x="130" y="51"/>
                      </a:lnTo>
                      <a:lnTo>
                        <a:pt x="138" y="55"/>
                      </a:lnTo>
                      <a:lnTo>
                        <a:pt x="143" y="55"/>
                      </a:lnTo>
                      <a:lnTo>
                        <a:pt x="149" y="44"/>
                      </a:lnTo>
                      <a:lnTo>
                        <a:pt x="158" y="40"/>
                      </a:lnTo>
                      <a:lnTo>
                        <a:pt x="161" y="32"/>
                      </a:lnTo>
                      <a:lnTo>
                        <a:pt x="168" y="26"/>
                      </a:lnTo>
                      <a:lnTo>
                        <a:pt x="171" y="19"/>
                      </a:lnTo>
                      <a:lnTo>
                        <a:pt x="181" y="16"/>
                      </a:lnTo>
                      <a:lnTo>
                        <a:pt x="187" y="13"/>
                      </a:lnTo>
                      <a:lnTo>
                        <a:pt x="197" y="5"/>
                      </a:lnTo>
                      <a:lnTo>
                        <a:pt x="200" y="0"/>
                      </a:lnTo>
                      <a:close/>
                    </a:path>
                  </a:pathLst>
                </a:custGeom>
                <a:grpFill/>
                <a:ln w="317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900" dirty="0"/>
                </a:p>
              </p:txBody>
            </p:sp>
            <p:sp>
              <p:nvSpPr>
                <p:cNvPr id="130" name="Yorkshire &amp; the Humbert" descr="{&quot;Key&quot;:&quot;yorkshire &amp; the humbert&quot;,&quot;Name&quot;:&quot;Yorkshire &amp; the Humbert&quot;,&quot;Value&quot;:1.0,&quot;Formula&quot;:&quot;&quot;,&quot;Text&quot;:&quot;1&quot;,&quot;HasValue&quot;:true}">
                  <a:extLst>
                    <a:ext uri="{FF2B5EF4-FFF2-40B4-BE49-F238E27FC236}">
                      <a16:creationId xmlns:a16="http://schemas.microsoft.com/office/drawing/2014/main" id="{807D3DA1-7DEC-D821-93C3-167E8458E223}"/>
                    </a:ext>
                  </a:extLst>
                </p:cNvPr>
                <p:cNvSpPr>
                  <a:spLocks noEditPoints="1"/>
                </p:cNvSpPr>
                <p:nvPr/>
              </p:nvSpPr>
              <p:spPr bwMode="auto">
                <a:xfrm>
                  <a:off x="6699250" y="3941763"/>
                  <a:ext cx="904875" cy="715963"/>
                </a:xfrm>
                <a:custGeom>
                  <a:avLst/>
                  <a:gdLst>
                    <a:gd name="T0" fmla="*/ 396 w 570"/>
                    <a:gd name="T1" fmla="*/ 305 h 451"/>
                    <a:gd name="T2" fmla="*/ 377 w 570"/>
                    <a:gd name="T3" fmla="*/ 3 h 451"/>
                    <a:gd name="T4" fmla="*/ 388 w 570"/>
                    <a:gd name="T5" fmla="*/ 9 h 451"/>
                    <a:gd name="T6" fmla="*/ 398 w 570"/>
                    <a:gd name="T7" fmla="*/ 20 h 451"/>
                    <a:gd name="T8" fmla="*/ 423 w 570"/>
                    <a:gd name="T9" fmla="*/ 35 h 451"/>
                    <a:gd name="T10" fmla="*/ 428 w 570"/>
                    <a:gd name="T11" fmla="*/ 51 h 451"/>
                    <a:gd name="T12" fmla="*/ 443 w 570"/>
                    <a:gd name="T13" fmla="*/ 64 h 451"/>
                    <a:gd name="T14" fmla="*/ 451 w 570"/>
                    <a:gd name="T15" fmla="*/ 82 h 451"/>
                    <a:gd name="T16" fmla="*/ 453 w 570"/>
                    <a:gd name="T17" fmla="*/ 96 h 451"/>
                    <a:gd name="T18" fmla="*/ 457 w 570"/>
                    <a:gd name="T19" fmla="*/ 103 h 451"/>
                    <a:gd name="T20" fmla="*/ 465 w 570"/>
                    <a:gd name="T21" fmla="*/ 114 h 451"/>
                    <a:gd name="T22" fmla="*/ 481 w 570"/>
                    <a:gd name="T23" fmla="*/ 123 h 451"/>
                    <a:gd name="T24" fmla="*/ 482 w 570"/>
                    <a:gd name="T25" fmla="*/ 135 h 451"/>
                    <a:gd name="T26" fmla="*/ 491 w 570"/>
                    <a:gd name="T27" fmla="*/ 143 h 451"/>
                    <a:gd name="T28" fmla="*/ 515 w 570"/>
                    <a:gd name="T29" fmla="*/ 153 h 451"/>
                    <a:gd name="T30" fmla="*/ 518 w 570"/>
                    <a:gd name="T31" fmla="*/ 163 h 451"/>
                    <a:gd name="T32" fmla="*/ 499 w 570"/>
                    <a:gd name="T33" fmla="*/ 171 h 451"/>
                    <a:gd name="T34" fmla="*/ 493 w 570"/>
                    <a:gd name="T35" fmla="*/ 195 h 451"/>
                    <a:gd name="T36" fmla="*/ 498 w 570"/>
                    <a:gd name="T37" fmla="*/ 211 h 451"/>
                    <a:gd name="T38" fmla="*/ 505 w 570"/>
                    <a:gd name="T39" fmla="*/ 236 h 451"/>
                    <a:gd name="T40" fmla="*/ 519 w 570"/>
                    <a:gd name="T41" fmla="*/ 256 h 451"/>
                    <a:gd name="T42" fmla="*/ 536 w 570"/>
                    <a:gd name="T43" fmla="*/ 283 h 451"/>
                    <a:gd name="T44" fmla="*/ 544 w 570"/>
                    <a:gd name="T45" fmla="*/ 293 h 451"/>
                    <a:gd name="T46" fmla="*/ 558 w 570"/>
                    <a:gd name="T47" fmla="*/ 312 h 451"/>
                    <a:gd name="T48" fmla="*/ 565 w 570"/>
                    <a:gd name="T49" fmla="*/ 325 h 451"/>
                    <a:gd name="T50" fmla="*/ 562 w 570"/>
                    <a:gd name="T51" fmla="*/ 352 h 451"/>
                    <a:gd name="T52" fmla="*/ 566 w 570"/>
                    <a:gd name="T53" fmla="*/ 346 h 451"/>
                    <a:gd name="T54" fmla="*/ 558 w 570"/>
                    <a:gd name="T55" fmla="*/ 330 h 451"/>
                    <a:gd name="T56" fmla="*/ 527 w 570"/>
                    <a:gd name="T57" fmla="*/ 332 h 451"/>
                    <a:gd name="T58" fmla="*/ 501 w 570"/>
                    <a:gd name="T59" fmla="*/ 314 h 451"/>
                    <a:gd name="T60" fmla="*/ 487 w 570"/>
                    <a:gd name="T61" fmla="*/ 295 h 451"/>
                    <a:gd name="T62" fmla="*/ 468 w 570"/>
                    <a:gd name="T63" fmla="*/ 293 h 451"/>
                    <a:gd name="T64" fmla="*/ 450 w 570"/>
                    <a:gd name="T65" fmla="*/ 300 h 451"/>
                    <a:gd name="T66" fmla="*/ 422 w 570"/>
                    <a:gd name="T67" fmla="*/ 305 h 451"/>
                    <a:gd name="T68" fmla="*/ 399 w 570"/>
                    <a:gd name="T69" fmla="*/ 298 h 451"/>
                    <a:gd name="T70" fmla="*/ 392 w 570"/>
                    <a:gd name="T71" fmla="*/ 311 h 451"/>
                    <a:gd name="T72" fmla="*/ 416 w 570"/>
                    <a:gd name="T73" fmla="*/ 309 h 451"/>
                    <a:gd name="T74" fmla="*/ 440 w 570"/>
                    <a:gd name="T75" fmla="*/ 309 h 451"/>
                    <a:gd name="T76" fmla="*/ 464 w 570"/>
                    <a:gd name="T77" fmla="*/ 305 h 451"/>
                    <a:gd name="T78" fmla="*/ 485 w 570"/>
                    <a:gd name="T79" fmla="*/ 315 h 451"/>
                    <a:gd name="T80" fmla="*/ 493 w 570"/>
                    <a:gd name="T81" fmla="*/ 326 h 451"/>
                    <a:gd name="T82" fmla="*/ 495 w 570"/>
                    <a:gd name="T83" fmla="*/ 329 h 451"/>
                    <a:gd name="T84" fmla="*/ 502 w 570"/>
                    <a:gd name="T85" fmla="*/ 333 h 451"/>
                    <a:gd name="T86" fmla="*/ 503 w 570"/>
                    <a:gd name="T87" fmla="*/ 335 h 451"/>
                    <a:gd name="T88" fmla="*/ 521 w 570"/>
                    <a:gd name="T89" fmla="*/ 350 h 451"/>
                    <a:gd name="T90" fmla="*/ 526 w 570"/>
                    <a:gd name="T91" fmla="*/ 351 h 451"/>
                    <a:gd name="T92" fmla="*/ 535 w 570"/>
                    <a:gd name="T93" fmla="*/ 360 h 451"/>
                    <a:gd name="T94" fmla="*/ 528 w 570"/>
                    <a:gd name="T95" fmla="*/ 372 h 451"/>
                    <a:gd name="T96" fmla="*/ 477 w 570"/>
                    <a:gd name="T97" fmla="*/ 340 h 451"/>
                    <a:gd name="T98" fmla="*/ 411 w 570"/>
                    <a:gd name="T99" fmla="*/ 395 h 451"/>
                    <a:gd name="T100" fmla="*/ 324 w 570"/>
                    <a:gd name="T101" fmla="*/ 410 h 451"/>
                    <a:gd name="T102" fmla="*/ 257 w 570"/>
                    <a:gd name="T103" fmla="*/ 448 h 451"/>
                    <a:gd name="T104" fmla="*/ 191 w 570"/>
                    <a:gd name="T105" fmla="*/ 424 h 451"/>
                    <a:gd name="T106" fmla="*/ 113 w 570"/>
                    <a:gd name="T107" fmla="*/ 336 h 451"/>
                    <a:gd name="T108" fmla="*/ 107 w 570"/>
                    <a:gd name="T109" fmla="*/ 262 h 451"/>
                    <a:gd name="T110" fmla="*/ 43 w 570"/>
                    <a:gd name="T111" fmla="*/ 193 h 451"/>
                    <a:gd name="T112" fmla="*/ 36 w 570"/>
                    <a:gd name="T113" fmla="*/ 114 h 451"/>
                    <a:gd name="T114" fmla="*/ 81 w 570"/>
                    <a:gd name="T115" fmla="*/ 35 h 451"/>
                    <a:gd name="T116" fmla="*/ 174 w 570"/>
                    <a:gd name="T117" fmla="*/ 11 h 451"/>
                    <a:gd name="T118" fmla="*/ 229 w 570"/>
                    <a:gd name="T119" fmla="*/ 26 h 451"/>
                    <a:gd name="T120" fmla="*/ 311 w 570"/>
                    <a:gd name="T121" fmla="*/ 19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0" h="451">
                      <a:moveTo>
                        <a:pt x="425" y="312"/>
                      </a:moveTo>
                      <a:lnTo>
                        <a:pt x="428" y="313"/>
                      </a:lnTo>
                      <a:lnTo>
                        <a:pt x="428" y="314"/>
                      </a:lnTo>
                      <a:lnTo>
                        <a:pt x="427" y="314"/>
                      </a:lnTo>
                      <a:lnTo>
                        <a:pt x="424" y="314"/>
                      </a:lnTo>
                      <a:lnTo>
                        <a:pt x="423" y="314"/>
                      </a:lnTo>
                      <a:lnTo>
                        <a:pt x="422" y="313"/>
                      </a:lnTo>
                      <a:lnTo>
                        <a:pt x="422" y="313"/>
                      </a:lnTo>
                      <a:lnTo>
                        <a:pt x="423" y="312"/>
                      </a:lnTo>
                      <a:lnTo>
                        <a:pt x="425" y="312"/>
                      </a:lnTo>
                      <a:close/>
                      <a:moveTo>
                        <a:pt x="399" y="299"/>
                      </a:moveTo>
                      <a:lnTo>
                        <a:pt x="399" y="303"/>
                      </a:lnTo>
                      <a:lnTo>
                        <a:pt x="399" y="303"/>
                      </a:lnTo>
                      <a:lnTo>
                        <a:pt x="399" y="304"/>
                      </a:lnTo>
                      <a:lnTo>
                        <a:pt x="398" y="304"/>
                      </a:lnTo>
                      <a:lnTo>
                        <a:pt x="397" y="304"/>
                      </a:lnTo>
                      <a:lnTo>
                        <a:pt x="397" y="304"/>
                      </a:lnTo>
                      <a:lnTo>
                        <a:pt x="396" y="305"/>
                      </a:lnTo>
                      <a:lnTo>
                        <a:pt x="396" y="305"/>
                      </a:lnTo>
                      <a:lnTo>
                        <a:pt x="396" y="305"/>
                      </a:lnTo>
                      <a:lnTo>
                        <a:pt x="395" y="305"/>
                      </a:lnTo>
                      <a:lnTo>
                        <a:pt x="395" y="305"/>
                      </a:lnTo>
                      <a:lnTo>
                        <a:pt x="395" y="304"/>
                      </a:lnTo>
                      <a:lnTo>
                        <a:pt x="395" y="304"/>
                      </a:lnTo>
                      <a:lnTo>
                        <a:pt x="396" y="300"/>
                      </a:lnTo>
                      <a:lnTo>
                        <a:pt x="398" y="300"/>
                      </a:lnTo>
                      <a:lnTo>
                        <a:pt x="398" y="299"/>
                      </a:lnTo>
                      <a:lnTo>
                        <a:pt x="399" y="299"/>
                      </a:lnTo>
                      <a:close/>
                      <a:moveTo>
                        <a:pt x="375" y="0"/>
                      </a:moveTo>
                      <a:lnTo>
                        <a:pt x="376" y="0"/>
                      </a:lnTo>
                      <a:lnTo>
                        <a:pt x="376" y="1"/>
                      </a:lnTo>
                      <a:lnTo>
                        <a:pt x="376" y="2"/>
                      </a:lnTo>
                      <a:lnTo>
                        <a:pt x="376" y="2"/>
                      </a:lnTo>
                      <a:lnTo>
                        <a:pt x="376" y="2"/>
                      </a:lnTo>
                      <a:lnTo>
                        <a:pt x="377" y="3"/>
                      </a:lnTo>
                      <a:lnTo>
                        <a:pt x="377" y="3"/>
                      </a:lnTo>
                      <a:lnTo>
                        <a:pt x="377" y="4"/>
                      </a:lnTo>
                      <a:lnTo>
                        <a:pt x="377" y="4"/>
                      </a:lnTo>
                      <a:lnTo>
                        <a:pt x="378" y="5"/>
                      </a:lnTo>
                      <a:lnTo>
                        <a:pt x="379" y="5"/>
                      </a:lnTo>
                      <a:lnTo>
                        <a:pt x="380" y="6"/>
                      </a:lnTo>
                      <a:lnTo>
                        <a:pt x="381" y="6"/>
                      </a:lnTo>
                      <a:lnTo>
                        <a:pt x="381" y="7"/>
                      </a:lnTo>
                      <a:lnTo>
                        <a:pt x="381" y="8"/>
                      </a:lnTo>
                      <a:lnTo>
                        <a:pt x="381" y="9"/>
                      </a:lnTo>
                      <a:lnTo>
                        <a:pt x="381" y="9"/>
                      </a:lnTo>
                      <a:lnTo>
                        <a:pt x="381" y="10"/>
                      </a:lnTo>
                      <a:lnTo>
                        <a:pt x="382" y="11"/>
                      </a:lnTo>
                      <a:lnTo>
                        <a:pt x="384" y="11"/>
                      </a:lnTo>
                      <a:lnTo>
                        <a:pt x="385" y="10"/>
                      </a:lnTo>
                      <a:lnTo>
                        <a:pt x="385" y="10"/>
                      </a:lnTo>
                      <a:lnTo>
                        <a:pt x="387" y="10"/>
                      </a:lnTo>
                      <a:lnTo>
                        <a:pt x="388" y="9"/>
                      </a:lnTo>
                      <a:lnTo>
                        <a:pt x="388" y="9"/>
                      </a:lnTo>
                      <a:lnTo>
                        <a:pt x="388" y="9"/>
                      </a:lnTo>
                      <a:lnTo>
                        <a:pt x="388" y="9"/>
                      </a:lnTo>
                      <a:lnTo>
                        <a:pt x="389" y="9"/>
                      </a:lnTo>
                      <a:lnTo>
                        <a:pt x="389" y="9"/>
                      </a:lnTo>
                      <a:lnTo>
                        <a:pt x="390" y="10"/>
                      </a:lnTo>
                      <a:lnTo>
                        <a:pt x="390" y="11"/>
                      </a:lnTo>
                      <a:lnTo>
                        <a:pt x="391" y="11"/>
                      </a:lnTo>
                      <a:lnTo>
                        <a:pt x="392" y="13"/>
                      </a:lnTo>
                      <a:lnTo>
                        <a:pt x="392" y="13"/>
                      </a:lnTo>
                      <a:lnTo>
                        <a:pt x="395" y="14"/>
                      </a:lnTo>
                      <a:lnTo>
                        <a:pt x="395" y="14"/>
                      </a:lnTo>
                      <a:lnTo>
                        <a:pt x="395" y="15"/>
                      </a:lnTo>
                      <a:lnTo>
                        <a:pt x="396" y="16"/>
                      </a:lnTo>
                      <a:lnTo>
                        <a:pt x="397" y="16"/>
                      </a:lnTo>
                      <a:lnTo>
                        <a:pt x="396" y="19"/>
                      </a:lnTo>
                      <a:lnTo>
                        <a:pt x="397" y="20"/>
                      </a:lnTo>
                      <a:lnTo>
                        <a:pt x="398" y="20"/>
                      </a:lnTo>
                      <a:lnTo>
                        <a:pt x="398" y="20"/>
                      </a:lnTo>
                      <a:lnTo>
                        <a:pt x="399" y="21"/>
                      </a:lnTo>
                      <a:lnTo>
                        <a:pt x="402" y="22"/>
                      </a:lnTo>
                      <a:lnTo>
                        <a:pt x="403" y="22"/>
                      </a:lnTo>
                      <a:lnTo>
                        <a:pt x="404" y="22"/>
                      </a:lnTo>
                      <a:lnTo>
                        <a:pt x="407" y="23"/>
                      </a:lnTo>
                      <a:lnTo>
                        <a:pt x="409" y="24"/>
                      </a:lnTo>
                      <a:lnTo>
                        <a:pt x="410" y="24"/>
                      </a:lnTo>
                      <a:lnTo>
                        <a:pt x="411" y="24"/>
                      </a:lnTo>
                      <a:lnTo>
                        <a:pt x="412" y="24"/>
                      </a:lnTo>
                      <a:lnTo>
                        <a:pt x="414" y="25"/>
                      </a:lnTo>
                      <a:lnTo>
                        <a:pt x="415" y="26"/>
                      </a:lnTo>
                      <a:lnTo>
                        <a:pt x="418" y="27"/>
                      </a:lnTo>
                      <a:lnTo>
                        <a:pt x="419" y="28"/>
                      </a:lnTo>
                      <a:lnTo>
                        <a:pt x="421" y="31"/>
                      </a:lnTo>
                      <a:lnTo>
                        <a:pt x="421" y="32"/>
                      </a:lnTo>
                      <a:lnTo>
                        <a:pt x="422" y="33"/>
                      </a:lnTo>
                      <a:lnTo>
                        <a:pt x="423" y="35"/>
                      </a:lnTo>
                      <a:lnTo>
                        <a:pt x="423" y="35"/>
                      </a:lnTo>
                      <a:lnTo>
                        <a:pt x="424" y="36"/>
                      </a:lnTo>
                      <a:lnTo>
                        <a:pt x="424" y="36"/>
                      </a:lnTo>
                      <a:lnTo>
                        <a:pt x="425" y="37"/>
                      </a:lnTo>
                      <a:lnTo>
                        <a:pt x="426" y="38"/>
                      </a:lnTo>
                      <a:lnTo>
                        <a:pt x="426" y="39"/>
                      </a:lnTo>
                      <a:lnTo>
                        <a:pt x="426" y="39"/>
                      </a:lnTo>
                      <a:lnTo>
                        <a:pt x="427" y="39"/>
                      </a:lnTo>
                      <a:lnTo>
                        <a:pt x="428" y="40"/>
                      </a:lnTo>
                      <a:lnTo>
                        <a:pt x="429" y="40"/>
                      </a:lnTo>
                      <a:lnTo>
                        <a:pt x="429" y="42"/>
                      </a:lnTo>
                      <a:lnTo>
                        <a:pt x="428" y="43"/>
                      </a:lnTo>
                      <a:lnTo>
                        <a:pt x="427" y="44"/>
                      </a:lnTo>
                      <a:lnTo>
                        <a:pt x="426" y="46"/>
                      </a:lnTo>
                      <a:lnTo>
                        <a:pt x="426" y="47"/>
                      </a:lnTo>
                      <a:lnTo>
                        <a:pt x="427" y="49"/>
                      </a:lnTo>
                      <a:lnTo>
                        <a:pt x="428" y="49"/>
                      </a:lnTo>
                      <a:lnTo>
                        <a:pt x="428" y="50"/>
                      </a:lnTo>
                      <a:lnTo>
                        <a:pt x="428" y="51"/>
                      </a:lnTo>
                      <a:lnTo>
                        <a:pt x="429" y="52"/>
                      </a:lnTo>
                      <a:lnTo>
                        <a:pt x="430" y="53"/>
                      </a:lnTo>
                      <a:lnTo>
                        <a:pt x="432" y="53"/>
                      </a:lnTo>
                      <a:lnTo>
                        <a:pt x="432" y="54"/>
                      </a:lnTo>
                      <a:lnTo>
                        <a:pt x="433" y="54"/>
                      </a:lnTo>
                      <a:lnTo>
                        <a:pt x="434" y="54"/>
                      </a:lnTo>
                      <a:lnTo>
                        <a:pt x="435" y="54"/>
                      </a:lnTo>
                      <a:lnTo>
                        <a:pt x="436" y="55"/>
                      </a:lnTo>
                      <a:lnTo>
                        <a:pt x="437" y="56"/>
                      </a:lnTo>
                      <a:lnTo>
                        <a:pt x="437" y="57"/>
                      </a:lnTo>
                      <a:lnTo>
                        <a:pt x="438" y="57"/>
                      </a:lnTo>
                      <a:lnTo>
                        <a:pt x="439" y="57"/>
                      </a:lnTo>
                      <a:lnTo>
                        <a:pt x="440" y="60"/>
                      </a:lnTo>
                      <a:lnTo>
                        <a:pt x="440" y="60"/>
                      </a:lnTo>
                      <a:lnTo>
                        <a:pt x="441" y="62"/>
                      </a:lnTo>
                      <a:lnTo>
                        <a:pt x="441" y="62"/>
                      </a:lnTo>
                      <a:lnTo>
                        <a:pt x="443" y="63"/>
                      </a:lnTo>
                      <a:lnTo>
                        <a:pt x="443" y="64"/>
                      </a:lnTo>
                      <a:lnTo>
                        <a:pt x="445" y="66"/>
                      </a:lnTo>
                      <a:lnTo>
                        <a:pt x="445" y="68"/>
                      </a:lnTo>
                      <a:lnTo>
                        <a:pt x="445" y="71"/>
                      </a:lnTo>
                      <a:lnTo>
                        <a:pt x="446" y="72"/>
                      </a:lnTo>
                      <a:lnTo>
                        <a:pt x="447" y="73"/>
                      </a:lnTo>
                      <a:lnTo>
                        <a:pt x="447" y="73"/>
                      </a:lnTo>
                      <a:lnTo>
                        <a:pt x="448" y="75"/>
                      </a:lnTo>
                      <a:lnTo>
                        <a:pt x="448" y="76"/>
                      </a:lnTo>
                      <a:lnTo>
                        <a:pt x="448" y="77"/>
                      </a:lnTo>
                      <a:lnTo>
                        <a:pt x="448" y="78"/>
                      </a:lnTo>
                      <a:lnTo>
                        <a:pt x="450" y="79"/>
                      </a:lnTo>
                      <a:lnTo>
                        <a:pt x="450" y="80"/>
                      </a:lnTo>
                      <a:lnTo>
                        <a:pt x="450" y="80"/>
                      </a:lnTo>
                      <a:lnTo>
                        <a:pt x="450" y="81"/>
                      </a:lnTo>
                      <a:lnTo>
                        <a:pt x="451" y="81"/>
                      </a:lnTo>
                      <a:lnTo>
                        <a:pt x="451" y="82"/>
                      </a:lnTo>
                      <a:lnTo>
                        <a:pt x="451" y="82"/>
                      </a:lnTo>
                      <a:lnTo>
                        <a:pt x="451" y="82"/>
                      </a:lnTo>
                      <a:lnTo>
                        <a:pt x="451" y="83"/>
                      </a:lnTo>
                      <a:lnTo>
                        <a:pt x="450" y="83"/>
                      </a:lnTo>
                      <a:lnTo>
                        <a:pt x="450" y="85"/>
                      </a:lnTo>
                      <a:lnTo>
                        <a:pt x="451" y="85"/>
                      </a:lnTo>
                      <a:lnTo>
                        <a:pt x="451" y="85"/>
                      </a:lnTo>
                      <a:lnTo>
                        <a:pt x="451" y="86"/>
                      </a:lnTo>
                      <a:lnTo>
                        <a:pt x="451" y="87"/>
                      </a:lnTo>
                      <a:lnTo>
                        <a:pt x="451" y="90"/>
                      </a:lnTo>
                      <a:lnTo>
                        <a:pt x="452" y="90"/>
                      </a:lnTo>
                      <a:lnTo>
                        <a:pt x="453" y="90"/>
                      </a:lnTo>
                      <a:lnTo>
                        <a:pt x="453" y="91"/>
                      </a:lnTo>
                      <a:lnTo>
                        <a:pt x="453" y="92"/>
                      </a:lnTo>
                      <a:lnTo>
                        <a:pt x="453" y="92"/>
                      </a:lnTo>
                      <a:lnTo>
                        <a:pt x="452" y="93"/>
                      </a:lnTo>
                      <a:lnTo>
                        <a:pt x="452" y="93"/>
                      </a:lnTo>
                      <a:lnTo>
                        <a:pt x="453" y="93"/>
                      </a:lnTo>
                      <a:lnTo>
                        <a:pt x="453" y="96"/>
                      </a:lnTo>
                      <a:lnTo>
                        <a:pt x="453" y="96"/>
                      </a:lnTo>
                      <a:lnTo>
                        <a:pt x="454" y="96"/>
                      </a:lnTo>
                      <a:lnTo>
                        <a:pt x="454" y="97"/>
                      </a:lnTo>
                      <a:lnTo>
                        <a:pt x="455" y="97"/>
                      </a:lnTo>
                      <a:lnTo>
                        <a:pt x="456" y="96"/>
                      </a:lnTo>
                      <a:lnTo>
                        <a:pt x="457" y="96"/>
                      </a:lnTo>
                      <a:lnTo>
                        <a:pt x="458" y="97"/>
                      </a:lnTo>
                      <a:lnTo>
                        <a:pt x="458" y="98"/>
                      </a:lnTo>
                      <a:lnTo>
                        <a:pt x="457" y="99"/>
                      </a:lnTo>
                      <a:lnTo>
                        <a:pt x="457" y="99"/>
                      </a:lnTo>
                      <a:lnTo>
                        <a:pt x="456" y="99"/>
                      </a:lnTo>
                      <a:lnTo>
                        <a:pt x="456" y="99"/>
                      </a:lnTo>
                      <a:lnTo>
                        <a:pt x="455" y="99"/>
                      </a:lnTo>
                      <a:lnTo>
                        <a:pt x="455" y="100"/>
                      </a:lnTo>
                      <a:lnTo>
                        <a:pt x="455" y="100"/>
                      </a:lnTo>
                      <a:lnTo>
                        <a:pt x="455" y="101"/>
                      </a:lnTo>
                      <a:lnTo>
                        <a:pt x="455" y="102"/>
                      </a:lnTo>
                      <a:lnTo>
                        <a:pt x="456" y="103"/>
                      </a:lnTo>
                      <a:lnTo>
                        <a:pt x="457" y="103"/>
                      </a:lnTo>
                      <a:lnTo>
                        <a:pt x="458" y="105"/>
                      </a:lnTo>
                      <a:lnTo>
                        <a:pt x="458" y="106"/>
                      </a:lnTo>
                      <a:lnTo>
                        <a:pt x="460" y="106"/>
                      </a:lnTo>
                      <a:lnTo>
                        <a:pt x="460" y="107"/>
                      </a:lnTo>
                      <a:lnTo>
                        <a:pt x="460" y="108"/>
                      </a:lnTo>
                      <a:lnTo>
                        <a:pt x="460" y="108"/>
                      </a:lnTo>
                      <a:lnTo>
                        <a:pt x="461" y="109"/>
                      </a:lnTo>
                      <a:lnTo>
                        <a:pt x="461" y="109"/>
                      </a:lnTo>
                      <a:lnTo>
                        <a:pt x="462" y="109"/>
                      </a:lnTo>
                      <a:lnTo>
                        <a:pt x="461" y="110"/>
                      </a:lnTo>
                      <a:lnTo>
                        <a:pt x="461" y="110"/>
                      </a:lnTo>
                      <a:lnTo>
                        <a:pt x="461" y="111"/>
                      </a:lnTo>
                      <a:lnTo>
                        <a:pt x="462" y="113"/>
                      </a:lnTo>
                      <a:lnTo>
                        <a:pt x="462" y="113"/>
                      </a:lnTo>
                      <a:lnTo>
                        <a:pt x="463" y="114"/>
                      </a:lnTo>
                      <a:lnTo>
                        <a:pt x="464" y="115"/>
                      </a:lnTo>
                      <a:lnTo>
                        <a:pt x="465" y="115"/>
                      </a:lnTo>
                      <a:lnTo>
                        <a:pt x="465" y="114"/>
                      </a:lnTo>
                      <a:lnTo>
                        <a:pt x="467" y="114"/>
                      </a:lnTo>
                      <a:lnTo>
                        <a:pt x="468" y="115"/>
                      </a:lnTo>
                      <a:lnTo>
                        <a:pt x="469" y="116"/>
                      </a:lnTo>
                      <a:lnTo>
                        <a:pt x="469" y="116"/>
                      </a:lnTo>
                      <a:lnTo>
                        <a:pt x="469" y="116"/>
                      </a:lnTo>
                      <a:lnTo>
                        <a:pt x="470" y="116"/>
                      </a:lnTo>
                      <a:lnTo>
                        <a:pt x="470" y="117"/>
                      </a:lnTo>
                      <a:lnTo>
                        <a:pt x="472" y="117"/>
                      </a:lnTo>
                      <a:lnTo>
                        <a:pt x="473" y="119"/>
                      </a:lnTo>
                      <a:lnTo>
                        <a:pt x="478" y="121"/>
                      </a:lnTo>
                      <a:lnTo>
                        <a:pt x="478" y="121"/>
                      </a:lnTo>
                      <a:lnTo>
                        <a:pt x="481" y="122"/>
                      </a:lnTo>
                      <a:lnTo>
                        <a:pt x="482" y="122"/>
                      </a:lnTo>
                      <a:lnTo>
                        <a:pt x="483" y="122"/>
                      </a:lnTo>
                      <a:lnTo>
                        <a:pt x="485" y="123"/>
                      </a:lnTo>
                      <a:lnTo>
                        <a:pt x="485" y="124"/>
                      </a:lnTo>
                      <a:lnTo>
                        <a:pt x="484" y="124"/>
                      </a:lnTo>
                      <a:lnTo>
                        <a:pt x="481" y="123"/>
                      </a:lnTo>
                      <a:lnTo>
                        <a:pt x="480" y="124"/>
                      </a:lnTo>
                      <a:lnTo>
                        <a:pt x="480" y="125"/>
                      </a:lnTo>
                      <a:lnTo>
                        <a:pt x="478" y="126"/>
                      </a:lnTo>
                      <a:lnTo>
                        <a:pt x="478" y="126"/>
                      </a:lnTo>
                      <a:lnTo>
                        <a:pt x="478" y="127"/>
                      </a:lnTo>
                      <a:lnTo>
                        <a:pt x="478" y="127"/>
                      </a:lnTo>
                      <a:lnTo>
                        <a:pt x="478" y="129"/>
                      </a:lnTo>
                      <a:lnTo>
                        <a:pt x="478" y="129"/>
                      </a:lnTo>
                      <a:lnTo>
                        <a:pt x="478" y="130"/>
                      </a:lnTo>
                      <a:lnTo>
                        <a:pt x="480" y="130"/>
                      </a:lnTo>
                      <a:lnTo>
                        <a:pt x="480" y="131"/>
                      </a:lnTo>
                      <a:lnTo>
                        <a:pt x="480" y="132"/>
                      </a:lnTo>
                      <a:lnTo>
                        <a:pt x="480" y="133"/>
                      </a:lnTo>
                      <a:lnTo>
                        <a:pt x="481" y="133"/>
                      </a:lnTo>
                      <a:lnTo>
                        <a:pt x="481" y="134"/>
                      </a:lnTo>
                      <a:lnTo>
                        <a:pt x="481" y="135"/>
                      </a:lnTo>
                      <a:lnTo>
                        <a:pt x="482" y="135"/>
                      </a:lnTo>
                      <a:lnTo>
                        <a:pt x="482" y="135"/>
                      </a:lnTo>
                      <a:lnTo>
                        <a:pt x="483" y="136"/>
                      </a:lnTo>
                      <a:lnTo>
                        <a:pt x="483" y="137"/>
                      </a:lnTo>
                      <a:lnTo>
                        <a:pt x="484" y="137"/>
                      </a:lnTo>
                      <a:lnTo>
                        <a:pt x="484" y="138"/>
                      </a:lnTo>
                      <a:lnTo>
                        <a:pt x="485" y="138"/>
                      </a:lnTo>
                      <a:lnTo>
                        <a:pt x="485" y="138"/>
                      </a:lnTo>
                      <a:lnTo>
                        <a:pt x="486" y="139"/>
                      </a:lnTo>
                      <a:lnTo>
                        <a:pt x="486" y="140"/>
                      </a:lnTo>
                      <a:lnTo>
                        <a:pt x="487" y="140"/>
                      </a:lnTo>
                      <a:lnTo>
                        <a:pt x="487" y="140"/>
                      </a:lnTo>
                      <a:lnTo>
                        <a:pt x="487" y="141"/>
                      </a:lnTo>
                      <a:lnTo>
                        <a:pt x="488" y="141"/>
                      </a:lnTo>
                      <a:lnTo>
                        <a:pt x="488" y="141"/>
                      </a:lnTo>
                      <a:lnTo>
                        <a:pt x="489" y="141"/>
                      </a:lnTo>
                      <a:lnTo>
                        <a:pt x="489" y="142"/>
                      </a:lnTo>
                      <a:lnTo>
                        <a:pt x="490" y="142"/>
                      </a:lnTo>
                      <a:lnTo>
                        <a:pt x="490" y="143"/>
                      </a:lnTo>
                      <a:lnTo>
                        <a:pt x="491" y="143"/>
                      </a:lnTo>
                      <a:lnTo>
                        <a:pt x="492" y="143"/>
                      </a:lnTo>
                      <a:lnTo>
                        <a:pt x="497" y="144"/>
                      </a:lnTo>
                      <a:lnTo>
                        <a:pt x="497" y="144"/>
                      </a:lnTo>
                      <a:lnTo>
                        <a:pt x="497" y="144"/>
                      </a:lnTo>
                      <a:lnTo>
                        <a:pt x="497" y="144"/>
                      </a:lnTo>
                      <a:lnTo>
                        <a:pt x="498" y="145"/>
                      </a:lnTo>
                      <a:lnTo>
                        <a:pt x="499" y="145"/>
                      </a:lnTo>
                      <a:lnTo>
                        <a:pt x="499" y="145"/>
                      </a:lnTo>
                      <a:lnTo>
                        <a:pt x="502" y="145"/>
                      </a:lnTo>
                      <a:lnTo>
                        <a:pt x="503" y="146"/>
                      </a:lnTo>
                      <a:lnTo>
                        <a:pt x="503" y="146"/>
                      </a:lnTo>
                      <a:lnTo>
                        <a:pt x="504" y="147"/>
                      </a:lnTo>
                      <a:lnTo>
                        <a:pt x="504" y="147"/>
                      </a:lnTo>
                      <a:lnTo>
                        <a:pt x="505" y="148"/>
                      </a:lnTo>
                      <a:lnTo>
                        <a:pt x="507" y="149"/>
                      </a:lnTo>
                      <a:lnTo>
                        <a:pt x="510" y="152"/>
                      </a:lnTo>
                      <a:lnTo>
                        <a:pt x="514" y="154"/>
                      </a:lnTo>
                      <a:lnTo>
                        <a:pt x="515" y="153"/>
                      </a:lnTo>
                      <a:lnTo>
                        <a:pt x="516" y="153"/>
                      </a:lnTo>
                      <a:lnTo>
                        <a:pt x="516" y="154"/>
                      </a:lnTo>
                      <a:lnTo>
                        <a:pt x="516" y="154"/>
                      </a:lnTo>
                      <a:lnTo>
                        <a:pt x="518" y="154"/>
                      </a:lnTo>
                      <a:lnTo>
                        <a:pt x="519" y="155"/>
                      </a:lnTo>
                      <a:lnTo>
                        <a:pt x="520" y="155"/>
                      </a:lnTo>
                      <a:lnTo>
                        <a:pt x="520" y="156"/>
                      </a:lnTo>
                      <a:lnTo>
                        <a:pt x="521" y="156"/>
                      </a:lnTo>
                      <a:lnTo>
                        <a:pt x="521" y="157"/>
                      </a:lnTo>
                      <a:lnTo>
                        <a:pt x="522" y="157"/>
                      </a:lnTo>
                      <a:lnTo>
                        <a:pt x="522" y="158"/>
                      </a:lnTo>
                      <a:lnTo>
                        <a:pt x="522" y="158"/>
                      </a:lnTo>
                      <a:lnTo>
                        <a:pt x="523" y="159"/>
                      </a:lnTo>
                      <a:lnTo>
                        <a:pt x="523" y="160"/>
                      </a:lnTo>
                      <a:lnTo>
                        <a:pt x="521" y="162"/>
                      </a:lnTo>
                      <a:lnTo>
                        <a:pt x="520" y="162"/>
                      </a:lnTo>
                      <a:lnTo>
                        <a:pt x="519" y="163"/>
                      </a:lnTo>
                      <a:lnTo>
                        <a:pt x="518" y="163"/>
                      </a:lnTo>
                      <a:lnTo>
                        <a:pt x="516" y="164"/>
                      </a:lnTo>
                      <a:lnTo>
                        <a:pt x="514" y="164"/>
                      </a:lnTo>
                      <a:lnTo>
                        <a:pt x="514" y="163"/>
                      </a:lnTo>
                      <a:lnTo>
                        <a:pt x="513" y="164"/>
                      </a:lnTo>
                      <a:lnTo>
                        <a:pt x="509" y="164"/>
                      </a:lnTo>
                      <a:lnTo>
                        <a:pt x="508" y="163"/>
                      </a:lnTo>
                      <a:lnTo>
                        <a:pt x="508" y="164"/>
                      </a:lnTo>
                      <a:lnTo>
                        <a:pt x="505" y="165"/>
                      </a:lnTo>
                      <a:lnTo>
                        <a:pt x="503" y="166"/>
                      </a:lnTo>
                      <a:lnTo>
                        <a:pt x="503" y="166"/>
                      </a:lnTo>
                      <a:lnTo>
                        <a:pt x="502" y="166"/>
                      </a:lnTo>
                      <a:lnTo>
                        <a:pt x="502" y="167"/>
                      </a:lnTo>
                      <a:lnTo>
                        <a:pt x="501" y="167"/>
                      </a:lnTo>
                      <a:lnTo>
                        <a:pt x="501" y="168"/>
                      </a:lnTo>
                      <a:lnTo>
                        <a:pt x="500" y="169"/>
                      </a:lnTo>
                      <a:lnTo>
                        <a:pt x="500" y="170"/>
                      </a:lnTo>
                      <a:lnTo>
                        <a:pt x="500" y="170"/>
                      </a:lnTo>
                      <a:lnTo>
                        <a:pt x="499" y="171"/>
                      </a:lnTo>
                      <a:lnTo>
                        <a:pt x="499" y="172"/>
                      </a:lnTo>
                      <a:lnTo>
                        <a:pt x="499" y="172"/>
                      </a:lnTo>
                      <a:lnTo>
                        <a:pt x="498" y="172"/>
                      </a:lnTo>
                      <a:lnTo>
                        <a:pt x="498" y="172"/>
                      </a:lnTo>
                      <a:lnTo>
                        <a:pt x="497" y="173"/>
                      </a:lnTo>
                      <a:lnTo>
                        <a:pt x="497" y="174"/>
                      </a:lnTo>
                      <a:lnTo>
                        <a:pt x="496" y="175"/>
                      </a:lnTo>
                      <a:lnTo>
                        <a:pt x="496" y="175"/>
                      </a:lnTo>
                      <a:lnTo>
                        <a:pt x="495" y="176"/>
                      </a:lnTo>
                      <a:lnTo>
                        <a:pt x="495" y="177"/>
                      </a:lnTo>
                      <a:lnTo>
                        <a:pt x="493" y="184"/>
                      </a:lnTo>
                      <a:lnTo>
                        <a:pt x="493" y="186"/>
                      </a:lnTo>
                      <a:lnTo>
                        <a:pt x="493" y="186"/>
                      </a:lnTo>
                      <a:lnTo>
                        <a:pt x="493" y="190"/>
                      </a:lnTo>
                      <a:lnTo>
                        <a:pt x="493" y="193"/>
                      </a:lnTo>
                      <a:lnTo>
                        <a:pt x="493" y="194"/>
                      </a:lnTo>
                      <a:lnTo>
                        <a:pt x="494" y="194"/>
                      </a:lnTo>
                      <a:lnTo>
                        <a:pt x="493" y="195"/>
                      </a:lnTo>
                      <a:lnTo>
                        <a:pt x="494" y="197"/>
                      </a:lnTo>
                      <a:lnTo>
                        <a:pt x="494" y="197"/>
                      </a:lnTo>
                      <a:lnTo>
                        <a:pt x="494" y="198"/>
                      </a:lnTo>
                      <a:lnTo>
                        <a:pt x="494" y="198"/>
                      </a:lnTo>
                      <a:lnTo>
                        <a:pt x="494" y="199"/>
                      </a:lnTo>
                      <a:lnTo>
                        <a:pt x="494" y="199"/>
                      </a:lnTo>
                      <a:lnTo>
                        <a:pt x="494" y="199"/>
                      </a:lnTo>
                      <a:lnTo>
                        <a:pt x="494" y="200"/>
                      </a:lnTo>
                      <a:lnTo>
                        <a:pt x="494" y="201"/>
                      </a:lnTo>
                      <a:lnTo>
                        <a:pt x="495" y="201"/>
                      </a:lnTo>
                      <a:lnTo>
                        <a:pt x="495" y="203"/>
                      </a:lnTo>
                      <a:lnTo>
                        <a:pt x="496" y="204"/>
                      </a:lnTo>
                      <a:lnTo>
                        <a:pt x="496" y="205"/>
                      </a:lnTo>
                      <a:lnTo>
                        <a:pt x="496" y="206"/>
                      </a:lnTo>
                      <a:lnTo>
                        <a:pt x="497" y="208"/>
                      </a:lnTo>
                      <a:lnTo>
                        <a:pt x="497" y="208"/>
                      </a:lnTo>
                      <a:lnTo>
                        <a:pt x="498" y="210"/>
                      </a:lnTo>
                      <a:lnTo>
                        <a:pt x="498" y="211"/>
                      </a:lnTo>
                      <a:lnTo>
                        <a:pt x="498" y="213"/>
                      </a:lnTo>
                      <a:lnTo>
                        <a:pt x="498" y="214"/>
                      </a:lnTo>
                      <a:lnTo>
                        <a:pt x="499" y="216"/>
                      </a:lnTo>
                      <a:lnTo>
                        <a:pt x="500" y="218"/>
                      </a:lnTo>
                      <a:lnTo>
                        <a:pt x="500" y="220"/>
                      </a:lnTo>
                      <a:lnTo>
                        <a:pt x="500" y="220"/>
                      </a:lnTo>
                      <a:lnTo>
                        <a:pt x="502" y="223"/>
                      </a:lnTo>
                      <a:lnTo>
                        <a:pt x="502" y="225"/>
                      </a:lnTo>
                      <a:lnTo>
                        <a:pt x="503" y="225"/>
                      </a:lnTo>
                      <a:lnTo>
                        <a:pt x="503" y="227"/>
                      </a:lnTo>
                      <a:lnTo>
                        <a:pt x="504" y="228"/>
                      </a:lnTo>
                      <a:lnTo>
                        <a:pt x="504" y="229"/>
                      </a:lnTo>
                      <a:lnTo>
                        <a:pt x="505" y="231"/>
                      </a:lnTo>
                      <a:lnTo>
                        <a:pt x="505" y="233"/>
                      </a:lnTo>
                      <a:lnTo>
                        <a:pt x="505" y="234"/>
                      </a:lnTo>
                      <a:lnTo>
                        <a:pt x="505" y="234"/>
                      </a:lnTo>
                      <a:lnTo>
                        <a:pt x="505" y="234"/>
                      </a:lnTo>
                      <a:lnTo>
                        <a:pt x="505" y="236"/>
                      </a:lnTo>
                      <a:lnTo>
                        <a:pt x="508" y="241"/>
                      </a:lnTo>
                      <a:lnTo>
                        <a:pt x="509" y="242"/>
                      </a:lnTo>
                      <a:lnTo>
                        <a:pt x="509" y="243"/>
                      </a:lnTo>
                      <a:lnTo>
                        <a:pt x="510" y="243"/>
                      </a:lnTo>
                      <a:lnTo>
                        <a:pt x="510" y="245"/>
                      </a:lnTo>
                      <a:lnTo>
                        <a:pt x="510" y="245"/>
                      </a:lnTo>
                      <a:lnTo>
                        <a:pt x="510" y="245"/>
                      </a:lnTo>
                      <a:lnTo>
                        <a:pt x="511" y="246"/>
                      </a:lnTo>
                      <a:lnTo>
                        <a:pt x="512" y="247"/>
                      </a:lnTo>
                      <a:lnTo>
                        <a:pt x="512" y="248"/>
                      </a:lnTo>
                      <a:lnTo>
                        <a:pt x="513" y="249"/>
                      </a:lnTo>
                      <a:lnTo>
                        <a:pt x="514" y="250"/>
                      </a:lnTo>
                      <a:lnTo>
                        <a:pt x="514" y="252"/>
                      </a:lnTo>
                      <a:lnTo>
                        <a:pt x="516" y="253"/>
                      </a:lnTo>
                      <a:lnTo>
                        <a:pt x="516" y="254"/>
                      </a:lnTo>
                      <a:lnTo>
                        <a:pt x="518" y="256"/>
                      </a:lnTo>
                      <a:lnTo>
                        <a:pt x="518" y="256"/>
                      </a:lnTo>
                      <a:lnTo>
                        <a:pt x="519" y="256"/>
                      </a:lnTo>
                      <a:lnTo>
                        <a:pt x="520" y="258"/>
                      </a:lnTo>
                      <a:lnTo>
                        <a:pt x="521" y="259"/>
                      </a:lnTo>
                      <a:lnTo>
                        <a:pt x="521" y="260"/>
                      </a:lnTo>
                      <a:lnTo>
                        <a:pt x="522" y="261"/>
                      </a:lnTo>
                      <a:lnTo>
                        <a:pt x="522" y="261"/>
                      </a:lnTo>
                      <a:lnTo>
                        <a:pt x="523" y="262"/>
                      </a:lnTo>
                      <a:lnTo>
                        <a:pt x="523" y="263"/>
                      </a:lnTo>
                      <a:lnTo>
                        <a:pt x="525" y="266"/>
                      </a:lnTo>
                      <a:lnTo>
                        <a:pt x="527" y="269"/>
                      </a:lnTo>
                      <a:lnTo>
                        <a:pt x="528" y="271"/>
                      </a:lnTo>
                      <a:lnTo>
                        <a:pt x="530" y="274"/>
                      </a:lnTo>
                      <a:lnTo>
                        <a:pt x="530" y="274"/>
                      </a:lnTo>
                      <a:lnTo>
                        <a:pt x="531" y="275"/>
                      </a:lnTo>
                      <a:lnTo>
                        <a:pt x="531" y="275"/>
                      </a:lnTo>
                      <a:lnTo>
                        <a:pt x="532" y="277"/>
                      </a:lnTo>
                      <a:lnTo>
                        <a:pt x="533" y="279"/>
                      </a:lnTo>
                      <a:lnTo>
                        <a:pt x="533" y="279"/>
                      </a:lnTo>
                      <a:lnTo>
                        <a:pt x="536" y="283"/>
                      </a:lnTo>
                      <a:lnTo>
                        <a:pt x="537" y="284"/>
                      </a:lnTo>
                      <a:lnTo>
                        <a:pt x="537" y="284"/>
                      </a:lnTo>
                      <a:lnTo>
                        <a:pt x="538" y="285"/>
                      </a:lnTo>
                      <a:lnTo>
                        <a:pt x="538" y="286"/>
                      </a:lnTo>
                      <a:lnTo>
                        <a:pt x="539" y="286"/>
                      </a:lnTo>
                      <a:lnTo>
                        <a:pt x="539" y="287"/>
                      </a:lnTo>
                      <a:lnTo>
                        <a:pt x="540" y="288"/>
                      </a:lnTo>
                      <a:lnTo>
                        <a:pt x="540" y="288"/>
                      </a:lnTo>
                      <a:lnTo>
                        <a:pt x="541" y="289"/>
                      </a:lnTo>
                      <a:lnTo>
                        <a:pt x="541" y="290"/>
                      </a:lnTo>
                      <a:lnTo>
                        <a:pt x="542" y="291"/>
                      </a:lnTo>
                      <a:lnTo>
                        <a:pt x="542" y="291"/>
                      </a:lnTo>
                      <a:lnTo>
                        <a:pt x="543" y="291"/>
                      </a:lnTo>
                      <a:lnTo>
                        <a:pt x="543" y="292"/>
                      </a:lnTo>
                      <a:lnTo>
                        <a:pt x="543" y="292"/>
                      </a:lnTo>
                      <a:lnTo>
                        <a:pt x="543" y="293"/>
                      </a:lnTo>
                      <a:lnTo>
                        <a:pt x="544" y="293"/>
                      </a:lnTo>
                      <a:lnTo>
                        <a:pt x="544" y="293"/>
                      </a:lnTo>
                      <a:lnTo>
                        <a:pt x="545" y="294"/>
                      </a:lnTo>
                      <a:lnTo>
                        <a:pt x="546" y="296"/>
                      </a:lnTo>
                      <a:lnTo>
                        <a:pt x="546" y="296"/>
                      </a:lnTo>
                      <a:lnTo>
                        <a:pt x="546" y="296"/>
                      </a:lnTo>
                      <a:lnTo>
                        <a:pt x="547" y="297"/>
                      </a:lnTo>
                      <a:lnTo>
                        <a:pt x="548" y="300"/>
                      </a:lnTo>
                      <a:lnTo>
                        <a:pt x="549" y="300"/>
                      </a:lnTo>
                      <a:lnTo>
                        <a:pt x="549" y="303"/>
                      </a:lnTo>
                      <a:lnTo>
                        <a:pt x="550" y="303"/>
                      </a:lnTo>
                      <a:lnTo>
                        <a:pt x="552" y="306"/>
                      </a:lnTo>
                      <a:lnTo>
                        <a:pt x="552" y="307"/>
                      </a:lnTo>
                      <a:lnTo>
                        <a:pt x="553" y="307"/>
                      </a:lnTo>
                      <a:lnTo>
                        <a:pt x="555" y="309"/>
                      </a:lnTo>
                      <a:lnTo>
                        <a:pt x="555" y="309"/>
                      </a:lnTo>
                      <a:lnTo>
                        <a:pt x="556" y="310"/>
                      </a:lnTo>
                      <a:lnTo>
                        <a:pt x="556" y="311"/>
                      </a:lnTo>
                      <a:lnTo>
                        <a:pt x="557" y="312"/>
                      </a:lnTo>
                      <a:lnTo>
                        <a:pt x="558" y="312"/>
                      </a:lnTo>
                      <a:lnTo>
                        <a:pt x="558" y="313"/>
                      </a:lnTo>
                      <a:lnTo>
                        <a:pt x="559" y="313"/>
                      </a:lnTo>
                      <a:lnTo>
                        <a:pt x="559" y="314"/>
                      </a:lnTo>
                      <a:lnTo>
                        <a:pt x="559" y="314"/>
                      </a:lnTo>
                      <a:lnTo>
                        <a:pt x="559" y="315"/>
                      </a:lnTo>
                      <a:lnTo>
                        <a:pt x="561" y="317"/>
                      </a:lnTo>
                      <a:lnTo>
                        <a:pt x="561" y="317"/>
                      </a:lnTo>
                      <a:lnTo>
                        <a:pt x="561" y="318"/>
                      </a:lnTo>
                      <a:lnTo>
                        <a:pt x="562" y="318"/>
                      </a:lnTo>
                      <a:lnTo>
                        <a:pt x="562" y="318"/>
                      </a:lnTo>
                      <a:lnTo>
                        <a:pt x="563" y="320"/>
                      </a:lnTo>
                      <a:lnTo>
                        <a:pt x="564" y="321"/>
                      </a:lnTo>
                      <a:lnTo>
                        <a:pt x="564" y="322"/>
                      </a:lnTo>
                      <a:lnTo>
                        <a:pt x="565" y="323"/>
                      </a:lnTo>
                      <a:lnTo>
                        <a:pt x="565" y="323"/>
                      </a:lnTo>
                      <a:lnTo>
                        <a:pt x="565" y="325"/>
                      </a:lnTo>
                      <a:lnTo>
                        <a:pt x="565" y="325"/>
                      </a:lnTo>
                      <a:lnTo>
                        <a:pt x="565" y="325"/>
                      </a:lnTo>
                      <a:lnTo>
                        <a:pt x="566" y="326"/>
                      </a:lnTo>
                      <a:lnTo>
                        <a:pt x="568" y="333"/>
                      </a:lnTo>
                      <a:lnTo>
                        <a:pt x="569" y="335"/>
                      </a:lnTo>
                      <a:lnTo>
                        <a:pt x="569" y="336"/>
                      </a:lnTo>
                      <a:lnTo>
                        <a:pt x="569" y="336"/>
                      </a:lnTo>
                      <a:lnTo>
                        <a:pt x="569" y="337"/>
                      </a:lnTo>
                      <a:lnTo>
                        <a:pt x="569" y="338"/>
                      </a:lnTo>
                      <a:lnTo>
                        <a:pt x="569" y="338"/>
                      </a:lnTo>
                      <a:lnTo>
                        <a:pt x="569" y="340"/>
                      </a:lnTo>
                      <a:lnTo>
                        <a:pt x="570" y="342"/>
                      </a:lnTo>
                      <a:lnTo>
                        <a:pt x="569" y="343"/>
                      </a:lnTo>
                      <a:lnTo>
                        <a:pt x="568" y="345"/>
                      </a:lnTo>
                      <a:lnTo>
                        <a:pt x="567" y="346"/>
                      </a:lnTo>
                      <a:lnTo>
                        <a:pt x="567" y="347"/>
                      </a:lnTo>
                      <a:lnTo>
                        <a:pt x="566" y="347"/>
                      </a:lnTo>
                      <a:lnTo>
                        <a:pt x="565" y="349"/>
                      </a:lnTo>
                      <a:lnTo>
                        <a:pt x="563" y="351"/>
                      </a:lnTo>
                      <a:lnTo>
                        <a:pt x="562" y="352"/>
                      </a:lnTo>
                      <a:lnTo>
                        <a:pt x="562" y="353"/>
                      </a:lnTo>
                      <a:lnTo>
                        <a:pt x="561" y="353"/>
                      </a:lnTo>
                      <a:lnTo>
                        <a:pt x="561" y="352"/>
                      </a:lnTo>
                      <a:lnTo>
                        <a:pt x="561" y="351"/>
                      </a:lnTo>
                      <a:lnTo>
                        <a:pt x="561" y="351"/>
                      </a:lnTo>
                      <a:lnTo>
                        <a:pt x="562" y="351"/>
                      </a:lnTo>
                      <a:lnTo>
                        <a:pt x="562" y="351"/>
                      </a:lnTo>
                      <a:lnTo>
                        <a:pt x="563" y="351"/>
                      </a:lnTo>
                      <a:lnTo>
                        <a:pt x="563" y="350"/>
                      </a:lnTo>
                      <a:lnTo>
                        <a:pt x="563" y="350"/>
                      </a:lnTo>
                      <a:lnTo>
                        <a:pt x="564" y="350"/>
                      </a:lnTo>
                      <a:lnTo>
                        <a:pt x="564" y="349"/>
                      </a:lnTo>
                      <a:lnTo>
                        <a:pt x="564" y="349"/>
                      </a:lnTo>
                      <a:lnTo>
                        <a:pt x="564" y="348"/>
                      </a:lnTo>
                      <a:lnTo>
                        <a:pt x="565" y="348"/>
                      </a:lnTo>
                      <a:lnTo>
                        <a:pt x="565" y="347"/>
                      </a:lnTo>
                      <a:lnTo>
                        <a:pt x="566" y="347"/>
                      </a:lnTo>
                      <a:lnTo>
                        <a:pt x="566" y="346"/>
                      </a:lnTo>
                      <a:lnTo>
                        <a:pt x="566" y="346"/>
                      </a:lnTo>
                      <a:lnTo>
                        <a:pt x="568" y="345"/>
                      </a:lnTo>
                      <a:lnTo>
                        <a:pt x="569" y="343"/>
                      </a:lnTo>
                      <a:lnTo>
                        <a:pt x="569" y="341"/>
                      </a:lnTo>
                      <a:lnTo>
                        <a:pt x="569" y="340"/>
                      </a:lnTo>
                      <a:lnTo>
                        <a:pt x="568" y="338"/>
                      </a:lnTo>
                      <a:lnTo>
                        <a:pt x="568" y="338"/>
                      </a:lnTo>
                      <a:lnTo>
                        <a:pt x="567" y="337"/>
                      </a:lnTo>
                      <a:lnTo>
                        <a:pt x="566" y="337"/>
                      </a:lnTo>
                      <a:lnTo>
                        <a:pt x="566" y="336"/>
                      </a:lnTo>
                      <a:lnTo>
                        <a:pt x="565" y="335"/>
                      </a:lnTo>
                      <a:lnTo>
                        <a:pt x="565" y="335"/>
                      </a:lnTo>
                      <a:lnTo>
                        <a:pt x="565" y="334"/>
                      </a:lnTo>
                      <a:lnTo>
                        <a:pt x="564" y="334"/>
                      </a:lnTo>
                      <a:lnTo>
                        <a:pt x="563" y="333"/>
                      </a:lnTo>
                      <a:lnTo>
                        <a:pt x="563" y="333"/>
                      </a:lnTo>
                      <a:lnTo>
                        <a:pt x="561" y="331"/>
                      </a:lnTo>
                      <a:lnTo>
                        <a:pt x="558" y="330"/>
                      </a:lnTo>
                      <a:lnTo>
                        <a:pt x="558" y="329"/>
                      </a:lnTo>
                      <a:lnTo>
                        <a:pt x="556" y="329"/>
                      </a:lnTo>
                      <a:lnTo>
                        <a:pt x="556" y="328"/>
                      </a:lnTo>
                      <a:lnTo>
                        <a:pt x="553" y="328"/>
                      </a:lnTo>
                      <a:lnTo>
                        <a:pt x="552" y="328"/>
                      </a:lnTo>
                      <a:lnTo>
                        <a:pt x="552" y="327"/>
                      </a:lnTo>
                      <a:lnTo>
                        <a:pt x="550" y="327"/>
                      </a:lnTo>
                      <a:lnTo>
                        <a:pt x="547" y="326"/>
                      </a:lnTo>
                      <a:lnTo>
                        <a:pt x="544" y="326"/>
                      </a:lnTo>
                      <a:lnTo>
                        <a:pt x="541" y="327"/>
                      </a:lnTo>
                      <a:lnTo>
                        <a:pt x="539" y="327"/>
                      </a:lnTo>
                      <a:lnTo>
                        <a:pt x="538" y="328"/>
                      </a:lnTo>
                      <a:lnTo>
                        <a:pt x="536" y="328"/>
                      </a:lnTo>
                      <a:lnTo>
                        <a:pt x="535" y="329"/>
                      </a:lnTo>
                      <a:lnTo>
                        <a:pt x="532" y="329"/>
                      </a:lnTo>
                      <a:lnTo>
                        <a:pt x="532" y="330"/>
                      </a:lnTo>
                      <a:lnTo>
                        <a:pt x="528" y="331"/>
                      </a:lnTo>
                      <a:lnTo>
                        <a:pt x="527" y="332"/>
                      </a:lnTo>
                      <a:lnTo>
                        <a:pt x="526" y="332"/>
                      </a:lnTo>
                      <a:lnTo>
                        <a:pt x="521" y="331"/>
                      </a:lnTo>
                      <a:lnTo>
                        <a:pt x="518" y="330"/>
                      </a:lnTo>
                      <a:lnTo>
                        <a:pt x="516" y="330"/>
                      </a:lnTo>
                      <a:lnTo>
                        <a:pt x="515" y="330"/>
                      </a:lnTo>
                      <a:lnTo>
                        <a:pt x="509" y="324"/>
                      </a:lnTo>
                      <a:lnTo>
                        <a:pt x="509" y="324"/>
                      </a:lnTo>
                      <a:lnTo>
                        <a:pt x="509" y="324"/>
                      </a:lnTo>
                      <a:lnTo>
                        <a:pt x="509" y="324"/>
                      </a:lnTo>
                      <a:lnTo>
                        <a:pt x="509" y="323"/>
                      </a:lnTo>
                      <a:lnTo>
                        <a:pt x="505" y="319"/>
                      </a:lnTo>
                      <a:lnTo>
                        <a:pt x="503" y="318"/>
                      </a:lnTo>
                      <a:lnTo>
                        <a:pt x="502" y="317"/>
                      </a:lnTo>
                      <a:lnTo>
                        <a:pt x="503" y="316"/>
                      </a:lnTo>
                      <a:lnTo>
                        <a:pt x="502" y="316"/>
                      </a:lnTo>
                      <a:lnTo>
                        <a:pt x="502" y="316"/>
                      </a:lnTo>
                      <a:lnTo>
                        <a:pt x="502" y="315"/>
                      </a:lnTo>
                      <a:lnTo>
                        <a:pt x="501" y="314"/>
                      </a:lnTo>
                      <a:lnTo>
                        <a:pt x="501" y="314"/>
                      </a:lnTo>
                      <a:lnTo>
                        <a:pt x="500" y="314"/>
                      </a:lnTo>
                      <a:lnTo>
                        <a:pt x="499" y="312"/>
                      </a:lnTo>
                      <a:lnTo>
                        <a:pt x="496" y="309"/>
                      </a:lnTo>
                      <a:lnTo>
                        <a:pt x="496" y="308"/>
                      </a:lnTo>
                      <a:lnTo>
                        <a:pt x="494" y="307"/>
                      </a:lnTo>
                      <a:lnTo>
                        <a:pt x="493" y="306"/>
                      </a:lnTo>
                      <a:lnTo>
                        <a:pt x="492" y="306"/>
                      </a:lnTo>
                      <a:lnTo>
                        <a:pt x="492" y="305"/>
                      </a:lnTo>
                      <a:lnTo>
                        <a:pt x="491" y="305"/>
                      </a:lnTo>
                      <a:lnTo>
                        <a:pt x="490" y="305"/>
                      </a:lnTo>
                      <a:lnTo>
                        <a:pt x="490" y="304"/>
                      </a:lnTo>
                      <a:lnTo>
                        <a:pt x="490" y="303"/>
                      </a:lnTo>
                      <a:lnTo>
                        <a:pt x="489" y="300"/>
                      </a:lnTo>
                      <a:lnTo>
                        <a:pt x="489" y="300"/>
                      </a:lnTo>
                      <a:lnTo>
                        <a:pt x="489" y="298"/>
                      </a:lnTo>
                      <a:lnTo>
                        <a:pt x="487" y="296"/>
                      </a:lnTo>
                      <a:lnTo>
                        <a:pt x="487" y="295"/>
                      </a:lnTo>
                      <a:lnTo>
                        <a:pt x="487" y="294"/>
                      </a:lnTo>
                      <a:lnTo>
                        <a:pt x="486" y="294"/>
                      </a:lnTo>
                      <a:lnTo>
                        <a:pt x="486" y="295"/>
                      </a:lnTo>
                      <a:lnTo>
                        <a:pt x="486" y="295"/>
                      </a:lnTo>
                      <a:lnTo>
                        <a:pt x="486" y="295"/>
                      </a:lnTo>
                      <a:lnTo>
                        <a:pt x="485" y="294"/>
                      </a:lnTo>
                      <a:lnTo>
                        <a:pt x="484" y="294"/>
                      </a:lnTo>
                      <a:lnTo>
                        <a:pt x="484" y="294"/>
                      </a:lnTo>
                      <a:lnTo>
                        <a:pt x="484" y="294"/>
                      </a:lnTo>
                      <a:lnTo>
                        <a:pt x="482" y="293"/>
                      </a:lnTo>
                      <a:lnTo>
                        <a:pt x="481" y="293"/>
                      </a:lnTo>
                      <a:lnTo>
                        <a:pt x="478" y="292"/>
                      </a:lnTo>
                      <a:lnTo>
                        <a:pt x="475" y="292"/>
                      </a:lnTo>
                      <a:lnTo>
                        <a:pt x="474" y="292"/>
                      </a:lnTo>
                      <a:lnTo>
                        <a:pt x="473" y="292"/>
                      </a:lnTo>
                      <a:lnTo>
                        <a:pt x="470" y="293"/>
                      </a:lnTo>
                      <a:lnTo>
                        <a:pt x="468" y="293"/>
                      </a:lnTo>
                      <a:lnTo>
                        <a:pt x="468" y="293"/>
                      </a:lnTo>
                      <a:lnTo>
                        <a:pt x="467" y="294"/>
                      </a:lnTo>
                      <a:lnTo>
                        <a:pt x="467" y="294"/>
                      </a:lnTo>
                      <a:lnTo>
                        <a:pt x="467" y="294"/>
                      </a:lnTo>
                      <a:lnTo>
                        <a:pt x="466" y="294"/>
                      </a:lnTo>
                      <a:lnTo>
                        <a:pt x="465" y="295"/>
                      </a:lnTo>
                      <a:lnTo>
                        <a:pt x="464" y="296"/>
                      </a:lnTo>
                      <a:lnTo>
                        <a:pt x="464" y="296"/>
                      </a:lnTo>
                      <a:lnTo>
                        <a:pt x="464" y="296"/>
                      </a:lnTo>
                      <a:lnTo>
                        <a:pt x="463" y="296"/>
                      </a:lnTo>
                      <a:lnTo>
                        <a:pt x="463" y="296"/>
                      </a:lnTo>
                      <a:lnTo>
                        <a:pt x="460" y="297"/>
                      </a:lnTo>
                      <a:lnTo>
                        <a:pt x="459" y="297"/>
                      </a:lnTo>
                      <a:lnTo>
                        <a:pt x="458" y="298"/>
                      </a:lnTo>
                      <a:lnTo>
                        <a:pt x="457" y="298"/>
                      </a:lnTo>
                      <a:lnTo>
                        <a:pt x="456" y="299"/>
                      </a:lnTo>
                      <a:lnTo>
                        <a:pt x="453" y="299"/>
                      </a:lnTo>
                      <a:lnTo>
                        <a:pt x="451" y="300"/>
                      </a:lnTo>
                      <a:lnTo>
                        <a:pt x="450" y="300"/>
                      </a:lnTo>
                      <a:lnTo>
                        <a:pt x="450" y="300"/>
                      </a:lnTo>
                      <a:lnTo>
                        <a:pt x="449" y="300"/>
                      </a:lnTo>
                      <a:lnTo>
                        <a:pt x="447" y="302"/>
                      </a:lnTo>
                      <a:lnTo>
                        <a:pt x="445" y="303"/>
                      </a:lnTo>
                      <a:lnTo>
                        <a:pt x="445" y="303"/>
                      </a:lnTo>
                      <a:lnTo>
                        <a:pt x="443" y="303"/>
                      </a:lnTo>
                      <a:lnTo>
                        <a:pt x="441" y="302"/>
                      </a:lnTo>
                      <a:lnTo>
                        <a:pt x="437" y="302"/>
                      </a:lnTo>
                      <a:lnTo>
                        <a:pt x="437" y="302"/>
                      </a:lnTo>
                      <a:lnTo>
                        <a:pt x="435" y="302"/>
                      </a:lnTo>
                      <a:lnTo>
                        <a:pt x="435" y="302"/>
                      </a:lnTo>
                      <a:lnTo>
                        <a:pt x="433" y="303"/>
                      </a:lnTo>
                      <a:lnTo>
                        <a:pt x="433" y="303"/>
                      </a:lnTo>
                      <a:lnTo>
                        <a:pt x="431" y="303"/>
                      </a:lnTo>
                      <a:lnTo>
                        <a:pt x="427" y="304"/>
                      </a:lnTo>
                      <a:lnTo>
                        <a:pt x="425" y="304"/>
                      </a:lnTo>
                      <a:lnTo>
                        <a:pt x="424" y="305"/>
                      </a:lnTo>
                      <a:lnTo>
                        <a:pt x="422" y="305"/>
                      </a:lnTo>
                      <a:lnTo>
                        <a:pt x="421" y="304"/>
                      </a:lnTo>
                      <a:lnTo>
                        <a:pt x="420" y="304"/>
                      </a:lnTo>
                      <a:lnTo>
                        <a:pt x="418" y="303"/>
                      </a:lnTo>
                      <a:lnTo>
                        <a:pt x="418" y="300"/>
                      </a:lnTo>
                      <a:lnTo>
                        <a:pt x="417" y="300"/>
                      </a:lnTo>
                      <a:lnTo>
                        <a:pt x="415" y="298"/>
                      </a:lnTo>
                      <a:lnTo>
                        <a:pt x="415" y="298"/>
                      </a:lnTo>
                      <a:lnTo>
                        <a:pt x="414" y="298"/>
                      </a:lnTo>
                      <a:lnTo>
                        <a:pt x="413" y="297"/>
                      </a:lnTo>
                      <a:lnTo>
                        <a:pt x="411" y="297"/>
                      </a:lnTo>
                      <a:lnTo>
                        <a:pt x="411" y="296"/>
                      </a:lnTo>
                      <a:lnTo>
                        <a:pt x="409" y="296"/>
                      </a:lnTo>
                      <a:lnTo>
                        <a:pt x="407" y="296"/>
                      </a:lnTo>
                      <a:lnTo>
                        <a:pt x="404" y="297"/>
                      </a:lnTo>
                      <a:lnTo>
                        <a:pt x="403" y="297"/>
                      </a:lnTo>
                      <a:lnTo>
                        <a:pt x="402" y="297"/>
                      </a:lnTo>
                      <a:lnTo>
                        <a:pt x="400" y="298"/>
                      </a:lnTo>
                      <a:lnTo>
                        <a:pt x="399" y="298"/>
                      </a:lnTo>
                      <a:lnTo>
                        <a:pt x="397" y="299"/>
                      </a:lnTo>
                      <a:lnTo>
                        <a:pt x="396" y="299"/>
                      </a:lnTo>
                      <a:lnTo>
                        <a:pt x="396" y="300"/>
                      </a:lnTo>
                      <a:lnTo>
                        <a:pt x="395" y="300"/>
                      </a:lnTo>
                      <a:lnTo>
                        <a:pt x="395" y="302"/>
                      </a:lnTo>
                      <a:lnTo>
                        <a:pt x="394" y="303"/>
                      </a:lnTo>
                      <a:lnTo>
                        <a:pt x="394" y="304"/>
                      </a:lnTo>
                      <a:lnTo>
                        <a:pt x="394" y="305"/>
                      </a:lnTo>
                      <a:lnTo>
                        <a:pt x="393" y="305"/>
                      </a:lnTo>
                      <a:lnTo>
                        <a:pt x="393" y="306"/>
                      </a:lnTo>
                      <a:lnTo>
                        <a:pt x="392" y="306"/>
                      </a:lnTo>
                      <a:lnTo>
                        <a:pt x="390" y="310"/>
                      </a:lnTo>
                      <a:lnTo>
                        <a:pt x="390" y="312"/>
                      </a:lnTo>
                      <a:lnTo>
                        <a:pt x="391" y="314"/>
                      </a:lnTo>
                      <a:lnTo>
                        <a:pt x="393" y="316"/>
                      </a:lnTo>
                      <a:lnTo>
                        <a:pt x="394" y="315"/>
                      </a:lnTo>
                      <a:lnTo>
                        <a:pt x="393" y="312"/>
                      </a:lnTo>
                      <a:lnTo>
                        <a:pt x="392" y="311"/>
                      </a:lnTo>
                      <a:lnTo>
                        <a:pt x="391" y="310"/>
                      </a:lnTo>
                      <a:lnTo>
                        <a:pt x="392" y="310"/>
                      </a:lnTo>
                      <a:lnTo>
                        <a:pt x="391" y="309"/>
                      </a:lnTo>
                      <a:lnTo>
                        <a:pt x="393" y="308"/>
                      </a:lnTo>
                      <a:lnTo>
                        <a:pt x="395" y="308"/>
                      </a:lnTo>
                      <a:lnTo>
                        <a:pt x="397" y="307"/>
                      </a:lnTo>
                      <a:lnTo>
                        <a:pt x="398" y="307"/>
                      </a:lnTo>
                      <a:lnTo>
                        <a:pt x="400" y="306"/>
                      </a:lnTo>
                      <a:lnTo>
                        <a:pt x="402" y="305"/>
                      </a:lnTo>
                      <a:lnTo>
                        <a:pt x="403" y="304"/>
                      </a:lnTo>
                      <a:lnTo>
                        <a:pt x="408" y="303"/>
                      </a:lnTo>
                      <a:lnTo>
                        <a:pt x="410" y="303"/>
                      </a:lnTo>
                      <a:lnTo>
                        <a:pt x="410" y="303"/>
                      </a:lnTo>
                      <a:lnTo>
                        <a:pt x="413" y="307"/>
                      </a:lnTo>
                      <a:lnTo>
                        <a:pt x="414" y="308"/>
                      </a:lnTo>
                      <a:lnTo>
                        <a:pt x="415" y="308"/>
                      </a:lnTo>
                      <a:lnTo>
                        <a:pt x="415" y="309"/>
                      </a:lnTo>
                      <a:lnTo>
                        <a:pt x="416" y="309"/>
                      </a:lnTo>
                      <a:lnTo>
                        <a:pt x="416" y="309"/>
                      </a:lnTo>
                      <a:lnTo>
                        <a:pt x="418" y="311"/>
                      </a:lnTo>
                      <a:lnTo>
                        <a:pt x="419" y="313"/>
                      </a:lnTo>
                      <a:lnTo>
                        <a:pt x="420" y="314"/>
                      </a:lnTo>
                      <a:lnTo>
                        <a:pt x="422" y="315"/>
                      </a:lnTo>
                      <a:lnTo>
                        <a:pt x="424" y="315"/>
                      </a:lnTo>
                      <a:lnTo>
                        <a:pt x="430" y="315"/>
                      </a:lnTo>
                      <a:lnTo>
                        <a:pt x="432" y="315"/>
                      </a:lnTo>
                      <a:lnTo>
                        <a:pt x="433" y="313"/>
                      </a:lnTo>
                      <a:lnTo>
                        <a:pt x="434" y="312"/>
                      </a:lnTo>
                      <a:lnTo>
                        <a:pt x="434" y="312"/>
                      </a:lnTo>
                      <a:lnTo>
                        <a:pt x="435" y="311"/>
                      </a:lnTo>
                      <a:lnTo>
                        <a:pt x="436" y="310"/>
                      </a:lnTo>
                      <a:lnTo>
                        <a:pt x="436" y="310"/>
                      </a:lnTo>
                      <a:lnTo>
                        <a:pt x="437" y="309"/>
                      </a:lnTo>
                      <a:lnTo>
                        <a:pt x="438" y="309"/>
                      </a:lnTo>
                      <a:lnTo>
                        <a:pt x="438" y="308"/>
                      </a:lnTo>
                      <a:lnTo>
                        <a:pt x="440" y="309"/>
                      </a:lnTo>
                      <a:lnTo>
                        <a:pt x="444" y="309"/>
                      </a:lnTo>
                      <a:lnTo>
                        <a:pt x="444" y="309"/>
                      </a:lnTo>
                      <a:lnTo>
                        <a:pt x="452" y="309"/>
                      </a:lnTo>
                      <a:lnTo>
                        <a:pt x="453" y="308"/>
                      </a:lnTo>
                      <a:lnTo>
                        <a:pt x="454" y="308"/>
                      </a:lnTo>
                      <a:lnTo>
                        <a:pt x="456" y="307"/>
                      </a:lnTo>
                      <a:lnTo>
                        <a:pt x="458" y="307"/>
                      </a:lnTo>
                      <a:lnTo>
                        <a:pt x="458" y="307"/>
                      </a:lnTo>
                      <a:lnTo>
                        <a:pt x="459" y="307"/>
                      </a:lnTo>
                      <a:lnTo>
                        <a:pt x="461" y="306"/>
                      </a:lnTo>
                      <a:lnTo>
                        <a:pt x="461" y="305"/>
                      </a:lnTo>
                      <a:lnTo>
                        <a:pt x="460" y="305"/>
                      </a:lnTo>
                      <a:lnTo>
                        <a:pt x="461" y="304"/>
                      </a:lnTo>
                      <a:lnTo>
                        <a:pt x="461" y="304"/>
                      </a:lnTo>
                      <a:lnTo>
                        <a:pt x="461" y="305"/>
                      </a:lnTo>
                      <a:lnTo>
                        <a:pt x="462" y="306"/>
                      </a:lnTo>
                      <a:lnTo>
                        <a:pt x="463" y="305"/>
                      </a:lnTo>
                      <a:lnTo>
                        <a:pt x="464" y="305"/>
                      </a:lnTo>
                      <a:lnTo>
                        <a:pt x="467" y="304"/>
                      </a:lnTo>
                      <a:lnTo>
                        <a:pt x="470" y="303"/>
                      </a:lnTo>
                      <a:lnTo>
                        <a:pt x="472" y="303"/>
                      </a:lnTo>
                      <a:lnTo>
                        <a:pt x="474" y="303"/>
                      </a:lnTo>
                      <a:lnTo>
                        <a:pt x="475" y="303"/>
                      </a:lnTo>
                      <a:lnTo>
                        <a:pt x="477" y="303"/>
                      </a:lnTo>
                      <a:lnTo>
                        <a:pt x="477" y="303"/>
                      </a:lnTo>
                      <a:lnTo>
                        <a:pt x="478" y="304"/>
                      </a:lnTo>
                      <a:lnTo>
                        <a:pt x="480" y="305"/>
                      </a:lnTo>
                      <a:lnTo>
                        <a:pt x="480" y="306"/>
                      </a:lnTo>
                      <a:lnTo>
                        <a:pt x="481" y="307"/>
                      </a:lnTo>
                      <a:lnTo>
                        <a:pt x="482" y="310"/>
                      </a:lnTo>
                      <a:lnTo>
                        <a:pt x="483" y="310"/>
                      </a:lnTo>
                      <a:lnTo>
                        <a:pt x="483" y="312"/>
                      </a:lnTo>
                      <a:lnTo>
                        <a:pt x="484" y="313"/>
                      </a:lnTo>
                      <a:lnTo>
                        <a:pt x="484" y="314"/>
                      </a:lnTo>
                      <a:lnTo>
                        <a:pt x="485" y="314"/>
                      </a:lnTo>
                      <a:lnTo>
                        <a:pt x="485" y="315"/>
                      </a:lnTo>
                      <a:lnTo>
                        <a:pt x="485" y="316"/>
                      </a:lnTo>
                      <a:lnTo>
                        <a:pt x="486" y="317"/>
                      </a:lnTo>
                      <a:lnTo>
                        <a:pt x="488" y="318"/>
                      </a:lnTo>
                      <a:lnTo>
                        <a:pt x="488" y="319"/>
                      </a:lnTo>
                      <a:lnTo>
                        <a:pt x="489" y="320"/>
                      </a:lnTo>
                      <a:lnTo>
                        <a:pt x="489" y="321"/>
                      </a:lnTo>
                      <a:lnTo>
                        <a:pt x="490" y="322"/>
                      </a:lnTo>
                      <a:lnTo>
                        <a:pt x="491" y="323"/>
                      </a:lnTo>
                      <a:lnTo>
                        <a:pt x="492" y="325"/>
                      </a:lnTo>
                      <a:lnTo>
                        <a:pt x="492" y="325"/>
                      </a:lnTo>
                      <a:lnTo>
                        <a:pt x="492" y="326"/>
                      </a:lnTo>
                      <a:lnTo>
                        <a:pt x="493" y="326"/>
                      </a:lnTo>
                      <a:lnTo>
                        <a:pt x="493" y="325"/>
                      </a:lnTo>
                      <a:lnTo>
                        <a:pt x="493" y="325"/>
                      </a:lnTo>
                      <a:lnTo>
                        <a:pt x="494" y="325"/>
                      </a:lnTo>
                      <a:lnTo>
                        <a:pt x="494" y="326"/>
                      </a:lnTo>
                      <a:lnTo>
                        <a:pt x="494" y="326"/>
                      </a:lnTo>
                      <a:lnTo>
                        <a:pt x="493" y="326"/>
                      </a:lnTo>
                      <a:lnTo>
                        <a:pt x="493" y="327"/>
                      </a:lnTo>
                      <a:lnTo>
                        <a:pt x="494" y="327"/>
                      </a:lnTo>
                      <a:lnTo>
                        <a:pt x="494" y="326"/>
                      </a:lnTo>
                      <a:lnTo>
                        <a:pt x="494" y="326"/>
                      </a:lnTo>
                      <a:lnTo>
                        <a:pt x="495" y="326"/>
                      </a:lnTo>
                      <a:lnTo>
                        <a:pt x="495" y="326"/>
                      </a:lnTo>
                      <a:lnTo>
                        <a:pt x="493" y="327"/>
                      </a:lnTo>
                      <a:lnTo>
                        <a:pt x="494" y="328"/>
                      </a:lnTo>
                      <a:lnTo>
                        <a:pt x="494" y="328"/>
                      </a:lnTo>
                      <a:lnTo>
                        <a:pt x="494" y="328"/>
                      </a:lnTo>
                      <a:lnTo>
                        <a:pt x="495" y="327"/>
                      </a:lnTo>
                      <a:lnTo>
                        <a:pt x="496" y="328"/>
                      </a:lnTo>
                      <a:lnTo>
                        <a:pt x="497" y="329"/>
                      </a:lnTo>
                      <a:lnTo>
                        <a:pt x="497" y="330"/>
                      </a:lnTo>
                      <a:lnTo>
                        <a:pt x="497" y="330"/>
                      </a:lnTo>
                      <a:lnTo>
                        <a:pt x="496" y="329"/>
                      </a:lnTo>
                      <a:lnTo>
                        <a:pt x="496" y="329"/>
                      </a:lnTo>
                      <a:lnTo>
                        <a:pt x="495" y="329"/>
                      </a:lnTo>
                      <a:lnTo>
                        <a:pt x="496" y="330"/>
                      </a:lnTo>
                      <a:lnTo>
                        <a:pt x="498" y="331"/>
                      </a:lnTo>
                      <a:lnTo>
                        <a:pt x="497" y="330"/>
                      </a:lnTo>
                      <a:lnTo>
                        <a:pt x="497" y="330"/>
                      </a:lnTo>
                      <a:lnTo>
                        <a:pt x="497" y="330"/>
                      </a:lnTo>
                      <a:lnTo>
                        <a:pt x="498" y="330"/>
                      </a:lnTo>
                      <a:lnTo>
                        <a:pt x="498" y="331"/>
                      </a:lnTo>
                      <a:lnTo>
                        <a:pt x="499" y="331"/>
                      </a:lnTo>
                      <a:lnTo>
                        <a:pt x="499" y="332"/>
                      </a:lnTo>
                      <a:lnTo>
                        <a:pt x="499" y="332"/>
                      </a:lnTo>
                      <a:lnTo>
                        <a:pt x="499" y="331"/>
                      </a:lnTo>
                      <a:lnTo>
                        <a:pt x="500" y="332"/>
                      </a:lnTo>
                      <a:lnTo>
                        <a:pt x="500" y="332"/>
                      </a:lnTo>
                      <a:lnTo>
                        <a:pt x="499" y="332"/>
                      </a:lnTo>
                      <a:lnTo>
                        <a:pt x="499" y="332"/>
                      </a:lnTo>
                      <a:lnTo>
                        <a:pt x="500" y="333"/>
                      </a:lnTo>
                      <a:lnTo>
                        <a:pt x="501" y="334"/>
                      </a:lnTo>
                      <a:lnTo>
                        <a:pt x="502" y="333"/>
                      </a:lnTo>
                      <a:lnTo>
                        <a:pt x="502" y="333"/>
                      </a:lnTo>
                      <a:lnTo>
                        <a:pt x="502" y="332"/>
                      </a:lnTo>
                      <a:lnTo>
                        <a:pt x="503" y="332"/>
                      </a:lnTo>
                      <a:lnTo>
                        <a:pt x="503" y="332"/>
                      </a:lnTo>
                      <a:lnTo>
                        <a:pt x="501" y="331"/>
                      </a:lnTo>
                      <a:lnTo>
                        <a:pt x="501" y="331"/>
                      </a:lnTo>
                      <a:lnTo>
                        <a:pt x="502" y="331"/>
                      </a:lnTo>
                      <a:lnTo>
                        <a:pt x="503" y="331"/>
                      </a:lnTo>
                      <a:lnTo>
                        <a:pt x="503" y="331"/>
                      </a:lnTo>
                      <a:lnTo>
                        <a:pt x="504" y="332"/>
                      </a:lnTo>
                      <a:lnTo>
                        <a:pt x="504" y="332"/>
                      </a:lnTo>
                      <a:lnTo>
                        <a:pt x="504" y="332"/>
                      </a:lnTo>
                      <a:lnTo>
                        <a:pt x="504" y="332"/>
                      </a:lnTo>
                      <a:lnTo>
                        <a:pt x="503" y="332"/>
                      </a:lnTo>
                      <a:lnTo>
                        <a:pt x="503" y="333"/>
                      </a:lnTo>
                      <a:lnTo>
                        <a:pt x="501" y="334"/>
                      </a:lnTo>
                      <a:lnTo>
                        <a:pt x="503" y="334"/>
                      </a:lnTo>
                      <a:lnTo>
                        <a:pt x="503" y="335"/>
                      </a:lnTo>
                      <a:lnTo>
                        <a:pt x="504" y="335"/>
                      </a:lnTo>
                      <a:lnTo>
                        <a:pt x="504" y="336"/>
                      </a:lnTo>
                      <a:lnTo>
                        <a:pt x="505" y="336"/>
                      </a:lnTo>
                      <a:lnTo>
                        <a:pt x="505" y="337"/>
                      </a:lnTo>
                      <a:lnTo>
                        <a:pt x="506" y="337"/>
                      </a:lnTo>
                      <a:lnTo>
                        <a:pt x="507" y="340"/>
                      </a:lnTo>
                      <a:lnTo>
                        <a:pt x="508" y="340"/>
                      </a:lnTo>
                      <a:lnTo>
                        <a:pt x="509" y="341"/>
                      </a:lnTo>
                      <a:lnTo>
                        <a:pt x="509" y="342"/>
                      </a:lnTo>
                      <a:lnTo>
                        <a:pt x="511" y="344"/>
                      </a:lnTo>
                      <a:lnTo>
                        <a:pt x="512" y="345"/>
                      </a:lnTo>
                      <a:lnTo>
                        <a:pt x="513" y="346"/>
                      </a:lnTo>
                      <a:lnTo>
                        <a:pt x="514" y="347"/>
                      </a:lnTo>
                      <a:lnTo>
                        <a:pt x="516" y="348"/>
                      </a:lnTo>
                      <a:lnTo>
                        <a:pt x="518" y="349"/>
                      </a:lnTo>
                      <a:lnTo>
                        <a:pt x="518" y="349"/>
                      </a:lnTo>
                      <a:lnTo>
                        <a:pt x="519" y="349"/>
                      </a:lnTo>
                      <a:lnTo>
                        <a:pt x="521" y="350"/>
                      </a:lnTo>
                      <a:lnTo>
                        <a:pt x="521" y="351"/>
                      </a:lnTo>
                      <a:lnTo>
                        <a:pt x="521" y="351"/>
                      </a:lnTo>
                      <a:lnTo>
                        <a:pt x="522" y="350"/>
                      </a:lnTo>
                      <a:lnTo>
                        <a:pt x="522" y="350"/>
                      </a:lnTo>
                      <a:lnTo>
                        <a:pt x="523" y="348"/>
                      </a:lnTo>
                      <a:lnTo>
                        <a:pt x="523" y="349"/>
                      </a:lnTo>
                      <a:lnTo>
                        <a:pt x="523" y="350"/>
                      </a:lnTo>
                      <a:lnTo>
                        <a:pt x="524" y="350"/>
                      </a:lnTo>
                      <a:lnTo>
                        <a:pt x="525" y="351"/>
                      </a:lnTo>
                      <a:lnTo>
                        <a:pt x="526" y="351"/>
                      </a:lnTo>
                      <a:lnTo>
                        <a:pt x="525" y="350"/>
                      </a:lnTo>
                      <a:lnTo>
                        <a:pt x="524" y="349"/>
                      </a:lnTo>
                      <a:lnTo>
                        <a:pt x="524" y="349"/>
                      </a:lnTo>
                      <a:lnTo>
                        <a:pt x="525" y="349"/>
                      </a:lnTo>
                      <a:lnTo>
                        <a:pt x="526" y="350"/>
                      </a:lnTo>
                      <a:lnTo>
                        <a:pt x="526" y="350"/>
                      </a:lnTo>
                      <a:lnTo>
                        <a:pt x="526" y="350"/>
                      </a:lnTo>
                      <a:lnTo>
                        <a:pt x="526" y="351"/>
                      </a:lnTo>
                      <a:lnTo>
                        <a:pt x="526" y="351"/>
                      </a:lnTo>
                      <a:lnTo>
                        <a:pt x="527" y="351"/>
                      </a:lnTo>
                      <a:lnTo>
                        <a:pt x="527" y="351"/>
                      </a:lnTo>
                      <a:lnTo>
                        <a:pt x="527" y="352"/>
                      </a:lnTo>
                      <a:lnTo>
                        <a:pt x="527" y="352"/>
                      </a:lnTo>
                      <a:lnTo>
                        <a:pt x="528" y="353"/>
                      </a:lnTo>
                      <a:lnTo>
                        <a:pt x="529" y="353"/>
                      </a:lnTo>
                      <a:lnTo>
                        <a:pt x="531" y="355"/>
                      </a:lnTo>
                      <a:lnTo>
                        <a:pt x="532" y="356"/>
                      </a:lnTo>
                      <a:lnTo>
                        <a:pt x="532" y="356"/>
                      </a:lnTo>
                      <a:lnTo>
                        <a:pt x="532" y="357"/>
                      </a:lnTo>
                      <a:lnTo>
                        <a:pt x="533" y="358"/>
                      </a:lnTo>
                      <a:lnTo>
                        <a:pt x="533" y="359"/>
                      </a:lnTo>
                      <a:lnTo>
                        <a:pt x="534" y="359"/>
                      </a:lnTo>
                      <a:lnTo>
                        <a:pt x="534" y="360"/>
                      </a:lnTo>
                      <a:lnTo>
                        <a:pt x="535" y="360"/>
                      </a:lnTo>
                      <a:lnTo>
                        <a:pt x="535" y="360"/>
                      </a:lnTo>
                      <a:lnTo>
                        <a:pt x="535" y="360"/>
                      </a:lnTo>
                      <a:lnTo>
                        <a:pt x="535" y="361"/>
                      </a:lnTo>
                      <a:lnTo>
                        <a:pt x="536" y="361"/>
                      </a:lnTo>
                      <a:lnTo>
                        <a:pt x="537" y="362"/>
                      </a:lnTo>
                      <a:lnTo>
                        <a:pt x="537" y="363"/>
                      </a:lnTo>
                      <a:lnTo>
                        <a:pt x="538" y="363"/>
                      </a:lnTo>
                      <a:lnTo>
                        <a:pt x="538" y="364"/>
                      </a:lnTo>
                      <a:lnTo>
                        <a:pt x="539" y="366"/>
                      </a:lnTo>
                      <a:lnTo>
                        <a:pt x="540" y="367"/>
                      </a:lnTo>
                      <a:lnTo>
                        <a:pt x="541" y="368"/>
                      </a:lnTo>
                      <a:lnTo>
                        <a:pt x="541" y="369"/>
                      </a:lnTo>
                      <a:lnTo>
                        <a:pt x="540" y="369"/>
                      </a:lnTo>
                      <a:lnTo>
                        <a:pt x="540" y="369"/>
                      </a:lnTo>
                      <a:lnTo>
                        <a:pt x="541" y="369"/>
                      </a:lnTo>
                      <a:lnTo>
                        <a:pt x="541" y="370"/>
                      </a:lnTo>
                      <a:lnTo>
                        <a:pt x="541" y="370"/>
                      </a:lnTo>
                      <a:lnTo>
                        <a:pt x="537" y="372"/>
                      </a:lnTo>
                      <a:lnTo>
                        <a:pt x="532" y="373"/>
                      </a:lnTo>
                      <a:lnTo>
                        <a:pt x="528" y="372"/>
                      </a:lnTo>
                      <a:lnTo>
                        <a:pt x="525" y="374"/>
                      </a:lnTo>
                      <a:lnTo>
                        <a:pt x="518" y="391"/>
                      </a:lnTo>
                      <a:lnTo>
                        <a:pt x="519" y="394"/>
                      </a:lnTo>
                      <a:lnTo>
                        <a:pt x="522" y="398"/>
                      </a:lnTo>
                      <a:lnTo>
                        <a:pt x="516" y="403"/>
                      </a:lnTo>
                      <a:lnTo>
                        <a:pt x="513" y="404"/>
                      </a:lnTo>
                      <a:lnTo>
                        <a:pt x="508" y="399"/>
                      </a:lnTo>
                      <a:lnTo>
                        <a:pt x="507" y="395"/>
                      </a:lnTo>
                      <a:lnTo>
                        <a:pt x="504" y="394"/>
                      </a:lnTo>
                      <a:lnTo>
                        <a:pt x="503" y="391"/>
                      </a:lnTo>
                      <a:lnTo>
                        <a:pt x="497" y="386"/>
                      </a:lnTo>
                      <a:lnTo>
                        <a:pt x="499" y="378"/>
                      </a:lnTo>
                      <a:lnTo>
                        <a:pt x="496" y="365"/>
                      </a:lnTo>
                      <a:lnTo>
                        <a:pt x="501" y="358"/>
                      </a:lnTo>
                      <a:lnTo>
                        <a:pt x="501" y="355"/>
                      </a:lnTo>
                      <a:lnTo>
                        <a:pt x="494" y="355"/>
                      </a:lnTo>
                      <a:lnTo>
                        <a:pt x="488" y="347"/>
                      </a:lnTo>
                      <a:lnTo>
                        <a:pt x="477" y="340"/>
                      </a:lnTo>
                      <a:lnTo>
                        <a:pt x="475" y="342"/>
                      </a:lnTo>
                      <a:lnTo>
                        <a:pt x="476" y="349"/>
                      </a:lnTo>
                      <a:lnTo>
                        <a:pt x="468" y="357"/>
                      </a:lnTo>
                      <a:lnTo>
                        <a:pt x="463" y="358"/>
                      </a:lnTo>
                      <a:lnTo>
                        <a:pt x="450" y="355"/>
                      </a:lnTo>
                      <a:lnTo>
                        <a:pt x="437" y="364"/>
                      </a:lnTo>
                      <a:lnTo>
                        <a:pt x="437" y="366"/>
                      </a:lnTo>
                      <a:lnTo>
                        <a:pt x="453" y="367"/>
                      </a:lnTo>
                      <a:lnTo>
                        <a:pt x="456" y="369"/>
                      </a:lnTo>
                      <a:lnTo>
                        <a:pt x="456" y="372"/>
                      </a:lnTo>
                      <a:lnTo>
                        <a:pt x="454" y="374"/>
                      </a:lnTo>
                      <a:lnTo>
                        <a:pt x="440" y="376"/>
                      </a:lnTo>
                      <a:lnTo>
                        <a:pt x="438" y="383"/>
                      </a:lnTo>
                      <a:lnTo>
                        <a:pt x="439" y="386"/>
                      </a:lnTo>
                      <a:lnTo>
                        <a:pt x="439" y="388"/>
                      </a:lnTo>
                      <a:lnTo>
                        <a:pt x="430" y="391"/>
                      </a:lnTo>
                      <a:lnTo>
                        <a:pt x="418" y="395"/>
                      </a:lnTo>
                      <a:lnTo>
                        <a:pt x="411" y="395"/>
                      </a:lnTo>
                      <a:lnTo>
                        <a:pt x="409" y="393"/>
                      </a:lnTo>
                      <a:lnTo>
                        <a:pt x="407" y="390"/>
                      </a:lnTo>
                      <a:lnTo>
                        <a:pt x="409" y="382"/>
                      </a:lnTo>
                      <a:lnTo>
                        <a:pt x="409" y="378"/>
                      </a:lnTo>
                      <a:lnTo>
                        <a:pt x="408" y="376"/>
                      </a:lnTo>
                      <a:lnTo>
                        <a:pt x="382" y="373"/>
                      </a:lnTo>
                      <a:lnTo>
                        <a:pt x="380" y="383"/>
                      </a:lnTo>
                      <a:lnTo>
                        <a:pt x="376" y="387"/>
                      </a:lnTo>
                      <a:lnTo>
                        <a:pt x="372" y="395"/>
                      </a:lnTo>
                      <a:lnTo>
                        <a:pt x="347" y="393"/>
                      </a:lnTo>
                      <a:lnTo>
                        <a:pt x="346" y="392"/>
                      </a:lnTo>
                      <a:lnTo>
                        <a:pt x="350" y="390"/>
                      </a:lnTo>
                      <a:lnTo>
                        <a:pt x="350" y="388"/>
                      </a:lnTo>
                      <a:lnTo>
                        <a:pt x="344" y="383"/>
                      </a:lnTo>
                      <a:lnTo>
                        <a:pt x="334" y="391"/>
                      </a:lnTo>
                      <a:lnTo>
                        <a:pt x="332" y="401"/>
                      </a:lnTo>
                      <a:lnTo>
                        <a:pt x="325" y="409"/>
                      </a:lnTo>
                      <a:lnTo>
                        <a:pt x="324" y="410"/>
                      </a:lnTo>
                      <a:lnTo>
                        <a:pt x="320" y="408"/>
                      </a:lnTo>
                      <a:lnTo>
                        <a:pt x="313" y="408"/>
                      </a:lnTo>
                      <a:lnTo>
                        <a:pt x="308" y="412"/>
                      </a:lnTo>
                      <a:lnTo>
                        <a:pt x="302" y="421"/>
                      </a:lnTo>
                      <a:lnTo>
                        <a:pt x="303" y="429"/>
                      </a:lnTo>
                      <a:lnTo>
                        <a:pt x="301" y="432"/>
                      </a:lnTo>
                      <a:lnTo>
                        <a:pt x="297" y="435"/>
                      </a:lnTo>
                      <a:lnTo>
                        <a:pt x="299" y="439"/>
                      </a:lnTo>
                      <a:lnTo>
                        <a:pt x="291" y="446"/>
                      </a:lnTo>
                      <a:lnTo>
                        <a:pt x="289" y="450"/>
                      </a:lnTo>
                      <a:lnTo>
                        <a:pt x="276" y="451"/>
                      </a:lnTo>
                      <a:lnTo>
                        <a:pt x="272" y="448"/>
                      </a:lnTo>
                      <a:lnTo>
                        <a:pt x="268" y="448"/>
                      </a:lnTo>
                      <a:lnTo>
                        <a:pt x="268" y="443"/>
                      </a:lnTo>
                      <a:lnTo>
                        <a:pt x="267" y="442"/>
                      </a:lnTo>
                      <a:lnTo>
                        <a:pt x="261" y="443"/>
                      </a:lnTo>
                      <a:lnTo>
                        <a:pt x="259" y="447"/>
                      </a:lnTo>
                      <a:lnTo>
                        <a:pt x="257" y="448"/>
                      </a:lnTo>
                      <a:lnTo>
                        <a:pt x="251" y="448"/>
                      </a:lnTo>
                      <a:lnTo>
                        <a:pt x="246" y="446"/>
                      </a:lnTo>
                      <a:lnTo>
                        <a:pt x="246" y="440"/>
                      </a:lnTo>
                      <a:lnTo>
                        <a:pt x="244" y="439"/>
                      </a:lnTo>
                      <a:lnTo>
                        <a:pt x="236" y="440"/>
                      </a:lnTo>
                      <a:lnTo>
                        <a:pt x="230" y="446"/>
                      </a:lnTo>
                      <a:lnTo>
                        <a:pt x="214" y="451"/>
                      </a:lnTo>
                      <a:lnTo>
                        <a:pt x="206" y="446"/>
                      </a:lnTo>
                      <a:lnTo>
                        <a:pt x="203" y="447"/>
                      </a:lnTo>
                      <a:lnTo>
                        <a:pt x="198" y="446"/>
                      </a:lnTo>
                      <a:lnTo>
                        <a:pt x="197" y="445"/>
                      </a:lnTo>
                      <a:lnTo>
                        <a:pt x="198" y="443"/>
                      </a:lnTo>
                      <a:lnTo>
                        <a:pt x="204" y="439"/>
                      </a:lnTo>
                      <a:lnTo>
                        <a:pt x="204" y="438"/>
                      </a:lnTo>
                      <a:lnTo>
                        <a:pt x="202" y="435"/>
                      </a:lnTo>
                      <a:lnTo>
                        <a:pt x="190" y="430"/>
                      </a:lnTo>
                      <a:lnTo>
                        <a:pt x="189" y="428"/>
                      </a:lnTo>
                      <a:lnTo>
                        <a:pt x="191" y="424"/>
                      </a:lnTo>
                      <a:lnTo>
                        <a:pt x="191" y="422"/>
                      </a:lnTo>
                      <a:lnTo>
                        <a:pt x="185" y="418"/>
                      </a:lnTo>
                      <a:lnTo>
                        <a:pt x="182" y="418"/>
                      </a:lnTo>
                      <a:lnTo>
                        <a:pt x="178" y="411"/>
                      </a:lnTo>
                      <a:lnTo>
                        <a:pt x="172" y="409"/>
                      </a:lnTo>
                      <a:lnTo>
                        <a:pt x="171" y="405"/>
                      </a:lnTo>
                      <a:lnTo>
                        <a:pt x="172" y="399"/>
                      </a:lnTo>
                      <a:lnTo>
                        <a:pt x="161" y="389"/>
                      </a:lnTo>
                      <a:lnTo>
                        <a:pt x="160" y="386"/>
                      </a:lnTo>
                      <a:lnTo>
                        <a:pt x="159" y="379"/>
                      </a:lnTo>
                      <a:lnTo>
                        <a:pt x="155" y="372"/>
                      </a:lnTo>
                      <a:lnTo>
                        <a:pt x="144" y="366"/>
                      </a:lnTo>
                      <a:lnTo>
                        <a:pt x="137" y="366"/>
                      </a:lnTo>
                      <a:lnTo>
                        <a:pt x="137" y="366"/>
                      </a:lnTo>
                      <a:lnTo>
                        <a:pt x="129" y="354"/>
                      </a:lnTo>
                      <a:lnTo>
                        <a:pt x="121" y="345"/>
                      </a:lnTo>
                      <a:lnTo>
                        <a:pt x="119" y="337"/>
                      </a:lnTo>
                      <a:lnTo>
                        <a:pt x="113" y="336"/>
                      </a:lnTo>
                      <a:lnTo>
                        <a:pt x="111" y="328"/>
                      </a:lnTo>
                      <a:lnTo>
                        <a:pt x="109" y="326"/>
                      </a:lnTo>
                      <a:lnTo>
                        <a:pt x="110" y="320"/>
                      </a:lnTo>
                      <a:lnTo>
                        <a:pt x="107" y="316"/>
                      </a:lnTo>
                      <a:lnTo>
                        <a:pt x="107" y="313"/>
                      </a:lnTo>
                      <a:lnTo>
                        <a:pt x="102" y="313"/>
                      </a:lnTo>
                      <a:lnTo>
                        <a:pt x="99" y="316"/>
                      </a:lnTo>
                      <a:lnTo>
                        <a:pt x="95" y="317"/>
                      </a:lnTo>
                      <a:lnTo>
                        <a:pt x="91" y="313"/>
                      </a:lnTo>
                      <a:lnTo>
                        <a:pt x="88" y="314"/>
                      </a:lnTo>
                      <a:lnTo>
                        <a:pt x="86" y="309"/>
                      </a:lnTo>
                      <a:lnTo>
                        <a:pt x="84" y="309"/>
                      </a:lnTo>
                      <a:lnTo>
                        <a:pt x="85" y="306"/>
                      </a:lnTo>
                      <a:lnTo>
                        <a:pt x="83" y="298"/>
                      </a:lnTo>
                      <a:lnTo>
                        <a:pt x="90" y="287"/>
                      </a:lnTo>
                      <a:lnTo>
                        <a:pt x="91" y="275"/>
                      </a:lnTo>
                      <a:lnTo>
                        <a:pt x="96" y="268"/>
                      </a:lnTo>
                      <a:lnTo>
                        <a:pt x="107" y="262"/>
                      </a:lnTo>
                      <a:lnTo>
                        <a:pt x="109" y="259"/>
                      </a:lnTo>
                      <a:lnTo>
                        <a:pt x="110" y="254"/>
                      </a:lnTo>
                      <a:lnTo>
                        <a:pt x="102" y="249"/>
                      </a:lnTo>
                      <a:lnTo>
                        <a:pt x="95" y="240"/>
                      </a:lnTo>
                      <a:lnTo>
                        <a:pt x="94" y="231"/>
                      </a:lnTo>
                      <a:lnTo>
                        <a:pt x="80" y="223"/>
                      </a:lnTo>
                      <a:lnTo>
                        <a:pt x="79" y="216"/>
                      </a:lnTo>
                      <a:lnTo>
                        <a:pt x="76" y="212"/>
                      </a:lnTo>
                      <a:lnTo>
                        <a:pt x="70" y="212"/>
                      </a:lnTo>
                      <a:lnTo>
                        <a:pt x="67" y="210"/>
                      </a:lnTo>
                      <a:lnTo>
                        <a:pt x="69" y="206"/>
                      </a:lnTo>
                      <a:lnTo>
                        <a:pt x="58" y="211"/>
                      </a:lnTo>
                      <a:lnTo>
                        <a:pt x="55" y="210"/>
                      </a:lnTo>
                      <a:lnTo>
                        <a:pt x="53" y="204"/>
                      </a:lnTo>
                      <a:lnTo>
                        <a:pt x="46" y="204"/>
                      </a:lnTo>
                      <a:lnTo>
                        <a:pt x="43" y="200"/>
                      </a:lnTo>
                      <a:lnTo>
                        <a:pt x="45" y="194"/>
                      </a:lnTo>
                      <a:lnTo>
                        <a:pt x="43" y="193"/>
                      </a:lnTo>
                      <a:lnTo>
                        <a:pt x="43" y="187"/>
                      </a:lnTo>
                      <a:lnTo>
                        <a:pt x="42" y="185"/>
                      </a:lnTo>
                      <a:lnTo>
                        <a:pt x="36" y="184"/>
                      </a:lnTo>
                      <a:lnTo>
                        <a:pt x="26" y="186"/>
                      </a:lnTo>
                      <a:lnTo>
                        <a:pt x="21" y="185"/>
                      </a:lnTo>
                      <a:lnTo>
                        <a:pt x="19" y="183"/>
                      </a:lnTo>
                      <a:lnTo>
                        <a:pt x="19" y="174"/>
                      </a:lnTo>
                      <a:lnTo>
                        <a:pt x="17" y="172"/>
                      </a:lnTo>
                      <a:lnTo>
                        <a:pt x="7" y="165"/>
                      </a:lnTo>
                      <a:lnTo>
                        <a:pt x="2" y="160"/>
                      </a:lnTo>
                      <a:lnTo>
                        <a:pt x="0" y="155"/>
                      </a:lnTo>
                      <a:lnTo>
                        <a:pt x="1" y="146"/>
                      </a:lnTo>
                      <a:lnTo>
                        <a:pt x="7" y="142"/>
                      </a:lnTo>
                      <a:lnTo>
                        <a:pt x="8" y="138"/>
                      </a:lnTo>
                      <a:lnTo>
                        <a:pt x="20" y="123"/>
                      </a:lnTo>
                      <a:lnTo>
                        <a:pt x="22" y="118"/>
                      </a:lnTo>
                      <a:lnTo>
                        <a:pt x="32" y="119"/>
                      </a:lnTo>
                      <a:lnTo>
                        <a:pt x="36" y="114"/>
                      </a:lnTo>
                      <a:lnTo>
                        <a:pt x="42" y="110"/>
                      </a:lnTo>
                      <a:lnTo>
                        <a:pt x="47" y="114"/>
                      </a:lnTo>
                      <a:lnTo>
                        <a:pt x="51" y="113"/>
                      </a:lnTo>
                      <a:lnTo>
                        <a:pt x="52" y="111"/>
                      </a:lnTo>
                      <a:lnTo>
                        <a:pt x="53" y="105"/>
                      </a:lnTo>
                      <a:lnTo>
                        <a:pt x="50" y="99"/>
                      </a:lnTo>
                      <a:lnTo>
                        <a:pt x="52" y="95"/>
                      </a:lnTo>
                      <a:lnTo>
                        <a:pt x="52" y="85"/>
                      </a:lnTo>
                      <a:lnTo>
                        <a:pt x="50" y="82"/>
                      </a:lnTo>
                      <a:lnTo>
                        <a:pt x="44" y="78"/>
                      </a:lnTo>
                      <a:lnTo>
                        <a:pt x="43" y="75"/>
                      </a:lnTo>
                      <a:lnTo>
                        <a:pt x="56" y="63"/>
                      </a:lnTo>
                      <a:lnTo>
                        <a:pt x="56" y="58"/>
                      </a:lnTo>
                      <a:lnTo>
                        <a:pt x="54" y="50"/>
                      </a:lnTo>
                      <a:lnTo>
                        <a:pt x="58" y="44"/>
                      </a:lnTo>
                      <a:lnTo>
                        <a:pt x="64" y="40"/>
                      </a:lnTo>
                      <a:lnTo>
                        <a:pt x="75" y="40"/>
                      </a:lnTo>
                      <a:lnTo>
                        <a:pt x="81" y="35"/>
                      </a:lnTo>
                      <a:lnTo>
                        <a:pt x="83" y="37"/>
                      </a:lnTo>
                      <a:lnTo>
                        <a:pt x="83" y="37"/>
                      </a:lnTo>
                      <a:lnTo>
                        <a:pt x="87" y="39"/>
                      </a:lnTo>
                      <a:lnTo>
                        <a:pt x="95" y="32"/>
                      </a:lnTo>
                      <a:lnTo>
                        <a:pt x="107" y="27"/>
                      </a:lnTo>
                      <a:lnTo>
                        <a:pt x="115" y="30"/>
                      </a:lnTo>
                      <a:lnTo>
                        <a:pt x="125" y="37"/>
                      </a:lnTo>
                      <a:lnTo>
                        <a:pt x="131" y="37"/>
                      </a:lnTo>
                      <a:lnTo>
                        <a:pt x="148" y="27"/>
                      </a:lnTo>
                      <a:lnTo>
                        <a:pt x="148" y="23"/>
                      </a:lnTo>
                      <a:lnTo>
                        <a:pt x="151" y="19"/>
                      </a:lnTo>
                      <a:lnTo>
                        <a:pt x="153" y="19"/>
                      </a:lnTo>
                      <a:lnTo>
                        <a:pt x="161" y="27"/>
                      </a:lnTo>
                      <a:lnTo>
                        <a:pt x="162" y="20"/>
                      </a:lnTo>
                      <a:lnTo>
                        <a:pt x="165" y="15"/>
                      </a:lnTo>
                      <a:lnTo>
                        <a:pt x="165" y="10"/>
                      </a:lnTo>
                      <a:lnTo>
                        <a:pt x="169" y="10"/>
                      </a:lnTo>
                      <a:lnTo>
                        <a:pt x="174" y="11"/>
                      </a:lnTo>
                      <a:lnTo>
                        <a:pt x="176" y="9"/>
                      </a:lnTo>
                      <a:lnTo>
                        <a:pt x="188" y="9"/>
                      </a:lnTo>
                      <a:lnTo>
                        <a:pt x="192" y="12"/>
                      </a:lnTo>
                      <a:lnTo>
                        <a:pt x="193" y="17"/>
                      </a:lnTo>
                      <a:lnTo>
                        <a:pt x="194" y="17"/>
                      </a:lnTo>
                      <a:lnTo>
                        <a:pt x="200" y="16"/>
                      </a:lnTo>
                      <a:lnTo>
                        <a:pt x="202" y="17"/>
                      </a:lnTo>
                      <a:lnTo>
                        <a:pt x="205" y="24"/>
                      </a:lnTo>
                      <a:lnTo>
                        <a:pt x="214" y="32"/>
                      </a:lnTo>
                      <a:lnTo>
                        <a:pt x="217" y="32"/>
                      </a:lnTo>
                      <a:lnTo>
                        <a:pt x="216" y="27"/>
                      </a:lnTo>
                      <a:lnTo>
                        <a:pt x="223" y="28"/>
                      </a:lnTo>
                      <a:lnTo>
                        <a:pt x="225" y="30"/>
                      </a:lnTo>
                      <a:lnTo>
                        <a:pt x="228" y="40"/>
                      </a:lnTo>
                      <a:lnTo>
                        <a:pt x="230" y="42"/>
                      </a:lnTo>
                      <a:lnTo>
                        <a:pt x="232" y="41"/>
                      </a:lnTo>
                      <a:lnTo>
                        <a:pt x="233" y="38"/>
                      </a:lnTo>
                      <a:lnTo>
                        <a:pt x="229" y="26"/>
                      </a:lnTo>
                      <a:lnTo>
                        <a:pt x="229" y="22"/>
                      </a:lnTo>
                      <a:lnTo>
                        <a:pt x="230" y="21"/>
                      </a:lnTo>
                      <a:lnTo>
                        <a:pt x="233" y="21"/>
                      </a:lnTo>
                      <a:lnTo>
                        <a:pt x="235" y="24"/>
                      </a:lnTo>
                      <a:lnTo>
                        <a:pt x="236" y="27"/>
                      </a:lnTo>
                      <a:lnTo>
                        <a:pt x="239" y="28"/>
                      </a:lnTo>
                      <a:lnTo>
                        <a:pt x="241" y="23"/>
                      </a:lnTo>
                      <a:lnTo>
                        <a:pt x="245" y="24"/>
                      </a:lnTo>
                      <a:lnTo>
                        <a:pt x="246" y="23"/>
                      </a:lnTo>
                      <a:lnTo>
                        <a:pt x="249" y="24"/>
                      </a:lnTo>
                      <a:lnTo>
                        <a:pt x="250" y="32"/>
                      </a:lnTo>
                      <a:lnTo>
                        <a:pt x="257" y="32"/>
                      </a:lnTo>
                      <a:lnTo>
                        <a:pt x="258" y="35"/>
                      </a:lnTo>
                      <a:lnTo>
                        <a:pt x="274" y="25"/>
                      </a:lnTo>
                      <a:lnTo>
                        <a:pt x="277" y="20"/>
                      </a:lnTo>
                      <a:lnTo>
                        <a:pt x="284" y="18"/>
                      </a:lnTo>
                      <a:lnTo>
                        <a:pt x="303" y="21"/>
                      </a:lnTo>
                      <a:lnTo>
                        <a:pt x="311" y="19"/>
                      </a:lnTo>
                      <a:lnTo>
                        <a:pt x="320" y="23"/>
                      </a:lnTo>
                      <a:lnTo>
                        <a:pt x="332" y="20"/>
                      </a:lnTo>
                      <a:lnTo>
                        <a:pt x="336" y="21"/>
                      </a:lnTo>
                      <a:lnTo>
                        <a:pt x="341" y="25"/>
                      </a:lnTo>
                      <a:lnTo>
                        <a:pt x="352" y="22"/>
                      </a:lnTo>
                      <a:lnTo>
                        <a:pt x="360" y="25"/>
                      </a:lnTo>
                      <a:lnTo>
                        <a:pt x="361" y="15"/>
                      </a:lnTo>
                      <a:lnTo>
                        <a:pt x="362" y="10"/>
                      </a:lnTo>
                      <a:lnTo>
                        <a:pt x="365" y="6"/>
                      </a:lnTo>
                      <a:lnTo>
                        <a:pt x="372" y="4"/>
                      </a:lnTo>
                      <a:lnTo>
                        <a:pt x="374" y="0"/>
                      </a:lnTo>
                      <a:lnTo>
                        <a:pt x="374" y="0"/>
                      </a:lnTo>
                      <a:lnTo>
                        <a:pt x="375" y="0"/>
                      </a:lnTo>
                      <a:lnTo>
                        <a:pt x="375" y="0"/>
                      </a:lnTo>
                      <a:close/>
                    </a:path>
                  </a:pathLst>
                </a:custGeom>
                <a:grpFill/>
                <a:ln w="317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900" dirty="0"/>
                </a:p>
              </p:txBody>
            </p:sp>
            <p:sp>
              <p:nvSpPr>
                <p:cNvPr id="131" name="East Midlands" descr="{&quot;Key&quot;:&quot;east midlands&quot;,&quot;Name&quot;:&quot;East Midlands&quot;,&quot;Value&quot;:1.0,&quot;Formula&quot;:&quot;&quot;,&quot;Text&quot;:&quot;1&quot;,&quot;HasValue&quot;:true}">
                  <a:extLst>
                    <a:ext uri="{FF2B5EF4-FFF2-40B4-BE49-F238E27FC236}">
                      <a16:creationId xmlns:a16="http://schemas.microsoft.com/office/drawing/2014/main" id="{380BDD0A-EC1C-BBC9-F291-81176C4EC98B}"/>
                    </a:ext>
                  </a:extLst>
                </p:cNvPr>
                <p:cNvSpPr>
                  <a:spLocks/>
                </p:cNvSpPr>
                <p:nvPr/>
              </p:nvSpPr>
              <p:spPr bwMode="auto">
                <a:xfrm>
                  <a:off x="6880225" y="4481513"/>
                  <a:ext cx="793750" cy="898525"/>
                </a:xfrm>
                <a:custGeom>
                  <a:avLst/>
                  <a:gdLst>
                    <a:gd name="T0" fmla="*/ 72 w 500"/>
                    <a:gd name="T1" fmla="*/ 78 h 566"/>
                    <a:gd name="T2" fmla="*/ 93 w 500"/>
                    <a:gd name="T3" fmla="*/ 106 h 566"/>
                    <a:gd name="T4" fmla="*/ 156 w 500"/>
                    <a:gd name="T5" fmla="*/ 103 h 566"/>
                    <a:gd name="T6" fmla="*/ 200 w 500"/>
                    <a:gd name="T7" fmla="*/ 68 h 566"/>
                    <a:gd name="T8" fmla="*/ 264 w 500"/>
                    <a:gd name="T9" fmla="*/ 47 h 566"/>
                    <a:gd name="T10" fmla="*/ 326 w 500"/>
                    <a:gd name="T11" fmla="*/ 46 h 566"/>
                    <a:gd name="T12" fmla="*/ 363 w 500"/>
                    <a:gd name="T13" fmla="*/ 9 h 566"/>
                    <a:gd name="T14" fmla="*/ 394 w 500"/>
                    <a:gd name="T15" fmla="*/ 56 h 566"/>
                    <a:gd name="T16" fmla="*/ 428 w 500"/>
                    <a:gd name="T17" fmla="*/ 30 h 566"/>
                    <a:gd name="T18" fmla="*/ 437 w 500"/>
                    <a:gd name="T19" fmla="*/ 34 h 566"/>
                    <a:gd name="T20" fmla="*/ 445 w 500"/>
                    <a:gd name="T21" fmla="*/ 42 h 566"/>
                    <a:gd name="T22" fmla="*/ 448 w 500"/>
                    <a:gd name="T23" fmla="*/ 43 h 566"/>
                    <a:gd name="T24" fmla="*/ 452 w 500"/>
                    <a:gd name="T25" fmla="*/ 46 h 566"/>
                    <a:gd name="T26" fmla="*/ 460 w 500"/>
                    <a:gd name="T27" fmla="*/ 53 h 566"/>
                    <a:gd name="T28" fmla="*/ 462 w 500"/>
                    <a:gd name="T29" fmla="*/ 59 h 566"/>
                    <a:gd name="T30" fmla="*/ 467 w 500"/>
                    <a:gd name="T31" fmla="*/ 67 h 566"/>
                    <a:gd name="T32" fmla="*/ 470 w 500"/>
                    <a:gd name="T33" fmla="*/ 72 h 566"/>
                    <a:gd name="T34" fmla="*/ 473 w 500"/>
                    <a:gd name="T35" fmla="*/ 81 h 566"/>
                    <a:gd name="T36" fmla="*/ 481 w 500"/>
                    <a:gd name="T37" fmla="*/ 93 h 566"/>
                    <a:gd name="T38" fmla="*/ 484 w 500"/>
                    <a:gd name="T39" fmla="*/ 102 h 566"/>
                    <a:gd name="T40" fmla="*/ 489 w 500"/>
                    <a:gd name="T41" fmla="*/ 112 h 566"/>
                    <a:gd name="T42" fmla="*/ 493 w 500"/>
                    <a:gd name="T43" fmla="*/ 121 h 566"/>
                    <a:gd name="T44" fmla="*/ 496 w 500"/>
                    <a:gd name="T45" fmla="*/ 131 h 566"/>
                    <a:gd name="T46" fmla="*/ 498 w 500"/>
                    <a:gd name="T47" fmla="*/ 140 h 566"/>
                    <a:gd name="T48" fmla="*/ 499 w 500"/>
                    <a:gd name="T49" fmla="*/ 150 h 566"/>
                    <a:gd name="T50" fmla="*/ 497 w 500"/>
                    <a:gd name="T51" fmla="*/ 170 h 566"/>
                    <a:gd name="T52" fmla="*/ 492 w 500"/>
                    <a:gd name="T53" fmla="*/ 181 h 566"/>
                    <a:gd name="T54" fmla="*/ 485 w 500"/>
                    <a:gd name="T55" fmla="*/ 185 h 566"/>
                    <a:gd name="T56" fmla="*/ 479 w 500"/>
                    <a:gd name="T57" fmla="*/ 193 h 566"/>
                    <a:gd name="T58" fmla="*/ 470 w 500"/>
                    <a:gd name="T59" fmla="*/ 200 h 566"/>
                    <a:gd name="T60" fmla="*/ 463 w 500"/>
                    <a:gd name="T61" fmla="*/ 204 h 566"/>
                    <a:gd name="T62" fmla="*/ 460 w 500"/>
                    <a:gd name="T63" fmla="*/ 210 h 566"/>
                    <a:gd name="T64" fmla="*/ 455 w 500"/>
                    <a:gd name="T65" fmla="*/ 215 h 566"/>
                    <a:gd name="T66" fmla="*/ 451 w 500"/>
                    <a:gd name="T67" fmla="*/ 219 h 566"/>
                    <a:gd name="T68" fmla="*/ 449 w 500"/>
                    <a:gd name="T69" fmla="*/ 224 h 566"/>
                    <a:gd name="T70" fmla="*/ 445 w 500"/>
                    <a:gd name="T71" fmla="*/ 231 h 566"/>
                    <a:gd name="T72" fmla="*/ 442 w 500"/>
                    <a:gd name="T73" fmla="*/ 234 h 566"/>
                    <a:gd name="T74" fmla="*/ 432 w 500"/>
                    <a:gd name="T75" fmla="*/ 247 h 566"/>
                    <a:gd name="T76" fmla="*/ 439 w 500"/>
                    <a:gd name="T77" fmla="*/ 245 h 566"/>
                    <a:gd name="T78" fmla="*/ 444 w 500"/>
                    <a:gd name="T79" fmla="*/ 248 h 566"/>
                    <a:gd name="T80" fmla="*/ 451 w 500"/>
                    <a:gd name="T81" fmla="*/ 249 h 566"/>
                    <a:gd name="T82" fmla="*/ 458 w 500"/>
                    <a:gd name="T83" fmla="*/ 255 h 566"/>
                    <a:gd name="T84" fmla="*/ 461 w 500"/>
                    <a:gd name="T85" fmla="*/ 257 h 566"/>
                    <a:gd name="T86" fmla="*/ 463 w 500"/>
                    <a:gd name="T87" fmla="*/ 259 h 566"/>
                    <a:gd name="T88" fmla="*/ 468 w 500"/>
                    <a:gd name="T89" fmla="*/ 269 h 566"/>
                    <a:gd name="T90" fmla="*/ 472 w 500"/>
                    <a:gd name="T91" fmla="*/ 275 h 566"/>
                    <a:gd name="T92" fmla="*/ 480 w 500"/>
                    <a:gd name="T93" fmla="*/ 277 h 566"/>
                    <a:gd name="T94" fmla="*/ 456 w 500"/>
                    <a:gd name="T95" fmla="*/ 309 h 566"/>
                    <a:gd name="T96" fmla="*/ 390 w 500"/>
                    <a:gd name="T97" fmla="*/ 336 h 566"/>
                    <a:gd name="T98" fmla="*/ 327 w 500"/>
                    <a:gd name="T99" fmla="*/ 365 h 566"/>
                    <a:gd name="T100" fmla="*/ 322 w 500"/>
                    <a:gd name="T101" fmla="*/ 439 h 566"/>
                    <a:gd name="T102" fmla="*/ 288 w 500"/>
                    <a:gd name="T103" fmla="*/ 472 h 566"/>
                    <a:gd name="T104" fmla="*/ 239 w 500"/>
                    <a:gd name="T105" fmla="*/ 519 h 566"/>
                    <a:gd name="T106" fmla="*/ 225 w 500"/>
                    <a:gd name="T107" fmla="*/ 534 h 566"/>
                    <a:gd name="T108" fmla="*/ 164 w 500"/>
                    <a:gd name="T109" fmla="*/ 565 h 566"/>
                    <a:gd name="T110" fmla="*/ 147 w 500"/>
                    <a:gd name="T111" fmla="*/ 500 h 566"/>
                    <a:gd name="T112" fmla="*/ 161 w 500"/>
                    <a:gd name="T113" fmla="*/ 449 h 566"/>
                    <a:gd name="T114" fmla="*/ 110 w 500"/>
                    <a:gd name="T115" fmla="*/ 367 h 566"/>
                    <a:gd name="T116" fmla="*/ 79 w 500"/>
                    <a:gd name="T117" fmla="*/ 323 h 566"/>
                    <a:gd name="T118" fmla="*/ 55 w 500"/>
                    <a:gd name="T119" fmla="*/ 260 h 566"/>
                    <a:gd name="T120" fmla="*/ 57 w 500"/>
                    <a:gd name="T121" fmla="*/ 213 h 566"/>
                    <a:gd name="T122" fmla="*/ 13 w 500"/>
                    <a:gd name="T123" fmla="*/ 138 h 566"/>
                    <a:gd name="T124" fmla="*/ 5 w 500"/>
                    <a:gd name="T125" fmla="*/ 71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0" h="566">
                      <a:moveTo>
                        <a:pt x="25" y="26"/>
                      </a:moveTo>
                      <a:lnTo>
                        <a:pt x="31" y="26"/>
                      </a:lnTo>
                      <a:lnTo>
                        <a:pt x="42" y="32"/>
                      </a:lnTo>
                      <a:lnTo>
                        <a:pt x="46" y="40"/>
                      </a:lnTo>
                      <a:lnTo>
                        <a:pt x="47" y="46"/>
                      </a:lnTo>
                      <a:lnTo>
                        <a:pt x="48" y="49"/>
                      </a:lnTo>
                      <a:lnTo>
                        <a:pt x="60" y="59"/>
                      </a:lnTo>
                      <a:lnTo>
                        <a:pt x="58" y="65"/>
                      </a:lnTo>
                      <a:lnTo>
                        <a:pt x="59" y="69"/>
                      </a:lnTo>
                      <a:lnTo>
                        <a:pt x="67" y="72"/>
                      </a:lnTo>
                      <a:lnTo>
                        <a:pt x="69" y="78"/>
                      </a:lnTo>
                      <a:lnTo>
                        <a:pt x="72" y="78"/>
                      </a:lnTo>
                      <a:lnTo>
                        <a:pt x="78" y="82"/>
                      </a:lnTo>
                      <a:lnTo>
                        <a:pt x="78" y="84"/>
                      </a:lnTo>
                      <a:lnTo>
                        <a:pt x="76" y="88"/>
                      </a:lnTo>
                      <a:lnTo>
                        <a:pt x="77" y="90"/>
                      </a:lnTo>
                      <a:lnTo>
                        <a:pt x="89" y="95"/>
                      </a:lnTo>
                      <a:lnTo>
                        <a:pt x="91" y="98"/>
                      </a:lnTo>
                      <a:lnTo>
                        <a:pt x="91" y="99"/>
                      </a:lnTo>
                      <a:lnTo>
                        <a:pt x="85" y="103"/>
                      </a:lnTo>
                      <a:lnTo>
                        <a:pt x="84" y="105"/>
                      </a:lnTo>
                      <a:lnTo>
                        <a:pt x="85" y="106"/>
                      </a:lnTo>
                      <a:lnTo>
                        <a:pt x="90" y="107"/>
                      </a:lnTo>
                      <a:lnTo>
                        <a:pt x="93" y="106"/>
                      </a:lnTo>
                      <a:lnTo>
                        <a:pt x="101" y="112"/>
                      </a:lnTo>
                      <a:lnTo>
                        <a:pt x="117" y="106"/>
                      </a:lnTo>
                      <a:lnTo>
                        <a:pt x="123" y="100"/>
                      </a:lnTo>
                      <a:lnTo>
                        <a:pt x="131" y="99"/>
                      </a:lnTo>
                      <a:lnTo>
                        <a:pt x="133" y="101"/>
                      </a:lnTo>
                      <a:lnTo>
                        <a:pt x="133" y="106"/>
                      </a:lnTo>
                      <a:lnTo>
                        <a:pt x="138" y="108"/>
                      </a:lnTo>
                      <a:lnTo>
                        <a:pt x="144" y="108"/>
                      </a:lnTo>
                      <a:lnTo>
                        <a:pt x="146" y="107"/>
                      </a:lnTo>
                      <a:lnTo>
                        <a:pt x="149" y="103"/>
                      </a:lnTo>
                      <a:lnTo>
                        <a:pt x="154" y="102"/>
                      </a:lnTo>
                      <a:lnTo>
                        <a:pt x="156" y="103"/>
                      </a:lnTo>
                      <a:lnTo>
                        <a:pt x="155" y="108"/>
                      </a:lnTo>
                      <a:lnTo>
                        <a:pt x="159" y="109"/>
                      </a:lnTo>
                      <a:lnTo>
                        <a:pt x="163" y="111"/>
                      </a:lnTo>
                      <a:lnTo>
                        <a:pt x="176" y="110"/>
                      </a:lnTo>
                      <a:lnTo>
                        <a:pt x="179" y="106"/>
                      </a:lnTo>
                      <a:lnTo>
                        <a:pt x="186" y="99"/>
                      </a:lnTo>
                      <a:lnTo>
                        <a:pt x="184" y="95"/>
                      </a:lnTo>
                      <a:lnTo>
                        <a:pt x="189" y="92"/>
                      </a:lnTo>
                      <a:lnTo>
                        <a:pt x="190" y="89"/>
                      </a:lnTo>
                      <a:lnTo>
                        <a:pt x="189" y="81"/>
                      </a:lnTo>
                      <a:lnTo>
                        <a:pt x="196" y="72"/>
                      </a:lnTo>
                      <a:lnTo>
                        <a:pt x="200" y="68"/>
                      </a:lnTo>
                      <a:lnTo>
                        <a:pt x="207" y="68"/>
                      </a:lnTo>
                      <a:lnTo>
                        <a:pt x="211" y="70"/>
                      </a:lnTo>
                      <a:lnTo>
                        <a:pt x="213" y="69"/>
                      </a:lnTo>
                      <a:lnTo>
                        <a:pt x="219" y="61"/>
                      </a:lnTo>
                      <a:lnTo>
                        <a:pt x="221" y="51"/>
                      </a:lnTo>
                      <a:lnTo>
                        <a:pt x="231" y="43"/>
                      </a:lnTo>
                      <a:lnTo>
                        <a:pt x="237" y="48"/>
                      </a:lnTo>
                      <a:lnTo>
                        <a:pt x="237" y="50"/>
                      </a:lnTo>
                      <a:lnTo>
                        <a:pt x="233" y="52"/>
                      </a:lnTo>
                      <a:lnTo>
                        <a:pt x="234" y="53"/>
                      </a:lnTo>
                      <a:lnTo>
                        <a:pt x="260" y="55"/>
                      </a:lnTo>
                      <a:lnTo>
                        <a:pt x="264" y="47"/>
                      </a:lnTo>
                      <a:lnTo>
                        <a:pt x="267" y="43"/>
                      </a:lnTo>
                      <a:lnTo>
                        <a:pt x="269" y="33"/>
                      </a:lnTo>
                      <a:lnTo>
                        <a:pt x="295" y="36"/>
                      </a:lnTo>
                      <a:lnTo>
                        <a:pt x="297" y="39"/>
                      </a:lnTo>
                      <a:lnTo>
                        <a:pt x="297" y="43"/>
                      </a:lnTo>
                      <a:lnTo>
                        <a:pt x="294" y="51"/>
                      </a:lnTo>
                      <a:lnTo>
                        <a:pt x="296" y="54"/>
                      </a:lnTo>
                      <a:lnTo>
                        <a:pt x="298" y="55"/>
                      </a:lnTo>
                      <a:lnTo>
                        <a:pt x="305" y="55"/>
                      </a:lnTo>
                      <a:lnTo>
                        <a:pt x="317" y="52"/>
                      </a:lnTo>
                      <a:lnTo>
                        <a:pt x="326" y="48"/>
                      </a:lnTo>
                      <a:lnTo>
                        <a:pt x="326" y="46"/>
                      </a:lnTo>
                      <a:lnTo>
                        <a:pt x="325" y="43"/>
                      </a:lnTo>
                      <a:lnTo>
                        <a:pt x="327" y="36"/>
                      </a:lnTo>
                      <a:lnTo>
                        <a:pt x="341" y="34"/>
                      </a:lnTo>
                      <a:lnTo>
                        <a:pt x="343" y="32"/>
                      </a:lnTo>
                      <a:lnTo>
                        <a:pt x="343" y="29"/>
                      </a:lnTo>
                      <a:lnTo>
                        <a:pt x="340" y="27"/>
                      </a:lnTo>
                      <a:lnTo>
                        <a:pt x="324" y="26"/>
                      </a:lnTo>
                      <a:lnTo>
                        <a:pt x="324" y="24"/>
                      </a:lnTo>
                      <a:lnTo>
                        <a:pt x="337" y="15"/>
                      </a:lnTo>
                      <a:lnTo>
                        <a:pt x="350" y="18"/>
                      </a:lnTo>
                      <a:lnTo>
                        <a:pt x="355" y="18"/>
                      </a:lnTo>
                      <a:lnTo>
                        <a:pt x="363" y="9"/>
                      </a:lnTo>
                      <a:lnTo>
                        <a:pt x="363" y="3"/>
                      </a:lnTo>
                      <a:lnTo>
                        <a:pt x="364" y="0"/>
                      </a:lnTo>
                      <a:lnTo>
                        <a:pt x="375" y="7"/>
                      </a:lnTo>
                      <a:lnTo>
                        <a:pt x="381" y="15"/>
                      </a:lnTo>
                      <a:lnTo>
                        <a:pt x="388" y="15"/>
                      </a:lnTo>
                      <a:lnTo>
                        <a:pt x="389" y="18"/>
                      </a:lnTo>
                      <a:lnTo>
                        <a:pt x="383" y="25"/>
                      </a:lnTo>
                      <a:lnTo>
                        <a:pt x="386" y="38"/>
                      </a:lnTo>
                      <a:lnTo>
                        <a:pt x="384" y="46"/>
                      </a:lnTo>
                      <a:lnTo>
                        <a:pt x="390" y="51"/>
                      </a:lnTo>
                      <a:lnTo>
                        <a:pt x="391" y="54"/>
                      </a:lnTo>
                      <a:lnTo>
                        <a:pt x="394" y="56"/>
                      </a:lnTo>
                      <a:lnTo>
                        <a:pt x="395" y="59"/>
                      </a:lnTo>
                      <a:lnTo>
                        <a:pt x="400" y="64"/>
                      </a:lnTo>
                      <a:lnTo>
                        <a:pt x="404" y="63"/>
                      </a:lnTo>
                      <a:lnTo>
                        <a:pt x="410" y="58"/>
                      </a:lnTo>
                      <a:lnTo>
                        <a:pt x="406" y="54"/>
                      </a:lnTo>
                      <a:lnTo>
                        <a:pt x="406" y="52"/>
                      </a:lnTo>
                      <a:lnTo>
                        <a:pt x="413" y="34"/>
                      </a:lnTo>
                      <a:lnTo>
                        <a:pt x="415" y="32"/>
                      </a:lnTo>
                      <a:lnTo>
                        <a:pt x="420" y="33"/>
                      </a:lnTo>
                      <a:lnTo>
                        <a:pt x="424" y="32"/>
                      </a:lnTo>
                      <a:lnTo>
                        <a:pt x="428" y="30"/>
                      </a:lnTo>
                      <a:lnTo>
                        <a:pt x="428" y="30"/>
                      </a:lnTo>
                      <a:lnTo>
                        <a:pt x="428" y="31"/>
                      </a:lnTo>
                      <a:lnTo>
                        <a:pt x="429" y="32"/>
                      </a:lnTo>
                      <a:lnTo>
                        <a:pt x="430" y="33"/>
                      </a:lnTo>
                      <a:lnTo>
                        <a:pt x="431" y="33"/>
                      </a:lnTo>
                      <a:lnTo>
                        <a:pt x="431" y="34"/>
                      </a:lnTo>
                      <a:lnTo>
                        <a:pt x="433" y="34"/>
                      </a:lnTo>
                      <a:lnTo>
                        <a:pt x="433" y="33"/>
                      </a:lnTo>
                      <a:lnTo>
                        <a:pt x="434" y="33"/>
                      </a:lnTo>
                      <a:lnTo>
                        <a:pt x="436" y="33"/>
                      </a:lnTo>
                      <a:lnTo>
                        <a:pt x="437" y="33"/>
                      </a:lnTo>
                      <a:lnTo>
                        <a:pt x="437" y="34"/>
                      </a:lnTo>
                      <a:lnTo>
                        <a:pt x="437" y="34"/>
                      </a:lnTo>
                      <a:lnTo>
                        <a:pt x="439" y="35"/>
                      </a:lnTo>
                      <a:lnTo>
                        <a:pt x="439" y="36"/>
                      </a:lnTo>
                      <a:lnTo>
                        <a:pt x="441" y="36"/>
                      </a:lnTo>
                      <a:lnTo>
                        <a:pt x="441" y="38"/>
                      </a:lnTo>
                      <a:lnTo>
                        <a:pt x="442" y="39"/>
                      </a:lnTo>
                      <a:lnTo>
                        <a:pt x="442" y="40"/>
                      </a:lnTo>
                      <a:lnTo>
                        <a:pt x="442" y="41"/>
                      </a:lnTo>
                      <a:lnTo>
                        <a:pt x="442" y="41"/>
                      </a:lnTo>
                      <a:lnTo>
                        <a:pt x="443" y="41"/>
                      </a:lnTo>
                      <a:lnTo>
                        <a:pt x="444" y="41"/>
                      </a:lnTo>
                      <a:lnTo>
                        <a:pt x="444" y="42"/>
                      </a:lnTo>
                      <a:lnTo>
                        <a:pt x="445" y="42"/>
                      </a:lnTo>
                      <a:lnTo>
                        <a:pt x="445" y="42"/>
                      </a:lnTo>
                      <a:lnTo>
                        <a:pt x="445" y="42"/>
                      </a:lnTo>
                      <a:lnTo>
                        <a:pt x="445" y="42"/>
                      </a:lnTo>
                      <a:lnTo>
                        <a:pt x="445" y="42"/>
                      </a:lnTo>
                      <a:lnTo>
                        <a:pt x="447" y="42"/>
                      </a:lnTo>
                      <a:lnTo>
                        <a:pt x="447" y="42"/>
                      </a:lnTo>
                      <a:lnTo>
                        <a:pt x="447" y="42"/>
                      </a:lnTo>
                      <a:lnTo>
                        <a:pt x="447" y="43"/>
                      </a:lnTo>
                      <a:lnTo>
                        <a:pt x="447" y="43"/>
                      </a:lnTo>
                      <a:lnTo>
                        <a:pt x="448" y="43"/>
                      </a:lnTo>
                      <a:lnTo>
                        <a:pt x="448" y="43"/>
                      </a:lnTo>
                      <a:lnTo>
                        <a:pt x="448" y="43"/>
                      </a:lnTo>
                      <a:lnTo>
                        <a:pt x="448" y="43"/>
                      </a:lnTo>
                      <a:lnTo>
                        <a:pt x="449" y="43"/>
                      </a:lnTo>
                      <a:lnTo>
                        <a:pt x="449" y="42"/>
                      </a:lnTo>
                      <a:lnTo>
                        <a:pt x="449" y="42"/>
                      </a:lnTo>
                      <a:lnTo>
                        <a:pt x="450" y="43"/>
                      </a:lnTo>
                      <a:lnTo>
                        <a:pt x="450" y="43"/>
                      </a:lnTo>
                      <a:lnTo>
                        <a:pt x="451" y="44"/>
                      </a:lnTo>
                      <a:lnTo>
                        <a:pt x="451" y="44"/>
                      </a:lnTo>
                      <a:lnTo>
                        <a:pt x="452" y="45"/>
                      </a:lnTo>
                      <a:lnTo>
                        <a:pt x="452" y="45"/>
                      </a:lnTo>
                      <a:lnTo>
                        <a:pt x="452" y="45"/>
                      </a:lnTo>
                      <a:lnTo>
                        <a:pt x="452" y="46"/>
                      </a:lnTo>
                      <a:lnTo>
                        <a:pt x="453" y="46"/>
                      </a:lnTo>
                      <a:lnTo>
                        <a:pt x="454" y="47"/>
                      </a:lnTo>
                      <a:lnTo>
                        <a:pt x="457" y="47"/>
                      </a:lnTo>
                      <a:lnTo>
                        <a:pt x="458" y="47"/>
                      </a:lnTo>
                      <a:lnTo>
                        <a:pt x="458" y="48"/>
                      </a:lnTo>
                      <a:lnTo>
                        <a:pt x="458" y="48"/>
                      </a:lnTo>
                      <a:lnTo>
                        <a:pt x="459" y="49"/>
                      </a:lnTo>
                      <a:lnTo>
                        <a:pt x="459" y="49"/>
                      </a:lnTo>
                      <a:lnTo>
                        <a:pt x="459" y="50"/>
                      </a:lnTo>
                      <a:lnTo>
                        <a:pt x="459" y="51"/>
                      </a:lnTo>
                      <a:lnTo>
                        <a:pt x="460" y="51"/>
                      </a:lnTo>
                      <a:lnTo>
                        <a:pt x="460" y="53"/>
                      </a:lnTo>
                      <a:lnTo>
                        <a:pt x="461" y="53"/>
                      </a:lnTo>
                      <a:lnTo>
                        <a:pt x="461" y="54"/>
                      </a:lnTo>
                      <a:lnTo>
                        <a:pt x="461" y="55"/>
                      </a:lnTo>
                      <a:lnTo>
                        <a:pt x="461" y="55"/>
                      </a:lnTo>
                      <a:lnTo>
                        <a:pt x="462" y="56"/>
                      </a:lnTo>
                      <a:lnTo>
                        <a:pt x="461" y="57"/>
                      </a:lnTo>
                      <a:lnTo>
                        <a:pt x="462" y="57"/>
                      </a:lnTo>
                      <a:lnTo>
                        <a:pt x="461" y="58"/>
                      </a:lnTo>
                      <a:lnTo>
                        <a:pt x="462" y="58"/>
                      </a:lnTo>
                      <a:lnTo>
                        <a:pt x="462" y="58"/>
                      </a:lnTo>
                      <a:lnTo>
                        <a:pt x="462" y="59"/>
                      </a:lnTo>
                      <a:lnTo>
                        <a:pt x="462" y="59"/>
                      </a:lnTo>
                      <a:lnTo>
                        <a:pt x="463" y="60"/>
                      </a:lnTo>
                      <a:lnTo>
                        <a:pt x="463" y="61"/>
                      </a:lnTo>
                      <a:lnTo>
                        <a:pt x="463" y="61"/>
                      </a:lnTo>
                      <a:lnTo>
                        <a:pt x="464" y="61"/>
                      </a:lnTo>
                      <a:lnTo>
                        <a:pt x="464" y="62"/>
                      </a:lnTo>
                      <a:lnTo>
                        <a:pt x="465" y="63"/>
                      </a:lnTo>
                      <a:lnTo>
                        <a:pt x="465" y="64"/>
                      </a:lnTo>
                      <a:lnTo>
                        <a:pt x="466" y="65"/>
                      </a:lnTo>
                      <a:lnTo>
                        <a:pt x="467" y="64"/>
                      </a:lnTo>
                      <a:lnTo>
                        <a:pt x="467" y="66"/>
                      </a:lnTo>
                      <a:lnTo>
                        <a:pt x="467" y="67"/>
                      </a:lnTo>
                      <a:lnTo>
                        <a:pt x="467" y="67"/>
                      </a:lnTo>
                      <a:lnTo>
                        <a:pt x="469" y="67"/>
                      </a:lnTo>
                      <a:lnTo>
                        <a:pt x="469" y="67"/>
                      </a:lnTo>
                      <a:lnTo>
                        <a:pt x="469" y="68"/>
                      </a:lnTo>
                      <a:lnTo>
                        <a:pt x="469" y="68"/>
                      </a:lnTo>
                      <a:lnTo>
                        <a:pt x="469" y="68"/>
                      </a:lnTo>
                      <a:lnTo>
                        <a:pt x="469" y="69"/>
                      </a:lnTo>
                      <a:lnTo>
                        <a:pt x="470" y="69"/>
                      </a:lnTo>
                      <a:lnTo>
                        <a:pt x="470" y="70"/>
                      </a:lnTo>
                      <a:lnTo>
                        <a:pt x="470" y="71"/>
                      </a:lnTo>
                      <a:lnTo>
                        <a:pt x="470" y="71"/>
                      </a:lnTo>
                      <a:lnTo>
                        <a:pt x="470" y="71"/>
                      </a:lnTo>
                      <a:lnTo>
                        <a:pt x="470" y="72"/>
                      </a:lnTo>
                      <a:lnTo>
                        <a:pt x="470" y="74"/>
                      </a:lnTo>
                      <a:lnTo>
                        <a:pt x="470" y="74"/>
                      </a:lnTo>
                      <a:lnTo>
                        <a:pt x="470" y="76"/>
                      </a:lnTo>
                      <a:lnTo>
                        <a:pt x="471" y="76"/>
                      </a:lnTo>
                      <a:lnTo>
                        <a:pt x="471" y="77"/>
                      </a:lnTo>
                      <a:lnTo>
                        <a:pt x="471" y="77"/>
                      </a:lnTo>
                      <a:lnTo>
                        <a:pt x="472" y="78"/>
                      </a:lnTo>
                      <a:lnTo>
                        <a:pt x="472" y="79"/>
                      </a:lnTo>
                      <a:lnTo>
                        <a:pt x="472" y="79"/>
                      </a:lnTo>
                      <a:lnTo>
                        <a:pt x="473" y="81"/>
                      </a:lnTo>
                      <a:lnTo>
                        <a:pt x="473" y="81"/>
                      </a:lnTo>
                      <a:lnTo>
                        <a:pt x="473" y="81"/>
                      </a:lnTo>
                      <a:lnTo>
                        <a:pt x="474" y="82"/>
                      </a:lnTo>
                      <a:lnTo>
                        <a:pt x="474" y="83"/>
                      </a:lnTo>
                      <a:lnTo>
                        <a:pt x="474" y="83"/>
                      </a:lnTo>
                      <a:lnTo>
                        <a:pt x="475" y="84"/>
                      </a:lnTo>
                      <a:lnTo>
                        <a:pt x="475" y="84"/>
                      </a:lnTo>
                      <a:lnTo>
                        <a:pt x="476" y="85"/>
                      </a:lnTo>
                      <a:lnTo>
                        <a:pt x="478" y="88"/>
                      </a:lnTo>
                      <a:lnTo>
                        <a:pt x="479" y="88"/>
                      </a:lnTo>
                      <a:lnTo>
                        <a:pt x="479" y="89"/>
                      </a:lnTo>
                      <a:lnTo>
                        <a:pt x="479" y="90"/>
                      </a:lnTo>
                      <a:lnTo>
                        <a:pt x="480" y="92"/>
                      </a:lnTo>
                      <a:lnTo>
                        <a:pt x="481" y="93"/>
                      </a:lnTo>
                      <a:lnTo>
                        <a:pt x="481" y="93"/>
                      </a:lnTo>
                      <a:lnTo>
                        <a:pt x="481" y="93"/>
                      </a:lnTo>
                      <a:lnTo>
                        <a:pt x="481" y="94"/>
                      </a:lnTo>
                      <a:lnTo>
                        <a:pt x="481" y="94"/>
                      </a:lnTo>
                      <a:lnTo>
                        <a:pt x="482" y="95"/>
                      </a:lnTo>
                      <a:lnTo>
                        <a:pt x="482" y="96"/>
                      </a:lnTo>
                      <a:lnTo>
                        <a:pt x="482" y="97"/>
                      </a:lnTo>
                      <a:lnTo>
                        <a:pt x="483" y="97"/>
                      </a:lnTo>
                      <a:lnTo>
                        <a:pt x="483" y="98"/>
                      </a:lnTo>
                      <a:lnTo>
                        <a:pt x="484" y="101"/>
                      </a:lnTo>
                      <a:lnTo>
                        <a:pt x="484" y="101"/>
                      </a:lnTo>
                      <a:lnTo>
                        <a:pt x="484" y="102"/>
                      </a:lnTo>
                      <a:lnTo>
                        <a:pt x="484" y="103"/>
                      </a:lnTo>
                      <a:lnTo>
                        <a:pt x="485" y="104"/>
                      </a:lnTo>
                      <a:lnTo>
                        <a:pt x="485" y="105"/>
                      </a:lnTo>
                      <a:lnTo>
                        <a:pt x="486" y="105"/>
                      </a:lnTo>
                      <a:lnTo>
                        <a:pt x="486" y="106"/>
                      </a:lnTo>
                      <a:lnTo>
                        <a:pt x="487" y="108"/>
                      </a:lnTo>
                      <a:lnTo>
                        <a:pt x="487" y="108"/>
                      </a:lnTo>
                      <a:lnTo>
                        <a:pt x="487" y="109"/>
                      </a:lnTo>
                      <a:lnTo>
                        <a:pt x="488" y="110"/>
                      </a:lnTo>
                      <a:lnTo>
                        <a:pt x="488" y="110"/>
                      </a:lnTo>
                      <a:lnTo>
                        <a:pt x="489" y="112"/>
                      </a:lnTo>
                      <a:lnTo>
                        <a:pt x="489" y="112"/>
                      </a:lnTo>
                      <a:lnTo>
                        <a:pt x="489" y="114"/>
                      </a:lnTo>
                      <a:lnTo>
                        <a:pt x="490" y="115"/>
                      </a:lnTo>
                      <a:lnTo>
                        <a:pt x="490" y="116"/>
                      </a:lnTo>
                      <a:lnTo>
                        <a:pt x="491" y="117"/>
                      </a:lnTo>
                      <a:lnTo>
                        <a:pt x="491" y="117"/>
                      </a:lnTo>
                      <a:lnTo>
                        <a:pt x="491" y="118"/>
                      </a:lnTo>
                      <a:lnTo>
                        <a:pt x="491" y="118"/>
                      </a:lnTo>
                      <a:lnTo>
                        <a:pt x="492" y="119"/>
                      </a:lnTo>
                      <a:lnTo>
                        <a:pt x="492" y="119"/>
                      </a:lnTo>
                      <a:lnTo>
                        <a:pt x="492" y="119"/>
                      </a:lnTo>
                      <a:lnTo>
                        <a:pt x="492" y="121"/>
                      </a:lnTo>
                      <a:lnTo>
                        <a:pt x="493" y="121"/>
                      </a:lnTo>
                      <a:lnTo>
                        <a:pt x="493" y="122"/>
                      </a:lnTo>
                      <a:lnTo>
                        <a:pt x="493" y="123"/>
                      </a:lnTo>
                      <a:lnTo>
                        <a:pt x="494" y="125"/>
                      </a:lnTo>
                      <a:lnTo>
                        <a:pt x="494" y="125"/>
                      </a:lnTo>
                      <a:lnTo>
                        <a:pt x="494" y="126"/>
                      </a:lnTo>
                      <a:lnTo>
                        <a:pt x="494" y="127"/>
                      </a:lnTo>
                      <a:lnTo>
                        <a:pt x="495" y="129"/>
                      </a:lnTo>
                      <a:lnTo>
                        <a:pt x="495" y="129"/>
                      </a:lnTo>
                      <a:lnTo>
                        <a:pt x="496" y="129"/>
                      </a:lnTo>
                      <a:lnTo>
                        <a:pt x="496" y="130"/>
                      </a:lnTo>
                      <a:lnTo>
                        <a:pt x="496" y="130"/>
                      </a:lnTo>
                      <a:lnTo>
                        <a:pt x="496" y="131"/>
                      </a:lnTo>
                      <a:lnTo>
                        <a:pt x="496" y="132"/>
                      </a:lnTo>
                      <a:lnTo>
                        <a:pt x="496" y="132"/>
                      </a:lnTo>
                      <a:lnTo>
                        <a:pt x="496" y="136"/>
                      </a:lnTo>
                      <a:lnTo>
                        <a:pt x="496" y="136"/>
                      </a:lnTo>
                      <a:lnTo>
                        <a:pt x="496" y="137"/>
                      </a:lnTo>
                      <a:lnTo>
                        <a:pt x="497" y="138"/>
                      </a:lnTo>
                      <a:lnTo>
                        <a:pt x="497" y="138"/>
                      </a:lnTo>
                      <a:lnTo>
                        <a:pt x="497" y="138"/>
                      </a:lnTo>
                      <a:lnTo>
                        <a:pt x="497" y="139"/>
                      </a:lnTo>
                      <a:lnTo>
                        <a:pt x="497" y="140"/>
                      </a:lnTo>
                      <a:lnTo>
                        <a:pt x="497" y="140"/>
                      </a:lnTo>
                      <a:lnTo>
                        <a:pt x="498" y="140"/>
                      </a:lnTo>
                      <a:lnTo>
                        <a:pt x="498" y="143"/>
                      </a:lnTo>
                      <a:lnTo>
                        <a:pt x="498" y="144"/>
                      </a:lnTo>
                      <a:lnTo>
                        <a:pt x="499" y="144"/>
                      </a:lnTo>
                      <a:lnTo>
                        <a:pt x="499" y="146"/>
                      </a:lnTo>
                      <a:lnTo>
                        <a:pt x="499" y="146"/>
                      </a:lnTo>
                      <a:lnTo>
                        <a:pt x="499" y="147"/>
                      </a:lnTo>
                      <a:lnTo>
                        <a:pt x="499" y="147"/>
                      </a:lnTo>
                      <a:lnTo>
                        <a:pt x="499" y="148"/>
                      </a:lnTo>
                      <a:lnTo>
                        <a:pt x="500" y="148"/>
                      </a:lnTo>
                      <a:lnTo>
                        <a:pt x="500" y="149"/>
                      </a:lnTo>
                      <a:lnTo>
                        <a:pt x="499" y="149"/>
                      </a:lnTo>
                      <a:lnTo>
                        <a:pt x="499" y="150"/>
                      </a:lnTo>
                      <a:lnTo>
                        <a:pt x="499" y="150"/>
                      </a:lnTo>
                      <a:lnTo>
                        <a:pt x="499" y="150"/>
                      </a:lnTo>
                      <a:lnTo>
                        <a:pt x="499" y="155"/>
                      </a:lnTo>
                      <a:lnTo>
                        <a:pt x="499" y="155"/>
                      </a:lnTo>
                      <a:lnTo>
                        <a:pt x="499" y="156"/>
                      </a:lnTo>
                      <a:lnTo>
                        <a:pt x="498" y="157"/>
                      </a:lnTo>
                      <a:lnTo>
                        <a:pt x="498" y="158"/>
                      </a:lnTo>
                      <a:lnTo>
                        <a:pt x="498" y="158"/>
                      </a:lnTo>
                      <a:lnTo>
                        <a:pt x="498" y="158"/>
                      </a:lnTo>
                      <a:lnTo>
                        <a:pt x="498" y="168"/>
                      </a:lnTo>
                      <a:lnTo>
                        <a:pt x="498" y="170"/>
                      </a:lnTo>
                      <a:lnTo>
                        <a:pt x="497" y="170"/>
                      </a:lnTo>
                      <a:lnTo>
                        <a:pt x="497" y="172"/>
                      </a:lnTo>
                      <a:lnTo>
                        <a:pt x="497" y="172"/>
                      </a:lnTo>
                      <a:lnTo>
                        <a:pt x="497" y="174"/>
                      </a:lnTo>
                      <a:lnTo>
                        <a:pt x="496" y="175"/>
                      </a:lnTo>
                      <a:lnTo>
                        <a:pt x="496" y="176"/>
                      </a:lnTo>
                      <a:lnTo>
                        <a:pt x="496" y="177"/>
                      </a:lnTo>
                      <a:lnTo>
                        <a:pt x="496" y="177"/>
                      </a:lnTo>
                      <a:lnTo>
                        <a:pt x="496" y="180"/>
                      </a:lnTo>
                      <a:lnTo>
                        <a:pt x="495" y="181"/>
                      </a:lnTo>
                      <a:lnTo>
                        <a:pt x="495" y="181"/>
                      </a:lnTo>
                      <a:lnTo>
                        <a:pt x="494" y="181"/>
                      </a:lnTo>
                      <a:lnTo>
                        <a:pt x="492" y="181"/>
                      </a:lnTo>
                      <a:lnTo>
                        <a:pt x="491" y="182"/>
                      </a:lnTo>
                      <a:lnTo>
                        <a:pt x="490" y="183"/>
                      </a:lnTo>
                      <a:lnTo>
                        <a:pt x="489" y="183"/>
                      </a:lnTo>
                      <a:lnTo>
                        <a:pt x="489" y="183"/>
                      </a:lnTo>
                      <a:lnTo>
                        <a:pt x="489" y="183"/>
                      </a:lnTo>
                      <a:lnTo>
                        <a:pt x="489" y="184"/>
                      </a:lnTo>
                      <a:lnTo>
                        <a:pt x="488" y="184"/>
                      </a:lnTo>
                      <a:lnTo>
                        <a:pt x="488" y="183"/>
                      </a:lnTo>
                      <a:lnTo>
                        <a:pt x="487" y="183"/>
                      </a:lnTo>
                      <a:lnTo>
                        <a:pt x="487" y="184"/>
                      </a:lnTo>
                      <a:lnTo>
                        <a:pt x="487" y="185"/>
                      </a:lnTo>
                      <a:lnTo>
                        <a:pt x="485" y="185"/>
                      </a:lnTo>
                      <a:lnTo>
                        <a:pt x="485" y="185"/>
                      </a:lnTo>
                      <a:lnTo>
                        <a:pt x="485" y="186"/>
                      </a:lnTo>
                      <a:lnTo>
                        <a:pt x="484" y="186"/>
                      </a:lnTo>
                      <a:lnTo>
                        <a:pt x="484" y="187"/>
                      </a:lnTo>
                      <a:lnTo>
                        <a:pt x="483" y="187"/>
                      </a:lnTo>
                      <a:lnTo>
                        <a:pt x="482" y="188"/>
                      </a:lnTo>
                      <a:lnTo>
                        <a:pt x="482" y="190"/>
                      </a:lnTo>
                      <a:lnTo>
                        <a:pt x="482" y="190"/>
                      </a:lnTo>
                      <a:lnTo>
                        <a:pt x="481" y="192"/>
                      </a:lnTo>
                      <a:lnTo>
                        <a:pt x="480" y="192"/>
                      </a:lnTo>
                      <a:lnTo>
                        <a:pt x="479" y="193"/>
                      </a:lnTo>
                      <a:lnTo>
                        <a:pt x="479" y="193"/>
                      </a:lnTo>
                      <a:lnTo>
                        <a:pt x="476" y="194"/>
                      </a:lnTo>
                      <a:lnTo>
                        <a:pt x="476" y="194"/>
                      </a:lnTo>
                      <a:lnTo>
                        <a:pt x="476" y="195"/>
                      </a:lnTo>
                      <a:lnTo>
                        <a:pt x="476" y="195"/>
                      </a:lnTo>
                      <a:lnTo>
                        <a:pt x="476" y="195"/>
                      </a:lnTo>
                      <a:lnTo>
                        <a:pt x="476" y="196"/>
                      </a:lnTo>
                      <a:lnTo>
                        <a:pt x="475" y="196"/>
                      </a:lnTo>
                      <a:lnTo>
                        <a:pt x="473" y="196"/>
                      </a:lnTo>
                      <a:lnTo>
                        <a:pt x="472" y="198"/>
                      </a:lnTo>
                      <a:lnTo>
                        <a:pt x="471" y="198"/>
                      </a:lnTo>
                      <a:lnTo>
                        <a:pt x="471" y="200"/>
                      </a:lnTo>
                      <a:lnTo>
                        <a:pt x="470" y="200"/>
                      </a:lnTo>
                      <a:lnTo>
                        <a:pt x="469" y="200"/>
                      </a:lnTo>
                      <a:lnTo>
                        <a:pt x="469" y="201"/>
                      </a:lnTo>
                      <a:lnTo>
                        <a:pt x="469" y="201"/>
                      </a:lnTo>
                      <a:lnTo>
                        <a:pt x="468" y="202"/>
                      </a:lnTo>
                      <a:lnTo>
                        <a:pt x="467" y="202"/>
                      </a:lnTo>
                      <a:lnTo>
                        <a:pt x="467" y="202"/>
                      </a:lnTo>
                      <a:lnTo>
                        <a:pt x="466" y="202"/>
                      </a:lnTo>
                      <a:lnTo>
                        <a:pt x="466" y="203"/>
                      </a:lnTo>
                      <a:lnTo>
                        <a:pt x="466" y="203"/>
                      </a:lnTo>
                      <a:lnTo>
                        <a:pt x="465" y="204"/>
                      </a:lnTo>
                      <a:lnTo>
                        <a:pt x="464" y="204"/>
                      </a:lnTo>
                      <a:lnTo>
                        <a:pt x="463" y="204"/>
                      </a:lnTo>
                      <a:lnTo>
                        <a:pt x="463" y="205"/>
                      </a:lnTo>
                      <a:lnTo>
                        <a:pt x="464" y="205"/>
                      </a:lnTo>
                      <a:lnTo>
                        <a:pt x="463" y="205"/>
                      </a:lnTo>
                      <a:lnTo>
                        <a:pt x="463" y="206"/>
                      </a:lnTo>
                      <a:lnTo>
                        <a:pt x="463" y="206"/>
                      </a:lnTo>
                      <a:lnTo>
                        <a:pt x="462" y="206"/>
                      </a:lnTo>
                      <a:lnTo>
                        <a:pt x="462" y="206"/>
                      </a:lnTo>
                      <a:lnTo>
                        <a:pt x="462" y="207"/>
                      </a:lnTo>
                      <a:lnTo>
                        <a:pt x="461" y="207"/>
                      </a:lnTo>
                      <a:lnTo>
                        <a:pt x="461" y="208"/>
                      </a:lnTo>
                      <a:lnTo>
                        <a:pt x="460" y="209"/>
                      </a:lnTo>
                      <a:lnTo>
                        <a:pt x="460" y="210"/>
                      </a:lnTo>
                      <a:lnTo>
                        <a:pt x="459" y="210"/>
                      </a:lnTo>
                      <a:lnTo>
                        <a:pt x="457" y="210"/>
                      </a:lnTo>
                      <a:lnTo>
                        <a:pt x="457" y="211"/>
                      </a:lnTo>
                      <a:lnTo>
                        <a:pt x="457" y="212"/>
                      </a:lnTo>
                      <a:lnTo>
                        <a:pt x="458" y="212"/>
                      </a:lnTo>
                      <a:lnTo>
                        <a:pt x="458" y="213"/>
                      </a:lnTo>
                      <a:lnTo>
                        <a:pt x="456" y="213"/>
                      </a:lnTo>
                      <a:lnTo>
                        <a:pt x="455" y="214"/>
                      </a:lnTo>
                      <a:lnTo>
                        <a:pt x="454" y="214"/>
                      </a:lnTo>
                      <a:lnTo>
                        <a:pt x="454" y="214"/>
                      </a:lnTo>
                      <a:lnTo>
                        <a:pt x="455" y="214"/>
                      </a:lnTo>
                      <a:lnTo>
                        <a:pt x="455" y="215"/>
                      </a:lnTo>
                      <a:lnTo>
                        <a:pt x="454" y="215"/>
                      </a:lnTo>
                      <a:lnTo>
                        <a:pt x="454" y="215"/>
                      </a:lnTo>
                      <a:lnTo>
                        <a:pt x="453" y="215"/>
                      </a:lnTo>
                      <a:lnTo>
                        <a:pt x="453" y="216"/>
                      </a:lnTo>
                      <a:lnTo>
                        <a:pt x="454" y="216"/>
                      </a:lnTo>
                      <a:lnTo>
                        <a:pt x="454" y="216"/>
                      </a:lnTo>
                      <a:lnTo>
                        <a:pt x="453" y="216"/>
                      </a:lnTo>
                      <a:lnTo>
                        <a:pt x="452" y="217"/>
                      </a:lnTo>
                      <a:lnTo>
                        <a:pt x="452" y="218"/>
                      </a:lnTo>
                      <a:lnTo>
                        <a:pt x="452" y="218"/>
                      </a:lnTo>
                      <a:lnTo>
                        <a:pt x="452" y="219"/>
                      </a:lnTo>
                      <a:lnTo>
                        <a:pt x="451" y="219"/>
                      </a:lnTo>
                      <a:lnTo>
                        <a:pt x="451" y="220"/>
                      </a:lnTo>
                      <a:lnTo>
                        <a:pt x="450" y="220"/>
                      </a:lnTo>
                      <a:lnTo>
                        <a:pt x="450" y="221"/>
                      </a:lnTo>
                      <a:lnTo>
                        <a:pt x="449" y="221"/>
                      </a:lnTo>
                      <a:lnTo>
                        <a:pt x="449" y="221"/>
                      </a:lnTo>
                      <a:lnTo>
                        <a:pt x="449" y="222"/>
                      </a:lnTo>
                      <a:lnTo>
                        <a:pt x="449" y="222"/>
                      </a:lnTo>
                      <a:lnTo>
                        <a:pt x="450" y="222"/>
                      </a:lnTo>
                      <a:lnTo>
                        <a:pt x="450" y="222"/>
                      </a:lnTo>
                      <a:lnTo>
                        <a:pt x="449" y="222"/>
                      </a:lnTo>
                      <a:lnTo>
                        <a:pt x="449" y="224"/>
                      </a:lnTo>
                      <a:lnTo>
                        <a:pt x="449" y="224"/>
                      </a:lnTo>
                      <a:lnTo>
                        <a:pt x="448" y="224"/>
                      </a:lnTo>
                      <a:lnTo>
                        <a:pt x="448" y="225"/>
                      </a:lnTo>
                      <a:lnTo>
                        <a:pt x="448" y="226"/>
                      </a:lnTo>
                      <a:lnTo>
                        <a:pt x="447" y="226"/>
                      </a:lnTo>
                      <a:lnTo>
                        <a:pt x="446" y="226"/>
                      </a:lnTo>
                      <a:lnTo>
                        <a:pt x="446" y="228"/>
                      </a:lnTo>
                      <a:lnTo>
                        <a:pt x="446" y="228"/>
                      </a:lnTo>
                      <a:lnTo>
                        <a:pt x="445" y="228"/>
                      </a:lnTo>
                      <a:lnTo>
                        <a:pt x="446" y="229"/>
                      </a:lnTo>
                      <a:lnTo>
                        <a:pt x="445" y="230"/>
                      </a:lnTo>
                      <a:lnTo>
                        <a:pt x="445" y="231"/>
                      </a:lnTo>
                      <a:lnTo>
                        <a:pt x="445" y="231"/>
                      </a:lnTo>
                      <a:lnTo>
                        <a:pt x="444" y="231"/>
                      </a:lnTo>
                      <a:lnTo>
                        <a:pt x="444" y="231"/>
                      </a:lnTo>
                      <a:lnTo>
                        <a:pt x="443" y="231"/>
                      </a:lnTo>
                      <a:lnTo>
                        <a:pt x="444" y="232"/>
                      </a:lnTo>
                      <a:lnTo>
                        <a:pt x="443" y="232"/>
                      </a:lnTo>
                      <a:lnTo>
                        <a:pt x="443" y="233"/>
                      </a:lnTo>
                      <a:lnTo>
                        <a:pt x="443" y="233"/>
                      </a:lnTo>
                      <a:lnTo>
                        <a:pt x="443" y="233"/>
                      </a:lnTo>
                      <a:lnTo>
                        <a:pt x="443" y="233"/>
                      </a:lnTo>
                      <a:lnTo>
                        <a:pt x="443" y="234"/>
                      </a:lnTo>
                      <a:lnTo>
                        <a:pt x="443" y="234"/>
                      </a:lnTo>
                      <a:lnTo>
                        <a:pt x="442" y="234"/>
                      </a:lnTo>
                      <a:lnTo>
                        <a:pt x="442" y="235"/>
                      </a:lnTo>
                      <a:lnTo>
                        <a:pt x="442" y="235"/>
                      </a:lnTo>
                      <a:lnTo>
                        <a:pt x="442" y="235"/>
                      </a:lnTo>
                      <a:lnTo>
                        <a:pt x="442" y="236"/>
                      </a:lnTo>
                      <a:lnTo>
                        <a:pt x="442" y="237"/>
                      </a:lnTo>
                      <a:lnTo>
                        <a:pt x="438" y="240"/>
                      </a:lnTo>
                      <a:lnTo>
                        <a:pt x="436" y="242"/>
                      </a:lnTo>
                      <a:lnTo>
                        <a:pt x="434" y="244"/>
                      </a:lnTo>
                      <a:lnTo>
                        <a:pt x="433" y="246"/>
                      </a:lnTo>
                      <a:lnTo>
                        <a:pt x="432" y="246"/>
                      </a:lnTo>
                      <a:lnTo>
                        <a:pt x="432" y="246"/>
                      </a:lnTo>
                      <a:lnTo>
                        <a:pt x="432" y="247"/>
                      </a:lnTo>
                      <a:lnTo>
                        <a:pt x="432" y="247"/>
                      </a:lnTo>
                      <a:lnTo>
                        <a:pt x="433" y="247"/>
                      </a:lnTo>
                      <a:lnTo>
                        <a:pt x="433" y="246"/>
                      </a:lnTo>
                      <a:lnTo>
                        <a:pt x="435" y="244"/>
                      </a:lnTo>
                      <a:lnTo>
                        <a:pt x="436" y="242"/>
                      </a:lnTo>
                      <a:lnTo>
                        <a:pt x="438" y="240"/>
                      </a:lnTo>
                      <a:lnTo>
                        <a:pt x="439" y="240"/>
                      </a:lnTo>
                      <a:lnTo>
                        <a:pt x="439" y="241"/>
                      </a:lnTo>
                      <a:lnTo>
                        <a:pt x="441" y="242"/>
                      </a:lnTo>
                      <a:lnTo>
                        <a:pt x="439" y="243"/>
                      </a:lnTo>
                      <a:lnTo>
                        <a:pt x="439" y="244"/>
                      </a:lnTo>
                      <a:lnTo>
                        <a:pt x="439" y="245"/>
                      </a:lnTo>
                      <a:lnTo>
                        <a:pt x="438" y="246"/>
                      </a:lnTo>
                      <a:lnTo>
                        <a:pt x="438" y="246"/>
                      </a:lnTo>
                      <a:lnTo>
                        <a:pt x="439" y="246"/>
                      </a:lnTo>
                      <a:lnTo>
                        <a:pt x="439" y="246"/>
                      </a:lnTo>
                      <a:lnTo>
                        <a:pt x="442" y="246"/>
                      </a:lnTo>
                      <a:lnTo>
                        <a:pt x="442" y="246"/>
                      </a:lnTo>
                      <a:lnTo>
                        <a:pt x="441" y="247"/>
                      </a:lnTo>
                      <a:lnTo>
                        <a:pt x="441" y="247"/>
                      </a:lnTo>
                      <a:lnTo>
                        <a:pt x="442" y="247"/>
                      </a:lnTo>
                      <a:lnTo>
                        <a:pt x="442" y="248"/>
                      </a:lnTo>
                      <a:lnTo>
                        <a:pt x="443" y="248"/>
                      </a:lnTo>
                      <a:lnTo>
                        <a:pt x="444" y="248"/>
                      </a:lnTo>
                      <a:lnTo>
                        <a:pt x="444" y="248"/>
                      </a:lnTo>
                      <a:lnTo>
                        <a:pt x="444" y="248"/>
                      </a:lnTo>
                      <a:lnTo>
                        <a:pt x="445" y="250"/>
                      </a:lnTo>
                      <a:lnTo>
                        <a:pt x="446" y="250"/>
                      </a:lnTo>
                      <a:lnTo>
                        <a:pt x="446" y="248"/>
                      </a:lnTo>
                      <a:lnTo>
                        <a:pt x="447" y="248"/>
                      </a:lnTo>
                      <a:lnTo>
                        <a:pt x="447" y="250"/>
                      </a:lnTo>
                      <a:lnTo>
                        <a:pt x="449" y="249"/>
                      </a:lnTo>
                      <a:lnTo>
                        <a:pt x="450" y="248"/>
                      </a:lnTo>
                      <a:lnTo>
                        <a:pt x="450" y="248"/>
                      </a:lnTo>
                      <a:lnTo>
                        <a:pt x="451" y="248"/>
                      </a:lnTo>
                      <a:lnTo>
                        <a:pt x="451" y="249"/>
                      </a:lnTo>
                      <a:lnTo>
                        <a:pt x="453" y="252"/>
                      </a:lnTo>
                      <a:lnTo>
                        <a:pt x="454" y="252"/>
                      </a:lnTo>
                      <a:lnTo>
                        <a:pt x="454" y="251"/>
                      </a:lnTo>
                      <a:lnTo>
                        <a:pt x="455" y="251"/>
                      </a:lnTo>
                      <a:lnTo>
                        <a:pt x="455" y="252"/>
                      </a:lnTo>
                      <a:lnTo>
                        <a:pt x="455" y="254"/>
                      </a:lnTo>
                      <a:lnTo>
                        <a:pt x="455" y="255"/>
                      </a:lnTo>
                      <a:lnTo>
                        <a:pt x="456" y="255"/>
                      </a:lnTo>
                      <a:lnTo>
                        <a:pt x="456" y="255"/>
                      </a:lnTo>
                      <a:lnTo>
                        <a:pt x="456" y="255"/>
                      </a:lnTo>
                      <a:lnTo>
                        <a:pt x="457" y="255"/>
                      </a:lnTo>
                      <a:lnTo>
                        <a:pt x="458" y="255"/>
                      </a:lnTo>
                      <a:lnTo>
                        <a:pt x="458" y="256"/>
                      </a:lnTo>
                      <a:lnTo>
                        <a:pt x="459" y="256"/>
                      </a:lnTo>
                      <a:lnTo>
                        <a:pt x="459" y="256"/>
                      </a:lnTo>
                      <a:lnTo>
                        <a:pt x="460" y="256"/>
                      </a:lnTo>
                      <a:lnTo>
                        <a:pt x="460" y="256"/>
                      </a:lnTo>
                      <a:lnTo>
                        <a:pt x="460" y="256"/>
                      </a:lnTo>
                      <a:lnTo>
                        <a:pt x="460" y="256"/>
                      </a:lnTo>
                      <a:lnTo>
                        <a:pt x="460" y="255"/>
                      </a:lnTo>
                      <a:lnTo>
                        <a:pt x="461" y="256"/>
                      </a:lnTo>
                      <a:lnTo>
                        <a:pt x="461" y="256"/>
                      </a:lnTo>
                      <a:lnTo>
                        <a:pt x="461" y="256"/>
                      </a:lnTo>
                      <a:lnTo>
                        <a:pt x="461" y="257"/>
                      </a:lnTo>
                      <a:lnTo>
                        <a:pt x="462" y="257"/>
                      </a:lnTo>
                      <a:lnTo>
                        <a:pt x="462" y="257"/>
                      </a:lnTo>
                      <a:lnTo>
                        <a:pt x="462" y="257"/>
                      </a:lnTo>
                      <a:lnTo>
                        <a:pt x="462" y="257"/>
                      </a:lnTo>
                      <a:lnTo>
                        <a:pt x="462" y="257"/>
                      </a:lnTo>
                      <a:lnTo>
                        <a:pt x="462" y="258"/>
                      </a:lnTo>
                      <a:lnTo>
                        <a:pt x="463" y="258"/>
                      </a:lnTo>
                      <a:lnTo>
                        <a:pt x="463" y="258"/>
                      </a:lnTo>
                      <a:lnTo>
                        <a:pt x="462" y="259"/>
                      </a:lnTo>
                      <a:lnTo>
                        <a:pt x="462" y="259"/>
                      </a:lnTo>
                      <a:lnTo>
                        <a:pt x="463" y="259"/>
                      </a:lnTo>
                      <a:lnTo>
                        <a:pt x="463" y="259"/>
                      </a:lnTo>
                      <a:lnTo>
                        <a:pt x="464" y="260"/>
                      </a:lnTo>
                      <a:lnTo>
                        <a:pt x="463" y="260"/>
                      </a:lnTo>
                      <a:lnTo>
                        <a:pt x="463" y="261"/>
                      </a:lnTo>
                      <a:lnTo>
                        <a:pt x="464" y="263"/>
                      </a:lnTo>
                      <a:lnTo>
                        <a:pt x="465" y="263"/>
                      </a:lnTo>
                      <a:lnTo>
                        <a:pt x="466" y="264"/>
                      </a:lnTo>
                      <a:lnTo>
                        <a:pt x="465" y="266"/>
                      </a:lnTo>
                      <a:lnTo>
                        <a:pt x="466" y="266"/>
                      </a:lnTo>
                      <a:lnTo>
                        <a:pt x="466" y="266"/>
                      </a:lnTo>
                      <a:lnTo>
                        <a:pt x="467" y="267"/>
                      </a:lnTo>
                      <a:lnTo>
                        <a:pt x="468" y="267"/>
                      </a:lnTo>
                      <a:lnTo>
                        <a:pt x="468" y="269"/>
                      </a:lnTo>
                      <a:lnTo>
                        <a:pt x="468" y="270"/>
                      </a:lnTo>
                      <a:lnTo>
                        <a:pt x="469" y="270"/>
                      </a:lnTo>
                      <a:lnTo>
                        <a:pt x="469" y="271"/>
                      </a:lnTo>
                      <a:lnTo>
                        <a:pt x="470" y="272"/>
                      </a:lnTo>
                      <a:lnTo>
                        <a:pt x="470" y="274"/>
                      </a:lnTo>
                      <a:lnTo>
                        <a:pt x="470" y="274"/>
                      </a:lnTo>
                      <a:lnTo>
                        <a:pt x="470" y="274"/>
                      </a:lnTo>
                      <a:lnTo>
                        <a:pt x="471" y="274"/>
                      </a:lnTo>
                      <a:lnTo>
                        <a:pt x="471" y="275"/>
                      </a:lnTo>
                      <a:lnTo>
                        <a:pt x="472" y="275"/>
                      </a:lnTo>
                      <a:lnTo>
                        <a:pt x="472" y="275"/>
                      </a:lnTo>
                      <a:lnTo>
                        <a:pt x="472" y="275"/>
                      </a:lnTo>
                      <a:lnTo>
                        <a:pt x="473" y="276"/>
                      </a:lnTo>
                      <a:lnTo>
                        <a:pt x="474" y="276"/>
                      </a:lnTo>
                      <a:lnTo>
                        <a:pt x="474" y="275"/>
                      </a:lnTo>
                      <a:lnTo>
                        <a:pt x="474" y="275"/>
                      </a:lnTo>
                      <a:lnTo>
                        <a:pt x="475" y="275"/>
                      </a:lnTo>
                      <a:lnTo>
                        <a:pt x="475" y="275"/>
                      </a:lnTo>
                      <a:lnTo>
                        <a:pt x="476" y="275"/>
                      </a:lnTo>
                      <a:lnTo>
                        <a:pt x="476" y="275"/>
                      </a:lnTo>
                      <a:lnTo>
                        <a:pt x="476" y="276"/>
                      </a:lnTo>
                      <a:lnTo>
                        <a:pt x="478" y="276"/>
                      </a:lnTo>
                      <a:lnTo>
                        <a:pt x="479" y="277"/>
                      </a:lnTo>
                      <a:lnTo>
                        <a:pt x="480" y="277"/>
                      </a:lnTo>
                      <a:lnTo>
                        <a:pt x="481" y="277"/>
                      </a:lnTo>
                      <a:lnTo>
                        <a:pt x="482" y="276"/>
                      </a:lnTo>
                      <a:lnTo>
                        <a:pt x="484" y="276"/>
                      </a:lnTo>
                      <a:lnTo>
                        <a:pt x="485" y="275"/>
                      </a:lnTo>
                      <a:lnTo>
                        <a:pt x="485" y="275"/>
                      </a:lnTo>
                      <a:lnTo>
                        <a:pt x="485" y="275"/>
                      </a:lnTo>
                      <a:lnTo>
                        <a:pt x="480" y="291"/>
                      </a:lnTo>
                      <a:lnTo>
                        <a:pt x="483" y="296"/>
                      </a:lnTo>
                      <a:lnTo>
                        <a:pt x="483" y="298"/>
                      </a:lnTo>
                      <a:lnTo>
                        <a:pt x="466" y="310"/>
                      </a:lnTo>
                      <a:lnTo>
                        <a:pt x="461" y="310"/>
                      </a:lnTo>
                      <a:lnTo>
                        <a:pt x="456" y="309"/>
                      </a:lnTo>
                      <a:lnTo>
                        <a:pt x="445" y="315"/>
                      </a:lnTo>
                      <a:lnTo>
                        <a:pt x="437" y="316"/>
                      </a:lnTo>
                      <a:lnTo>
                        <a:pt x="435" y="318"/>
                      </a:lnTo>
                      <a:lnTo>
                        <a:pt x="436" y="328"/>
                      </a:lnTo>
                      <a:lnTo>
                        <a:pt x="434" y="332"/>
                      </a:lnTo>
                      <a:lnTo>
                        <a:pt x="431" y="335"/>
                      </a:lnTo>
                      <a:lnTo>
                        <a:pt x="424" y="335"/>
                      </a:lnTo>
                      <a:lnTo>
                        <a:pt x="414" y="332"/>
                      </a:lnTo>
                      <a:lnTo>
                        <a:pt x="407" y="335"/>
                      </a:lnTo>
                      <a:lnTo>
                        <a:pt x="404" y="334"/>
                      </a:lnTo>
                      <a:lnTo>
                        <a:pt x="395" y="338"/>
                      </a:lnTo>
                      <a:lnTo>
                        <a:pt x="390" y="336"/>
                      </a:lnTo>
                      <a:lnTo>
                        <a:pt x="386" y="337"/>
                      </a:lnTo>
                      <a:lnTo>
                        <a:pt x="382" y="332"/>
                      </a:lnTo>
                      <a:lnTo>
                        <a:pt x="370" y="335"/>
                      </a:lnTo>
                      <a:lnTo>
                        <a:pt x="358" y="330"/>
                      </a:lnTo>
                      <a:lnTo>
                        <a:pt x="340" y="339"/>
                      </a:lnTo>
                      <a:lnTo>
                        <a:pt x="333" y="339"/>
                      </a:lnTo>
                      <a:lnTo>
                        <a:pt x="326" y="337"/>
                      </a:lnTo>
                      <a:lnTo>
                        <a:pt x="321" y="339"/>
                      </a:lnTo>
                      <a:lnTo>
                        <a:pt x="324" y="344"/>
                      </a:lnTo>
                      <a:lnTo>
                        <a:pt x="326" y="350"/>
                      </a:lnTo>
                      <a:lnTo>
                        <a:pt x="324" y="363"/>
                      </a:lnTo>
                      <a:lnTo>
                        <a:pt x="327" y="365"/>
                      </a:lnTo>
                      <a:lnTo>
                        <a:pt x="338" y="364"/>
                      </a:lnTo>
                      <a:lnTo>
                        <a:pt x="337" y="369"/>
                      </a:lnTo>
                      <a:lnTo>
                        <a:pt x="341" y="374"/>
                      </a:lnTo>
                      <a:lnTo>
                        <a:pt x="339" y="383"/>
                      </a:lnTo>
                      <a:lnTo>
                        <a:pt x="351" y="391"/>
                      </a:lnTo>
                      <a:lnTo>
                        <a:pt x="354" y="402"/>
                      </a:lnTo>
                      <a:lnTo>
                        <a:pt x="353" y="405"/>
                      </a:lnTo>
                      <a:lnTo>
                        <a:pt x="344" y="418"/>
                      </a:lnTo>
                      <a:lnTo>
                        <a:pt x="337" y="423"/>
                      </a:lnTo>
                      <a:lnTo>
                        <a:pt x="335" y="428"/>
                      </a:lnTo>
                      <a:lnTo>
                        <a:pt x="322" y="433"/>
                      </a:lnTo>
                      <a:lnTo>
                        <a:pt x="322" y="439"/>
                      </a:lnTo>
                      <a:lnTo>
                        <a:pt x="327" y="447"/>
                      </a:lnTo>
                      <a:lnTo>
                        <a:pt x="327" y="452"/>
                      </a:lnTo>
                      <a:lnTo>
                        <a:pt x="318" y="455"/>
                      </a:lnTo>
                      <a:lnTo>
                        <a:pt x="314" y="462"/>
                      </a:lnTo>
                      <a:lnTo>
                        <a:pt x="314" y="469"/>
                      </a:lnTo>
                      <a:lnTo>
                        <a:pt x="312" y="473"/>
                      </a:lnTo>
                      <a:lnTo>
                        <a:pt x="311" y="474"/>
                      </a:lnTo>
                      <a:lnTo>
                        <a:pt x="307" y="474"/>
                      </a:lnTo>
                      <a:lnTo>
                        <a:pt x="303" y="468"/>
                      </a:lnTo>
                      <a:lnTo>
                        <a:pt x="300" y="468"/>
                      </a:lnTo>
                      <a:lnTo>
                        <a:pt x="289" y="470"/>
                      </a:lnTo>
                      <a:lnTo>
                        <a:pt x="288" y="472"/>
                      </a:lnTo>
                      <a:lnTo>
                        <a:pt x="290" y="477"/>
                      </a:lnTo>
                      <a:lnTo>
                        <a:pt x="290" y="484"/>
                      </a:lnTo>
                      <a:lnTo>
                        <a:pt x="286" y="493"/>
                      </a:lnTo>
                      <a:lnTo>
                        <a:pt x="286" y="493"/>
                      </a:lnTo>
                      <a:lnTo>
                        <a:pt x="271" y="503"/>
                      </a:lnTo>
                      <a:lnTo>
                        <a:pt x="264" y="503"/>
                      </a:lnTo>
                      <a:lnTo>
                        <a:pt x="261" y="508"/>
                      </a:lnTo>
                      <a:lnTo>
                        <a:pt x="255" y="507"/>
                      </a:lnTo>
                      <a:lnTo>
                        <a:pt x="254" y="509"/>
                      </a:lnTo>
                      <a:lnTo>
                        <a:pt x="254" y="511"/>
                      </a:lnTo>
                      <a:lnTo>
                        <a:pt x="250" y="515"/>
                      </a:lnTo>
                      <a:lnTo>
                        <a:pt x="239" y="519"/>
                      </a:lnTo>
                      <a:lnTo>
                        <a:pt x="239" y="522"/>
                      </a:lnTo>
                      <a:lnTo>
                        <a:pt x="242" y="523"/>
                      </a:lnTo>
                      <a:lnTo>
                        <a:pt x="245" y="529"/>
                      </a:lnTo>
                      <a:lnTo>
                        <a:pt x="250" y="534"/>
                      </a:lnTo>
                      <a:lnTo>
                        <a:pt x="250" y="537"/>
                      </a:lnTo>
                      <a:lnTo>
                        <a:pt x="248" y="538"/>
                      </a:lnTo>
                      <a:lnTo>
                        <a:pt x="244" y="539"/>
                      </a:lnTo>
                      <a:lnTo>
                        <a:pt x="244" y="545"/>
                      </a:lnTo>
                      <a:lnTo>
                        <a:pt x="237" y="552"/>
                      </a:lnTo>
                      <a:lnTo>
                        <a:pt x="235" y="552"/>
                      </a:lnTo>
                      <a:lnTo>
                        <a:pt x="227" y="534"/>
                      </a:lnTo>
                      <a:lnTo>
                        <a:pt x="225" y="534"/>
                      </a:lnTo>
                      <a:lnTo>
                        <a:pt x="215" y="537"/>
                      </a:lnTo>
                      <a:lnTo>
                        <a:pt x="209" y="537"/>
                      </a:lnTo>
                      <a:lnTo>
                        <a:pt x="206" y="540"/>
                      </a:lnTo>
                      <a:lnTo>
                        <a:pt x="194" y="544"/>
                      </a:lnTo>
                      <a:lnTo>
                        <a:pt x="189" y="547"/>
                      </a:lnTo>
                      <a:lnTo>
                        <a:pt x="184" y="552"/>
                      </a:lnTo>
                      <a:lnTo>
                        <a:pt x="191" y="555"/>
                      </a:lnTo>
                      <a:lnTo>
                        <a:pt x="189" y="556"/>
                      </a:lnTo>
                      <a:lnTo>
                        <a:pt x="185" y="562"/>
                      </a:lnTo>
                      <a:lnTo>
                        <a:pt x="180" y="562"/>
                      </a:lnTo>
                      <a:lnTo>
                        <a:pt x="175" y="565"/>
                      </a:lnTo>
                      <a:lnTo>
                        <a:pt x="164" y="565"/>
                      </a:lnTo>
                      <a:lnTo>
                        <a:pt x="160" y="566"/>
                      </a:lnTo>
                      <a:lnTo>
                        <a:pt x="158" y="565"/>
                      </a:lnTo>
                      <a:lnTo>
                        <a:pt x="153" y="548"/>
                      </a:lnTo>
                      <a:lnTo>
                        <a:pt x="152" y="545"/>
                      </a:lnTo>
                      <a:lnTo>
                        <a:pt x="152" y="534"/>
                      </a:lnTo>
                      <a:lnTo>
                        <a:pt x="149" y="532"/>
                      </a:lnTo>
                      <a:lnTo>
                        <a:pt x="156" y="528"/>
                      </a:lnTo>
                      <a:lnTo>
                        <a:pt x="162" y="527"/>
                      </a:lnTo>
                      <a:lnTo>
                        <a:pt x="164" y="525"/>
                      </a:lnTo>
                      <a:lnTo>
                        <a:pt x="146" y="503"/>
                      </a:lnTo>
                      <a:lnTo>
                        <a:pt x="146" y="503"/>
                      </a:lnTo>
                      <a:lnTo>
                        <a:pt x="147" y="500"/>
                      </a:lnTo>
                      <a:lnTo>
                        <a:pt x="150" y="497"/>
                      </a:lnTo>
                      <a:lnTo>
                        <a:pt x="161" y="491"/>
                      </a:lnTo>
                      <a:lnTo>
                        <a:pt x="162" y="488"/>
                      </a:lnTo>
                      <a:lnTo>
                        <a:pt x="158" y="483"/>
                      </a:lnTo>
                      <a:lnTo>
                        <a:pt x="158" y="480"/>
                      </a:lnTo>
                      <a:lnTo>
                        <a:pt x="170" y="473"/>
                      </a:lnTo>
                      <a:lnTo>
                        <a:pt x="169" y="465"/>
                      </a:lnTo>
                      <a:lnTo>
                        <a:pt x="166" y="462"/>
                      </a:lnTo>
                      <a:lnTo>
                        <a:pt x="171" y="456"/>
                      </a:lnTo>
                      <a:lnTo>
                        <a:pt x="170" y="453"/>
                      </a:lnTo>
                      <a:lnTo>
                        <a:pt x="163" y="452"/>
                      </a:lnTo>
                      <a:lnTo>
                        <a:pt x="161" y="449"/>
                      </a:lnTo>
                      <a:lnTo>
                        <a:pt x="165" y="446"/>
                      </a:lnTo>
                      <a:lnTo>
                        <a:pt x="175" y="442"/>
                      </a:lnTo>
                      <a:lnTo>
                        <a:pt x="179" y="439"/>
                      </a:lnTo>
                      <a:lnTo>
                        <a:pt x="179" y="436"/>
                      </a:lnTo>
                      <a:lnTo>
                        <a:pt x="174" y="428"/>
                      </a:lnTo>
                      <a:lnTo>
                        <a:pt x="169" y="415"/>
                      </a:lnTo>
                      <a:lnTo>
                        <a:pt x="163" y="412"/>
                      </a:lnTo>
                      <a:lnTo>
                        <a:pt x="152" y="394"/>
                      </a:lnTo>
                      <a:lnTo>
                        <a:pt x="130" y="383"/>
                      </a:lnTo>
                      <a:lnTo>
                        <a:pt x="128" y="378"/>
                      </a:lnTo>
                      <a:lnTo>
                        <a:pt x="126" y="374"/>
                      </a:lnTo>
                      <a:lnTo>
                        <a:pt x="110" y="367"/>
                      </a:lnTo>
                      <a:lnTo>
                        <a:pt x="105" y="361"/>
                      </a:lnTo>
                      <a:lnTo>
                        <a:pt x="98" y="359"/>
                      </a:lnTo>
                      <a:lnTo>
                        <a:pt x="99" y="352"/>
                      </a:lnTo>
                      <a:lnTo>
                        <a:pt x="96" y="345"/>
                      </a:lnTo>
                      <a:lnTo>
                        <a:pt x="100" y="343"/>
                      </a:lnTo>
                      <a:lnTo>
                        <a:pt x="101" y="338"/>
                      </a:lnTo>
                      <a:lnTo>
                        <a:pt x="91" y="326"/>
                      </a:lnTo>
                      <a:lnTo>
                        <a:pt x="91" y="323"/>
                      </a:lnTo>
                      <a:lnTo>
                        <a:pt x="87" y="323"/>
                      </a:lnTo>
                      <a:lnTo>
                        <a:pt x="86" y="320"/>
                      </a:lnTo>
                      <a:lnTo>
                        <a:pt x="83" y="323"/>
                      </a:lnTo>
                      <a:lnTo>
                        <a:pt x="79" y="323"/>
                      </a:lnTo>
                      <a:lnTo>
                        <a:pt x="78" y="316"/>
                      </a:lnTo>
                      <a:lnTo>
                        <a:pt x="71" y="313"/>
                      </a:lnTo>
                      <a:lnTo>
                        <a:pt x="67" y="309"/>
                      </a:lnTo>
                      <a:lnTo>
                        <a:pt x="73" y="297"/>
                      </a:lnTo>
                      <a:lnTo>
                        <a:pt x="81" y="293"/>
                      </a:lnTo>
                      <a:lnTo>
                        <a:pt x="84" y="284"/>
                      </a:lnTo>
                      <a:lnTo>
                        <a:pt x="89" y="280"/>
                      </a:lnTo>
                      <a:lnTo>
                        <a:pt x="86" y="273"/>
                      </a:lnTo>
                      <a:lnTo>
                        <a:pt x="81" y="269"/>
                      </a:lnTo>
                      <a:lnTo>
                        <a:pt x="62" y="268"/>
                      </a:lnTo>
                      <a:lnTo>
                        <a:pt x="59" y="266"/>
                      </a:lnTo>
                      <a:lnTo>
                        <a:pt x="55" y="260"/>
                      </a:lnTo>
                      <a:lnTo>
                        <a:pt x="48" y="260"/>
                      </a:lnTo>
                      <a:lnTo>
                        <a:pt x="45" y="257"/>
                      </a:lnTo>
                      <a:lnTo>
                        <a:pt x="40" y="257"/>
                      </a:lnTo>
                      <a:lnTo>
                        <a:pt x="40" y="251"/>
                      </a:lnTo>
                      <a:lnTo>
                        <a:pt x="37" y="247"/>
                      </a:lnTo>
                      <a:lnTo>
                        <a:pt x="37" y="240"/>
                      </a:lnTo>
                      <a:lnTo>
                        <a:pt x="40" y="240"/>
                      </a:lnTo>
                      <a:lnTo>
                        <a:pt x="42" y="238"/>
                      </a:lnTo>
                      <a:lnTo>
                        <a:pt x="43" y="233"/>
                      </a:lnTo>
                      <a:lnTo>
                        <a:pt x="43" y="226"/>
                      </a:lnTo>
                      <a:lnTo>
                        <a:pt x="54" y="219"/>
                      </a:lnTo>
                      <a:lnTo>
                        <a:pt x="57" y="213"/>
                      </a:lnTo>
                      <a:lnTo>
                        <a:pt x="56" y="206"/>
                      </a:lnTo>
                      <a:lnTo>
                        <a:pt x="53" y="202"/>
                      </a:lnTo>
                      <a:lnTo>
                        <a:pt x="52" y="199"/>
                      </a:lnTo>
                      <a:lnTo>
                        <a:pt x="50" y="188"/>
                      </a:lnTo>
                      <a:lnTo>
                        <a:pt x="51" y="182"/>
                      </a:lnTo>
                      <a:lnTo>
                        <a:pt x="46" y="172"/>
                      </a:lnTo>
                      <a:lnTo>
                        <a:pt x="46" y="164"/>
                      </a:lnTo>
                      <a:lnTo>
                        <a:pt x="45" y="162"/>
                      </a:lnTo>
                      <a:lnTo>
                        <a:pt x="40" y="157"/>
                      </a:lnTo>
                      <a:lnTo>
                        <a:pt x="34" y="152"/>
                      </a:lnTo>
                      <a:lnTo>
                        <a:pt x="17" y="145"/>
                      </a:lnTo>
                      <a:lnTo>
                        <a:pt x="13" y="138"/>
                      </a:lnTo>
                      <a:lnTo>
                        <a:pt x="8" y="141"/>
                      </a:lnTo>
                      <a:lnTo>
                        <a:pt x="8" y="141"/>
                      </a:lnTo>
                      <a:lnTo>
                        <a:pt x="9" y="133"/>
                      </a:lnTo>
                      <a:lnTo>
                        <a:pt x="5" y="129"/>
                      </a:lnTo>
                      <a:lnTo>
                        <a:pt x="4" y="121"/>
                      </a:lnTo>
                      <a:lnTo>
                        <a:pt x="4" y="96"/>
                      </a:lnTo>
                      <a:lnTo>
                        <a:pt x="3" y="92"/>
                      </a:lnTo>
                      <a:lnTo>
                        <a:pt x="0" y="86"/>
                      </a:lnTo>
                      <a:lnTo>
                        <a:pt x="0" y="84"/>
                      </a:lnTo>
                      <a:lnTo>
                        <a:pt x="2" y="83"/>
                      </a:lnTo>
                      <a:lnTo>
                        <a:pt x="7" y="73"/>
                      </a:lnTo>
                      <a:lnTo>
                        <a:pt x="5" y="71"/>
                      </a:lnTo>
                      <a:lnTo>
                        <a:pt x="1" y="69"/>
                      </a:lnTo>
                      <a:lnTo>
                        <a:pt x="1" y="66"/>
                      </a:lnTo>
                      <a:lnTo>
                        <a:pt x="2" y="63"/>
                      </a:lnTo>
                      <a:lnTo>
                        <a:pt x="7" y="58"/>
                      </a:lnTo>
                      <a:lnTo>
                        <a:pt x="8" y="49"/>
                      </a:lnTo>
                      <a:lnTo>
                        <a:pt x="11" y="40"/>
                      </a:lnTo>
                      <a:lnTo>
                        <a:pt x="17" y="40"/>
                      </a:lnTo>
                      <a:lnTo>
                        <a:pt x="20" y="38"/>
                      </a:lnTo>
                      <a:lnTo>
                        <a:pt x="22" y="30"/>
                      </a:lnTo>
                      <a:lnTo>
                        <a:pt x="25" y="26"/>
                      </a:lnTo>
                      <a:close/>
                    </a:path>
                  </a:pathLst>
                </a:custGeom>
                <a:grpFill/>
                <a:ln w="317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900" dirty="0"/>
                </a:p>
              </p:txBody>
            </p:sp>
            <p:sp>
              <p:nvSpPr>
                <p:cNvPr id="132" name="West Midlands" descr="{&quot;Key&quot;:&quot;west midlands&quot;,&quot;Name&quot;:&quot;West Midlands&quot;,&quot;Value&quot;:1.0,&quot;Formula&quot;:&quot;&quot;,&quot;Text&quot;:&quot;1&quot;,&quot;HasValue&quot;:true}">
                  <a:extLst>
                    <a:ext uri="{FF2B5EF4-FFF2-40B4-BE49-F238E27FC236}">
                      <a16:creationId xmlns:a16="http://schemas.microsoft.com/office/drawing/2014/main" id="{090CC188-3998-CEBF-B03E-14FFAF338547}"/>
                    </a:ext>
                  </a:extLst>
                </p:cNvPr>
                <p:cNvSpPr>
                  <a:spLocks/>
                </p:cNvSpPr>
                <p:nvPr/>
              </p:nvSpPr>
              <p:spPr bwMode="auto">
                <a:xfrm>
                  <a:off x="6480175" y="4702175"/>
                  <a:ext cx="685800" cy="766763"/>
                </a:xfrm>
                <a:custGeom>
                  <a:avLst/>
                  <a:gdLst>
                    <a:gd name="T0" fmla="*/ 292 w 432"/>
                    <a:gd name="T1" fmla="*/ 18 h 483"/>
                    <a:gd name="T2" fmla="*/ 302 w 432"/>
                    <a:gd name="T3" fmla="*/ 49 h 483"/>
                    <a:gd name="T4" fmla="*/ 306 w 432"/>
                    <a:gd name="T5" fmla="*/ 80 h 483"/>
                    <a:gd name="T6" fmla="*/ 289 w 432"/>
                    <a:gd name="T7" fmla="*/ 101 h 483"/>
                    <a:gd name="T8" fmla="*/ 300 w 432"/>
                    <a:gd name="T9" fmla="*/ 121 h 483"/>
                    <a:gd name="T10" fmla="*/ 338 w 432"/>
                    <a:gd name="T11" fmla="*/ 134 h 483"/>
                    <a:gd name="T12" fmla="*/ 319 w 432"/>
                    <a:gd name="T13" fmla="*/ 170 h 483"/>
                    <a:gd name="T14" fmla="*/ 338 w 432"/>
                    <a:gd name="T15" fmla="*/ 181 h 483"/>
                    <a:gd name="T16" fmla="*/ 352 w 432"/>
                    <a:gd name="T17" fmla="*/ 204 h 483"/>
                    <a:gd name="T18" fmla="*/ 362 w 432"/>
                    <a:gd name="T19" fmla="*/ 228 h 483"/>
                    <a:gd name="T20" fmla="*/ 415 w 432"/>
                    <a:gd name="T21" fmla="*/ 273 h 483"/>
                    <a:gd name="T22" fmla="*/ 427 w 432"/>
                    <a:gd name="T23" fmla="*/ 303 h 483"/>
                    <a:gd name="T24" fmla="*/ 423 w 432"/>
                    <a:gd name="T25" fmla="*/ 317 h 483"/>
                    <a:gd name="T26" fmla="*/ 410 w 432"/>
                    <a:gd name="T27" fmla="*/ 344 h 483"/>
                    <a:gd name="T28" fmla="*/ 399 w 432"/>
                    <a:gd name="T29" fmla="*/ 364 h 483"/>
                    <a:gd name="T30" fmla="*/ 391 w 432"/>
                    <a:gd name="T31" fmla="*/ 384 h 483"/>
                    <a:gd name="T32" fmla="*/ 374 w 432"/>
                    <a:gd name="T33" fmla="*/ 383 h 483"/>
                    <a:gd name="T34" fmla="*/ 362 w 432"/>
                    <a:gd name="T35" fmla="*/ 399 h 483"/>
                    <a:gd name="T36" fmla="*/ 350 w 432"/>
                    <a:gd name="T37" fmla="*/ 430 h 483"/>
                    <a:gd name="T38" fmla="*/ 329 w 432"/>
                    <a:gd name="T39" fmla="*/ 425 h 483"/>
                    <a:gd name="T40" fmla="*/ 328 w 432"/>
                    <a:gd name="T41" fmla="*/ 410 h 483"/>
                    <a:gd name="T42" fmla="*/ 306 w 432"/>
                    <a:gd name="T43" fmla="*/ 383 h 483"/>
                    <a:gd name="T44" fmla="*/ 284 w 432"/>
                    <a:gd name="T45" fmla="*/ 400 h 483"/>
                    <a:gd name="T46" fmla="*/ 288 w 432"/>
                    <a:gd name="T47" fmla="*/ 417 h 483"/>
                    <a:gd name="T48" fmla="*/ 261 w 432"/>
                    <a:gd name="T49" fmla="*/ 411 h 483"/>
                    <a:gd name="T50" fmla="*/ 225 w 432"/>
                    <a:gd name="T51" fmla="*/ 417 h 483"/>
                    <a:gd name="T52" fmla="*/ 222 w 432"/>
                    <a:gd name="T53" fmla="*/ 421 h 483"/>
                    <a:gd name="T54" fmla="*/ 190 w 432"/>
                    <a:gd name="T55" fmla="*/ 428 h 483"/>
                    <a:gd name="T56" fmla="*/ 168 w 432"/>
                    <a:gd name="T57" fmla="*/ 423 h 483"/>
                    <a:gd name="T58" fmla="*/ 157 w 432"/>
                    <a:gd name="T59" fmla="*/ 424 h 483"/>
                    <a:gd name="T60" fmla="*/ 164 w 432"/>
                    <a:gd name="T61" fmla="*/ 448 h 483"/>
                    <a:gd name="T62" fmla="*/ 146 w 432"/>
                    <a:gd name="T63" fmla="*/ 468 h 483"/>
                    <a:gd name="T64" fmla="*/ 124 w 432"/>
                    <a:gd name="T65" fmla="*/ 475 h 483"/>
                    <a:gd name="T66" fmla="*/ 119 w 432"/>
                    <a:gd name="T67" fmla="*/ 480 h 483"/>
                    <a:gd name="T68" fmla="*/ 100 w 432"/>
                    <a:gd name="T69" fmla="*/ 474 h 483"/>
                    <a:gd name="T70" fmla="*/ 73 w 432"/>
                    <a:gd name="T71" fmla="*/ 444 h 483"/>
                    <a:gd name="T72" fmla="*/ 47 w 432"/>
                    <a:gd name="T73" fmla="*/ 445 h 483"/>
                    <a:gd name="T74" fmla="*/ 28 w 432"/>
                    <a:gd name="T75" fmla="*/ 407 h 483"/>
                    <a:gd name="T76" fmla="*/ 23 w 432"/>
                    <a:gd name="T77" fmla="*/ 382 h 483"/>
                    <a:gd name="T78" fmla="*/ 30 w 432"/>
                    <a:gd name="T79" fmla="*/ 367 h 483"/>
                    <a:gd name="T80" fmla="*/ 32 w 432"/>
                    <a:gd name="T81" fmla="*/ 346 h 483"/>
                    <a:gd name="T82" fmla="*/ 54 w 432"/>
                    <a:gd name="T83" fmla="*/ 329 h 483"/>
                    <a:gd name="T84" fmla="*/ 53 w 432"/>
                    <a:gd name="T85" fmla="*/ 308 h 483"/>
                    <a:gd name="T86" fmla="*/ 31 w 432"/>
                    <a:gd name="T87" fmla="*/ 301 h 483"/>
                    <a:gd name="T88" fmla="*/ 1 w 432"/>
                    <a:gd name="T89" fmla="*/ 275 h 483"/>
                    <a:gd name="T90" fmla="*/ 22 w 432"/>
                    <a:gd name="T91" fmla="*/ 250 h 483"/>
                    <a:gd name="T92" fmla="*/ 48 w 432"/>
                    <a:gd name="T93" fmla="*/ 230 h 483"/>
                    <a:gd name="T94" fmla="*/ 20 w 432"/>
                    <a:gd name="T95" fmla="*/ 238 h 483"/>
                    <a:gd name="T96" fmla="*/ 30 w 432"/>
                    <a:gd name="T97" fmla="*/ 210 h 483"/>
                    <a:gd name="T98" fmla="*/ 42 w 432"/>
                    <a:gd name="T99" fmla="*/ 175 h 483"/>
                    <a:gd name="T100" fmla="*/ 44 w 432"/>
                    <a:gd name="T101" fmla="*/ 158 h 483"/>
                    <a:gd name="T102" fmla="*/ 16 w 432"/>
                    <a:gd name="T103" fmla="*/ 148 h 483"/>
                    <a:gd name="T104" fmla="*/ 16 w 432"/>
                    <a:gd name="T105" fmla="*/ 115 h 483"/>
                    <a:gd name="T106" fmla="*/ 46 w 432"/>
                    <a:gd name="T107" fmla="*/ 91 h 483"/>
                    <a:gd name="T108" fmla="*/ 90 w 432"/>
                    <a:gd name="T109" fmla="*/ 110 h 483"/>
                    <a:gd name="T110" fmla="*/ 102 w 432"/>
                    <a:gd name="T111" fmla="*/ 86 h 483"/>
                    <a:gd name="T112" fmla="*/ 144 w 432"/>
                    <a:gd name="T113" fmla="*/ 93 h 483"/>
                    <a:gd name="T114" fmla="*/ 166 w 432"/>
                    <a:gd name="T115" fmla="*/ 82 h 483"/>
                    <a:gd name="T116" fmla="*/ 185 w 432"/>
                    <a:gd name="T117" fmla="*/ 55 h 483"/>
                    <a:gd name="T118" fmla="*/ 227 w 432"/>
                    <a:gd name="T119" fmla="*/ 22 h 483"/>
                    <a:gd name="T120" fmla="*/ 234 w 432"/>
                    <a:gd name="T121" fmla="*/ 17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2" h="483">
                      <a:moveTo>
                        <a:pt x="260" y="2"/>
                      </a:moveTo>
                      <a:lnTo>
                        <a:pt x="265" y="0"/>
                      </a:lnTo>
                      <a:lnTo>
                        <a:pt x="269" y="6"/>
                      </a:lnTo>
                      <a:lnTo>
                        <a:pt x="286" y="13"/>
                      </a:lnTo>
                      <a:lnTo>
                        <a:pt x="292" y="18"/>
                      </a:lnTo>
                      <a:lnTo>
                        <a:pt x="297" y="23"/>
                      </a:lnTo>
                      <a:lnTo>
                        <a:pt x="298" y="25"/>
                      </a:lnTo>
                      <a:lnTo>
                        <a:pt x="298" y="33"/>
                      </a:lnTo>
                      <a:lnTo>
                        <a:pt x="303" y="43"/>
                      </a:lnTo>
                      <a:lnTo>
                        <a:pt x="302" y="49"/>
                      </a:lnTo>
                      <a:lnTo>
                        <a:pt x="304" y="60"/>
                      </a:lnTo>
                      <a:lnTo>
                        <a:pt x="305" y="64"/>
                      </a:lnTo>
                      <a:lnTo>
                        <a:pt x="308" y="67"/>
                      </a:lnTo>
                      <a:lnTo>
                        <a:pt x="309" y="74"/>
                      </a:lnTo>
                      <a:lnTo>
                        <a:pt x="306" y="80"/>
                      </a:lnTo>
                      <a:lnTo>
                        <a:pt x="295" y="87"/>
                      </a:lnTo>
                      <a:lnTo>
                        <a:pt x="295" y="94"/>
                      </a:lnTo>
                      <a:lnTo>
                        <a:pt x="294" y="99"/>
                      </a:lnTo>
                      <a:lnTo>
                        <a:pt x="293" y="101"/>
                      </a:lnTo>
                      <a:lnTo>
                        <a:pt x="289" y="101"/>
                      </a:lnTo>
                      <a:lnTo>
                        <a:pt x="289" y="108"/>
                      </a:lnTo>
                      <a:lnTo>
                        <a:pt x="292" y="113"/>
                      </a:lnTo>
                      <a:lnTo>
                        <a:pt x="293" y="118"/>
                      </a:lnTo>
                      <a:lnTo>
                        <a:pt x="297" y="118"/>
                      </a:lnTo>
                      <a:lnTo>
                        <a:pt x="300" y="121"/>
                      </a:lnTo>
                      <a:lnTo>
                        <a:pt x="307" y="121"/>
                      </a:lnTo>
                      <a:lnTo>
                        <a:pt x="311" y="127"/>
                      </a:lnTo>
                      <a:lnTo>
                        <a:pt x="314" y="129"/>
                      </a:lnTo>
                      <a:lnTo>
                        <a:pt x="333" y="130"/>
                      </a:lnTo>
                      <a:lnTo>
                        <a:pt x="338" y="134"/>
                      </a:lnTo>
                      <a:lnTo>
                        <a:pt x="341" y="140"/>
                      </a:lnTo>
                      <a:lnTo>
                        <a:pt x="336" y="145"/>
                      </a:lnTo>
                      <a:lnTo>
                        <a:pt x="333" y="154"/>
                      </a:lnTo>
                      <a:lnTo>
                        <a:pt x="325" y="158"/>
                      </a:lnTo>
                      <a:lnTo>
                        <a:pt x="319" y="170"/>
                      </a:lnTo>
                      <a:lnTo>
                        <a:pt x="323" y="174"/>
                      </a:lnTo>
                      <a:lnTo>
                        <a:pt x="330" y="177"/>
                      </a:lnTo>
                      <a:lnTo>
                        <a:pt x="331" y="184"/>
                      </a:lnTo>
                      <a:lnTo>
                        <a:pt x="335" y="184"/>
                      </a:lnTo>
                      <a:lnTo>
                        <a:pt x="338" y="181"/>
                      </a:lnTo>
                      <a:lnTo>
                        <a:pt x="339" y="184"/>
                      </a:lnTo>
                      <a:lnTo>
                        <a:pt x="343" y="184"/>
                      </a:lnTo>
                      <a:lnTo>
                        <a:pt x="344" y="187"/>
                      </a:lnTo>
                      <a:lnTo>
                        <a:pt x="353" y="199"/>
                      </a:lnTo>
                      <a:lnTo>
                        <a:pt x="352" y="204"/>
                      </a:lnTo>
                      <a:lnTo>
                        <a:pt x="348" y="206"/>
                      </a:lnTo>
                      <a:lnTo>
                        <a:pt x="351" y="213"/>
                      </a:lnTo>
                      <a:lnTo>
                        <a:pt x="351" y="220"/>
                      </a:lnTo>
                      <a:lnTo>
                        <a:pt x="357" y="222"/>
                      </a:lnTo>
                      <a:lnTo>
                        <a:pt x="362" y="228"/>
                      </a:lnTo>
                      <a:lnTo>
                        <a:pt x="378" y="235"/>
                      </a:lnTo>
                      <a:lnTo>
                        <a:pt x="381" y="239"/>
                      </a:lnTo>
                      <a:lnTo>
                        <a:pt x="382" y="244"/>
                      </a:lnTo>
                      <a:lnTo>
                        <a:pt x="404" y="255"/>
                      </a:lnTo>
                      <a:lnTo>
                        <a:pt x="415" y="273"/>
                      </a:lnTo>
                      <a:lnTo>
                        <a:pt x="421" y="278"/>
                      </a:lnTo>
                      <a:lnTo>
                        <a:pt x="426" y="289"/>
                      </a:lnTo>
                      <a:lnTo>
                        <a:pt x="431" y="297"/>
                      </a:lnTo>
                      <a:lnTo>
                        <a:pt x="432" y="300"/>
                      </a:lnTo>
                      <a:lnTo>
                        <a:pt x="427" y="303"/>
                      </a:lnTo>
                      <a:lnTo>
                        <a:pt x="417" y="307"/>
                      </a:lnTo>
                      <a:lnTo>
                        <a:pt x="413" y="310"/>
                      </a:lnTo>
                      <a:lnTo>
                        <a:pt x="415" y="313"/>
                      </a:lnTo>
                      <a:lnTo>
                        <a:pt x="422" y="314"/>
                      </a:lnTo>
                      <a:lnTo>
                        <a:pt x="423" y="317"/>
                      </a:lnTo>
                      <a:lnTo>
                        <a:pt x="418" y="323"/>
                      </a:lnTo>
                      <a:lnTo>
                        <a:pt x="422" y="326"/>
                      </a:lnTo>
                      <a:lnTo>
                        <a:pt x="422" y="334"/>
                      </a:lnTo>
                      <a:lnTo>
                        <a:pt x="410" y="341"/>
                      </a:lnTo>
                      <a:lnTo>
                        <a:pt x="410" y="344"/>
                      </a:lnTo>
                      <a:lnTo>
                        <a:pt x="414" y="349"/>
                      </a:lnTo>
                      <a:lnTo>
                        <a:pt x="413" y="352"/>
                      </a:lnTo>
                      <a:lnTo>
                        <a:pt x="402" y="358"/>
                      </a:lnTo>
                      <a:lnTo>
                        <a:pt x="399" y="361"/>
                      </a:lnTo>
                      <a:lnTo>
                        <a:pt x="399" y="364"/>
                      </a:lnTo>
                      <a:lnTo>
                        <a:pt x="399" y="364"/>
                      </a:lnTo>
                      <a:lnTo>
                        <a:pt x="396" y="368"/>
                      </a:lnTo>
                      <a:lnTo>
                        <a:pt x="394" y="374"/>
                      </a:lnTo>
                      <a:lnTo>
                        <a:pt x="387" y="379"/>
                      </a:lnTo>
                      <a:lnTo>
                        <a:pt x="391" y="384"/>
                      </a:lnTo>
                      <a:lnTo>
                        <a:pt x="390" y="387"/>
                      </a:lnTo>
                      <a:lnTo>
                        <a:pt x="386" y="388"/>
                      </a:lnTo>
                      <a:lnTo>
                        <a:pt x="380" y="382"/>
                      </a:lnTo>
                      <a:lnTo>
                        <a:pt x="376" y="382"/>
                      </a:lnTo>
                      <a:lnTo>
                        <a:pt x="374" y="383"/>
                      </a:lnTo>
                      <a:lnTo>
                        <a:pt x="374" y="387"/>
                      </a:lnTo>
                      <a:lnTo>
                        <a:pt x="373" y="388"/>
                      </a:lnTo>
                      <a:lnTo>
                        <a:pt x="367" y="389"/>
                      </a:lnTo>
                      <a:lnTo>
                        <a:pt x="366" y="394"/>
                      </a:lnTo>
                      <a:lnTo>
                        <a:pt x="362" y="399"/>
                      </a:lnTo>
                      <a:lnTo>
                        <a:pt x="362" y="406"/>
                      </a:lnTo>
                      <a:lnTo>
                        <a:pt x="359" y="420"/>
                      </a:lnTo>
                      <a:lnTo>
                        <a:pt x="357" y="423"/>
                      </a:lnTo>
                      <a:lnTo>
                        <a:pt x="351" y="424"/>
                      </a:lnTo>
                      <a:lnTo>
                        <a:pt x="350" y="430"/>
                      </a:lnTo>
                      <a:lnTo>
                        <a:pt x="342" y="431"/>
                      </a:lnTo>
                      <a:lnTo>
                        <a:pt x="341" y="435"/>
                      </a:lnTo>
                      <a:lnTo>
                        <a:pt x="339" y="435"/>
                      </a:lnTo>
                      <a:lnTo>
                        <a:pt x="329" y="425"/>
                      </a:lnTo>
                      <a:lnTo>
                        <a:pt x="329" y="425"/>
                      </a:lnTo>
                      <a:lnTo>
                        <a:pt x="329" y="423"/>
                      </a:lnTo>
                      <a:lnTo>
                        <a:pt x="332" y="419"/>
                      </a:lnTo>
                      <a:lnTo>
                        <a:pt x="337" y="410"/>
                      </a:lnTo>
                      <a:lnTo>
                        <a:pt x="335" y="409"/>
                      </a:lnTo>
                      <a:lnTo>
                        <a:pt x="328" y="410"/>
                      </a:lnTo>
                      <a:lnTo>
                        <a:pt x="324" y="409"/>
                      </a:lnTo>
                      <a:lnTo>
                        <a:pt x="317" y="398"/>
                      </a:lnTo>
                      <a:lnTo>
                        <a:pt x="315" y="390"/>
                      </a:lnTo>
                      <a:lnTo>
                        <a:pt x="310" y="389"/>
                      </a:lnTo>
                      <a:lnTo>
                        <a:pt x="306" y="383"/>
                      </a:lnTo>
                      <a:lnTo>
                        <a:pt x="302" y="385"/>
                      </a:lnTo>
                      <a:lnTo>
                        <a:pt x="295" y="396"/>
                      </a:lnTo>
                      <a:lnTo>
                        <a:pt x="289" y="395"/>
                      </a:lnTo>
                      <a:lnTo>
                        <a:pt x="284" y="398"/>
                      </a:lnTo>
                      <a:lnTo>
                        <a:pt x="284" y="400"/>
                      </a:lnTo>
                      <a:lnTo>
                        <a:pt x="287" y="402"/>
                      </a:lnTo>
                      <a:lnTo>
                        <a:pt x="292" y="408"/>
                      </a:lnTo>
                      <a:lnTo>
                        <a:pt x="292" y="413"/>
                      </a:lnTo>
                      <a:lnTo>
                        <a:pt x="291" y="417"/>
                      </a:lnTo>
                      <a:lnTo>
                        <a:pt x="288" y="417"/>
                      </a:lnTo>
                      <a:lnTo>
                        <a:pt x="280" y="410"/>
                      </a:lnTo>
                      <a:lnTo>
                        <a:pt x="275" y="409"/>
                      </a:lnTo>
                      <a:lnTo>
                        <a:pt x="272" y="410"/>
                      </a:lnTo>
                      <a:lnTo>
                        <a:pt x="267" y="409"/>
                      </a:lnTo>
                      <a:lnTo>
                        <a:pt x="261" y="411"/>
                      </a:lnTo>
                      <a:lnTo>
                        <a:pt x="249" y="419"/>
                      </a:lnTo>
                      <a:lnTo>
                        <a:pt x="240" y="417"/>
                      </a:lnTo>
                      <a:lnTo>
                        <a:pt x="233" y="417"/>
                      </a:lnTo>
                      <a:lnTo>
                        <a:pt x="228" y="421"/>
                      </a:lnTo>
                      <a:lnTo>
                        <a:pt x="225" y="417"/>
                      </a:lnTo>
                      <a:lnTo>
                        <a:pt x="231" y="405"/>
                      </a:lnTo>
                      <a:lnTo>
                        <a:pt x="221" y="406"/>
                      </a:lnTo>
                      <a:lnTo>
                        <a:pt x="219" y="408"/>
                      </a:lnTo>
                      <a:lnTo>
                        <a:pt x="218" y="417"/>
                      </a:lnTo>
                      <a:lnTo>
                        <a:pt x="222" y="421"/>
                      </a:lnTo>
                      <a:lnTo>
                        <a:pt x="219" y="423"/>
                      </a:lnTo>
                      <a:lnTo>
                        <a:pt x="212" y="422"/>
                      </a:lnTo>
                      <a:lnTo>
                        <a:pt x="205" y="432"/>
                      </a:lnTo>
                      <a:lnTo>
                        <a:pt x="202" y="433"/>
                      </a:lnTo>
                      <a:lnTo>
                        <a:pt x="190" y="428"/>
                      </a:lnTo>
                      <a:lnTo>
                        <a:pt x="188" y="422"/>
                      </a:lnTo>
                      <a:lnTo>
                        <a:pt x="183" y="414"/>
                      </a:lnTo>
                      <a:lnTo>
                        <a:pt x="178" y="415"/>
                      </a:lnTo>
                      <a:lnTo>
                        <a:pt x="173" y="421"/>
                      </a:lnTo>
                      <a:lnTo>
                        <a:pt x="168" y="423"/>
                      </a:lnTo>
                      <a:lnTo>
                        <a:pt x="164" y="421"/>
                      </a:lnTo>
                      <a:lnTo>
                        <a:pt x="162" y="415"/>
                      </a:lnTo>
                      <a:lnTo>
                        <a:pt x="158" y="413"/>
                      </a:lnTo>
                      <a:lnTo>
                        <a:pt x="156" y="420"/>
                      </a:lnTo>
                      <a:lnTo>
                        <a:pt x="157" y="424"/>
                      </a:lnTo>
                      <a:lnTo>
                        <a:pt x="154" y="428"/>
                      </a:lnTo>
                      <a:lnTo>
                        <a:pt x="154" y="434"/>
                      </a:lnTo>
                      <a:lnTo>
                        <a:pt x="158" y="438"/>
                      </a:lnTo>
                      <a:lnTo>
                        <a:pt x="159" y="443"/>
                      </a:lnTo>
                      <a:lnTo>
                        <a:pt x="164" y="448"/>
                      </a:lnTo>
                      <a:lnTo>
                        <a:pt x="164" y="452"/>
                      </a:lnTo>
                      <a:lnTo>
                        <a:pt x="163" y="455"/>
                      </a:lnTo>
                      <a:lnTo>
                        <a:pt x="156" y="459"/>
                      </a:lnTo>
                      <a:lnTo>
                        <a:pt x="149" y="460"/>
                      </a:lnTo>
                      <a:lnTo>
                        <a:pt x="146" y="468"/>
                      </a:lnTo>
                      <a:lnTo>
                        <a:pt x="140" y="466"/>
                      </a:lnTo>
                      <a:lnTo>
                        <a:pt x="134" y="470"/>
                      </a:lnTo>
                      <a:lnTo>
                        <a:pt x="132" y="473"/>
                      </a:lnTo>
                      <a:lnTo>
                        <a:pt x="129" y="472"/>
                      </a:lnTo>
                      <a:lnTo>
                        <a:pt x="124" y="475"/>
                      </a:lnTo>
                      <a:lnTo>
                        <a:pt x="122" y="470"/>
                      </a:lnTo>
                      <a:lnTo>
                        <a:pt x="121" y="470"/>
                      </a:lnTo>
                      <a:lnTo>
                        <a:pt x="120" y="472"/>
                      </a:lnTo>
                      <a:lnTo>
                        <a:pt x="119" y="480"/>
                      </a:lnTo>
                      <a:lnTo>
                        <a:pt x="119" y="480"/>
                      </a:lnTo>
                      <a:lnTo>
                        <a:pt x="116" y="483"/>
                      </a:lnTo>
                      <a:lnTo>
                        <a:pt x="115" y="480"/>
                      </a:lnTo>
                      <a:lnTo>
                        <a:pt x="112" y="479"/>
                      </a:lnTo>
                      <a:lnTo>
                        <a:pt x="108" y="474"/>
                      </a:lnTo>
                      <a:lnTo>
                        <a:pt x="100" y="474"/>
                      </a:lnTo>
                      <a:lnTo>
                        <a:pt x="93" y="465"/>
                      </a:lnTo>
                      <a:lnTo>
                        <a:pt x="93" y="462"/>
                      </a:lnTo>
                      <a:lnTo>
                        <a:pt x="91" y="458"/>
                      </a:lnTo>
                      <a:lnTo>
                        <a:pt x="82" y="453"/>
                      </a:lnTo>
                      <a:lnTo>
                        <a:pt x="73" y="444"/>
                      </a:lnTo>
                      <a:lnTo>
                        <a:pt x="67" y="445"/>
                      </a:lnTo>
                      <a:lnTo>
                        <a:pt x="56" y="451"/>
                      </a:lnTo>
                      <a:lnTo>
                        <a:pt x="52" y="450"/>
                      </a:lnTo>
                      <a:lnTo>
                        <a:pt x="51" y="447"/>
                      </a:lnTo>
                      <a:lnTo>
                        <a:pt x="47" y="445"/>
                      </a:lnTo>
                      <a:lnTo>
                        <a:pt x="46" y="439"/>
                      </a:lnTo>
                      <a:lnTo>
                        <a:pt x="39" y="432"/>
                      </a:lnTo>
                      <a:lnTo>
                        <a:pt x="34" y="425"/>
                      </a:lnTo>
                      <a:lnTo>
                        <a:pt x="27" y="412"/>
                      </a:lnTo>
                      <a:lnTo>
                        <a:pt x="28" y="407"/>
                      </a:lnTo>
                      <a:lnTo>
                        <a:pt x="28" y="404"/>
                      </a:lnTo>
                      <a:lnTo>
                        <a:pt x="21" y="396"/>
                      </a:lnTo>
                      <a:lnTo>
                        <a:pt x="17" y="396"/>
                      </a:lnTo>
                      <a:lnTo>
                        <a:pt x="21" y="386"/>
                      </a:lnTo>
                      <a:lnTo>
                        <a:pt x="23" y="382"/>
                      </a:lnTo>
                      <a:lnTo>
                        <a:pt x="24" y="381"/>
                      </a:lnTo>
                      <a:lnTo>
                        <a:pt x="17" y="378"/>
                      </a:lnTo>
                      <a:lnTo>
                        <a:pt x="17" y="376"/>
                      </a:lnTo>
                      <a:lnTo>
                        <a:pt x="29" y="369"/>
                      </a:lnTo>
                      <a:lnTo>
                        <a:pt x="30" y="367"/>
                      </a:lnTo>
                      <a:lnTo>
                        <a:pt x="29" y="366"/>
                      </a:lnTo>
                      <a:lnTo>
                        <a:pt x="23" y="367"/>
                      </a:lnTo>
                      <a:lnTo>
                        <a:pt x="21" y="365"/>
                      </a:lnTo>
                      <a:lnTo>
                        <a:pt x="21" y="363"/>
                      </a:lnTo>
                      <a:lnTo>
                        <a:pt x="32" y="346"/>
                      </a:lnTo>
                      <a:lnTo>
                        <a:pt x="33" y="340"/>
                      </a:lnTo>
                      <a:lnTo>
                        <a:pt x="39" y="337"/>
                      </a:lnTo>
                      <a:lnTo>
                        <a:pt x="42" y="332"/>
                      </a:lnTo>
                      <a:lnTo>
                        <a:pt x="54" y="330"/>
                      </a:lnTo>
                      <a:lnTo>
                        <a:pt x="54" y="329"/>
                      </a:lnTo>
                      <a:lnTo>
                        <a:pt x="53" y="327"/>
                      </a:lnTo>
                      <a:lnTo>
                        <a:pt x="46" y="325"/>
                      </a:lnTo>
                      <a:lnTo>
                        <a:pt x="44" y="322"/>
                      </a:lnTo>
                      <a:lnTo>
                        <a:pt x="46" y="313"/>
                      </a:lnTo>
                      <a:lnTo>
                        <a:pt x="53" y="308"/>
                      </a:lnTo>
                      <a:lnTo>
                        <a:pt x="54" y="306"/>
                      </a:lnTo>
                      <a:lnTo>
                        <a:pt x="53" y="302"/>
                      </a:lnTo>
                      <a:lnTo>
                        <a:pt x="49" y="301"/>
                      </a:lnTo>
                      <a:lnTo>
                        <a:pt x="40" y="303"/>
                      </a:lnTo>
                      <a:lnTo>
                        <a:pt x="31" y="301"/>
                      </a:lnTo>
                      <a:lnTo>
                        <a:pt x="23" y="293"/>
                      </a:lnTo>
                      <a:lnTo>
                        <a:pt x="15" y="288"/>
                      </a:lnTo>
                      <a:lnTo>
                        <a:pt x="9" y="282"/>
                      </a:lnTo>
                      <a:lnTo>
                        <a:pt x="3" y="279"/>
                      </a:lnTo>
                      <a:lnTo>
                        <a:pt x="1" y="275"/>
                      </a:lnTo>
                      <a:lnTo>
                        <a:pt x="0" y="271"/>
                      </a:lnTo>
                      <a:lnTo>
                        <a:pt x="0" y="265"/>
                      </a:lnTo>
                      <a:lnTo>
                        <a:pt x="3" y="259"/>
                      </a:lnTo>
                      <a:lnTo>
                        <a:pt x="13" y="256"/>
                      </a:lnTo>
                      <a:lnTo>
                        <a:pt x="22" y="250"/>
                      </a:lnTo>
                      <a:lnTo>
                        <a:pt x="38" y="249"/>
                      </a:lnTo>
                      <a:lnTo>
                        <a:pt x="40" y="244"/>
                      </a:lnTo>
                      <a:lnTo>
                        <a:pt x="46" y="242"/>
                      </a:lnTo>
                      <a:lnTo>
                        <a:pt x="50" y="233"/>
                      </a:lnTo>
                      <a:lnTo>
                        <a:pt x="48" y="230"/>
                      </a:lnTo>
                      <a:lnTo>
                        <a:pt x="42" y="224"/>
                      </a:lnTo>
                      <a:lnTo>
                        <a:pt x="31" y="232"/>
                      </a:lnTo>
                      <a:lnTo>
                        <a:pt x="27" y="238"/>
                      </a:lnTo>
                      <a:lnTo>
                        <a:pt x="22" y="239"/>
                      </a:lnTo>
                      <a:lnTo>
                        <a:pt x="20" y="238"/>
                      </a:lnTo>
                      <a:lnTo>
                        <a:pt x="22" y="232"/>
                      </a:lnTo>
                      <a:lnTo>
                        <a:pt x="18" y="225"/>
                      </a:lnTo>
                      <a:lnTo>
                        <a:pt x="18" y="220"/>
                      </a:lnTo>
                      <a:lnTo>
                        <a:pt x="28" y="213"/>
                      </a:lnTo>
                      <a:lnTo>
                        <a:pt x="30" y="210"/>
                      </a:lnTo>
                      <a:lnTo>
                        <a:pt x="31" y="200"/>
                      </a:lnTo>
                      <a:lnTo>
                        <a:pt x="38" y="195"/>
                      </a:lnTo>
                      <a:lnTo>
                        <a:pt x="39" y="192"/>
                      </a:lnTo>
                      <a:lnTo>
                        <a:pt x="38" y="185"/>
                      </a:lnTo>
                      <a:lnTo>
                        <a:pt x="42" y="175"/>
                      </a:lnTo>
                      <a:lnTo>
                        <a:pt x="51" y="174"/>
                      </a:lnTo>
                      <a:lnTo>
                        <a:pt x="53" y="170"/>
                      </a:lnTo>
                      <a:lnTo>
                        <a:pt x="53" y="168"/>
                      </a:lnTo>
                      <a:lnTo>
                        <a:pt x="46" y="163"/>
                      </a:lnTo>
                      <a:lnTo>
                        <a:pt x="44" y="158"/>
                      </a:lnTo>
                      <a:lnTo>
                        <a:pt x="32" y="156"/>
                      </a:lnTo>
                      <a:lnTo>
                        <a:pt x="31" y="154"/>
                      </a:lnTo>
                      <a:lnTo>
                        <a:pt x="29" y="150"/>
                      </a:lnTo>
                      <a:lnTo>
                        <a:pt x="21" y="149"/>
                      </a:lnTo>
                      <a:lnTo>
                        <a:pt x="16" y="148"/>
                      </a:lnTo>
                      <a:lnTo>
                        <a:pt x="15" y="145"/>
                      </a:lnTo>
                      <a:lnTo>
                        <a:pt x="12" y="137"/>
                      </a:lnTo>
                      <a:lnTo>
                        <a:pt x="12" y="133"/>
                      </a:lnTo>
                      <a:lnTo>
                        <a:pt x="20" y="124"/>
                      </a:lnTo>
                      <a:lnTo>
                        <a:pt x="16" y="115"/>
                      </a:lnTo>
                      <a:lnTo>
                        <a:pt x="25" y="111"/>
                      </a:lnTo>
                      <a:lnTo>
                        <a:pt x="26" y="105"/>
                      </a:lnTo>
                      <a:lnTo>
                        <a:pt x="31" y="101"/>
                      </a:lnTo>
                      <a:lnTo>
                        <a:pt x="32" y="101"/>
                      </a:lnTo>
                      <a:lnTo>
                        <a:pt x="46" y="91"/>
                      </a:lnTo>
                      <a:lnTo>
                        <a:pt x="52" y="91"/>
                      </a:lnTo>
                      <a:lnTo>
                        <a:pt x="60" y="98"/>
                      </a:lnTo>
                      <a:lnTo>
                        <a:pt x="70" y="95"/>
                      </a:lnTo>
                      <a:lnTo>
                        <a:pt x="75" y="96"/>
                      </a:lnTo>
                      <a:lnTo>
                        <a:pt x="90" y="110"/>
                      </a:lnTo>
                      <a:lnTo>
                        <a:pt x="98" y="104"/>
                      </a:lnTo>
                      <a:lnTo>
                        <a:pt x="104" y="103"/>
                      </a:lnTo>
                      <a:lnTo>
                        <a:pt x="104" y="94"/>
                      </a:lnTo>
                      <a:lnTo>
                        <a:pt x="102" y="86"/>
                      </a:lnTo>
                      <a:lnTo>
                        <a:pt x="102" y="86"/>
                      </a:lnTo>
                      <a:lnTo>
                        <a:pt x="124" y="79"/>
                      </a:lnTo>
                      <a:lnTo>
                        <a:pt x="132" y="82"/>
                      </a:lnTo>
                      <a:lnTo>
                        <a:pt x="134" y="91"/>
                      </a:lnTo>
                      <a:lnTo>
                        <a:pt x="138" y="90"/>
                      </a:lnTo>
                      <a:lnTo>
                        <a:pt x="144" y="93"/>
                      </a:lnTo>
                      <a:lnTo>
                        <a:pt x="147" y="87"/>
                      </a:lnTo>
                      <a:lnTo>
                        <a:pt x="154" y="91"/>
                      </a:lnTo>
                      <a:lnTo>
                        <a:pt x="160" y="90"/>
                      </a:lnTo>
                      <a:lnTo>
                        <a:pt x="164" y="86"/>
                      </a:lnTo>
                      <a:lnTo>
                        <a:pt x="166" y="82"/>
                      </a:lnTo>
                      <a:lnTo>
                        <a:pt x="176" y="78"/>
                      </a:lnTo>
                      <a:lnTo>
                        <a:pt x="178" y="74"/>
                      </a:lnTo>
                      <a:lnTo>
                        <a:pt x="177" y="62"/>
                      </a:lnTo>
                      <a:lnTo>
                        <a:pt x="178" y="57"/>
                      </a:lnTo>
                      <a:lnTo>
                        <a:pt x="185" y="55"/>
                      </a:lnTo>
                      <a:lnTo>
                        <a:pt x="191" y="46"/>
                      </a:lnTo>
                      <a:lnTo>
                        <a:pt x="198" y="47"/>
                      </a:lnTo>
                      <a:lnTo>
                        <a:pt x="203" y="45"/>
                      </a:lnTo>
                      <a:lnTo>
                        <a:pt x="222" y="23"/>
                      </a:lnTo>
                      <a:lnTo>
                        <a:pt x="227" y="22"/>
                      </a:lnTo>
                      <a:lnTo>
                        <a:pt x="228" y="20"/>
                      </a:lnTo>
                      <a:lnTo>
                        <a:pt x="226" y="15"/>
                      </a:lnTo>
                      <a:lnTo>
                        <a:pt x="226" y="14"/>
                      </a:lnTo>
                      <a:lnTo>
                        <a:pt x="229" y="14"/>
                      </a:lnTo>
                      <a:lnTo>
                        <a:pt x="234" y="17"/>
                      </a:lnTo>
                      <a:lnTo>
                        <a:pt x="240" y="17"/>
                      </a:lnTo>
                      <a:lnTo>
                        <a:pt x="249" y="9"/>
                      </a:lnTo>
                      <a:lnTo>
                        <a:pt x="254" y="9"/>
                      </a:lnTo>
                      <a:lnTo>
                        <a:pt x="260" y="2"/>
                      </a:lnTo>
                      <a:close/>
                    </a:path>
                  </a:pathLst>
                </a:custGeom>
                <a:grpFill/>
                <a:ln w="317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900" dirty="0"/>
                </a:p>
              </p:txBody>
            </p:sp>
            <p:sp>
              <p:nvSpPr>
                <p:cNvPr id="133" name="Eastern Region" descr="{&quot;Key&quot;:&quot;eastern region&quot;,&quot;Name&quot;:&quot;Eastern Region&quot;,&quot;Value&quot;:1.0,&quot;Formula&quot;:&quot;&quot;,&quot;Text&quot;:&quot;1&quot;,&quot;HasValue&quot;:true}">
                  <a:extLst>
                    <a:ext uri="{FF2B5EF4-FFF2-40B4-BE49-F238E27FC236}">
                      <a16:creationId xmlns:a16="http://schemas.microsoft.com/office/drawing/2014/main" id="{016CF1F6-AF27-8986-56D1-2AE3F8F04084}"/>
                    </a:ext>
                  </a:extLst>
                </p:cNvPr>
                <p:cNvSpPr>
                  <a:spLocks noEditPoints="1"/>
                </p:cNvSpPr>
                <p:nvPr/>
              </p:nvSpPr>
              <p:spPr bwMode="auto">
                <a:xfrm>
                  <a:off x="7308850" y="4826000"/>
                  <a:ext cx="835025" cy="841375"/>
                </a:xfrm>
                <a:custGeom>
                  <a:avLst/>
                  <a:gdLst>
                    <a:gd name="T0" fmla="*/ 306 w 526"/>
                    <a:gd name="T1" fmla="*/ 433 h 530"/>
                    <a:gd name="T2" fmla="*/ 345 w 526"/>
                    <a:gd name="T3" fmla="*/ 414 h 530"/>
                    <a:gd name="T4" fmla="*/ 313 w 526"/>
                    <a:gd name="T5" fmla="*/ 4 h 530"/>
                    <a:gd name="T6" fmla="*/ 334 w 526"/>
                    <a:gd name="T7" fmla="*/ 12 h 530"/>
                    <a:gd name="T8" fmla="*/ 346 w 526"/>
                    <a:gd name="T9" fmla="*/ 6 h 530"/>
                    <a:gd name="T10" fmla="*/ 365 w 526"/>
                    <a:gd name="T11" fmla="*/ 8 h 530"/>
                    <a:gd name="T12" fmla="*/ 363 w 526"/>
                    <a:gd name="T13" fmla="*/ 4 h 530"/>
                    <a:gd name="T14" fmla="*/ 398 w 526"/>
                    <a:gd name="T15" fmla="*/ 15 h 530"/>
                    <a:gd name="T16" fmla="*/ 440 w 526"/>
                    <a:gd name="T17" fmla="*/ 26 h 530"/>
                    <a:gd name="T18" fmla="*/ 466 w 526"/>
                    <a:gd name="T19" fmla="*/ 46 h 530"/>
                    <a:gd name="T20" fmla="*/ 494 w 526"/>
                    <a:gd name="T21" fmla="*/ 71 h 530"/>
                    <a:gd name="T22" fmla="*/ 520 w 526"/>
                    <a:gd name="T23" fmla="*/ 117 h 530"/>
                    <a:gd name="T24" fmla="*/ 520 w 526"/>
                    <a:gd name="T25" fmla="*/ 151 h 530"/>
                    <a:gd name="T26" fmla="*/ 522 w 526"/>
                    <a:gd name="T27" fmla="*/ 184 h 530"/>
                    <a:gd name="T28" fmla="*/ 512 w 526"/>
                    <a:gd name="T29" fmla="*/ 220 h 530"/>
                    <a:gd name="T30" fmla="*/ 500 w 526"/>
                    <a:gd name="T31" fmla="*/ 243 h 530"/>
                    <a:gd name="T32" fmla="*/ 463 w 526"/>
                    <a:gd name="T33" fmla="*/ 327 h 530"/>
                    <a:gd name="T34" fmla="*/ 439 w 526"/>
                    <a:gd name="T35" fmla="*/ 332 h 530"/>
                    <a:gd name="T36" fmla="*/ 433 w 526"/>
                    <a:gd name="T37" fmla="*/ 314 h 530"/>
                    <a:gd name="T38" fmla="*/ 437 w 526"/>
                    <a:gd name="T39" fmla="*/ 326 h 530"/>
                    <a:gd name="T40" fmla="*/ 444 w 526"/>
                    <a:gd name="T41" fmla="*/ 354 h 530"/>
                    <a:gd name="T42" fmla="*/ 425 w 526"/>
                    <a:gd name="T43" fmla="*/ 354 h 530"/>
                    <a:gd name="T44" fmla="*/ 402 w 526"/>
                    <a:gd name="T45" fmla="*/ 333 h 530"/>
                    <a:gd name="T46" fmla="*/ 417 w 526"/>
                    <a:gd name="T47" fmla="*/ 344 h 530"/>
                    <a:gd name="T48" fmla="*/ 407 w 526"/>
                    <a:gd name="T49" fmla="*/ 357 h 530"/>
                    <a:gd name="T50" fmla="*/ 379 w 526"/>
                    <a:gd name="T51" fmla="*/ 359 h 530"/>
                    <a:gd name="T52" fmla="*/ 405 w 526"/>
                    <a:gd name="T53" fmla="*/ 362 h 530"/>
                    <a:gd name="T54" fmla="*/ 426 w 526"/>
                    <a:gd name="T55" fmla="*/ 359 h 530"/>
                    <a:gd name="T56" fmla="*/ 414 w 526"/>
                    <a:gd name="T57" fmla="*/ 378 h 530"/>
                    <a:gd name="T58" fmla="*/ 421 w 526"/>
                    <a:gd name="T59" fmla="*/ 384 h 530"/>
                    <a:gd name="T60" fmla="*/ 424 w 526"/>
                    <a:gd name="T61" fmla="*/ 391 h 530"/>
                    <a:gd name="T62" fmla="*/ 399 w 526"/>
                    <a:gd name="T63" fmla="*/ 415 h 530"/>
                    <a:gd name="T64" fmla="*/ 371 w 526"/>
                    <a:gd name="T65" fmla="*/ 412 h 530"/>
                    <a:gd name="T66" fmla="*/ 370 w 526"/>
                    <a:gd name="T67" fmla="*/ 408 h 530"/>
                    <a:gd name="T68" fmla="*/ 360 w 526"/>
                    <a:gd name="T69" fmla="*/ 401 h 530"/>
                    <a:gd name="T70" fmla="*/ 350 w 526"/>
                    <a:gd name="T71" fmla="*/ 408 h 530"/>
                    <a:gd name="T72" fmla="*/ 340 w 526"/>
                    <a:gd name="T73" fmla="*/ 415 h 530"/>
                    <a:gd name="T74" fmla="*/ 334 w 526"/>
                    <a:gd name="T75" fmla="*/ 419 h 530"/>
                    <a:gd name="T76" fmla="*/ 326 w 526"/>
                    <a:gd name="T77" fmla="*/ 431 h 530"/>
                    <a:gd name="T78" fmla="*/ 312 w 526"/>
                    <a:gd name="T79" fmla="*/ 433 h 530"/>
                    <a:gd name="T80" fmla="*/ 300 w 526"/>
                    <a:gd name="T81" fmla="*/ 433 h 530"/>
                    <a:gd name="T82" fmla="*/ 313 w 526"/>
                    <a:gd name="T83" fmla="*/ 445 h 530"/>
                    <a:gd name="T84" fmla="*/ 316 w 526"/>
                    <a:gd name="T85" fmla="*/ 442 h 530"/>
                    <a:gd name="T86" fmla="*/ 338 w 526"/>
                    <a:gd name="T87" fmla="*/ 437 h 530"/>
                    <a:gd name="T88" fmla="*/ 352 w 526"/>
                    <a:gd name="T89" fmla="*/ 445 h 530"/>
                    <a:gd name="T90" fmla="*/ 354 w 526"/>
                    <a:gd name="T91" fmla="*/ 475 h 530"/>
                    <a:gd name="T92" fmla="*/ 335 w 526"/>
                    <a:gd name="T93" fmla="*/ 492 h 530"/>
                    <a:gd name="T94" fmla="*/ 306 w 526"/>
                    <a:gd name="T95" fmla="*/ 500 h 530"/>
                    <a:gd name="T96" fmla="*/ 277 w 526"/>
                    <a:gd name="T97" fmla="*/ 498 h 530"/>
                    <a:gd name="T98" fmla="*/ 274 w 526"/>
                    <a:gd name="T99" fmla="*/ 509 h 530"/>
                    <a:gd name="T100" fmla="*/ 264 w 526"/>
                    <a:gd name="T101" fmla="*/ 506 h 530"/>
                    <a:gd name="T102" fmla="*/ 248 w 526"/>
                    <a:gd name="T103" fmla="*/ 513 h 530"/>
                    <a:gd name="T104" fmla="*/ 213 w 526"/>
                    <a:gd name="T105" fmla="*/ 501 h 530"/>
                    <a:gd name="T106" fmla="*/ 54 w 526"/>
                    <a:gd name="T107" fmla="*/ 472 h 530"/>
                    <a:gd name="T108" fmla="*/ 11 w 526"/>
                    <a:gd name="T109" fmla="*/ 400 h 530"/>
                    <a:gd name="T110" fmla="*/ 18 w 526"/>
                    <a:gd name="T111" fmla="*/ 255 h 530"/>
                    <a:gd name="T112" fmla="*/ 87 w 526"/>
                    <a:gd name="T113" fmla="*/ 113 h 530"/>
                    <a:gd name="T114" fmla="*/ 224 w 526"/>
                    <a:gd name="T115" fmla="*/ 59 h 530"/>
                    <a:gd name="T116" fmla="*/ 236 w 526"/>
                    <a:gd name="T117" fmla="*/ 55 h 530"/>
                    <a:gd name="T118" fmla="*/ 254 w 526"/>
                    <a:gd name="T119" fmla="*/ 23 h 530"/>
                    <a:gd name="T120" fmla="*/ 277 w 526"/>
                    <a:gd name="T121" fmla="*/ 5 h 530"/>
                    <a:gd name="T122" fmla="*/ 299 w 526"/>
                    <a:gd name="T123" fmla="*/ 3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6" h="530">
                      <a:moveTo>
                        <a:pt x="316" y="435"/>
                      </a:moveTo>
                      <a:lnTo>
                        <a:pt x="318" y="435"/>
                      </a:lnTo>
                      <a:lnTo>
                        <a:pt x="319" y="435"/>
                      </a:lnTo>
                      <a:lnTo>
                        <a:pt x="321" y="436"/>
                      </a:lnTo>
                      <a:lnTo>
                        <a:pt x="321" y="436"/>
                      </a:lnTo>
                      <a:lnTo>
                        <a:pt x="319" y="437"/>
                      </a:lnTo>
                      <a:lnTo>
                        <a:pt x="318" y="437"/>
                      </a:lnTo>
                      <a:lnTo>
                        <a:pt x="318" y="437"/>
                      </a:lnTo>
                      <a:lnTo>
                        <a:pt x="317" y="437"/>
                      </a:lnTo>
                      <a:lnTo>
                        <a:pt x="315" y="437"/>
                      </a:lnTo>
                      <a:lnTo>
                        <a:pt x="314" y="436"/>
                      </a:lnTo>
                      <a:lnTo>
                        <a:pt x="313" y="436"/>
                      </a:lnTo>
                      <a:lnTo>
                        <a:pt x="313" y="435"/>
                      </a:lnTo>
                      <a:lnTo>
                        <a:pt x="315" y="435"/>
                      </a:lnTo>
                      <a:lnTo>
                        <a:pt x="316" y="435"/>
                      </a:lnTo>
                      <a:close/>
                      <a:moveTo>
                        <a:pt x="306" y="433"/>
                      </a:moveTo>
                      <a:lnTo>
                        <a:pt x="307" y="434"/>
                      </a:lnTo>
                      <a:lnTo>
                        <a:pt x="307" y="435"/>
                      </a:lnTo>
                      <a:lnTo>
                        <a:pt x="308" y="435"/>
                      </a:lnTo>
                      <a:lnTo>
                        <a:pt x="308" y="436"/>
                      </a:lnTo>
                      <a:lnTo>
                        <a:pt x="308" y="436"/>
                      </a:lnTo>
                      <a:lnTo>
                        <a:pt x="308" y="438"/>
                      </a:lnTo>
                      <a:lnTo>
                        <a:pt x="307" y="438"/>
                      </a:lnTo>
                      <a:lnTo>
                        <a:pt x="306" y="437"/>
                      </a:lnTo>
                      <a:lnTo>
                        <a:pt x="304" y="438"/>
                      </a:lnTo>
                      <a:lnTo>
                        <a:pt x="304" y="437"/>
                      </a:lnTo>
                      <a:lnTo>
                        <a:pt x="305" y="436"/>
                      </a:lnTo>
                      <a:lnTo>
                        <a:pt x="305" y="435"/>
                      </a:lnTo>
                      <a:lnTo>
                        <a:pt x="305" y="434"/>
                      </a:lnTo>
                      <a:lnTo>
                        <a:pt x="306" y="433"/>
                      </a:lnTo>
                      <a:lnTo>
                        <a:pt x="306" y="433"/>
                      </a:lnTo>
                      <a:lnTo>
                        <a:pt x="306" y="433"/>
                      </a:lnTo>
                      <a:close/>
                      <a:moveTo>
                        <a:pt x="359" y="407"/>
                      </a:moveTo>
                      <a:lnTo>
                        <a:pt x="362" y="408"/>
                      </a:lnTo>
                      <a:lnTo>
                        <a:pt x="364" y="408"/>
                      </a:lnTo>
                      <a:lnTo>
                        <a:pt x="365" y="409"/>
                      </a:lnTo>
                      <a:lnTo>
                        <a:pt x="366" y="409"/>
                      </a:lnTo>
                      <a:lnTo>
                        <a:pt x="367" y="410"/>
                      </a:lnTo>
                      <a:lnTo>
                        <a:pt x="366" y="411"/>
                      </a:lnTo>
                      <a:lnTo>
                        <a:pt x="366" y="412"/>
                      </a:lnTo>
                      <a:lnTo>
                        <a:pt x="365" y="412"/>
                      </a:lnTo>
                      <a:lnTo>
                        <a:pt x="365" y="412"/>
                      </a:lnTo>
                      <a:lnTo>
                        <a:pt x="365" y="412"/>
                      </a:lnTo>
                      <a:lnTo>
                        <a:pt x="364" y="413"/>
                      </a:lnTo>
                      <a:lnTo>
                        <a:pt x="364" y="413"/>
                      </a:lnTo>
                      <a:lnTo>
                        <a:pt x="363" y="414"/>
                      </a:lnTo>
                      <a:lnTo>
                        <a:pt x="362" y="414"/>
                      </a:lnTo>
                      <a:lnTo>
                        <a:pt x="362" y="414"/>
                      </a:lnTo>
                      <a:lnTo>
                        <a:pt x="361" y="415"/>
                      </a:lnTo>
                      <a:lnTo>
                        <a:pt x="360" y="415"/>
                      </a:lnTo>
                      <a:lnTo>
                        <a:pt x="358" y="415"/>
                      </a:lnTo>
                      <a:lnTo>
                        <a:pt x="356" y="416"/>
                      </a:lnTo>
                      <a:lnTo>
                        <a:pt x="356" y="416"/>
                      </a:lnTo>
                      <a:lnTo>
                        <a:pt x="354" y="418"/>
                      </a:lnTo>
                      <a:lnTo>
                        <a:pt x="352" y="418"/>
                      </a:lnTo>
                      <a:lnTo>
                        <a:pt x="351" y="418"/>
                      </a:lnTo>
                      <a:lnTo>
                        <a:pt x="348" y="418"/>
                      </a:lnTo>
                      <a:lnTo>
                        <a:pt x="345" y="418"/>
                      </a:lnTo>
                      <a:lnTo>
                        <a:pt x="344" y="418"/>
                      </a:lnTo>
                      <a:lnTo>
                        <a:pt x="344" y="418"/>
                      </a:lnTo>
                      <a:lnTo>
                        <a:pt x="344" y="416"/>
                      </a:lnTo>
                      <a:lnTo>
                        <a:pt x="344" y="416"/>
                      </a:lnTo>
                      <a:lnTo>
                        <a:pt x="344" y="415"/>
                      </a:lnTo>
                      <a:lnTo>
                        <a:pt x="345" y="414"/>
                      </a:lnTo>
                      <a:lnTo>
                        <a:pt x="345" y="413"/>
                      </a:lnTo>
                      <a:lnTo>
                        <a:pt x="346" y="413"/>
                      </a:lnTo>
                      <a:lnTo>
                        <a:pt x="347" y="412"/>
                      </a:lnTo>
                      <a:lnTo>
                        <a:pt x="347" y="412"/>
                      </a:lnTo>
                      <a:lnTo>
                        <a:pt x="348" y="412"/>
                      </a:lnTo>
                      <a:lnTo>
                        <a:pt x="348" y="410"/>
                      </a:lnTo>
                      <a:lnTo>
                        <a:pt x="349" y="410"/>
                      </a:lnTo>
                      <a:lnTo>
                        <a:pt x="349" y="409"/>
                      </a:lnTo>
                      <a:lnTo>
                        <a:pt x="351" y="409"/>
                      </a:lnTo>
                      <a:lnTo>
                        <a:pt x="351" y="408"/>
                      </a:lnTo>
                      <a:lnTo>
                        <a:pt x="352" y="408"/>
                      </a:lnTo>
                      <a:lnTo>
                        <a:pt x="353" y="407"/>
                      </a:lnTo>
                      <a:lnTo>
                        <a:pt x="355" y="407"/>
                      </a:lnTo>
                      <a:lnTo>
                        <a:pt x="356" y="407"/>
                      </a:lnTo>
                      <a:lnTo>
                        <a:pt x="359" y="407"/>
                      </a:lnTo>
                      <a:close/>
                      <a:moveTo>
                        <a:pt x="300" y="0"/>
                      </a:moveTo>
                      <a:lnTo>
                        <a:pt x="302" y="1"/>
                      </a:lnTo>
                      <a:lnTo>
                        <a:pt x="303" y="1"/>
                      </a:lnTo>
                      <a:lnTo>
                        <a:pt x="311" y="3"/>
                      </a:lnTo>
                      <a:lnTo>
                        <a:pt x="312" y="3"/>
                      </a:lnTo>
                      <a:lnTo>
                        <a:pt x="312" y="4"/>
                      </a:lnTo>
                      <a:lnTo>
                        <a:pt x="312" y="4"/>
                      </a:lnTo>
                      <a:lnTo>
                        <a:pt x="311" y="5"/>
                      </a:lnTo>
                      <a:lnTo>
                        <a:pt x="313" y="6"/>
                      </a:lnTo>
                      <a:lnTo>
                        <a:pt x="312" y="6"/>
                      </a:lnTo>
                      <a:lnTo>
                        <a:pt x="312" y="6"/>
                      </a:lnTo>
                      <a:lnTo>
                        <a:pt x="312" y="7"/>
                      </a:lnTo>
                      <a:lnTo>
                        <a:pt x="313" y="7"/>
                      </a:lnTo>
                      <a:lnTo>
                        <a:pt x="313" y="6"/>
                      </a:lnTo>
                      <a:lnTo>
                        <a:pt x="313" y="5"/>
                      </a:lnTo>
                      <a:lnTo>
                        <a:pt x="312" y="5"/>
                      </a:lnTo>
                      <a:lnTo>
                        <a:pt x="313" y="4"/>
                      </a:lnTo>
                      <a:lnTo>
                        <a:pt x="314" y="3"/>
                      </a:lnTo>
                      <a:lnTo>
                        <a:pt x="316" y="4"/>
                      </a:lnTo>
                      <a:lnTo>
                        <a:pt x="317" y="3"/>
                      </a:lnTo>
                      <a:lnTo>
                        <a:pt x="317" y="3"/>
                      </a:lnTo>
                      <a:lnTo>
                        <a:pt x="317" y="3"/>
                      </a:lnTo>
                      <a:lnTo>
                        <a:pt x="317" y="4"/>
                      </a:lnTo>
                      <a:lnTo>
                        <a:pt x="318" y="4"/>
                      </a:lnTo>
                      <a:lnTo>
                        <a:pt x="323" y="4"/>
                      </a:lnTo>
                      <a:lnTo>
                        <a:pt x="326" y="4"/>
                      </a:lnTo>
                      <a:lnTo>
                        <a:pt x="327" y="5"/>
                      </a:lnTo>
                      <a:lnTo>
                        <a:pt x="327" y="5"/>
                      </a:lnTo>
                      <a:lnTo>
                        <a:pt x="326" y="5"/>
                      </a:lnTo>
                      <a:lnTo>
                        <a:pt x="326" y="6"/>
                      </a:lnTo>
                      <a:lnTo>
                        <a:pt x="326" y="6"/>
                      </a:lnTo>
                      <a:lnTo>
                        <a:pt x="327" y="6"/>
                      </a:lnTo>
                      <a:lnTo>
                        <a:pt x="327" y="6"/>
                      </a:lnTo>
                      <a:lnTo>
                        <a:pt x="327" y="6"/>
                      </a:lnTo>
                      <a:lnTo>
                        <a:pt x="328" y="5"/>
                      </a:lnTo>
                      <a:lnTo>
                        <a:pt x="328" y="5"/>
                      </a:lnTo>
                      <a:lnTo>
                        <a:pt x="330" y="4"/>
                      </a:lnTo>
                      <a:lnTo>
                        <a:pt x="332" y="5"/>
                      </a:lnTo>
                      <a:lnTo>
                        <a:pt x="333" y="5"/>
                      </a:lnTo>
                      <a:lnTo>
                        <a:pt x="333" y="6"/>
                      </a:lnTo>
                      <a:lnTo>
                        <a:pt x="333" y="6"/>
                      </a:lnTo>
                      <a:lnTo>
                        <a:pt x="332" y="6"/>
                      </a:lnTo>
                      <a:lnTo>
                        <a:pt x="332" y="7"/>
                      </a:lnTo>
                      <a:lnTo>
                        <a:pt x="331" y="7"/>
                      </a:lnTo>
                      <a:lnTo>
                        <a:pt x="331" y="7"/>
                      </a:lnTo>
                      <a:lnTo>
                        <a:pt x="333" y="8"/>
                      </a:lnTo>
                      <a:lnTo>
                        <a:pt x="333" y="11"/>
                      </a:lnTo>
                      <a:lnTo>
                        <a:pt x="334" y="12"/>
                      </a:lnTo>
                      <a:lnTo>
                        <a:pt x="334" y="12"/>
                      </a:lnTo>
                      <a:lnTo>
                        <a:pt x="334" y="12"/>
                      </a:lnTo>
                      <a:lnTo>
                        <a:pt x="334" y="9"/>
                      </a:lnTo>
                      <a:lnTo>
                        <a:pt x="335" y="8"/>
                      </a:lnTo>
                      <a:lnTo>
                        <a:pt x="335" y="7"/>
                      </a:lnTo>
                      <a:lnTo>
                        <a:pt x="336" y="6"/>
                      </a:lnTo>
                      <a:lnTo>
                        <a:pt x="337" y="5"/>
                      </a:lnTo>
                      <a:lnTo>
                        <a:pt x="337" y="5"/>
                      </a:lnTo>
                      <a:lnTo>
                        <a:pt x="336" y="5"/>
                      </a:lnTo>
                      <a:lnTo>
                        <a:pt x="337" y="4"/>
                      </a:lnTo>
                      <a:lnTo>
                        <a:pt x="338" y="4"/>
                      </a:lnTo>
                      <a:lnTo>
                        <a:pt x="338" y="3"/>
                      </a:lnTo>
                      <a:lnTo>
                        <a:pt x="339" y="3"/>
                      </a:lnTo>
                      <a:lnTo>
                        <a:pt x="339" y="4"/>
                      </a:lnTo>
                      <a:lnTo>
                        <a:pt x="340" y="4"/>
                      </a:lnTo>
                      <a:lnTo>
                        <a:pt x="340" y="4"/>
                      </a:lnTo>
                      <a:lnTo>
                        <a:pt x="340" y="4"/>
                      </a:lnTo>
                      <a:lnTo>
                        <a:pt x="340" y="5"/>
                      </a:lnTo>
                      <a:lnTo>
                        <a:pt x="340" y="4"/>
                      </a:lnTo>
                      <a:lnTo>
                        <a:pt x="339" y="5"/>
                      </a:lnTo>
                      <a:lnTo>
                        <a:pt x="340" y="5"/>
                      </a:lnTo>
                      <a:lnTo>
                        <a:pt x="340" y="6"/>
                      </a:lnTo>
                      <a:lnTo>
                        <a:pt x="341" y="6"/>
                      </a:lnTo>
                      <a:lnTo>
                        <a:pt x="342" y="5"/>
                      </a:lnTo>
                      <a:lnTo>
                        <a:pt x="342" y="5"/>
                      </a:lnTo>
                      <a:lnTo>
                        <a:pt x="342" y="6"/>
                      </a:lnTo>
                      <a:lnTo>
                        <a:pt x="344" y="6"/>
                      </a:lnTo>
                      <a:lnTo>
                        <a:pt x="344" y="6"/>
                      </a:lnTo>
                      <a:lnTo>
                        <a:pt x="344" y="6"/>
                      </a:lnTo>
                      <a:lnTo>
                        <a:pt x="345" y="6"/>
                      </a:lnTo>
                      <a:lnTo>
                        <a:pt x="345" y="5"/>
                      </a:lnTo>
                      <a:lnTo>
                        <a:pt x="346" y="5"/>
                      </a:lnTo>
                      <a:lnTo>
                        <a:pt x="346" y="6"/>
                      </a:lnTo>
                      <a:lnTo>
                        <a:pt x="346" y="6"/>
                      </a:lnTo>
                      <a:lnTo>
                        <a:pt x="347" y="7"/>
                      </a:lnTo>
                      <a:lnTo>
                        <a:pt x="347" y="8"/>
                      </a:lnTo>
                      <a:lnTo>
                        <a:pt x="347" y="8"/>
                      </a:lnTo>
                      <a:lnTo>
                        <a:pt x="347" y="8"/>
                      </a:lnTo>
                      <a:lnTo>
                        <a:pt x="347" y="8"/>
                      </a:lnTo>
                      <a:lnTo>
                        <a:pt x="348" y="8"/>
                      </a:lnTo>
                      <a:lnTo>
                        <a:pt x="348" y="7"/>
                      </a:lnTo>
                      <a:lnTo>
                        <a:pt x="349" y="6"/>
                      </a:lnTo>
                      <a:lnTo>
                        <a:pt x="350" y="7"/>
                      </a:lnTo>
                      <a:lnTo>
                        <a:pt x="350" y="7"/>
                      </a:lnTo>
                      <a:lnTo>
                        <a:pt x="350" y="8"/>
                      </a:lnTo>
                      <a:lnTo>
                        <a:pt x="351" y="8"/>
                      </a:lnTo>
                      <a:lnTo>
                        <a:pt x="351" y="9"/>
                      </a:lnTo>
                      <a:lnTo>
                        <a:pt x="351" y="9"/>
                      </a:lnTo>
                      <a:lnTo>
                        <a:pt x="353" y="9"/>
                      </a:lnTo>
                      <a:lnTo>
                        <a:pt x="353" y="8"/>
                      </a:lnTo>
                      <a:lnTo>
                        <a:pt x="354" y="8"/>
                      </a:lnTo>
                      <a:lnTo>
                        <a:pt x="358" y="9"/>
                      </a:lnTo>
                      <a:lnTo>
                        <a:pt x="358" y="9"/>
                      </a:lnTo>
                      <a:lnTo>
                        <a:pt x="358" y="9"/>
                      </a:lnTo>
                      <a:lnTo>
                        <a:pt x="359" y="9"/>
                      </a:lnTo>
                      <a:lnTo>
                        <a:pt x="359" y="8"/>
                      </a:lnTo>
                      <a:lnTo>
                        <a:pt x="359" y="8"/>
                      </a:lnTo>
                      <a:lnTo>
                        <a:pt x="359" y="8"/>
                      </a:lnTo>
                      <a:lnTo>
                        <a:pt x="360" y="8"/>
                      </a:lnTo>
                      <a:lnTo>
                        <a:pt x="360" y="8"/>
                      </a:lnTo>
                      <a:lnTo>
                        <a:pt x="362" y="8"/>
                      </a:lnTo>
                      <a:lnTo>
                        <a:pt x="363" y="8"/>
                      </a:lnTo>
                      <a:lnTo>
                        <a:pt x="363" y="8"/>
                      </a:lnTo>
                      <a:lnTo>
                        <a:pt x="365" y="8"/>
                      </a:lnTo>
                      <a:lnTo>
                        <a:pt x="365" y="8"/>
                      </a:lnTo>
                      <a:lnTo>
                        <a:pt x="365" y="8"/>
                      </a:lnTo>
                      <a:lnTo>
                        <a:pt x="365" y="8"/>
                      </a:lnTo>
                      <a:lnTo>
                        <a:pt x="365" y="8"/>
                      </a:lnTo>
                      <a:lnTo>
                        <a:pt x="366" y="8"/>
                      </a:lnTo>
                      <a:lnTo>
                        <a:pt x="366" y="8"/>
                      </a:lnTo>
                      <a:lnTo>
                        <a:pt x="367" y="8"/>
                      </a:lnTo>
                      <a:lnTo>
                        <a:pt x="368" y="8"/>
                      </a:lnTo>
                      <a:lnTo>
                        <a:pt x="369" y="8"/>
                      </a:lnTo>
                      <a:lnTo>
                        <a:pt x="370" y="8"/>
                      </a:lnTo>
                      <a:lnTo>
                        <a:pt x="371" y="8"/>
                      </a:lnTo>
                      <a:lnTo>
                        <a:pt x="371" y="7"/>
                      </a:lnTo>
                      <a:lnTo>
                        <a:pt x="370" y="7"/>
                      </a:lnTo>
                      <a:lnTo>
                        <a:pt x="370" y="7"/>
                      </a:lnTo>
                      <a:lnTo>
                        <a:pt x="368" y="6"/>
                      </a:lnTo>
                      <a:lnTo>
                        <a:pt x="367" y="6"/>
                      </a:lnTo>
                      <a:lnTo>
                        <a:pt x="366" y="6"/>
                      </a:lnTo>
                      <a:lnTo>
                        <a:pt x="365" y="6"/>
                      </a:lnTo>
                      <a:lnTo>
                        <a:pt x="365" y="6"/>
                      </a:lnTo>
                      <a:lnTo>
                        <a:pt x="364" y="6"/>
                      </a:lnTo>
                      <a:lnTo>
                        <a:pt x="364" y="7"/>
                      </a:lnTo>
                      <a:lnTo>
                        <a:pt x="363" y="7"/>
                      </a:lnTo>
                      <a:lnTo>
                        <a:pt x="363" y="7"/>
                      </a:lnTo>
                      <a:lnTo>
                        <a:pt x="362" y="7"/>
                      </a:lnTo>
                      <a:lnTo>
                        <a:pt x="361" y="6"/>
                      </a:lnTo>
                      <a:lnTo>
                        <a:pt x="361" y="6"/>
                      </a:lnTo>
                      <a:lnTo>
                        <a:pt x="361" y="6"/>
                      </a:lnTo>
                      <a:lnTo>
                        <a:pt x="361" y="5"/>
                      </a:lnTo>
                      <a:lnTo>
                        <a:pt x="361" y="5"/>
                      </a:lnTo>
                      <a:lnTo>
                        <a:pt x="362" y="5"/>
                      </a:lnTo>
                      <a:lnTo>
                        <a:pt x="362" y="4"/>
                      </a:lnTo>
                      <a:lnTo>
                        <a:pt x="363" y="4"/>
                      </a:lnTo>
                      <a:lnTo>
                        <a:pt x="363" y="4"/>
                      </a:lnTo>
                      <a:lnTo>
                        <a:pt x="364" y="4"/>
                      </a:lnTo>
                      <a:lnTo>
                        <a:pt x="364" y="4"/>
                      </a:lnTo>
                      <a:lnTo>
                        <a:pt x="365" y="4"/>
                      </a:lnTo>
                      <a:lnTo>
                        <a:pt x="367" y="5"/>
                      </a:lnTo>
                      <a:lnTo>
                        <a:pt x="367" y="5"/>
                      </a:lnTo>
                      <a:lnTo>
                        <a:pt x="371" y="6"/>
                      </a:lnTo>
                      <a:lnTo>
                        <a:pt x="372" y="7"/>
                      </a:lnTo>
                      <a:lnTo>
                        <a:pt x="373" y="7"/>
                      </a:lnTo>
                      <a:lnTo>
                        <a:pt x="373" y="7"/>
                      </a:lnTo>
                      <a:lnTo>
                        <a:pt x="375" y="8"/>
                      </a:lnTo>
                      <a:lnTo>
                        <a:pt x="375" y="8"/>
                      </a:lnTo>
                      <a:lnTo>
                        <a:pt x="376" y="8"/>
                      </a:lnTo>
                      <a:lnTo>
                        <a:pt x="377" y="8"/>
                      </a:lnTo>
                      <a:lnTo>
                        <a:pt x="377" y="9"/>
                      </a:lnTo>
                      <a:lnTo>
                        <a:pt x="379" y="9"/>
                      </a:lnTo>
                      <a:lnTo>
                        <a:pt x="380" y="9"/>
                      </a:lnTo>
                      <a:lnTo>
                        <a:pt x="380" y="9"/>
                      </a:lnTo>
                      <a:lnTo>
                        <a:pt x="382" y="11"/>
                      </a:lnTo>
                      <a:lnTo>
                        <a:pt x="384" y="11"/>
                      </a:lnTo>
                      <a:lnTo>
                        <a:pt x="384" y="12"/>
                      </a:lnTo>
                      <a:lnTo>
                        <a:pt x="385" y="12"/>
                      </a:lnTo>
                      <a:lnTo>
                        <a:pt x="385" y="12"/>
                      </a:lnTo>
                      <a:lnTo>
                        <a:pt x="386" y="12"/>
                      </a:lnTo>
                      <a:lnTo>
                        <a:pt x="386" y="12"/>
                      </a:lnTo>
                      <a:lnTo>
                        <a:pt x="388" y="13"/>
                      </a:lnTo>
                      <a:lnTo>
                        <a:pt x="389" y="13"/>
                      </a:lnTo>
                      <a:lnTo>
                        <a:pt x="391" y="14"/>
                      </a:lnTo>
                      <a:lnTo>
                        <a:pt x="392" y="14"/>
                      </a:lnTo>
                      <a:lnTo>
                        <a:pt x="392" y="14"/>
                      </a:lnTo>
                      <a:lnTo>
                        <a:pt x="396" y="15"/>
                      </a:lnTo>
                      <a:lnTo>
                        <a:pt x="397" y="15"/>
                      </a:lnTo>
                      <a:lnTo>
                        <a:pt x="398" y="15"/>
                      </a:lnTo>
                      <a:lnTo>
                        <a:pt x="403" y="15"/>
                      </a:lnTo>
                      <a:lnTo>
                        <a:pt x="403" y="15"/>
                      </a:lnTo>
                      <a:lnTo>
                        <a:pt x="410" y="16"/>
                      </a:lnTo>
                      <a:lnTo>
                        <a:pt x="410" y="16"/>
                      </a:lnTo>
                      <a:lnTo>
                        <a:pt x="414" y="16"/>
                      </a:lnTo>
                      <a:lnTo>
                        <a:pt x="414" y="17"/>
                      </a:lnTo>
                      <a:lnTo>
                        <a:pt x="417" y="17"/>
                      </a:lnTo>
                      <a:lnTo>
                        <a:pt x="417" y="17"/>
                      </a:lnTo>
                      <a:lnTo>
                        <a:pt x="421" y="18"/>
                      </a:lnTo>
                      <a:lnTo>
                        <a:pt x="421" y="18"/>
                      </a:lnTo>
                      <a:lnTo>
                        <a:pt x="422" y="18"/>
                      </a:lnTo>
                      <a:lnTo>
                        <a:pt x="423" y="19"/>
                      </a:lnTo>
                      <a:lnTo>
                        <a:pt x="424" y="19"/>
                      </a:lnTo>
                      <a:lnTo>
                        <a:pt x="425" y="19"/>
                      </a:lnTo>
                      <a:lnTo>
                        <a:pt x="426" y="19"/>
                      </a:lnTo>
                      <a:lnTo>
                        <a:pt x="426" y="19"/>
                      </a:lnTo>
                      <a:lnTo>
                        <a:pt x="428" y="20"/>
                      </a:lnTo>
                      <a:lnTo>
                        <a:pt x="429" y="21"/>
                      </a:lnTo>
                      <a:lnTo>
                        <a:pt x="429" y="21"/>
                      </a:lnTo>
                      <a:lnTo>
                        <a:pt x="430" y="21"/>
                      </a:lnTo>
                      <a:lnTo>
                        <a:pt x="431" y="21"/>
                      </a:lnTo>
                      <a:lnTo>
                        <a:pt x="431" y="22"/>
                      </a:lnTo>
                      <a:lnTo>
                        <a:pt x="433" y="22"/>
                      </a:lnTo>
                      <a:lnTo>
                        <a:pt x="434" y="23"/>
                      </a:lnTo>
                      <a:lnTo>
                        <a:pt x="435" y="23"/>
                      </a:lnTo>
                      <a:lnTo>
                        <a:pt x="435" y="23"/>
                      </a:lnTo>
                      <a:lnTo>
                        <a:pt x="436" y="24"/>
                      </a:lnTo>
                      <a:lnTo>
                        <a:pt x="438" y="24"/>
                      </a:lnTo>
                      <a:lnTo>
                        <a:pt x="439" y="25"/>
                      </a:lnTo>
                      <a:lnTo>
                        <a:pt x="440" y="25"/>
                      </a:lnTo>
                      <a:lnTo>
                        <a:pt x="440" y="26"/>
                      </a:lnTo>
                      <a:lnTo>
                        <a:pt x="440" y="26"/>
                      </a:lnTo>
                      <a:lnTo>
                        <a:pt x="440" y="26"/>
                      </a:lnTo>
                      <a:lnTo>
                        <a:pt x="441" y="27"/>
                      </a:lnTo>
                      <a:lnTo>
                        <a:pt x="441" y="27"/>
                      </a:lnTo>
                      <a:lnTo>
                        <a:pt x="441" y="27"/>
                      </a:lnTo>
                      <a:lnTo>
                        <a:pt x="442" y="28"/>
                      </a:lnTo>
                      <a:lnTo>
                        <a:pt x="443" y="28"/>
                      </a:lnTo>
                      <a:lnTo>
                        <a:pt x="446" y="30"/>
                      </a:lnTo>
                      <a:lnTo>
                        <a:pt x="447" y="31"/>
                      </a:lnTo>
                      <a:lnTo>
                        <a:pt x="448" y="31"/>
                      </a:lnTo>
                      <a:lnTo>
                        <a:pt x="448" y="31"/>
                      </a:lnTo>
                      <a:lnTo>
                        <a:pt x="448" y="32"/>
                      </a:lnTo>
                      <a:lnTo>
                        <a:pt x="449" y="32"/>
                      </a:lnTo>
                      <a:lnTo>
                        <a:pt x="449" y="32"/>
                      </a:lnTo>
                      <a:lnTo>
                        <a:pt x="450" y="33"/>
                      </a:lnTo>
                      <a:lnTo>
                        <a:pt x="451" y="33"/>
                      </a:lnTo>
                      <a:lnTo>
                        <a:pt x="451" y="33"/>
                      </a:lnTo>
                      <a:lnTo>
                        <a:pt x="452" y="34"/>
                      </a:lnTo>
                      <a:lnTo>
                        <a:pt x="453" y="35"/>
                      </a:lnTo>
                      <a:lnTo>
                        <a:pt x="454" y="36"/>
                      </a:lnTo>
                      <a:lnTo>
                        <a:pt x="455" y="36"/>
                      </a:lnTo>
                      <a:lnTo>
                        <a:pt x="457" y="38"/>
                      </a:lnTo>
                      <a:lnTo>
                        <a:pt x="458" y="38"/>
                      </a:lnTo>
                      <a:lnTo>
                        <a:pt x="458" y="39"/>
                      </a:lnTo>
                      <a:lnTo>
                        <a:pt x="459" y="40"/>
                      </a:lnTo>
                      <a:lnTo>
                        <a:pt x="459" y="41"/>
                      </a:lnTo>
                      <a:lnTo>
                        <a:pt x="461" y="42"/>
                      </a:lnTo>
                      <a:lnTo>
                        <a:pt x="461" y="43"/>
                      </a:lnTo>
                      <a:lnTo>
                        <a:pt x="464" y="45"/>
                      </a:lnTo>
                      <a:lnTo>
                        <a:pt x="464" y="45"/>
                      </a:lnTo>
                      <a:lnTo>
                        <a:pt x="465" y="46"/>
                      </a:lnTo>
                      <a:lnTo>
                        <a:pt x="465" y="46"/>
                      </a:lnTo>
                      <a:lnTo>
                        <a:pt x="466" y="46"/>
                      </a:lnTo>
                      <a:lnTo>
                        <a:pt x="467" y="49"/>
                      </a:lnTo>
                      <a:lnTo>
                        <a:pt x="468" y="49"/>
                      </a:lnTo>
                      <a:lnTo>
                        <a:pt x="470" y="51"/>
                      </a:lnTo>
                      <a:lnTo>
                        <a:pt x="470" y="51"/>
                      </a:lnTo>
                      <a:lnTo>
                        <a:pt x="471" y="51"/>
                      </a:lnTo>
                      <a:lnTo>
                        <a:pt x="472" y="52"/>
                      </a:lnTo>
                      <a:lnTo>
                        <a:pt x="474" y="54"/>
                      </a:lnTo>
                      <a:lnTo>
                        <a:pt x="476" y="55"/>
                      </a:lnTo>
                      <a:lnTo>
                        <a:pt x="477" y="56"/>
                      </a:lnTo>
                      <a:lnTo>
                        <a:pt x="478" y="57"/>
                      </a:lnTo>
                      <a:lnTo>
                        <a:pt x="478" y="58"/>
                      </a:lnTo>
                      <a:lnTo>
                        <a:pt x="479" y="58"/>
                      </a:lnTo>
                      <a:lnTo>
                        <a:pt x="479" y="58"/>
                      </a:lnTo>
                      <a:lnTo>
                        <a:pt x="481" y="60"/>
                      </a:lnTo>
                      <a:lnTo>
                        <a:pt x="482" y="60"/>
                      </a:lnTo>
                      <a:lnTo>
                        <a:pt x="482" y="61"/>
                      </a:lnTo>
                      <a:lnTo>
                        <a:pt x="483" y="61"/>
                      </a:lnTo>
                      <a:lnTo>
                        <a:pt x="484" y="62"/>
                      </a:lnTo>
                      <a:lnTo>
                        <a:pt x="485" y="63"/>
                      </a:lnTo>
                      <a:lnTo>
                        <a:pt x="486" y="64"/>
                      </a:lnTo>
                      <a:lnTo>
                        <a:pt x="486" y="64"/>
                      </a:lnTo>
                      <a:lnTo>
                        <a:pt x="487" y="64"/>
                      </a:lnTo>
                      <a:lnTo>
                        <a:pt x="487" y="65"/>
                      </a:lnTo>
                      <a:lnTo>
                        <a:pt x="488" y="65"/>
                      </a:lnTo>
                      <a:lnTo>
                        <a:pt x="488" y="65"/>
                      </a:lnTo>
                      <a:lnTo>
                        <a:pt x="489" y="66"/>
                      </a:lnTo>
                      <a:lnTo>
                        <a:pt x="489" y="66"/>
                      </a:lnTo>
                      <a:lnTo>
                        <a:pt x="490" y="67"/>
                      </a:lnTo>
                      <a:lnTo>
                        <a:pt x="491" y="68"/>
                      </a:lnTo>
                      <a:lnTo>
                        <a:pt x="491" y="69"/>
                      </a:lnTo>
                      <a:lnTo>
                        <a:pt x="492" y="69"/>
                      </a:lnTo>
                      <a:lnTo>
                        <a:pt x="494" y="71"/>
                      </a:lnTo>
                      <a:lnTo>
                        <a:pt x="495" y="72"/>
                      </a:lnTo>
                      <a:lnTo>
                        <a:pt x="496" y="72"/>
                      </a:lnTo>
                      <a:lnTo>
                        <a:pt x="496" y="73"/>
                      </a:lnTo>
                      <a:lnTo>
                        <a:pt x="496" y="73"/>
                      </a:lnTo>
                      <a:lnTo>
                        <a:pt x="497" y="74"/>
                      </a:lnTo>
                      <a:lnTo>
                        <a:pt x="498" y="74"/>
                      </a:lnTo>
                      <a:lnTo>
                        <a:pt x="498" y="74"/>
                      </a:lnTo>
                      <a:lnTo>
                        <a:pt x="498" y="75"/>
                      </a:lnTo>
                      <a:lnTo>
                        <a:pt x="499" y="76"/>
                      </a:lnTo>
                      <a:lnTo>
                        <a:pt x="499" y="76"/>
                      </a:lnTo>
                      <a:lnTo>
                        <a:pt x="499" y="77"/>
                      </a:lnTo>
                      <a:lnTo>
                        <a:pt x="500" y="77"/>
                      </a:lnTo>
                      <a:lnTo>
                        <a:pt x="501" y="78"/>
                      </a:lnTo>
                      <a:lnTo>
                        <a:pt x="502" y="80"/>
                      </a:lnTo>
                      <a:lnTo>
                        <a:pt x="504" y="81"/>
                      </a:lnTo>
                      <a:lnTo>
                        <a:pt x="508" y="85"/>
                      </a:lnTo>
                      <a:lnTo>
                        <a:pt x="510" y="89"/>
                      </a:lnTo>
                      <a:lnTo>
                        <a:pt x="513" y="94"/>
                      </a:lnTo>
                      <a:lnTo>
                        <a:pt x="514" y="98"/>
                      </a:lnTo>
                      <a:lnTo>
                        <a:pt x="514" y="99"/>
                      </a:lnTo>
                      <a:lnTo>
                        <a:pt x="514" y="100"/>
                      </a:lnTo>
                      <a:lnTo>
                        <a:pt x="518" y="110"/>
                      </a:lnTo>
                      <a:lnTo>
                        <a:pt x="518" y="111"/>
                      </a:lnTo>
                      <a:lnTo>
                        <a:pt x="519" y="111"/>
                      </a:lnTo>
                      <a:lnTo>
                        <a:pt x="519" y="112"/>
                      </a:lnTo>
                      <a:lnTo>
                        <a:pt x="519" y="113"/>
                      </a:lnTo>
                      <a:lnTo>
                        <a:pt x="519" y="114"/>
                      </a:lnTo>
                      <a:lnTo>
                        <a:pt x="520" y="115"/>
                      </a:lnTo>
                      <a:lnTo>
                        <a:pt x="519" y="116"/>
                      </a:lnTo>
                      <a:lnTo>
                        <a:pt x="520" y="116"/>
                      </a:lnTo>
                      <a:lnTo>
                        <a:pt x="520" y="117"/>
                      </a:lnTo>
                      <a:lnTo>
                        <a:pt x="520" y="117"/>
                      </a:lnTo>
                      <a:lnTo>
                        <a:pt x="520" y="118"/>
                      </a:lnTo>
                      <a:lnTo>
                        <a:pt x="521" y="118"/>
                      </a:lnTo>
                      <a:lnTo>
                        <a:pt x="521" y="121"/>
                      </a:lnTo>
                      <a:lnTo>
                        <a:pt x="521" y="121"/>
                      </a:lnTo>
                      <a:lnTo>
                        <a:pt x="521" y="122"/>
                      </a:lnTo>
                      <a:lnTo>
                        <a:pt x="521" y="122"/>
                      </a:lnTo>
                      <a:lnTo>
                        <a:pt x="521" y="123"/>
                      </a:lnTo>
                      <a:lnTo>
                        <a:pt x="522" y="123"/>
                      </a:lnTo>
                      <a:lnTo>
                        <a:pt x="522" y="126"/>
                      </a:lnTo>
                      <a:lnTo>
                        <a:pt x="522" y="126"/>
                      </a:lnTo>
                      <a:lnTo>
                        <a:pt x="522" y="128"/>
                      </a:lnTo>
                      <a:lnTo>
                        <a:pt x="522" y="129"/>
                      </a:lnTo>
                      <a:lnTo>
                        <a:pt x="522" y="130"/>
                      </a:lnTo>
                      <a:lnTo>
                        <a:pt x="522" y="131"/>
                      </a:lnTo>
                      <a:lnTo>
                        <a:pt x="522" y="133"/>
                      </a:lnTo>
                      <a:lnTo>
                        <a:pt x="521" y="135"/>
                      </a:lnTo>
                      <a:lnTo>
                        <a:pt x="521" y="136"/>
                      </a:lnTo>
                      <a:lnTo>
                        <a:pt x="521" y="137"/>
                      </a:lnTo>
                      <a:lnTo>
                        <a:pt x="521" y="138"/>
                      </a:lnTo>
                      <a:lnTo>
                        <a:pt x="521" y="140"/>
                      </a:lnTo>
                      <a:lnTo>
                        <a:pt x="521" y="140"/>
                      </a:lnTo>
                      <a:lnTo>
                        <a:pt x="521" y="141"/>
                      </a:lnTo>
                      <a:lnTo>
                        <a:pt x="521" y="141"/>
                      </a:lnTo>
                      <a:lnTo>
                        <a:pt x="521" y="142"/>
                      </a:lnTo>
                      <a:lnTo>
                        <a:pt x="521" y="143"/>
                      </a:lnTo>
                      <a:lnTo>
                        <a:pt x="521" y="144"/>
                      </a:lnTo>
                      <a:lnTo>
                        <a:pt x="521" y="144"/>
                      </a:lnTo>
                      <a:lnTo>
                        <a:pt x="521" y="145"/>
                      </a:lnTo>
                      <a:lnTo>
                        <a:pt x="521" y="145"/>
                      </a:lnTo>
                      <a:lnTo>
                        <a:pt x="520" y="146"/>
                      </a:lnTo>
                      <a:lnTo>
                        <a:pt x="520" y="149"/>
                      </a:lnTo>
                      <a:lnTo>
                        <a:pt x="520" y="151"/>
                      </a:lnTo>
                      <a:lnTo>
                        <a:pt x="521" y="157"/>
                      </a:lnTo>
                      <a:lnTo>
                        <a:pt x="522" y="159"/>
                      </a:lnTo>
                      <a:lnTo>
                        <a:pt x="522" y="160"/>
                      </a:lnTo>
                      <a:lnTo>
                        <a:pt x="522" y="161"/>
                      </a:lnTo>
                      <a:lnTo>
                        <a:pt x="523" y="163"/>
                      </a:lnTo>
                      <a:lnTo>
                        <a:pt x="523" y="165"/>
                      </a:lnTo>
                      <a:lnTo>
                        <a:pt x="524" y="165"/>
                      </a:lnTo>
                      <a:lnTo>
                        <a:pt x="524" y="169"/>
                      </a:lnTo>
                      <a:lnTo>
                        <a:pt x="525" y="169"/>
                      </a:lnTo>
                      <a:lnTo>
                        <a:pt x="525" y="171"/>
                      </a:lnTo>
                      <a:lnTo>
                        <a:pt x="525" y="171"/>
                      </a:lnTo>
                      <a:lnTo>
                        <a:pt x="526" y="175"/>
                      </a:lnTo>
                      <a:lnTo>
                        <a:pt x="526" y="176"/>
                      </a:lnTo>
                      <a:lnTo>
                        <a:pt x="526" y="177"/>
                      </a:lnTo>
                      <a:lnTo>
                        <a:pt x="526" y="177"/>
                      </a:lnTo>
                      <a:lnTo>
                        <a:pt x="526" y="178"/>
                      </a:lnTo>
                      <a:lnTo>
                        <a:pt x="525" y="180"/>
                      </a:lnTo>
                      <a:lnTo>
                        <a:pt x="525" y="180"/>
                      </a:lnTo>
                      <a:lnTo>
                        <a:pt x="525" y="179"/>
                      </a:lnTo>
                      <a:lnTo>
                        <a:pt x="525" y="179"/>
                      </a:lnTo>
                      <a:lnTo>
                        <a:pt x="525" y="179"/>
                      </a:lnTo>
                      <a:lnTo>
                        <a:pt x="525" y="179"/>
                      </a:lnTo>
                      <a:lnTo>
                        <a:pt x="524" y="179"/>
                      </a:lnTo>
                      <a:lnTo>
                        <a:pt x="524" y="180"/>
                      </a:lnTo>
                      <a:lnTo>
                        <a:pt x="523" y="180"/>
                      </a:lnTo>
                      <a:lnTo>
                        <a:pt x="523" y="180"/>
                      </a:lnTo>
                      <a:lnTo>
                        <a:pt x="523" y="181"/>
                      </a:lnTo>
                      <a:lnTo>
                        <a:pt x="523" y="181"/>
                      </a:lnTo>
                      <a:lnTo>
                        <a:pt x="523" y="181"/>
                      </a:lnTo>
                      <a:lnTo>
                        <a:pt x="522" y="182"/>
                      </a:lnTo>
                      <a:lnTo>
                        <a:pt x="522" y="183"/>
                      </a:lnTo>
                      <a:lnTo>
                        <a:pt x="522" y="184"/>
                      </a:lnTo>
                      <a:lnTo>
                        <a:pt x="522" y="184"/>
                      </a:lnTo>
                      <a:lnTo>
                        <a:pt x="522" y="184"/>
                      </a:lnTo>
                      <a:lnTo>
                        <a:pt x="522" y="185"/>
                      </a:lnTo>
                      <a:lnTo>
                        <a:pt x="521" y="186"/>
                      </a:lnTo>
                      <a:lnTo>
                        <a:pt x="520" y="190"/>
                      </a:lnTo>
                      <a:lnTo>
                        <a:pt x="519" y="193"/>
                      </a:lnTo>
                      <a:lnTo>
                        <a:pt x="519" y="197"/>
                      </a:lnTo>
                      <a:lnTo>
                        <a:pt x="520" y="198"/>
                      </a:lnTo>
                      <a:lnTo>
                        <a:pt x="520" y="200"/>
                      </a:lnTo>
                      <a:lnTo>
                        <a:pt x="520" y="201"/>
                      </a:lnTo>
                      <a:lnTo>
                        <a:pt x="520" y="201"/>
                      </a:lnTo>
                      <a:lnTo>
                        <a:pt x="520" y="201"/>
                      </a:lnTo>
                      <a:lnTo>
                        <a:pt x="520" y="203"/>
                      </a:lnTo>
                      <a:lnTo>
                        <a:pt x="519" y="203"/>
                      </a:lnTo>
                      <a:lnTo>
                        <a:pt x="519" y="205"/>
                      </a:lnTo>
                      <a:lnTo>
                        <a:pt x="519" y="205"/>
                      </a:lnTo>
                      <a:lnTo>
                        <a:pt x="519" y="207"/>
                      </a:lnTo>
                      <a:lnTo>
                        <a:pt x="518" y="207"/>
                      </a:lnTo>
                      <a:lnTo>
                        <a:pt x="518" y="209"/>
                      </a:lnTo>
                      <a:lnTo>
                        <a:pt x="517" y="209"/>
                      </a:lnTo>
                      <a:lnTo>
                        <a:pt x="517" y="211"/>
                      </a:lnTo>
                      <a:lnTo>
                        <a:pt x="516" y="211"/>
                      </a:lnTo>
                      <a:lnTo>
                        <a:pt x="516" y="212"/>
                      </a:lnTo>
                      <a:lnTo>
                        <a:pt x="516" y="212"/>
                      </a:lnTo>
                      <a:lnTo>
                        <a:pt x="516" y="213"/>
                      </a:lnTo>
                      <a:lnTo>
                        <a:pt x="515" y="213"/>
                      </a:lnTo>
                      <a:lnTo>
                        <a:pt x="515" y="214"/>
                      </a:lnTo>
                      <a:lnTo>
                        <a:pt x="514" y="216"/>
                      </a:lnTo>
                      <a:lnTo>
                        <a:pt x="514" y="217"/>
                      </a:lnTo>
                      <a:lnTo>
                        <a:pt x="513" y="218"/>
                      </a:lnTo>
                      <a:lnTo>
                        <a:pt x="513" y="219"/>
                      </a:lnTo>
                      <a:lnTo>
                        <a:pt x="512" y="220"/>
                      </a:lnTo>
                      <a:lnTo>
                        <a:pt x="512" y="220"/>
                      </a:lnTo>
                      <a:lnTo>
                        <a:pt x="512" y="220"/>
                      </a:lnTo>
                      <a:lnTo>
                        <a:pt x="512" y="221"/>
                      </a:lnTo>
                      <a:lnTo>
                        <a:pt x="512" y="222"/>
                      </a:lnTo>
                      <a:lnTo>
                        <a:pt x="511" y="222"/>
                      </a:lnTo>
                      <a:lnTo>
                        <a:pt x="511" y="225"/>
                      </a:lnTo>
                      <a:lnTo>
                        <a:pt x="511" y="225"/>
                      </a:lnTo>
                      <a:lnTo>
                        <a:pt x="511" y="227"/>
                      </a:lnTo>
                      <a:lnTo>
                        <a:pt x="510" y="227"/>
                      </a:lnTo>
                      <a:lnTo>
                        <a:pt x="510" y="228"/>
                      </a:lnTo>
                      <a:lnTo>
                        <a:pt x="510" y="228"/>
                      </a:lnTo>
                      <a:lnTo>
                        <a:pt x="510" y="230"/>
                      </a:lnTo>
                      <a:lnTo>
                        <a:pt x="509" y="231"/>
                      </a:lnTo>
                      <a:lnTo>
                        <a:pt x="509" y="231"/>
                      </a:lnTo>
                      <a:lnTo>
                        <a:pt x="509" y="231"/>
                      </a:lnTo>
                      <a:lnTo>
                        <a:pt x="509" y="232"/>
                      </a:lnTo>
                      <a:lnTo>
                        <a:pt x="508" y="232"/>
                      </a:lnTo>
                      <a:lnTo>
                        <a:pt x="508" y="233"/>
                      </a:lnTo>
                      <a:lnTo>
                        <a:pt x="508" y="233"/>
                      </a:lnTo>
                      <a:lnTo>
                        <a:pt x="508" y="234"/>
                      </a:lnTo>
                      <a:lnTo>
                        <a:pt x="508" y="234"/>
                      </a:lnTo>
                      <a:lnTo>
                        <a:pt x="507" y="234"/>
                      </a:lnTo>
                      <a:lnTo>
                        <a:pt x="505" y="235"/>
                      </a:lnTo>
                      <a:lnTo>
                        <a:pt x="504" y="236"/>
                      </a:lnTo>
                      <a:lnTo>
                        <a:pt x="504" y="238"/>
                      </a:lnTo>
                      <a:lnTo>
                        <a:pt x="503" y="238"/>
                      </a:lnTo>
                      <a:lnTo>
                        <a:pt x="502" y="239"/>
                      </a:lnTo>
                      <a:lnTo>
                        <a:pt x="502" y="240"/>
                      </a:lnTo>
                      <a:lnTo>
                        <a:pt x="501" y="240"/>
                      </a:lnTo>
                      <a:lnTo>
                        <a:pt x="501" y="241"/>
                      </a:lnTo>
                      <a:lnTo>
                        <a:pt x="500" y="242"/>
                      </a:lnTo>
                      <a:lnTo>
                        <a:pt x="500" y="243"/>
                      </a:lnTo>
                      <a:lnTo>
                        <a:pt x="499" y="247"/>
                      </a:lnTo>
                      <a:lnTo>
                        <a:pt x="498" y="251"/>
                      </a:lnTo>
                      <a:lnTo>
                        <a:pt x="498" y="258"/>
                      </a:lnTo>
                      <a:lnTo>
                        <a:pt x="497" y="262"/>
                      </a:lnTo>
                      <a:lnTo>
                        <a:pt x="497" y="263"/>
                      </a:lnTo>
                      <a:lnTo>
                        <a:pt x="497" y="267"/>
                      </a:lnTo>
                      <a:lnTo>
                        <a:pt x="497" y="268"/>
                      </a:lnTo>
                      <a:lnTo>
                        <a:pt x="497" y="269"/>
                      </a:lnTo>
                      <a:lnTo>
                        <a:pt x="496" y="271"/>
                      </a:lnTo>
                      <a:lnTo>
                        <a:pt x="496" y="274"/>
                      </a:lnTo>
                      <a:lnTo>
                        <a:pt x="497" y="277"/>
                      </a:lnTo>
                      <a:lnTo>
                        <a:pt x="497" y="278"/>
                      </a:lnTo>
                      <a:lnTo>
                        <a:pt x="496" y="278"/>
                      </a:lnTo>
                      <a:lnTo>
                        <a:pt x="496" y="279"/>
                      </a:lnTo>
                      <a:lnTo>
                        <a:pt x="496" y="281"/>
                      </a:lnTo>
                      <a:lnTo>
                        <a:pt x="494" y="284"/>
                      </a:lnTo>
                      <a:lnTo>
                        <a:pt x="494" y="285"/>
                      </a:lnTo>
                      <a:lnTo>
                        <a:pt x="493" y="287"/>
                      </a:lnTo>
                      <a:lnTo>
                        <a:pt x="493" y="289"/>
                      </a:lnTo>
                      <a:lnTo>
                        <a:pt x="492" y="292"/>
                      </a:lnTo>
                      <a:lnTo>
                        <a:pt x="492" y="294"/>
                      </a:lnTo>
                      <a:lnTo>
                        <a:pt x="491" y="298"/>
                      </a:lnTo>
                      <a:lnTo>
                        <a:pt x="490" y="305"/>
                      </a:lnTo>
                      <a:lnTo>
                        <a:pt x="489" y="308"/>
                      </a:lnTo>
                      <a:lnTo>
                        <a:pt x="489" y="310"/>
                      </a:lnTo>
                      <a:lnTo>
                        <a:pt x="488" y="312"/>
                      </a:lnTo>
                      <a:lnTo>
                        <a:pt x="485" y="315"/>
                      </a:lnTo>
                      <a:lnTo>
                        <a:pt x="483" y="315"/>
                      </a:lnTo>
                      <a:lnTo>
                        <a:pt x="476" y="319"/>
                      </a:lnTo>
                      <a:lnTo>
                        <a:pt x="470" y="322"/>
                      </a:lnTo>
                      <a:lnTo>
                        <a:pt x="465" y="325"/>
                      </a:lnTo>
                      <a:lnTo>
                        <a:pt x="463" y="327"/>
                      </a:lnTo>
                      <a:lnTo>
                        <a:pt x="463" y="329"/>
                      </a:lnTo>
                      <a:lnTo>
                        <a:pt x="462" y="330"/>
                      </a:lnTo>
                      <a:lnTo>
                        <a:pt x="461" y="330"/>
                      </a:lnTo>
                      <a:lnTo>
                        <a:pt x="461" y="331"/>
                      </a:lnTo>
                      <a:lnTo>
                        <a:pt x="460" y="331"/>
                      </a:lnTo>
                      <a:lnTo>
                        <a:pt x="459" y="333"/>
                      </a:lnTo>
                      <a:lnTo>
                        <a:pt x="458" y="334"/>
                      </a:lnTo>
                      <a:lnTo>
                        <a:pt x="457" y="338"/>
                      </a:lnTo>
                      <a:lnTo>
                        <a:pt x="457" y="338"/>
                      </a:lnTo>
                      <a:lnTo>
                        <a:pt x="457" y="339"/>
                      </a:lnTo>
                      <a:lnTo>
                        <a:pt x="456" y="340"/>
                      </a:lnTo>
                      <a:lnTo>
                        <a:pt x="453" y="343"/>
                      </a:lnTo>
                      <a:lnTo>
                        <a:pt x="449" y="346"/>
                      </a:lnTo>
                      <a:lnTo>
                        <a:pt x="449" y="343"/>
                      </a:lnTo>
                      <a:lnTo>
                        <a:pt x="448" y="342"/>
                      </a:lnTo>
                      <a:lnTo>
                        <a:pt x="448" y="342"/>
                      </a:lnTo>
                      <a:lnTo>
                        <a:pt x="448" y="342"/>
                      </a:lnTo>
                      <a:lnTo>
                        <a:pt x="447" y="341"/>
                      </a:lnTo>
                      <a:lnTo>
                        <a:pt x="446" y="340"/>
                      </a:lnTo>
                      <a:lnTo>
                        <a:pt x="445" y="340"/>
                      </a:lnTo>
                      <a:lnTo>
                        <a:pt x="444" y="339"/>
                      </a:lnTo>
                      <a:lnTo>
                        <a:pt x="443" y="338"/>
                      </a:lnTo>
                      <a:lnTo>
                        <a:pt x="443" y="338"/>
                      </a:lnTo>
                      <a:lnTo>
                        <a:pt x="443" y="337"/>
                      </a:lnTo>
                      <a:lnTo>
                        <a:pt x="443" y="337"/>
                      </a:lnTo>
                      <a:lnTo>
                        <a:pt x="443" y="336"/>
                      </a:lnTo>
                      <a:lnTo>
                        <a:pt x="442" y="334"/>
                      </a:lnTo>
                      <a:lnTo>
                        <a:pt x="442" y="334"/>
                      </a:lnTo>
                      <a:lnTo>
                        <a:pt x="442" y="333"/>
                      </a:lnTo>
                      <a:lnTo>
                        <a:pt x="441" y="332"/>
                      </a:lnTo>
                      <a:lnTo>
                        <a:pt x="440" y="332"/>
                      </a:lnTo>
                      <a:lnTo>
                        <a:pt x="439" y="332"/>
                      </a:lnTo>
                      <a:lnTo>
                        <a:pt x="439" y="331"/>
                      </a:lnTo>
                      <a:lnTo>
                        <a:pt x="439" y="331"/>
                      </a:lnTo>
                      <a:lnTo>
                        <a:pt x="438" y="331"/>
                      </a:lnTo>
                      <a:lnTo>
                        <a:pt x="439" y="330"/>
                      </a:lnTo>
                      <a:lnTo>
                        <a:pt x="440" y="329"/>
                      </a:lnTo>
                      <a:lnTo>
                        <a:pt x="440" y="327"/>
                      </a:lnTo>
                      <a:lnTo>
                        <a:pt x="440" y="326"/>
                      </a:lnTo>
                      <a:lnTo>
                        <a:pt x="439" y="326"/>
                      </a:lnTo>
                      <a:lnTo>
                        <a:pt x="439" y="325"/>
                      </a:lnTo>
                      <a:lnTo>
                        <a:pt x="438" y="325"/>
                      </a:lnTo>
                      <a:lnTo>
                        <a:pt x="438" y="324"/>
                      </a:lnTo>
                      <a:lnTo>
                        <a:pt x="438" y="324"/>
                      </a:lnTo>
                      <a:lnTo>
                        <a:pt x="438" y="324"/>
                      </a:lnTo>
                      <a:lnTo>
                        <a:pt x="438" y="323"/>
                      </a:lnTo>
                      <a:lnTo>
                        <a:pt x="439" y="323"/>
                      </a:lnTo>
                      <a:lnTo>
                        <a:pt x="438" y="321"/>
                      </a:lnTo>
                      <a:lnTo>
                        <a:pt x="438" y="321"/>
                      </a:lnTo>
                      <a:lnTo>
                        <a:pt x="438" y="320"/>
                      </a:lnTo>
                      <a:lnTo>
                        <a:pt x="438" y="320"/>
                      </a:lnTo>
                      <a:lnTo>
                        <a:pt x="437" y="320"/>
                      </a:lnTo>
                      <a:lnTo>
                        <a:pt x="437" y="319"/>
                      </a:lnTo>
                      <a:lnTo>
                        <a:pt x="436" y="319"/>
                      </a:lnTo>
                      <a:lnTo>
                        <a:pt x="435" y="318"/>
                      </a:lnTo>
                      <a:lnTo>
                        <a:pt x="435" y="318"/>
                      </a:lnTo>
                      <a:lnTo>
                        <a:pt x="434" y="317"/>
                      </a:lnTo>
                      <a:lnTo>
                        <a:pt x="434" y="316"/>
                      </a:lnTo>
                      <a:lnTo>
                        <a:pt x="434" y="315"/>
                      </a:lnTo>
                      <a:lnTo>
                        <a:pt x="433" y="315"/>
                      </a:lnTo>
                      <a:lnTo>
                        <a:pt x="433" y="315"/>
                      </a:lnTo>
                      <a:lnTo>
                        <a:pt x="431" y="315"/>
                      </a:lnTo>
                      <a:lnTo>
                        <a:pt x="431" y="315"/>
                      </a:lnTo>
                      <a:lnTo>
                        <a:pt x="433" y="314"/>
                      </a:lnTo>
                      <a:lnTo>
                        <a:pt x="433" y="314"/>
                      </a:lnTo>
                      <a:lnTo>
                        <a:pt x="433" y="311"/>
                      </a:lnTo>
                      <a:lnTo>
                        <a:pt x="434" y="311"/>
                      </a:lnTo>
                      <a:lnTo>
                        <a:pt x="434" y="310"/>
                      </a:lnTo>
                      <a:lnTo>
                        <a:pt x="434" y="310"/>
                      </a:lnTo>
                      <a:lnTo>
                        <a:pt x="434" y="309"/>
                      </a:lnTo>
                      <a:lnTo>
                        <a:pt x="435" y="309"/>
                      </a:lnTo>
                      <a:lnTo>
                        <a:pt x="435" y="308"/>
                      </a:lnTo>
                      <a:lnTo>
                        <a:pt x="434" y="309"/>
                      </a:lnTo>
                      <a:lnTo>
                        <a:pt x="434" y="310"/>
                      </a:lnTo>
                      <a:lnTo>
                        <a:pt x="434" y="311"/>
                      </a:lnTo>
                      <a:lnTo>
                        <a:pt x="433" y="311"/>
                      </a:lnTo>
                      <a:lnTo>
                        <a:pt x="431" y="311"/>
                      </a:lnTo>
                      <a:lnTo>
                        <a:pt x="433" y="312"/>
                      </a:lnTo>
                      <a:lnTo>
                        <a:pt x="431" y="314"/>
                      </a:lnTo>
                      <a:lnTo>
                        <a:pt x="431" y="315"/>
                      </a:lnTo>
                      <a:lnTo>
                        <a:pt x="431" y="316"/>
                      </a:lnTo>
                      <a:lnTo>
                        <a:pt x="433" y="316"/>
                      </a:lnTo>
                      <a:lnTo>
                        <a:pt x="433" y="316"/>
                      </a:lnTo>
                      <a:lnTo>
                        <a:pt x="433" y="316"/>
                      </a:lnTo>
                      <a:lnTo>
                        <a:pt x="433" y="317"/>
                      </a:lnTo>
                      <a:lnTo>
                        <a:pt x="434" y="318"/>
                      </a:lnTo>
                      <a:lnTo>
                        <a:pt x="434" y="319"/>
                      </a:lnTo>
                      <a:lnTo>
                        <a:pt x="435" y="320"/>
                      </a:lnTo>
                      <a:lnTo>
                        <a:pt x="436" y="320"/>
                      </a:lnTo>
                      <a:lnTo>
                        <a:pt x="436" y="321"/>
                      </a:lnTo>
                      <a:lnTo>
                        <a:pt x="436" y="321"/>
                      </a:lnTo>
                      <a:lnTo>
                        <a:pt x="436" y="322"/>
                      </a:lnTo>
                      <a:lnTo>
                        <a:pt x="436" y="323"/>
                      </a:lnTo>
                      <a:lnTo>
                        <a:pt x="436" y="324"/>
                      </a:lnTo>
                      <a:lnTo>
                        <a:pt x="436" y="325"/>
                      </a:lnTo>
                      <a:lnTo>
                        <a:pt x="437" y="326"/>
                      </a:lnTo>
                      <a:lnTo>
                        <a:pt x="439" y="327"/>
                      </a:lnTo>
                      <a:lnTo>
                        <a:pt x="439" y="328"/>
                      </a:lnTo>
                      <a:lnTo>
                        <a:pt x="438" y="329"/>
                      </a:lnTo>
                      <a:lnTo>
                        <a:pt x="437" y="330"/>
                      </a:lnTo>
                      <a:lnTo>
                        <a:pt x="437" y="331"/>
                      </a:lnTo>
                      <a:lnTo>
                        <a:pt x="438" y="333"/>
                      </a:lnTo>
                      <a:lnTo>
                        <a:pt x="440" y="333"/>
                      </a:lnTo>
                      <a:lnTo>
                        <a:pt x="441" y="334"/>
                      </a:lnTo>
                      <a:lnTo>
                        <a:pt x="441" y="335"/>
                      </a:lnTo>
                      <a:lnTo>
                        <a:pt x="441" y="338"/>
                      </a:lnTo>
                      <a:lnTo>
                        <a:pt x="441" y="338"/>
                      </a:lnTo>
                      <a:lnTo>
                        <a:pt x="441" y="339"/>
                      </a:lnTo>
                      <a:lnTo>
                        <a:pt x="442" y="340"/>
                      </a:lnTo>
                      <a:lnTo>
                        <a:pt x="444" y="341"/>
                      </a:lnTo>
                      <a:lnTo>
                        <a:pt x="445" y="341"/>
                      </a:lnTo>
                      <a:lnTo>
                        <a:pt x="445" y="342"/>
                      </a:lnTo>
                      <a:lnTo>
                        <a:pt x="446" y="343"/>
                      </a:lnTo>
                      <a:lnTo>
                        <a:pt x="446" y="343"/>
                      </a:lnTo>
                      <a:lnTo>
                        <a:pt x="447" y="344"/>
                      </a:lnTo>
                      <a:lnTo>
                        <a:pt x="447" y="345"/>
                      </a:lnTo>
                      <a:lnTo>
                        <a:pt x="448" y="345"/>
                      </a:lnTo>
                      <a:lnTo>
                        <a:pt x="448" y="345"/>
                      </a:lnTo>
                      <a:lnTo>
                        <a:pt x="447" y="346"/>
                      </a:lnTo>
                      <a:lnTo>
                        <a:pt x="447" y="347"/>
                      </a:lnTo>
                      <a:lnTo>
                        <a:pt x="447" y="348"/>
                      </a:lnTo>
                      <a:lnTo>
                        <a:pt x="445" y="350"/>
                      </a:lnTo>
                      <a:lnTo>
                        <a:pt x="445" y="350"/>
                      </a:lnTo>
                      <a:lnTo>
                        <a:pt x="445" y="350"/>
                      </a:lnTo>
                      <a:lnTo>
                        <a:pt x="444" y="352"/>
                      </a:lnTo>
                      <a:lnTo>
                        <a:pt x="444" y="353"/>
                      </a:lnTo>
                      <a:lnTo>
                        <a:pt x="444" y="353"/>
                      </a:lnTo>
                      <a:lnTo>
                        <a:pt x="444" y="354"/>
                      </a:lnTo>
                      <a:lnTo>
                        <a:pt x="443" y="354"/>
                      </a:lnTo>
                      <a:lnTo>
                        <a:pt x="443" y="354"/>
                      </a:lnTo>
                      <a:lnTo>
                        <a:pt x="442" y="355"/>
                      </a:lnTo>
                      <a:lnTo>
                        <a:pt x="442" y="355"/>
                      </a:lnTo>
                      <a:lnTo>
                        <a:pt x="440" y="356"/>
                      </a:lnTo>
                      <a:lnTo>
                        <a:pt x="438" y="357"/>
                      </a:lnTo>
                      <a:lnTo>
                        <a:pt x="438" y="357"/>
                      </a:lnTo>
                      <a:lnTo>
                        <a:pt x="437" y="358"/>
                      </a:lnTo>
                      <a:lnTo>
                        <a:pt x="437" y="358"/>
                      </a:lnTo>
                      <a:lnTo>
                        <a:pt x="437" y="358"/>
                      </a:lnTo>
                      <a:lnTo>
                        <a:pt x="437" y="358"/>
                      </a:lnTo>
                      <a:lnTo>
                        <a:pt x="436" y="359"/>
                      </a:lnTo>
                      <a:lnTo>
                        <a:pt x="435" y="361"/>
                      </a:lnTo>
                      <a:lnTo>
                        <a:pt x="435" y="361"/>
                      </a:lnTo>
                      <a:lnTo>
                        <a:pt x="434" y="362"/>
                      </a:lnTo>
                      <a:lnTo>
                        <a:pt x="434" y="363"/>
                      </a:lnTo>
                      <a:lnTo>
                        <a:pt x="434" y="364"/>
                      </a:lnTo>
                      <a:lnTo>
                        <a:pt x="433" y="365"/>
                      </a:lnTo>
                      <a:lnTo>
                        <a:pt x="431" y="365"/>
                      </a:lnTo>
                      <a:lnTo>
                        <a:pt x="431" y="363"/>
                      </a:lnTo>
                      <a:lnTo>
                        <a:pt x="433" y="363"/>
                      </a:lnTo>
                      <a:lnTo>
                        <a:pt x="433" y="361"/>
                      </a:lnTo>
                      <a:lnTo>
                        <a:pt x="433" y="360"/>
                      </a:lnTo>
                      <a:lnTo>
                        <a:pt x="433" y="360"/>
                      </a:lnTo>
                      <a:lnTo>
                        <a:pt x="433" y="360"/>
                      </a:lnTo>
                      <a:lnTo>
                        <a:pt x="431" y="360"/>
                      </a:lnTo>
                      <a:lnTo>
                        <a:pt x="431" y="359"/>
                      </a:lnTo>
                      <a:lnTo>
                        <a:pt x="431" y="359"/>
                      </a:lnTo>
                      <a:lnTo>
                        <a:pt x="431" y="358"/>
                      </a:lnTo>
                      <a:lnTo>
                        <a:pt x="429" y="357"/>
                      </a:lnTo>
                      <a:lnTo>
                        <a:pt x="428" y="356"/>
                      </a:lnTo>
                      <a:lnTo>
                        <a:pt x="425" y="354"/>
                      </a:lnTo>
                      <a:lnTo>
                        <a:pt x="425" y="353"/>
                      </a:lnTo>
                      <a:lnTo>
                        <a:pt x="424" y="353"/>
                      </a:lnTo>
                      <a:lnTo>
                        <a:pt x="424" y="350"/>
                      </a:lnTo>
                      <a:lnTo>
                        <a:pt x="424" y="348"/>
                      </a:lnTo>
                      <a:lnTo>
                        <a:pt x="424" y="345"/>
                      </a:lnTo>
                      <a:lnTo>
                        <a:pt x="424" y="345"/>
                      </a:lnTo>
                      <a:lnTo>
                        <a:pt x="424" y="344"/>
                      </a:lnTo>
                      <a:lnTo>
                        <a:pt x="424" y="344"/>
                      </a:lnTo>
                      <a:lnTo>
                        <a:pt x="424" y="344"/>
                      </a:lnTo>
                      <a:lnTo>
                        <a:pt x="423" y="344"/>
                      </a:lnTo>
                      <a:lnTo>
                        <a:pt x="423" y="344"/>
                      </a:lnTo>
                      <a:lnTo>
                        <a:pt x="423" y="343"/>
                      </a:lnTo>
                      <a:lnTo>
                        <a:pt x="422" y="343"/>
                      </a:lnTo>
                      <a:lnTo>
                        <a:pt x="421" y="343"/>
                      </a:lnTo>
                      <a:lnTo>
                        <a:pt x="421" y="343"/>
                      </a:lnTo>
                      <a:lnTo>
                        <a:pt x="420" y="343"/>
                      </a:lnTo>
                      <a:lnTo>
                        <a:pt x="420" y="342"/>
                      </a:lnTo>
                      <a:lnTo>
                        <a:pt x="419" y="342"/>
                      </a:lnTo>
                      <a:lnTo>
                        <a:pt x="418" y="342"/>
                      </a:lnTo>
                      <a:lnTo>
                        <a:pt x="417" y="342"/>
                      </a:lnTo>
                      <a:lnTo>
                        <a:pt x="417" y="341"/>
                      </a:lnTo>
                      <a:lnTo>
                        <a:pt x="415" y="341"/>
                      </a:lnTo>
                      <a:lnTo>
                        <a:pt x="414" y="339"/>
                      </a:lnTo>
                      <a:lnTo>
                        <a:pt x="412" y="339"/>
                      </a:lnTo>
                      <a:lnTo>
                        <a:pt x="410" y="339"/>
                      </a:lnTo>
                      <a:lnTo>
                        <a:pt x="409" y="338"/>
                      </a:lnTo>
                      <a:lnTo>
                        <a:pt x="407" y="337"/>
                      </a:lnTo>
                      <a:lnTo>
                        <a:pt x="407" y="336"/>
                      </a:lnTo>
                      <a:lnTo>
                        <a:pt x="405" y="336"/>
                      </a:lnTo>
                      <a:lnTo>
                        <a:pt x="404" y="335"/>
                      </a:lnTo>
                      <a:lnTo>
                        <a:pt x="404" y="335"/>
                      </a:lnTo>
                      <a:lnTo>
                        <a:pt x="402" y="333"/>
                      </a:lnTo>
                      <a:lnTo>
                        <a:pt x="401" y="332"/>
                      </a:lnTo>
                      <a:lnTo>
                        <a:pt x="400" y="332"/>
                      </a:lnTo>
                      <a:lnTo>
                        <a:pt x="399" y="331"/>
                      </a:lnTo>
                      <a:lnTo>
                        <a:pt x="399" y="331"/>
                      </a:lnTo>
                      <a:lnTo>
                        <a:pt x="399" y="330"/>
                      </a:lnTo>
                      <a:lnTo>
                        <a:pt x="398" y="329"/>
                      </a:lnTo>
                      <a:lnTo>
                        <a:pt x="398" y="329"/>
                      </a:lnTo>
                      <a:lnTo>
                        <a:pt x="398" y="330"/>
                      </a:lnTo>
                      <a:lnTo>
                        <a:pt x="398" y="331"/>
                      </a:lnTo>
                      <a:lnTo>
                        <a:pt x="399" y="331"/>
                      </a:lnTo>
                      <a:lnTo>
                        <a:pt x="399" y="332"/>
                      </a:lnTo>
                      <a:lnTo>
                        <a:pt x="400" y="332"/>
                      </a:lnTo>
                      <a:lnTo>
                        <a:pt x="399" y="333"/>
                      </a:lnTo>
                      <a:lnTo>
                        <a:pt x="400" y="333"/>
                      </a:lnTo>
                      <a:lnTo>
                        <a:pt x="401" y="335"/>
                      </a:lnTo>
                      <a:lnTo>
                        <a:pt x="403" y="338"/>
                      </a:lnTo>
                      <a:lnTo>
                        <a:pt x="405" y="339"/>
                      </a:lnTo>
                      <a:lnTo>
                        <a:pt x="405" y="339"/>
                      </a:lnTo>
                      <a:lnTo>
                        <a:pt x="406" y="339"/>
                      </a:lnTo>
                      <a:lnTo>
                        <a:pt x="407" y="339"/>
                      </a:lnTo>
                      <a:lnTo>
                        <a:pt x="408" y="340"/>
                      </a:lnTo>
                      <a:lnTo>
                        <a:pt x="408" y="340"/>
                      </a:lnTo>
                      <a:lnTo>
                        <a:pt x="409" y="342"/>
                      </a:lnTo>
                      <a:lnTo>
                        <a:pt x="409" y="342"/>
                      </a:lnTo>
                      <a:lnTo>
                        <a:pt x="411" y="342"/>
                      </a:lnTo>
                      <a:lnTo>
                        <a:pt x="411" y="342"/>
                      </a:lnTo>
                      <a:lnTo>
                        <a:pt x="413" y="342"/>
                      </a:lnTo>
                      <a:lnTo>
                        <a:pt x="414" y="343"/>
                      </a:lnTo>
                      <a:lnTo>
                        <a:pt x="415" y="343"/>
                      </a:lnTo>
                      <a:lnTo>
                        <a:pt x="415" y="343"/>
                      </a:lnTo>
                      <a:lnTo>
                        <a:pt x="417" y="344"/>
                      </a:lnTo>
                      <a:lnTo>
                        <a:pt x="417" y="344"/>
                      </a:lnTo>
                      <a:lnTo>
                        <a:pt x="419" y="345"/>
                      </a:lnTo>
                      <a:lnTo>
                        <a:pt x="420" y="345"/>
                      </a:lnTo>
                      <a:lnTo>
                        <a:pt x="421" y="345"/>
                      </a:lnTo>
                      <a:lnTo>
                        <a:pt x="421" y="345"/>
                      </a:lnTo>
                      <a:lnTo>
                        <a:pt x="422" y="347"/>
                      </a:lnTo>
                      <a:lnTo>
                        <a:pt x="422" y="352"/>
                      </a:lnTo>
                      <a:lnTo>
                        <a:pt x="422" y="353"/>
                      </a:lnTo>
                      <a:lnTo>
                        <a:pt x="423" y="356"/>
                      </a:lnTo>
                      <a:lnTo>
                        <a:pt x="423" y="357"/>
                      </a:lnTo>
                      <a:lnTo>
                        <a:pt x="423" y="357"/>
                      </a:lnTo>
                      <a:lnTo>
                        <a:pt x="423" y="357"/>
                      </a:lnTo>
                      <a:lnTo>
                        <a:pt x="421" y="357"/>
                      </a:lnTo>
                      <a:lnTo>
                        <a:pt x="419" y="356"/>
                      </a:lnTo>
                      <a:lnTo>
                        <a:pt x="417" y="355"/>
                      </a:lnTo>
                      <a:lnTo>
                        <a:pt x="416" y="355"/>
                      </a:lnTo>
                      <a:lnTo>
                        <a:pt x="416" y="356"/>
                      </a:lnTo>
                      <a:lnTo>
                        <a:pt x="414" y="356"/>
                      </a:lnTo>
                      <a:lnTo>
                        <a:pt x="414" y="357"/>
                      </a:lnTo>
                      <a:lnTo>
                        <a:pt x="413" y="357"/>
                      </a:lnTo>
                      <a:lnTo>
                        <a:pt x="413" y="357"/>
                      </a:lnTo>
                      <a:lnTo>
                        <a:pt x="412" y="357"/>
                      </a:lnTo>
                      <a:lnTo>
                        <a:pt x="412" y="358"/>
                      </a:lnTo>
                      <a:lnTo>
                        <a:pt x="411" y="358"/>
                      </a:lnTo>
                      <a:lnTo>
                        <a:pt x="411" y="358"/>
                      </a:lnTo>
                      <a:lnTo>
                        <a:pt x="410" y="358"/>
                      </a:lnTo>
                      <a:lnTo>
                        <a:pt x="410" y="357"/>
                      </a:lnTo>
                      <a:lnTo>
                        <a:pt x="410" y="357"/>
                      </a:lnTo>
                      <a:lnTo>
                        <a:pt x="409" y="357"/>
                      </a:lnTo>
                      <a:lnTo>
                        <a:pt x="408" y="357"/>
                      </a:lnTo>
                      <a:lnTo>
                        <a:pt x="408" y="357"/>
                      </a:lnTo>
                      <a:lnTo>
                        <a:pt x="407" y="357"/>
                      </a:lnTo>
                      <a:lnTo>
                        <a:pt x="407" y="357"/>
                      </a:lnTo>
                      <a:lnTo>
                        <a:pt x="405" y="357"/>
                      </a:lnTo>
                      <a:lnTo>
                        <a:pt x="404" y="357"/>
                      </a:lnTo>
                      <a:lnTo>
                        <a:pt x="404" y="357"/>
                      </a:lnTo>
                      <a:lnTo>
                        <a:pt x="403" y="354"/>
                      </a:lnTo>
                      <a:lnTo>
                        <a:pt x="402" y="354"/>
                      </a:lnTo>
                      <a:lnTo>
                        <a:pt x="399" y="353"/>
                      </a:lnTo>
                      <a:lnTo>
                        <a:pt x="399" y="354"/>
                      </a:lnTo>
                      <a:lnTo>
                        <a:pt x="398" y="354"/>
                      </a:lnTo>
                      <a:lnTo>
                        <a:pt x="398" y="354"/>
                      </a:lnTo>
                      <a:lnTo>
                        <a:pt x="398" y="354"/>
                      </a:lnTo>
                      <a:lnTo>
                        <a:pt x="396" y="355"/>
                      </a:lnTo>
                      <a:lnTo>
                        <a:pt x="395" y="355"/>
                      </a:lnTo>
                      <a:lnTo>
                        <a:pt x="393" y="356"/>
                      </a:lnTo>
                      <a:lnTo>
                        <a:pt x="392" y="357"/>
                      </a:lnTo>
                      <a:lnTo>
                        <a:pt x="392" y="358"/>
                      </a:lnTo>
                      <a:lnTo>
                        <a:pt x="392" y="358"/>
                      </a:lnTo>
                      <a:lnTo>
                        <a:pt x="390" y="357"/>
                      </a:lnTo>
                      <a:lnTo>
                        <a:pt x="388" y="357"/>
                      </a:lnTo>
                      <a:lnTo>
                        <a:pt x="388" y="358"/>
                      </a:lnTo>
                      <a:lnTo>
                        <a:pt x="386" y="358"/>
                      </a:lnTo>
                      <a:lnTo>
                        <a:pt x="386" y="357"/>
                      </a:lnTo>
                      <a:lnTo>
                        <a:pt x="385" y="358"/>
                      </a:lnTo>
                      <a:lnTo>
                        <a:pt x="384" y="356"/>
                      </a:lnTo>
                      <a:lnTo>
                        <a:pt x="383" y="356"/>
                      </a:lnTo>
                      <a:lnTo>
                        <a:pt x="381" y="357"/>
                      </a:lnTo>
                      <a:lnTo>
                        <a:pt x="381" y="357"/>
                      </a:lnTo>
                      <a:lnTo>
                        <a:pt x="380" y="357"/>
                      </a:lnTo>
                      <a:lnTo>
                        <a:pt x="380" y="357"/>
                      </a:lnTo>
                      <a:lnTo>
                        <a:pt x="380" y="358"/>
                      </a:lnTo>
                      <a:lnTo>
                        <a:pt x="379" y="358"/>
                      </a:lnTo>
                      <a:lnTo>
                        <a:pt x="379" y="358"/>
                      </a:lnTo>
                      <a:lnTo>
                        <a:pt x="379" y="359"/>
                      </a:lnTo>
                      <a:lnTo>
                        <a:pt x="378" y="359"/>
                      </a:lnTo>
                      <a:lnTo>
                        <a:pt x="378" y="358"/>
                      </a:lnTo>
                      <a:lnTo>
                        <a:pt x="378" y="358"/>
                      </a:lnTo>
                      <a:lnTo>
                        <a:pt x="377" y="358"/>
                      </a:lnTo>
                      <a:lnTo>
                        <a:pt x="377" y="359"/>
                      </a:lnTo>
                      <a:lnTo>
                        <a:pt x="378" y="359"/>
                      </a:lnTo>
                      <a:lnTo>
                        <a:pt x="377" y="359"/>
                      </a:lnTo>
                      <a:lnTo>
                        <a:pt x="377" y="359"/>
                      </a:lnTo>
                      <a:lnTo>
                        <a:pt x="377" y="359"/>
                      </a:lnTo>
                      <a:lnTo>
                        <a:pt x="378" y="359"/>
                      </a:lnTo>
                      <a:lnTo>
                        <a:pt x="378" y="360"/>
                      </a:lnTo>
                      <a:lnTo>
                        <a:pt x="381" y="360"/>
                      </a:lnTo>
                      <a:lnTo>
                        <a:pt x="382" y="361"/>
                      </a:lnTo>
                      <a:lnTo>
                        <a:pt x="382" y="361"/>
                      </a:lnTo>
                      <a:lnTo>
                        <a:pt x="383" y="360"/>
                      </a:lnTo>
                      <a:lnTo>
                        <a:pt x="384" y="360"/>
                      </a:lnTo>
                      <a:lnTo>
                        <a:pt x="384" y="361"/>
                      </a:lnTo>
                      <a:lnTo>
                        <a:pt x="386" y="361"/>
                      </a:lnTo>
                      <a:lnTo>
                        <a:pt x="386" y="361"/>
                      </a:lnTo>
                      <a:lnTo>
                        <a:pt x="389" y="361"/>
                      </a:lnTo>
                      <a:lnTo>
                        <a:pt x="390" y="362"/>
                      </a:lnTo>
                      <a:lnTo>
                        <a:pt x="390" y="362"/>
                      </a:lnTo>
                      <a:lnTo>
                        <a:pt x="391" y="362"/>
                      </a:lnTo>
                      <a:lnTo>
                        <a:pt x="393" y="362"/>
                      </a:lnTo>
                      <a:lnTo>
                        <a:pt x="396" y="361"/>
                      </a:lnTo>
                      <a:lnTo>
                        <a:pt x="396" y="361"/>
                      </a:lnTo>
                      <a:lnTo>
                        <a:pt x="397" y="360"/>
                      </a:lnTo>
                      <a:lnTo>
                        <a:pt x="401" y="359"/>
                      </a:lnTo>
                      <a:lnTo>
                        <a:pt x="401" y="359"/>
                      </a:lnTo>
                      <a:lnTo>
                        <a:pt x="402" y="360"/>
                      </a:lnTo>
                      <a:lnTo>
                        <a:pt x="403" y="361"/>
                      </a:lnTo>
                      <a:lnTo>
                        <a:pt x="405" y="362"/>
                      </a:lnTo>
                      <a:lnTo>
                        <a:pt x="407" y="362"/>
                      </a:lnTo>
                      <a:lnTo>
                        <a:pt x="409" y="361"/>
                      </a:lnTo>
                      <a:lnTo>
                        <a:pt x="410" y="361"/>
                      </a:lnTo>
                      <a:lnTo>
                        <a:pt x="411" y="361"/>
                      </a:lnTo>
                      <a:lnTo>
                        <a:pt x="411" y="361"/>
                      </a:lnTo>
                      <a:lnTo>
                        <a:pt x="412" y="361"/>
                      </a:lnTo>
                      <a:lnTo>
                        <a:pt x="413" y="361"/>
                      </a:lnTo>
                      <a:lnTo>
                        <a:pt x="413" y="360"/>
                      </a:lnTo>
                      <a:lnTo>
                        <a:pt x="414" y="360"/>
                      </a:lnTo>
                      <a:lnTo>
                        <a:pt x="415" y="361"/>
                      </a:lnTo>
                      <a:lnTo>
                        <a:pt x="416" y="360"/>
                      </a:lnTo>
                      <a:lnTo>
                        <a:pt x="416" y="359"/>
                      </a:lnTo>
                      <a:lnTo>
                        <a:pt x="419" y="359"/>
                      </a:lnTo>
                      <a:lnTo>
                        <a:pt x="420" y="360"/>
                      </a:lnTo>
                      <a:lnTo>
                        <a:pt x="420" y="360"/>
                      </a:lnTo>
                      <a:lnTo>
                        <a:pt x="420" y="360"/>
                      </a:lnTo>
                      <a:lnTo>
                        <a:pt x="421" y="360"/>
                      </a:lnTo>
                      <a:lnTo>
                        <a:pt x="421" y="360"/>
                      </a:lnTo>
                      <a:lnTo>
                        <a:pt x="421" y="361"/>
                      </a:lnTo>
                      <a:lnTo>
                        <a:pt x="422" y="362"/>
                      </a:lnTo>
                      <a:lnTo>
                        <a:pt x="422" y="362"/>
                      </a:lnTo>
                      <a:lnTo>
                        <a:pt x="423" y="362"/>
                      </a:lnTo>
                      <a:lnTo>
                        <a:pt x="424" y="362"/>
                      </a:lnTo>
                      <a:lnTo>
                        <a:pt x="424" y="361"/>
                      </a:lnTo>
                      <a:lnTo>
                        <a:pt x="423" y="361"/>
                      </a:lnTo>
                      <a:lnTo>
                        <a:pt x="423" y="360"/>
                      </a:lnTo>
                      <a:lnTo>
                        <a:pt x="424" y="360"/>
                      </a:lnTo>
                      <a:lnTo>
                        <a:pt x="424" y="360"/>
                      </a:lnTo>
                      <a:lnTo>
                        <a:pt x="424" y="360"/>
                      </a:lnTo>
                      <a:lnTo>
                        <a:pt x="425" y="359"/>
                      </a:lnTo>
                      <a:lnTo>
                        <a:pt x="425" y="359"/>
                      </a:lnTo>
                      <a:lnTo>
                        <a:pt x="426" y="359"/>
                      </a:lnTo>
                      <a:lnTo>
                        <a:pt x="426" y="360"/>
                      </a:lnTo>
                      <a:lnTo>
                        <a:pt x="426" y="360"/>
                      </a:lnTo>
                      <a:lnTo>
                        <a:pt x="426" y="360"/>
                      </a:lnTo>
                      <a:lnTo>
                        <a:pt x="426" y="361"/>
                      </a:lnTo>
                      <a:lnTo>
                        <a:pt x="426" y="363"/>
                      </a:lnTo>
                      <a:lnTo>
                        <a:pt x="426" y="363"/>
                      </a:lnTo>
                      <a:lnTo>
                        <a:pt x="425" y="363"/>
                      </a:lnTo>
                      <a:lnTo>
                        <a:pt x="423" y="365"/>
                      </a:lnTo>
                      <a:lnTo>
                        <a:pt x="422" y="366"/>
                      </a:lnTo>
                      <a:lnTo>
                        <a:pt x="422" y="366"/>
                      </a:lnTo>
                      <a:lnTo>
                        <a:pt x="422" y="366"/>
                      </a:lnTo>
                      <a:lnTo>
                        <a:pt x="422" y="367"/>
                      </a:lnTo>
                      <a:lnTo>
                        <a:pt x="421" y="368"/>
                      </a:lnTo>
                      <a:lnTo>
                        <a:pt x="421" y="368"/>
                      </a:lnTo>
                      <a:lnTo>
                        <a:pt x="420" y="369"/>
                      </a:lnTo>
                      <a:lnTo>
                        <a:pt x="420" y="370"/>
                      </a:lnTo>
                      <a:lnTo>
                        <a:pt x="419" y="370"/>
                      </a:lnTo>
                      <a:lnTo>
                        <a:pt x="419" y="371"/>
                      </a:lnTo>
                      <a:lnTo>
                        <a:pt x="419" y="372"/>
                      </a:lnTo>
                      <a:lnTo>
                        <a:pt x="419" y="374"/>
                      </a:lnTo>
                      <a:lnTo>
                        <a:pt x="418" y="374"/>
                      </a:lnTo>
                      <a:lnTo>
                        <a:pt x="418" y="375"/>
                      </a:lnTo>
                      <a:lnTo>
                        <a:pt x="418" y="375"/>
                      </a:lnTo>
                      <a:lnTo>
                        <a:pt x="417" y="376"/>
                      </a:lnTo>
                      <a:lnTo>
                        <a:pt x="417" y="377"/>
                      </a:lnTo>
                      <a:lnTo>
                        <a:pt x="417" y="378"/>
                      </a:lnTo>
                      <a:lnTo>
                        <a:pt x="417" y="379"/>
                      </a:lnTo>
                      <a:lnTo>
                        <a:pt x="416" y="380"/>
                      </a:lnTo>
                      <a:lnTo>
                        <a:pt x="414" y="380"/>
                      </a:lnTo>
                      <a:lnTo>
                        <a:pt x="413" y="379"/>
                      </a:lnTo>
                      <a:lnTo>
                        <a:pt x="414" y="378"/>
                      </a:lnTo>
                      <a:lnTo>
                        <a:pt x="414" y="378"/>
                      </a:lnTo>
                      <a:lnTo>
                        <a:pt x="414" y="378"/>
                      </a:lnTo>
                      <a:lnTo>
                        <a:pt x="413" y="379"/>
                      </a:lnTo>
                      <a:lnTo>
                        <a:pt x="414" y="380"/>
                      </a:lnTo>
                      <a:lnTo>
                        <a:pt x="413" y="380"/>
                      </a:lnTo>
                      <a:lnTo>
                        <a:pt x="413" y="381"/>
                      </a:lnTo>
                      <a:lnTo>
                        <a:pt x="412" y="381"/>
                      </a:lnTo>
                      <a:lnTo>
                        <a:pt x="412" y="381"/>
                      </a:lnTo>
                      <a:lnTo>
                        <a:pt x="410" y="382"/>
                      </a:lnTo>
                      <a:lnTo>
                        <a:pt x="410" y="382"/>
                      </a:lnTo>
                      <a:lnTo>
                        <a:pt x="410" y="382"/>
                      </a:lnTo>
                      <a:lnTo>
                        <a:pt x="410" y="382"/>
                      </a:lnTo>
                      <a:lnTo>
                        <a:pt x="411" y="382"/>
                      </a:lnTo>
                      <a:lnTo>
                        <a:pt x="412" y="382"/>
                      </a:lnTo>
                      <a:lnTo>
                        <a:pt x="412" y="383"/>
                      </a:lnTo>
                      <a:lnTo>
                        <a:pt x="412" y="384"/>
                      </a:lnTo>
                      <a:lnTo>
                        <a:pt x="412" y="384"/>
                      </a:lnTo>
                      <a:lnTo>
                        <a:pt x="413" y="384"/>
                      </a:lnTo>
                      <a:lnTo>
                        <a:pt x="413" y="382"/>
                      </a:lnTo>
                      <a:lnTo>
                        <a:pt x="413" y="382"/>
                      </a:lnTo>
                      <a:lnTo>
                        <a:pt x="413" y="382"/>
                      </a:lnTo>
                      <a:lnTo>
                        <a:pt x="414" y="381"/>
                      </a:lnTo>
                      <a:lnTo>
                        <a:pt x="417" y="382"/>
                      </a:lnTo>
                      <a:lnTo>
                        <a:pt x="418" y="381"/>
                      </a:lnTo>
                      <a:lnTo>
                        <a:pt x="418" y="381"/>
                      </a:lnTo>
                      <a:lnTo>
                        <a:pt x="418" y="381"/>
                      </a:lnTo>
                      <a:lnTo>
                        <a:pt x="419" y="381"/>
                      </a:lnTo>
                      <a:lnTo>
                        <a:pt x="419" y="381"/>
                      </a:lnTo>
                      <a:lnTo>
                        <a:pt x="420" y="381"/>
                      </a:lnTo>
                      <a:lnTo>
                        <a:pt x="420" y="382"/>
                      </a:lnTo>
                      <a:lnTo>
                        <a:pt x="421" y="383"/>
                      </a:lnTo>
                      <a:lnTo>
                        <a:pt x="420" y="384"/>
                      </a:lnTo>
                      <a:lnTo>
                        <a:pt x="421" y="384"/>
                      </a:lnTo>
                      <a:lnTo>
                        <a:pt x="421" y="385"/>
                      </a:lnTo>
                      <a:lnTo>
                        <a:pt x="421" y="386"/>
                      </a:lnTo>
                      <a:lnTo>
                        <a:pt x="421" y="387"/>
                      </a:lnTo>
                      <a:lnTo>
                        <a:pt x="421" y="387"/>
                      </a:lnTo>
                      <a:lnTo>
                        <a:pt x="420" y="387"/>
                      </a:lnTo>
                      <a:lnTo>
                        <a:pt x="420" y="388"/>
                      </a:lnTo>
                      <a:lnTo>
                        <a:pt x="421" y="388"/>
                      </a:lnTo>
                      <a:lnTo>
                        <a:pt x="422" y="387"/>
                      </a:lnTo>
                      <a:lnTo>
                        <a:pt x="422" y="387"/>
                      </a:lnTo>
                      <a:lnTo>
                        <a:pt x="422" y="385"/>
                      </a:lnTo>
                      <a:lnTo>
                        <a:pt x="421" y="384"/>
                      </a:lnTo>
                      <a:lnTo>
                        <a:pt x="421" y="382"/>
                      </a:lnTo>
                      <a:lnTo>
                        <a:pt x="421" y="382"/>
                      </a:lnTo>
                      <a:lnTo>
                        <a:pt x="420" y="380"/>
                      </a:lnTo>
                      <a:lnTo>
                        <a:pt x="421" y="380"/>
                      </a:lnTo>
                      <a:lnTo>
                        <a:pt x="421" y="381"/>
                      </a:lnTo>
                      <a:lnTo>
                        <a:pt x="421" y="381"/>
                      </a:lnTo>
                      <a:lnTo>
                        <a:pt x="421" y="381"/>
                      </a:lnTo>
                      <a:lnTo>
                        <a:pt x="421" y="380"/>
                      </a:lnTo>
                      <a:lnTo>
                        <a:pt x="422" y="381"/>
                      </a:lnTo>
                      <a:lnTo>
                        <a:pt x="422" y="381"/>
                      </a:lnTo>
                      <a:lnTo>
                        <a:pt x="423" y="382"/>
                      </a:lnTo>
                      <a:lnTo>
                        <a:pt x="423" y="382"/>
                      </a:lnTo>
                      <a:lnTo>
                        <a:pt x="424" y="383"/>
                      </a:lnTo>
                      <a:lnTo>
                        <a:pt x="425" y="384"/>
                      </a:lnTo>
                      <a:lnTo>
                        <a:pt x="425" y="384"/>
                      </a:lnTo>
                      <a:lnTo>
                        <a:pt x="426" y="384"/>
                      </a:lnTo>
                      <a:lnTo>
                        <a:pt x="426" y="388"/>
                      </a:lnTo>
                      <a:lnTo>
                        <a:pt x="426" y="388"/>
                      </a:lnTo>
                      <a:lnTo>
                        <a:pt x="426" y="388"/>
                      </a:lnTo>
                      <a:lnTo>
                        <a:pt x="424" y="390"/>
                      </a:lnTo>
                      <a:lnTo>
                        <a:pt x="424" y="391"/>
                      </a:lnTo>
                      <a:lnTo>
                        <a:pt x="424" y="392"/>
                      </a:lnTo>
                      <a:lnTo>
                        <a:pt x="424" y="392"/>
                      </a:lnTo>
                      <a:lnTo>
                        <a:pt x="423" y="392"/>
                      </a:lnTo>
                      <a:lnTo>
                        <a:pt x="423" y="393"/>
                      </a:lnTo>
                      <a:lnTo>
                        <a:pt x="423" y="394"/>
                      </a:lnTo>
                      <a:lnTo>
                        <a:pt x="422" y="395"/>
                      </a:lnTo>
                      <a:lnTo>
                        <a:pt x="421" y="395"/>
                      </a:lnTo>
                      <a:lnTo>
                        <a:pt x="420" y="396"/>
                      </a:lnTo>
                      <a:lnTo>
                        <a:pt x="420" y="397"/>
                      </a:lnTo>
                      <a:lnTo>
                        <a:pt x="419" y="397"/>
                      </a:lnTo>
                      <a:lnTo>
                        <a:pt x="419" y="398"/>
                      </a:lnTo>
                      <a:lnTo>
                        <a:pt x="418" y="399"/>
                      </a:lnTo>
                      <a:lnTo>
                        <a:pt x="417" y="400"/>
                      </a:lnTo>
                      <a:lnTo>
                        <a:pt x="416" y="402"/>
                      </a:lnTo>
                      <a:lnTo>
                        <a:pt x="415" y="402"/>
                      </a:lnTo>
                      <a:lnTo>
                        <a:pt x="415" y="403"/>
                      </a:lnTo>
                      <a:lnTo>
                        <a:pt x="413" y="405"/>
                      </a:lnTo>
                      <a:lnTo>
                        <a:pt x="413" y="405"/>
                      </a:lnTo>
                      <a:lnTo>
                        <a:pt x="412" y="406"/>
                      </a:lnTo>
                      <a:lnTo>
                        <a:pt x="411" y="406"/>
                      </a:lnTo>
                      <a:lnTo>
                        <a:pt x="411" y="407"/>
                      </a:lnTo>
                      <a:lnTo>
                        <a:pt x="409" y="408"/>
                      </a:lnTo>
                      <a:lnTo>
                        <a:pt x="408" y="408"/>
                      </a:lnTo>
                      <a:lnTo>
                        <a:pt x="407" y="409"/>
                      </a:lnTo>
                      <a:lnTo>
                        <a:pt x="405" y="410"/>
                      </a:lnTo>
                      <a:lnTo>
                        <a:pt x="403" y="411"/>
                      </a:lnTo>
                      <a:lnTo>
                        <a:pt x="403" y="411"/>
                      </a:lnTo>
                      <a:lnTo>
                        <a:pt x="402" y="411"/>
                      </a:lnTo>
                      <a:lnTo>
                        <a:pt x="402" y="412"/>
                      </a:lnTo>
                      <a:lnTo>
                        <a:pt x="399" y="414"/>
                      </a:lnTo>
                      <a:lnTo>
                        <a:pt x="399" y="414"/>
                      </a:lnTo>
                      <a:lnTo>
                        <a:pt x="399" y="415"/>
                      </a:lnTo>
                      <a:lnTo>
                        <a:pt x="399" y="415"/>
                      </a:lnTo>
                      <a:lnTo>
                        <a:pt x="398" y="415"/>
                      </a:lnTo>
                      <a:lnTo>
                        <a:pt x="398" y="414"/>
                      </a:lnTo>
                      <a:lnTo>
                        <a:pt x="396" y="415"/>
                      </a:lnTo>
                      <a:lnTo>
                        <a:pt x="395" y="416"/>
                      </a:lnTo>
                      <a:lnTo>
                        <a:pt x="395" y="416"/>
                      </a:lnTo>
                      <a:lnTo>
                        <a:pt x="393" y="417"/>
                      </a:lnTo>
                      <a:lnTo>
                        <a:pt x="392" y="417"/>
                      </a:lnTo>
                      <a:lnTo>
                        <a:pt x="392" y="417"/>
                      </a:lnTo>
                      <a:lnTo>
                        <a:pt x="391" y="417"/>
                      </a:lnTo>
                      <a:lnTo>
                        <a:pt x="391" y="418"/>
                      </a:lnTo>
                      <a:lnTo>
                        <a:pt x="389" y="418"/>
                      </a:lnTo>
                      <a:lnTo>
                        <a:pt x="389" y="419"/>
                      </a:lnTo>
                      <a:lnTo>
                        <a:pt x="388" y="418"/>
                      </a:lnTo>
                      <a:lnTo>
                        <a:pt x="386" y="419"/>
                      </a:lnTo>
                      <a:lnTo>
                        <a:pt x="383" y="419"/>
                      </a:lnTo>
                      <a:lnTo>
                        <a:pt x="382" y="419"/>
                      </a:lnTo>
                      <a:lnTo>
                        <a:pt x="379" y="419"/>
                      </a:lnTo>
                      <a:lnTo>
                        <a:pt x="375" y="420"/>
                      </a:lnTo>
                      <a:lnTo>
                        <a:pt x="374" y="419"/>
                      </a:lnTo>
                      <a:lnTo>
                        <a:pt x="374" y="419"/>
                      </a:lnTo>
                      <a:lnTo>
                        <a:pt x="373" y="418"/>
                      </a:lnTo>
                      <a:lnTo>
                        <a:pt x="373" y="417"/>
                      </a:lnTo>
                      <a:lnTo>
                        <a:pt x="372" y="417"/>
                      </a:lnTo>
                      <a:lnTo>
                        <a:pt x="372" y="417"/>
                      </a:lnTo>
                      <a:lnTo>
                        <a:pt x="372" y="416"/>
                      </a:lnTo>
                      <a:lnTo>
                        <a:pt x="372" y="415"/>
                      </a:lnTo>
                      <a:lnTo>
                        <a:pt x="371" y="415"/>
                      </a:lnTo>
                      <a:lnTo>
                        <a:pt x="371" y="413"/>
                      </a:lnTo>
                      <a:lnTo>
                        <a:pt x="371" y="412"/>
                      </a:lnTo>
                      <a:lnTo>
                        <a:pt x="371" y="412"/>
                      </a:lnTo>
                      <a:lnTo>
                        <a:pt x="371" y="412"/>
                      </a:lnTo>
                      <a:lnTo>
                        <a:pt x="371" y="412"/>
                      </a:lnTo>
                      <a:lnTo>
                        <a:pt x="371" y="412"/>
                      </a:lnTo>
                      <a:lnTo>
                        <a:pt x="372" y="414"/>
                      </a:lnTo>
                      <a:lnTo>
                        <a:pt x="372" y="414"/>
                      </a:lnTo>
                      <a:lnTo>
                        <a:pt x="372" y="414"/>
                      </a:lnTo>
                      <a:lnTo>
                        <a:pt x="373" y="414"/>
                      </a:lnTo>
                      <a:lnTo>
                        <a:pt x="373" y="414"/>
                      </a:lnTo>
                      <a:lnTo>
                        <a:pt x="373" y="413"/>
                      </a:lnTo>
                      <a:lnTo>
                        <a:pt x="372" y="412"/>
                      </a:lnTo>
                      <a:lnTo>
                        <a:pt x="372" y="412"/>
                      </a:lnTo>
                      <a:lnTo>
                        <a:pt x="372" y="411"/>
                      </a:lnTo>
                      <a:lnTo>
                        <a:pt x="371" y="410"/>
                      </a:lnTo>
                      <a:lnTo>
                        <a:pt x="370" y="410"/>
                      </a:lnTo>
                      <a:lnTo>
                        <a:pt x="369" y="410"/>
                      </a:lnTo>
                      <a:lnTo>
                        <a:pt x="369" y="409"/>
                      </a:lnTo>
                      <a:lnTo>
                        <a:pt x="370" y="408"/>
                      </a:lnTo>
                      <a:lnTo>
                        <a:pt x="371" y="409"/>
                      </a:lnTo>
                      <a:lnTo>
                        <a:pt x="372" y="409"/>
                      </a:lnTo>
                      <a:lnTo>
                        <a:pt x="373" y="409"/>
                      </a:lnTo>
                      <a:lnTo>
                        <a:pt x="374" y="409"/>
                      </a:lnTo>
                      <a:lnTo>
                        <a:pt x="375" y="408"/>
                      </a:lnTo>
                      <a:lnTo>
                        <a:pt x="375" y="408"/>
                      </a:lnTo>
                      <a:lnTo>
                        <a:pt x="376" y="407"/>
                      </a:lnTo>
                      <a:lnTo>
                        <a:pt x="376" y="407"/>
                      </a:lnTo>
                      <a:lnTo>
                        <a:pt x="378" y="406"/>
                      </a:lnTo>
                      <a:lnTo>
                        <a:pt x="379" y="405"/>
                      </a:lnTo>
                      <a:lnTo>
                        <a:pt x="378" y="405"/>
                      </a:lnTo>
                      <a:lnTo>
                        <a:pt x="378" y="406"/>
                      </a:lnTo>
                      <a:lnTo>
                        <a:pt x="377" y="406"/>
                      </a:lnTo>
                      <a:lnTo>
                        <a:pt x="374" y="407"/>
                      </a:lnTo>
                      <a:lnTo>
                        <a:pt x="374" y="408"/>
                      </a:lnTo>
                      <a:lnTo>
                        <a:pt x="370" y="408"/>
                      </a:lnTo>
                      <a:lnTo>
                        <a:pt x="370" y="408"/>
                      </a:lnTo>
                      <a:lnTo>
                        <a:pt x="370" y="407"/>
                      </a:lnTo>
                      <a:lnTo>
                        <a:pt x="369" y="408"/>
                      </a:lnTo>
                      <a:lnTo>
                        <a:pt x="367" y="407"/>
                      </a:lnTo>
                      <a:lnTo>
                        <a:pt x="367" y="407"/>
                      </a:lnTo>
                      <a:lnTo>
                        <a:pt x="366" y="406"/>
                      </a:lnTo>
                      <a:lnTo>
                        <a:pt x="364" y="404"/>
                      </a:lnTo>
                      <a:lnTo>
                        <a:pt x="364" y="403"/>
                      </a:lnTo>
                      <a:lnTo>
                        <a:pt x="363" y="402"/>
                      </a:lnTo>
                      <a:lnTo>
                        <a:pt x="363" y="401"/>
                      </a:lnTo>
                      <a:lnTo>
                        <a:pt x="362" y="401"/>
                      </a:lnTo>
                      <a:lnTo>
                        <a:pt x="362" y="400"/>
                      </a:lnTo>
                      <a:lnTo>
                        <a:pt x="362" y="397"/>
                      </a:lnTo>
                      <a:lnTo>
                        <a:pt x="364" y="397"/>
                      </a:lnTo>
                      <a:lnTo>
                        <a:pt x="363" y="397"/>
                      </a:lnTo>
                      <a:lnTo>
                        <a:pt x="362" y="396"/>
                      </a:lnTo>
                      <a:lnTo>
                        <a:pt x="362" y="396"/>
                      </a:lnTo>
                      <a:lnTo>
                        <a:pt x="361" y="395"/>
                      </a:lnTo>
                      <a:lnTo>
                        <a:pt x="362" y="394"/>
                      </a:lnTo>
                      <a:lnTo>
                        <a:pt x="361" y="394"/>
                      </a:lnTo>
                      <a:lnTo>
                        <a:pt x="360" y="393"/>
                      </a:lnTo>
                      <a:lnTo>
                        <a:pt x="359" y="393"/>
                      </a:lnTo>
                      <a:lnTo>
                        <a:pt x="358" y="392"/>
                      </a:lnTo>
                      <a:lnTo>
                        <a:pt x="359" y="393"/>
                      </a:lnTo>
                      <a:lnTo>
                        <a:pt x="360" y="393"/>
                      </a:lnTo>
                      <a:lnTo>
                        <a:pt x="361" y="394"/>
                      </a:lnTo>
                      <a:lnTo>
                        <a:pt x="361" y="397"/>
                      </a:lnTo>
                      <a:lnTo>
                        <a:pt x="361" y="398"/>
                      </a:lnTo>
                      <a:lnTo>
                        <a:pt x="360" y="399"/>
                      </a:lnTo>
                      <a:lnTo>
                        <a:pt x="360" y="400"/>
                      </a:lnTo>
                      <a:lnTo>
                        <a:pt x="360" y="400"/>
                      </a:lnTo>
                      <a:lnTo>
                        <a:pt x="360" y="401"/>
                      </a:lnTo>
                      <a:lnTo>
                        <a:pt x="361" y="402"/>
                      </a:lnTo>
                      <a:lnTo>
                        <a:pt x="362" y="404"/>
                      </a:lnTo>
                      <a:lnTo>
                        <a:pt x="360" y="403"/>
                      </a:lnTo>
                      <a:lnTo>
                        <a:pt x="359" y="402"/>
                      </a:lnTo>
                      <a:lnTo>
                        <a:pt x="358" y="402"/>
                      </a:lnTo>
                      <a:lnTo>
                        <a:pt x="358" y="401"/>
                      </a:lnTo>
                      <a:lnTo>
                        <a:pt x="358" y="401"/>
                      </a:lnTo>
                      <a:lnTo>
                        <a:pt x="358" y="402"/>
                      </a:lnTo>
                      <a:lnTo>
                        <a:pt x="356" y="402"/>
                      </a:lnTo>
                      <a:lnTo>
                        <a:pt x="355" y="402"/>
                      </a:lnTo>
                      <a:lnTo>
                        <a:pt x="354" y="402"/>
                      </a:lnTo>
                      <a:lnTo>
                        <a:pt x="354" y="402"/>
                      </a:lnTo>
                      <a:lnTo>
                        <a:pt x="359" y="403"/>
                      </a:lnTo>
                      <a:lnTo>
                        <a:pt x="360" y="404"/>
                      </a:lnTo>
                      <a:lnTo>
                        <a:pt x="360" y="405"/>
                      </a:lnTo>
                      <a:lnTo>
                        <a:pt x="361" y="406"/>
                      </a:lnTo>
                      <a:lnTo>
                        <a:pt x="362" y="406"/>
                      </a:lnTo>
                      <a:lnTo>
                        <a:pt x="364" y="407"/>
                      </a:lnTo>
                      <a:lnTo>
                        <a:pt x="361" y="407"/>
                      </a:lnTo>
                      <a:lnTo>
                        <a:pt x="361" y="406"/>
                      </a:lnTo>
                      <a:lnTo>
                        <a:pt x="359" y="405"/>
                      </a:lnTo>
                      <a:lnTo>
                        <a:pt x="358" y="405"/>
                      </a:lnTo>
                      <a:lnTo>
                        <a:pt x="355" y="406"/>
                      </a:lnTo>
                      <a:lnTo>
                        <a:pt x="353" y="406"/>
                      </a:lnTo>
                      <a:lnTo>
                        <a:pt x="352" y="407"/>
                      </a:lnTo>
                      <a:lnTo>
                        <a:pt x="349" y="407"/>
                      </a:lnTo>
                      <a:lnTo>
                        <a:pt x="349" y="407"/>
                      </a:lnTo>
                      <a:lnTo>
                        <a:pt x="349" y="408"/>
                      </a:lnTo>
                      <a:lnTo>
                        <a:pt x="351" y="407"/>
                      </a:lnTo>
                      <a:lnTo>
                        <a:pt x="351" y="408"/>
                      </a:lnTo>
                      <a:lnTo>
                        <a:pt x="351" y="408"/>
                      </a:lnTo>
                      <a:lnTo>
                        <a:pt x="350" y="408"/>
                      </a:lnTo>
                      <a:lnTo>
                        <a:pt x="350" y="409"/>
                      </a:lnTo>
                      <a:lnTo>
                        <a:pt x="349" y="409"/>
                      </a:lnTo>
                      <a:lnTo>
                        <a:pt x="348" y="410"/>
                      </a:lnTo>
                      <a:lnTo>
                        <a:pt x="348" y="410"/>
                      </a:lnTo>
                      <a:lnTo>
                        <a:pt x="347" y="411"/>
                      </a:lnTo>
                      <a:lnTo>
                        <a:pt x="346" y="412"/>
                      </a:lnTo>
                      <a:lnTo>
                        <a:pt x="344" y="413"/>
                      </a:lnTo>
                      <a:lnTo>
                        <a:pt x="344" y="414"/>
                      </a:lnTo>
                      <a:lnTo>
                        <a:pt x="343" y="415"/>
                      </a:lnTo>
                      <a:lnTo>
                        <a:pt x="343" y="415"/>
                      </a:lnTo>
                      <a:lnTo>
                        <a:pt x="343" y="414"/>
                      </a:lnTo>
                      <a:lnTo>
                        <a:pt x="344" y="413"/>
                      </a:lnTo>
                      <a:lnTo>
                        <a:pt x="344" y="412"/>
                      </a:lnTo>
                      <a:lnTo>
                        <a:pt x="345" y="411"/>
                      </a:lnTo>
                      <a:lnTo>
                        <a:pt x="346" y="410"/>
                      </a:lnTo>
                      <a:lnTo>
                        <a:pt x="346" y="410"/>
                      </a:lnTo>
                      <a:lnTo>
                        <a:pt x="346" y="410"/>
                      </a:lnTo>
                      <a:lnTo>
                        <a:pt x="346" y="410"/>
                      </a:lnTo>
                      <a:lnTo>
                        <a:pt x="344" y="411"/>
                      </a:lnTo>
                      <a:lnTo>
                        <a:pt x="344" y="412"/>
                      </a:lnTo>
                      <a:lnTo>
                        <a:pt x="344" y="412"/>
                      </a:lnTo>
                      <a:lnTo>
                        <a:pt x="344" y="413"/>
                      </a:lnTo>
                      <a:lnTo>
                        <a:pt x="344" y="413"/>
                      </a:lnTo>
                      <a:lnTo>
                        <a:pt x="344" y="413"/>
                      </a:lnTo>
                      <a:lnTo>
                        <a:pt x="343" y="413"/>
                      </a:lnTo>
                      <a:lnTo>
                        <a:pt x="343" y="415"/>
                      </a:lnTo>
                      <a:lnTo>
                        <a:pt x="343" y="417"/>
                      </a:lnTo>
                      <a:lnTo>
                        <a:pt x="343" y="418"/>
                      </a:lnTo>
                      <a:lnTo>
                        <a:pt x="342" y="418"/>
                      </a:lnTo>
                      <a:lnTo>
                        <a:pt x="342" y="417"/>
                      </a:lnTo>
                      <a:lnTo>
                        <a:pt x="341" y="416"/>
                      </a:lnTo>
                      <a:lnTo>
                        <a:pt x="340" y="415"/>
                      </a:lnTo>
                      <a:lnTo>
                        <a:pt x="339" y="415"/>
                      </a:lnTo>
                      <a:lnTo>
                        <a:pt x="338" y="415"/>
                      </a:lnTo>
                      <a:lnTo>
                        <a:pt x="338" y="415"/>
                      </a:lnTo>
                      <a:lnTo>
                        <a:pt x="336" y="414"/>
                      </a:lnTo>
                      <a:lnTo>
                        <a:pt x="334" y="415"/>
                      </a:lnTo>
                      <a:lnTo>
                        <a:pt x="333" y="415"/>
                      </a:lnTo>
                      <a:lnTo>
                        <a:pt x="333" y="416"/>
                      </a:lnTo>
                      <a:lnTo>
                        <a:pt x="334" y="415"/>
                      </a:lnTo>
                      <a:lnTo>
                        <a:pt x="335" y="415"/>
                      </a:lnTo>
                      <a:lnTo>
                        <a:pt x="336" y="415"/>
                      </a:lnTo>
                      <a:lnTo>
                        <a:pt x="336" y="415"/>
                      </a:lnTo>
                      <a:lnTo>
                        <a:pt x="336" y="415"/>
                      </a:lnTo>
                      <a:lnTo>
                        <a:pt x="339" y="416"/>
                      </a:lnTo>
                      <a:lnTo>
                        <a:pt x="340" y="417"/>
                      </a:lnTo>
                      <a:lnTo>
                        <a:pt x="341" y="418"/>
                      </a:lnTo>
                      <a:lnTo>
                        <a:pt x="342" y="419"/>
                      </a:lnTo>
                      <a:lnTo>
                        <a:pt x="342" y="420"/>
                      </a:lnTo>
                      <a:lnTo>
                        <a:pt x="342" y="420"/>
                      </a:lnTo>
                      <a:lnTo>
                        <a:pt x="343" y="421"/>
                      </a:lnTo>
                      <a:lnTo>
                        <a:pt x="342" y="421"/>
                      </a:lnTo>
                      <a:lnTo>
                        <a:pt x="341" y="422"/>
                      </a:lnTo>
                      <a:lnTo>
                        <a:pt x="341" y="422"/>
                      </a:lnTo>
                      <a:lnTo>
                        <a:pt x="339" y="421"/>
                      </a:lnTo>
                      <a:lnTo>
                        <a:pt x="338" y="421"/>
                      </a:lnTo>
                      <a:lnTo>
                        <a:pt x="336" y="420"/>
                      </a:lnTo>
                      <a:lnTo>
                        <a:pt x="336" y="420"/>
                      </a:lnTo>
                      <a:lnTo>
                        <a:pt x="336" y="419"/>
                      </a:lnTo>
                      <a:lnTo>
                        <a:pt x="335" y="419"/>
                      </a:lnTo>
                      <a:lnTo>
                        <a:pt x="335" y="419"/>
                      </a:lnTo>
                      <a:lnTo>
                        <a:pt x="335" y="419"/>
                      </a:lnTo>
                      <a:lnTo>
                        <a:pt x="335" y="420"/>
                      </a:lnTo>
                      <a:lnTo>
                        <a:pt x="334" y="419"/>
                      </a:lnTo>
                      <a:lnTo>
                        <a:pt x="334" y="419"/>
                      </a:lnTo>
                      <a:lnTo>
                        <a:pt x="335" y="420"/>
                      </a:lnTo>
                      <a:lnTo>
                        <a:pt x="333" y="421"/>
                      </a:lnTo>
                      <a:lnTo>
                        <a:pt x="333" y="421"/>
                      </a:lnTo>
                      <a:lnTo>
                        <a:pt x="335" y="421"/>
                      </a:lnTo>
                      <a:lnTo>
                        <a:pt x="336" y="421"/>
                      </a:lnTo>
                      <a:lnTo>
                        <a:pt x="336" y="422"/>
                      </a:lnTo>
                      <a:lnTo>
                        <a:pt x="335" y="422"/>
                      </a:lnTo>
                      <a:lnTo>
                        <a:pt x="335" y="422"/>
                      </a:lnTo>
                      <a:lnTo>
                        <a:pt x="336" y="422"/>
                      </a:lnTo>
                      <a:lnTo>
                        <a:pt x="337" y="422"/>
                      </a:lnTo>
                      <a:lnTo>
                        <a:pt x="339" y="423"/>
                      </a:lnTo>
                      <a:lnTo>
                        <a:pt x="339" y="423"/>
                      </a:lnTo>
                      <a:lnTo>
                        <a:pt x="340" y="424"/>
                      </a:lnTo>
                      <a:lnTo>
                        <a:pt x="341" y="424"/>
                      </a:lnTo>
                      <a:lnTo>
                        <a:pt x="340" y="424"/>
                      </a:lnTo>
                      <a:lnTo>
                        <a:pt x="338" y="425"/>
                      </a:lnTo>
                      <a:lnTo>
                        <a:pt x="337" y="428"/>
                      </a:lnTo>
                      <a:lnTo>
                        <a:pt x="337" y="428"/>
                      </a:lnTo>
                      <a:lnTo>
                        <a:pt x="337" y="428"/>
                      </a:lnTo>
                      <a:lnTo>
                        <a:pt x="335" y="429"/>
                      </a:lnTo>
                      <a:lnTo>
                        <a:pt x="334" y="429"/>
                      </a:lnTo>
                      <a:lnTo>
                        <a:pt x="334" y="429"/>
                      </a:lnTo>
                      <a:lnTo>
                        <a:pt x="334" y="430"/>
                      </a:lnTo>
                      <a:lnTo>
                        <a:pt x="334" y="430"/>
                      </a:lnTo>
                      <a:lnTo>
                        <a:pt x="333" y="430"/>
                      </a:lnTo>
                      <a:lnTo>
                        <a:pt x="333" y="431"/>
                      </a:lnTo>
                      <a:lnTo>
                        <a:pt x="333" y="431"/>
                      </a:lnTo>
                      <a:lnTo>
                        <a:pt x="331" y="431"/>
                      </a:lnTo>
                      <a:lnTo>
                        <a:pt x="329" y="431"/>
                      </a:lnTo>
                      <a:lnTo>
                        <a:pt x="327" y="431"/>
                      </a:lnTo>
                      <a:lnTo>
                        <a:pt x="326" y="431"/>
                      </a:lnTo>
                      <a:lnTo>
                        <a:pt x="325" y="431"/>
                      </a:lnTo>
                      <a:lnTo>
                        <a:pt x="325" y="431"/>
                      </a:lnTo>
                      <a:lnTo>
                        <a:pt x="324" y="430"/>
                      </a:lnTo>
                      <a:lnTo>
                        <a:pt x="323" y="430"/>
                      </a:lnTo>
                      <a:lnTo>
                        <a:pt x="323" y="430"/>
                      </a:lnTo>
                      <a:lnTo>
                        <a:pt x="322" y="430"/>
                      </a:lnTo>
                      <a:lnTo>
                        <a:pt x="322" y="430"/>
                      </a:lnTo>
                      <a:lnTo>
                        <a:pt x="322" y="429"/>
                      </a:lnTo>
                      <a:lnTo>
                        <a:pt x="322" y="430"/>
                      </a:lnTo>
                      <a:lnTo>
                        <a:pt x="322" y="430"/>
                      </a:lnTo>
                      <a:lnTo>
                        <a:pt x="323" y="430"/>
                      </a:lnTo>
                      <a:lnTo>
                        <a:pt x="323" y="431"/>
                      </a:lnTo>
                      <a:lnTo>
                        <a:pt x="324" y="431"/>
                      </a:lnTo>
                      <a:lnTo>
                        <a:pt x="322" y="431"/>
                      </a:lnTo>
                      <a:lnTo>
                        <a:pt x="321" y="431"/>
                      </a:lnTo>
                      <a:lnTo>
                        <a:pt x="321" y="431"/>
                      </a:lnTo>
                      <a:lnTo>
                        <a:pt x="318" y="431"/>
                      </a:lnTo>
                      <a:lnTo>
                        <a:pt x="318" y="430"/>
                      </a:lnTo>
                      <a:lnTo>
                        <a:pt x="317" y="430"/>
                      </a:lnTo>
                      <a:lnTo>
                        <a:pt x="317" y="430"/>
                      </a:lnTo>
                      <a:lnTo>
                        <a:pt x="317" y="430"/>
                      </a:lnTo>
                      <a:lnTo>
                        <a:pt x="317" y="431"/>
                      </a:lnTo>
                      <a:lnTo>
                        <a:pt x="315" y="431"/>
                      </a:lnTo>
                      <a:lnTo>
                        <a:pt x="315" y="430"/>
                      </a:lnTo>
                      <a:lnTo>
                        <a:pt x="315" y="430"/>
                      </a:lnTo>
                      <a:lnTo>
                        <a:pt x="315" y="431"/>
                      </a:lnTo>
                      <a:lnTo>
                        <a:pt x="314" y="431"/>
                      </a:lnTo>
                      <a:lnTo>
                        <a:pt x="314" y="431"/>
                      </a:lnTo>
                      <a:lnTo>
                        <a:pt x="313" y="432"/>
                      </a:lnTo>
                      <a:lnTo>
                        <a:pt x="312" y="432"/>
                      </a:lnTo>
                      <a:lnTo>
                        <a:pt x="312" y="432"/>
                      </a:lnTo>
                      <a:lnTo>
                        <a:pt x="312" y="433"/>
                      </a:lnTo>
                      <a:lnTo>
                        <a:pt x="312" y="433"/>
                      </a:lnTo>
                      <a:lnTo>
                        <a:pt x="311" y="433"/>
                      </a:lnTo>
                      <a:lnTo>
                        <a:pt x="309" y="433"/>
                      </a:lnTo>
                      <a:lnTo>
                        <a:pt x="310" y="434"/>
                      </a:lnTo>
                      <a:lnTo>
                        <a:pt x="309" y="434"/>
                      </a:lnTo>
                      <a:lnTo>
                        <a:pt x="309" y="434"/>
                      </a:lnTo>
                      <a:lnTo>
                        <a:pt x="307" y="433"/>
                      </a:lnTo>
                      <a:lnTo>
                        <a:pt x="307" y="432"/>
                      </a:lnTo>
                      <a:lnTo>
                        <a:pt x="306" y="432"/>
                      </a:lnTo>
                      <a:lnTo>
                        <a:pt x="305" y="432"/>
                      </a:lnTo>
                      <a:lnTo>
                        <a:pt x="305" y="432"/>
                      </a:lnTo>
                      <a:lnTo>
                        <a:pt x="305" y="432"/>
                      </a:lnTo>
                      <a:lnTo>
                        <a:pt x="304" y="433"/>
                      </a:lnTo>
                      <a:lnTo>
                        <a:pt x="305" y="433"/>
                      </a:lnTo>
                      <a:lnTo>
                        <a:pt x="304" y="434"/>
                      </a:lnTo>
                      <a:lnTo>
                        <a:pt x="304" y="435"/>
                      </a:lnTo>
                      <a:lnTo>
                        <a:pt x="303" y="436"/>
                      </a:lnTo>
                      <a:lnTo>
                        <a:pt x="303" y="436"/>
                      </a:lnTo>
                      <a:lnTo>
                        <a:pt x="302" y="435"/>
                      </a:lnTo>
                      <a:lnTo>
                        <a:pt x="301" y="434"/>
                      </a:lnTo>
                      <a:lnTo>
                        <a:pt x="301" y="434"/>
                      </a:lnTo>
                      <a:lnTo>
                        <a:pt x="302" y="434"/>
                      </a:lnTo>
                      <a:lnTo>
                        <a:pt x="303" y="435"/>
                      </a:lnTo>
                      <a:lnTo>
                        <a:pt x="303" y="435"/>
                      </a:lnTo>
                      <a:lnTo>
                        <a:pt x="303" y="435"/>
                      </a:lnTo>
                      <a:lnTo>
                        <a:pt x="303" y="435"/>
                      </a:lnTo>
                      <a:lnTo>
                        <a:pt x="303" y="435"/>
                      </a:lnTo>
                      <a:lnTo>
                        <a:pt x="302" y="433"/>
                      </a:lnTo>
                      <a:lnTo>
                        <a:pt x="302" y="433"/>
                      </a:lnTo>
                      <a:lnTo>
                        <a:pt x="301" y="433"/>
                      </a:lnTo>
                      <a:lnTo>
                        <a:pt x="301" y="432"/>
                      </a:lnTo>
                      <a:lnTo>
                        <a:pt x="300" y="433"/>
                      </a:lnTo>
                      <a:lnTo>
                        <a:pt x="301" y="433"/>
                      </a:lnTo>
                      <a:lnTo>
                        <a:pt x="301" y="433"/>
                      </a:lnTo>
                      <a:lnTo>
                        <a:pt x="301" y="434"/>
                      </a:lnTo>
                      <a:lnTo>
                        <a:pt x="300" y="434"/>
                      </a:lnTo>
                      <a:lnTo>
                        <a:pt x="301" y="434"/>
                      </a:lnTo>
                      <a:lnTo>
                        <a:pt x="300" y="434"/>
                      </a:lnTo>
                      <a:lnTo>
                        <a:pt x="300" y="435"/>
                      </a:lnTo>
                      <a:lnTo>
                        <a:pt x="302" y="435"/>
                      </a:lnTo>
                      <a:lnTo>
                        <a:pt x="301" y="435"/>
                      </a:lnTo>
                      <a:lnTo>
                        <a:pt x="302" y="435"/>
                      </a:lnTo>
                      <a:lnTo>
                        <a:pt x="301" y="436"/>
                      </a:lnTo>
                      <a:lnTo>
                        <a:pt x="302" y="436"/>
                      </a:lnTo>
                      <a:lnTo>
                        <a:pt x="303" y="437"/>
                      </a:lnTo>
                      <a:lnTo>
                        <a:pt x="304" y="439"/>
                      </a:lnTo>
                      <a:lnTo>
                        <a:pt x="305" y="438"/>
                      </a:lnTo>
                      <a:lnTo>
                        <a:pt x="307" y="439"/>
                      </a:lnTo>
                      <a:lnTo>
                        <a:pt x="309" y="439"/>
                      </a:lnTo>
                      <a:lnTo>
                        <a:pt x="311" y="440"/>
                      </a:lnTo>
                      <a:lnTo>
                        <a:pt x="311" y="440"/>
                      </a:lnTo>
                      <a:lnTo>
                        <a:pt x="312" y="441"/>
                      </a:lnTo>
                      <a:lnTo>
                        <a:pt x="313" y="440"/>
                      </a:lnTo>
                      <a:lnTo>
                        <a:pt x="315" y="441"/>
                      </a:lnTo>
                      <a:lnTo>
                        <a:pt x="316" y="441"/>
                      </a:lnTo>
                      <a:lnTo>
                        <a:pt x="316" y="441"/>
                      </a:lnTo>
                      <a:lnTo>
                        <a:pt x="315" y="441"/>
                      </a:lnTo>
                      <a:lnTo>
                        <a:pt x="315" y="442"/>
                      </a:lnTo>
                      <a:lnTo>
                        <a:pt x="314" y="443"/>
                      </a:lnTo>
                      <a:lnTo>
                        <a:pt x="313" y="443"/>
                      </a:lnTo>
                      <a:lnTo>
                        <a:pt x="313" y="443"/>
                      </a:lnTo>
                      <a:lnTo>
                        <a:pt x="313" y="444"/>
                      </a:lnTo>
                      <a:lnTo>
                        <a:pt x="313" y="444"/>
                      </a:lnTo>
                      <a:lnTo>
                        <a:pt x="313" y="445"/>
                      </a:lnTo>
                      <a:lnTo>
                        <a:pt x="312" y="446"/>
                      </a:lnTo>
                      <a:lnTo>
                        <a:pt x="311" y="447"/>
                      </a:lnTo>
                      <a:lnTo>
                        <a:pt x="311" y="446"/>
                      </a:lnTo>
                      <a:lnTo>
                        <a:pt x="311" y="446"/>
                      </a:lnTo>
                      <a:lnTo>
                        <a:pt x="311" y="446"/>
                      </a:lnTo>
                      <a:lnTo>
                        <a:pt x="310" y="446"/>
                      </a:lnTo>
                      <a:lnTo>
                        <a:pt x="310" y="447"/>
                      </a:lnTo>
                      <a:lnTo>
                        <a:pt x="309" y="447"/>
                      </a:lnTo>
                      <a:lnTo>
                        <a:pt x="309" y="448"/>
                      </a:lnTo>
                      <a:lnTo>
                        <a:pt x="310" y="448"/>
                      </a:lnTo>
                      <a:lnTo>
                        <a:pt x="311" y="447"/>
                      </a:lnTo>
                      <a:lnTo>
                        <a:pt x="311" y="447"/>
                      </a:lnTo>
                      <a:lnTo>
                        <a:pt x="312" y="448"/>
                      </a:lnTo>
                      <a:lnTo>
                        <a:pt x="312" y="448"/>
                      </a:lnTo>
                      <a:lnTo>
                        <a:pt x="312" y="447"/>
                      </a:lnTo>
                      <a:lnTo>
                        <a:pt x="313" y="447"/>
                      </a:lnTo>
                      <a:lnTo>
                        <a:pt x="313" y="446"/>
                      </a:lnTo>
                      <a:lnTo>
                        <a:pt x="314" y="446"/>
                      </a:lnTo>
                      <a:lnTo>
                        <a:pt x="314" y="446"/>
                      </a:lnTo>
                      <a:lnTo>
                        <a:pt x="314" y="444"/>
                      </a:lnTo>
                      <a:lnTo>
                        <a:pt x="314" y="444"/>
                      </a:lnTo>
                      <a:lnTo>
                        <a:pt x="315" y="443"/>
                      </a:lnTo>
                      <a:lnTo>
                        <a:pt x="316" y="443"/>
                      </a:lnTo>
                      <a:lnTo>
                        <a:pt x="317" y="443"/>
                      </a:lnTo>
                      <a:lnTo>
                        <a:pt x="317" y="446"/>
                      </a:lnTo>
                      <a:lnTo>
                        <a:pt x="317" y="446"/>
                      </a:lnTo>
                      <a:lnTo>
                        <a:pt x="318" y="446"/>
                      </a:lnTo>
                      <a:lnTo>
                        <a:pt x="318" y="446"/>
                      </a:lnTo>
                      <a:lnTo>
                        <a:pt x="317" y="446"/>
                      </a:lnTo>
                      <a:lnTo>
                        <a:pt x="317" y="446"/>
                      </a:lnTo>
                      <a:lnTo>
                        <a:pt x="317" y="443"/>
                      </a:lnTo>
                      <a:lnTo>
                        <a:pt x="316" y="442"/>
                      </a:lnTo>
                      <a:lnTo>
                        <a:pt x="317" y="442"/>
                      </a:lnTo>
                      <a:lnTo>
                        <a:pt x="318" y="442"/>
                      </a:lnTo>
                      <a:lnTo>
                        <a:pt x="319" y="441"/>
                      </a:lnTo>
                      <a:lnTo>
                        <a:pt x="321" y="441"/>
                      </a:lnTo>
                      <a:lnTo>
                        <a:pt x="321" y="441"/>
                      </a:lnTo>
                      <a:lnTo>
                        <a:pt x="321" y="441"/>
                      </a:lnTo>
                      <a:lnTo>
                        <a:pt x="322" y="441"/>
                      </a:lnTo>
                      <a:lnTo>
                        <a:pt x="322" y="440"/>
                      </a:lnTo>
                      <a:lnTo>
                        <a:pt x="321" y="440"/>
                      </a:lnTo>
                      <a:lnTo>
                        <a:pt x="322" y="440"/>
                      </a:lnTo>
                      <a:lnTo>
                        <a:pt x="321" y="439"/>
                      </a:lnTo>
                      <a:lnTo>
                        <a:pt x="322" y="438"/>
                      </a:lnTo>
                      <a:lnTo>
                        <a:pt x="322" y="437"/>
                      </a:lnTo>
                      <a:lnTo>
                        <a:pt x="324" y="438"/>
                      </a:lnTo>
                      <a:lnTo>
                        <a:pt x="324" y="438"/>
                      </a:lnTo>
                      <a:lnTo>
                        <a:pt x="324" y="438"/>
                      </a:lnTo>
                      <a:lnTo>
                        <a:pt x="324" y="438"/>
                      </a:lnTo>
                      <a:lnTo>
                        <a:pt x="324" y="438"/>
                      </a:lnTo>
                      <a:lnTo>
                        <a:pt x="327" y="437"/>
                      </a:lnTo>
                      <a:lnTo>
                        <a:pt x="328" y="437"/>
                      </a:lnTo>
                      <a:lnTo>
                        <a:pt x="330" y="439"/>
                      </a:lnTo>
                      <a:lnTo>
                        <a:pt x="331" y="438"/>
                      </a:lnTo>
                      <a:lnTo>
                        <a:pt x="333" y="438"/>
                      </a:lnTo>
                      <a:lnTo>
                        <a:pt x="333" y="438"/>
                      </a:lnTo>
                      <a:lnTo>
                        <a:pt x="334" y="438"/>
                      </a:lnTo>
                      <a:lnTo>
                        <a:pt x="335" y="438"/>
                      </a:lnTo>
                      <a:lnTo>
                        <a:pt x="335" y="438"/>
                      </a:lnTo>
                      <a:lnTo>
                        <a:pt x="336" y="437"/>
                      </a:lnTo>
                      <a:lnTo>
                        <a:pt x="337" y="437"/>
                      </a:lnTo>
                      <a:lnTo>
                        <a:pt x="337" y="436"/>
                      </a:lnTo>
                      <a:lnTo>
                        <a:pt x="338" y="436"/>
                      </a:lnTo>
                      <a:lnTo>
                        <a:pt x="338" y="437"/>
                      </a:lnTo>
                      <a:lnTo>
                        <a:pt x="338" y="436"/>
                      </a:lnTo>
                      <a:lnTo>
                        <a:pt x="338" y="435"/>
                      </a:lnTo>
                      <a:lnTo>
                        <a:pt x="339" y="435"/>
                      </a:lnTo>
                      <a:lnTo>
                        <a:pt x="339" y="434"/>
                      </a:lnTo>
                      <a:lnTo>
                        <a:pt x="339" y="434"/>
                      </a:lnTo>
                      <a:lnTo>
                        <a:pt x="340" y="434"/>
                      </a:lnTo>
                      <a:lnTo>
                        <a:pt x="340" y="433"/>
                      </a:lnTo>
                      <a:lnTo>
                        <a:pt x="341" y="432"/>
                      </a:lnTo>
                      <a:lnTo>
                        <a:pt x="341" y="431"/>
                      </a:lnTo>
                      <a:lnTo>
                        <a:pt x="343" y="429"/>
                      </a:lnTo>
                      <a:lnTo>
                        <a:pt x="343" y="429"/>
                      </a:lnTo>
                      <a:lnTo>
                        <a:pt x="344" y="428"/>
                      </a:lnTo>
                      <a:lnTo>
                        <a:pt x="347" y="428"/>
                      </a:lnTo>
                      <a:lnTo>
                        <a:pt x="348" y="428"/>
                      </a:lnTo>
                      <a:lnTo>
                        <a:pt x="350" y="428"/>
                      </a:lnTo>
                      <a:lnTo>
                        <a:pt x="351" y="429"/>
                      </a:lnTo>
                      <a:lnTo>
                        <a:pt x="351" y="429"/>
                      </a:lnTo>
                      <a:lnTo>
                        <a:pt x="352" y="430"/>
                      </a:lnTo>
                      <a:lnTo>
                        <a:pt x="352" y="430"/>
                      </a:lnTo>
                      <a:lnTo>
                        <a:pt x="352" y="430"/>
                      </a:lnTo>
                      <a:lnTo>
                        <a:pt x="352" y="431"/>
                      </a:lnTo>
                      <a:lnTo>
                        <a:pt x="353" y="431"/>
                      </a:lnTo>
                      <a:lnTo>
                        <a:pt x="353" y="432"/>
                      </a:lnTo>
                      <a:lnTo>
                        <a:pt x="353" y="433"/>
                      </a:lnTo>
                      <a:lnTo>
                        <a:pt x="354" y="434"/>
                      </a:lnTo>
                      <a:lnTo>
                        <a:pt x="353" y="435"/>
                      </a:lnTo>
                      <a:lnTo>
                        <a:pt x="354" y="436"/>
                      </a:lnTo>
                      <a:lnTo>
                        <a:pt x="354" y="437"/>
                      </a:lnTo>
                      <a:lnTo>
                        <a:pt x="352" y="440"/>
                      </a:lnTo>
                      <a:lnTo>
                        <a:pt x="352" y="442"/>
                      </a:lnTo>
                      <a:lnTo>
                        <a:pt x="352" y="443"/>
                      </a:lnTo>
                      <a:lnTo>
                        <a:pt x="352" y="445"/>
                      </a:lnTo>
                      <a:lnTo>
                        <a:pt x="353" y="448"/>
                      </a:lnTo>
                      <a:lnTo>
                        <a:pt x="353" y="448"/>
                      </a:lnTo>
                      <a:lnTo>
                        <a:pt x="354" y="449"/>
                      </a:lnTo>
                      <a:lnTo>
                        <a:pt x="353" y="450"/>
                      </a:lnTo>
                      <a:lnTo>
                        <a:pt x="353" y="452"/>
                      </a:lnTo>
                      <a:lnTo>
                        <a:pt x="353" y="453"/>
                      </a:lnTo>
                      <a:lnTo>
                        <a:pt x="353" y="454"/>
                      </a:lnTo>
                      <a:lnTo>
                        <a:pt x="352" y="455"/>
                      </a:lnTo>
                      <a:lnTo>
                        <a:pt x="352" y="455"/>
                      </a:lnTo>
                      <a:lnTo>
                        <a:pt x="352" y="456"/>
                      </a:lnTo>
                      <a:lnTo>
                        <a:pt x="352" y="457"/>
                      </a:lnTo>
                      <a:lnTo>
                        <a:pt x="352" y="457"/>
                      </a:lnTo>
                      <a:lnTo>
                        <a:pt x="352" y="459"/>
                      </a:lnTo>
                      <a:lnTo>
                        <a:pt x="351" y="460"/>
                      </a:lnTo>
                      <a:lnTo>
                        <a:pt x="352" y="461"/>
                      </a:lnTo>
                      <a:lnTo>
                        <a:pt x="351" y="461"/>
                      </a:lnTo>
                      <a:lnTo>
                        <a:pt x="351" y="462"/>
                      </a:lnTo>
                      <a:lnTo>
                        <a:pt x="351" y="462"/>
                      </a:lnTo>
                      <a:lnTo>
                        <a:pt x="351" y="463"/>
                      </a:lnTo>
                      <a:lnTo>
                        <a:pt x="351" y="466"/>
                      </a:lnTo>
                      <a:lnTo>
                        <a:pt x="351" y="466"/>
                      </a:lnTo>
                      <a:lnTo>
                        <a:pt x="351" y="467"/>
                      </a:lnTo>
                      <a:lnTo>
                        <a:pt x="350" y="468"/>
                      </a:lnTo>
                      <a:lnTo>
                        <a:pt x="352" y="471"/>
                      </a:lnTo>
                      <a:lnTo>
                        <a:pt x="353" y="471"/>
                      </a:lnTo>
                      <a:lnTo>
                        <a:pt x="354" y="471"/>
                      </a:lnTo>
                      <a:lnTo>
                        <a:pt x="356" y="471"/>
                      </a:lnTo>
                      <a:lnTo>
                        <a:pt x="355" y="472"/>
                      </a:lnTo>
                      <a:lnTo>
                        <a:pt x="355" y="472"/>
                      </a:lnTo>
                      <a:lnTo>
                        <a:pt x="355" y="473"/>
                      </a:lnTo>
                      <a:lnTo>
                        <a:pt x="354" y="474"/>
                      </a:lnTo>
                      <a:lnTo>
                        <a:pt x="354" y="475"/>
                      </a:lnTo>
                      <a:lnTo>
                        <a:pt x="354" y="475"/>
                      </a:lnTo>
                      <a:lnTo>
                        <a:pt x="353" y="475"/>
                      </a:lnTo>
                      <a:lnTo>
                        <a:pt x="353" y="476"/>
                      </a:lnTo>
                      <a:lnTo>
                        <a:pt x="352" y="477"/>
                      </a:lnTo>
                      <a:lnTo>
                        <a:pt x="351" y="477"/>
                      </a:lnTo>
                      <a:lnTo>
                        <a:pt x="351" y="478"/>
                      </a:lnTo>
                      <a:lnTo>
                        <a:pt x="350" y="479"/>
                      </a:lnTo>
                      <a:lnTo>
                        <a:pt x="349" y="480"/>
                      </a:lnTo>
                      <a:lnTo>
                        <a:pt x="348" y="481"/>
                      </a:lnTo>
                      <a:lnTo>
                        <a:pt x="348" y="481"/>
                      </a:lnTo>
                      <a:lnTo>
                        <a:pt x="347" y="482"/>
                      </a:lnTo>
                      <a:lnTo>
                        <a:pt x="347" y="482"/>
                      </a:lnTo>
                      <a:lnTo>
                        <a:pt x="347" y="482"/>
                      </a:lnTo>
                      <a:lnTo>
                        <a:pt x="346" y="484"/>
                      </a:lnTo>
                      <a:lnTo>
                        <a:pt x="345" y="484"/>
                      </a:lnTo>
                      <a:lnTo>
                        <a:pt x="345" y="484"/>
                      </a:lnTo>
                      <a:lnTo>
                        <a:pt x="344" y="484"/>
                      </a:lnTo>
                      <a:lnTo>
                        <a:pt x="344" y="485"/>
                      </a:lnTo>
                      <a:lnTo>
                        <a:pt x="344" y="485"/>
                      </a:lnTo>
                      <a:lnTo>
                        <a:pt x="343" y="486"/>
                      </a:lnTo>
                      <a:lnTo>
                        <a:pt x="343" y="486"/>
                      </a:lnTo>
                      <a:lnTo>
                        <a:pt x="342" y="486"/>
                      </a:lnTo>
                      <a:lnTo>
                        <a:pt x="342" y="487"/>
                      </a:lnTo>
                      <a:lnTo>
                        <a:pt x="342" y="487"/>
                      </a:lnTo>
                      <a:lnTo>
                        <a:pt x="341" y="488"/>
                      </a:lnTo>
                      <a:lnTo>
                        <a:pt x="340" y="488"/>
                      </a:lnTo>
                      <a:lnTo>
                        <a:pt x="339" y="488"/>
                      </a:lnTo>
                      <a:lnTo>
                        <a:pt x="339" y="489"/>
                      </a:lnTo>
                      <a:lnTo>
                        <a:pt x="338" y="490"/>
                      </a:lnTo>
                      <a:lnTo>
                        <a:pt x="337" y="490"/>
                      </a:lnTo>
                      <a:lnTo>
                        <a:pt x="336" y="491"/>
                      </a:lnTo>
                      <a:lnTo>
                        <a:pt x="335" y="492"/>
                      </a:lnTo>
                      <a:lnTo>
                        <a:pt x="334" y="492"/>
                      </a:lnTo>
                      <a:lnTo>
                        <a:pt x="332" y="491"/>
                      </a:lnTo>
                      <a:lnTo>
                        <a:pt x="332" y="491"/>
                      </a:lnTo>
                      <a:lnTo>
                        <a:pt x="332" y="491"/>
                      </a:lnTo>
                      <a:lnTo>
                        <a:pt x="333" y="492"/>
                      </a:lnTo>
                      <a:lnTo>
                        <a:pt x="333" y="493"/>
                      </a:lnTo>
                      <a:lnTo>
                        <a:pt x="333" y="493"/>
                      </a:lnTo>
                      <a:lnTo>
                        <a:pt x="333" y="493"/>
                      </a:lnTo>
                      <a:lnTo>
                        <a:pt x="332" y="494"/>
                      </a:lnTo>
                      <a:lnTo>
                        <a:pt x="331" y="494"/>
                      </a:lnTo>
                      <a:lnTo>
                        <a:pt x="330" y="496"/>
                      </a:lnTo>
                      <a:lnTo>
                        <a:pt x="329" y="496"/>
                      </a:lnTo>
                      <a:lnTo>
                        <a:pt x="328" y="497"/>
                      </a:lnTo>
                      <a:lnTo>
                        <a:pt x="327" y="497"/>
                      </a:lnTo>
                      <a:lnTo>
                        <a:pt x="327" y="497"/>
                      </a:lnTo>
                      <a:lnTo>
                        <a:pt x="326" y="498"/>
                      </a:lnTo>
                      <a:lnTo>
                        <a:pt x="324" y="499"/>
                      </a:lnTo>
                      <a:lnTo>
                        <a:pt x="323" y="501"/>
                      </a:lnTo>
                      <a:lnTo>
                        <a:pt x="322" y="501"/>
                      </a:lnTo>
                      <a:lnTo>
                        <a:pt x="321" y="504"/>
                      </a:lnTo>
                      <a:lnTo>
                        <a:pt x="321" y="504"/>
                      </a:lnTo>
                      <a:lnTo>
                        <a:pt x="318" y="504"/>
                      </a:lnTo>
                      <a:lnTo>
                        <a:pt x="317" y="504"/>
                      </a:lnTo>
                      <a:lnTo>
                        <a:pt x="317" y="504"/>
                      </a:lnTo>
                      <a:lnTo>
                        <a:pt x="315" y="502"/>
                      </a:lnTo>
                      <a:lnTo>
                        <a:pt x="315" y="502"/>
                      </a:lnTo>
                      <a:lnTo>
                        <a:pt x="315" y="501"/>
                      </a:lnTo>
                      <a:lnTo>
                        <a:pt x="313" y="501"/>
                      </a:lnTo>
                      <a:lnTo>
                        <a:pt x="312" y="501"/>
                      </a:lnTo>
                      <a:lnTo>
                        <a:pt x="308" y="501"/>
                      </a:lnTo>
                      <a:lnTo>
                        <a:pt x="307" y="500"/>
                      </a:lnTo>
                      <a:lnTo>
                        <a:pt x="306" y="500"/>
                      </a:lnTo>
                      <a:lnTo>
                        <a:pt x="304" y="500"/>
                      </a:lnTo>
                      <a:lnTo>
                        <a:pt x="304" y="500"/>
                      </a:lnTo>
                      <a:lnTo>
                        <a:pt x="302" y="500"/>
                      </a:lnTo>
                      <a:lnTo>
                        <a:pt x="301" y="499"/>
                      </a:lnTo>
                      <a:lnTo>
                        <a:pt x="300" y="499"/>
                      </a:lnTo>
                      <a:lnTo>
                        <a:pt x="300" y="499"/>
                      </a:lnTo>
                      <a:lnTo>
                        <a:pt x="297" y="499"/>
                      </a:lnTo>
                      <a:lnTo>
                        <a:pt x="295" y="498"/>
                      </a:lnTo>
                      <a:lnTo>
                        <a:pt x="292" y="498"/>
                      </a:lnTo>
                      <a:lnTo>
                        <a:pt x="291" y="497"/>
                      </a:lnTo>
                      <a:lnTo>
                        <a:pt x="290" y="497"/>
                      </a:lnTo>
                      <a:lnTo>
                        <a:pt x="289" y="497"/>
                      </a:lnTo>
                      <a:lnTo>
                        <a:pt x="290" y="498"/>
                      </a:lnTo>
                      <a:lnTo>
                        <a:pt x="290" y="498"/>
                      </a:lnTo>
                      <a:lnTo>
                        <a:pt x="290" y="498"/>
                      </a:lnTo>
                      <a:lnTo>
                        <a:pt x="290" y="498"/>
                      </a:lnTo>
                      <a:lnTo>
                        <a:pt x="289" y="500"/>
                      </a:lnTo>
                      <a:lnTo>
                        <a:pt x="288" y="500"/>
                      </a:lnTo>
                      <a:lnTo>
                        <a:pt x="287" y="500"/>
                      </a:lnTo>
                      <a:lnTo>
                        <a:pt x="286" y="500"/>
                      </a:lnTo>
                      <a:lnTo>
                        <a:pt x="284" y="500"/>
                      </a:lnTo>
                      <a:lnTo>
                        <a:pt x="281" y="499"/>
                      </a:lnTo>
                      <a:lnTo>
                        <a:pt x="281" y="499"/>
                      </a:lnTo>
                      <a:lnTo>
                        <a:pt x="281" y="499"/>
                      </a:lnTo>
                      <a:lnTo>
                        <a:pt x="280" y="498"/>
                      </a:lnTo>
                      <a:lnTo>
                        <a:pt x="280" y="498"/>
                      </a:lnTo>
                      <a:lnTo>
                        <a:pt x="279" y="498"/>
                      </a:lnTo>
                      <a:lnTo>
                        <a:pt x="276" y="497"/>
                      </a:lnTo>
                      <a:lnTo>
                        <a:pt x="275" y="497"/>
                      </a:lnTo>
                      <a:lnTo>
                        <a:pt x="274" y="497"/>
                      </a:lnTo>
                      <a:lnTo>
                        <a:pt x="275" y="498"/>
                      </a:lnTo>
                      <a:lnTo>
                        <a:pt x="277" y="498"/>
                      </a:lnTo>
                      <a:lnTo>
                        <a:pt x="280" y="499"/>
                      </a:lnTo>
                      <a:lnTo>
                        <a:pt x="281" y="500"/>
                      </a:lnTo>
                      <a:lnTo>
                        <a:pt x="281" y="500"/>
                      </a:lnTo>
                      <a:lnTo>
                        <a:pt x="281" y="501"/>
                      </a:lnTo>
                      <a:lnTo>
                        <a:pt x="285" y="501"/>
                      </a:lnTo>
                      <a:lnTo>
                        <a:pt x="286" y="501"/>
                      </a:lnTo>
                      <a:lnTo>
                        <a:pt x="286" y="501"/>
                      </a:lnTo>
                      <a:lnTo>
                        <a:pt x="287" y="501"/>
                      </a:lnTo>
                      <a:lnTo>
                        <a:pt x="287" y="502"/>
                      </a:lnTo>
                      <a:lnTo>
                        <a:pt x="287" y="502"/>
                      </a:lnTo>
                      <a:lnTo>
                        <a:pt x="287" y="502"/>
                      </a:lnTo>
                      <a:lnTo>
                        <a:pt x="287" y="502"/>
                      </a:lnTo>
                      <a:lnTo>
                        <a:pt x="287" y="502"/>
                      </a:lnTo>
                      <a:lnTo>
                        <a:pt x="288" y="504"/>
                      </a:lnTo>
                      <a:lnTo>
                        <a:pt x="288" y="504"/>
                      </a:lnTo>
                      <a:lnTo>
                        <a:pt x="288" y="504"/>
                      </a:lnTo>
                      <a:lnTo>
                        <a:pt x="288" y="505"/>
                      </a:lnTo>
                      <a:lnTo>
                        <a:pt x="287" y="505"/>
                      </a:lnTo>
                      <a:lnTo>
                        <a:pt x="286" y="506"/>
                      </a:lnTo>
                      <a:lnTo>
                        <a:pt x="285" y="506"/>
                      </a:lnTo>
                      <a:lnTo>
                        <a:pt x="284" y="507"/>
                      </a:lnTo>
                      <a:lnTo>
                        <a:pt x="281" y="507"/>
                      </a:lnTo>
                      <a:lnTo>
                        <a:pt x="278" y="508"/>
                      </a:lnTo>
                      <a:lnTo>
                        <a:pt x="277" y="507"/>
                      </a:lnTo>
                      <a:lnTo>
                        <a:pt x="277" y="506"/>
                      </a:lnTo>
                      <a:lnTo>
                        <a:pt x="277" y="507"/>
                      </a:lnTo>
                      <a:lnTo>
                        <a:pt x="277" y="507"/>
                      </a:lnTo>
                      <a:lnTo>
                        <a:pt x="277" y="508"/>
                      </a:lnTo>
                      <a:lnTo>
                        <a:pt x="276" y="508"/>
                      </a:lnTo>
                      <a:lnTo>
                        <a:pt x="275" y="508"/>
                      </a:lnTo>
                      <a:lnTo>
                        <a:pt x="275" y="509"/>
                      </a:lnTo>
                      <a:lnTo>
                        <a:pt x="274" y="509"/>
                      </a:lnTo>
                      <a:lnTo>
                        <a:pt x="271" y="508"/>
                      </a:lnTo>
                      <a:lnTo>
                        <a:pt x="271" y="508"/>
                      </a:lnTo>
                      <a:lnTo>
                        <a:pt x="270" y="508"/>
                      </a:lnTo>
                      <a:lnTo>
                        <a:pt x="269" y="506"/>
                      </a:lnTo>
                      <a:lnTo>
                        <a:pt x="269" y="506"/>
                      </a:lnTo>
                      <a:lnTo>
                        <a:pt x="268" y="507"/>
                      </a:lnTo>
                      <a:lnTo>
                        <a:pt x="268" y="507"/>
                      </a:lnTo>
                      <a:lnTo>
                        <a:pt x="268" y="508"/>
                      </a:lnTo>
                      <a:lnTo>
                        <a:pt x="269" y="509"/>
                      </a:lnTo>
                      <a:lnTo>
                        <a:pt x="269" y="509"/>
                      </a:lnTo>
                      <a:lnTo>
                        <a:pt x="269" y="509"/>
                      </a:lnTo>
                      <a:lnTo>
                        <a:pt x="268" y="509"/>
                      </a:lnTo>
                      <a:lnTo>
                        <a:pt x="268" y="506"/>
                      </a:lnTo>
                      <a:lnTo>
                        <a:pt x="269" y="505"/>
                      </a:lnTo>
                      <a:lnTo>
                        <a:pt x="267" y="505"/>
                      </a:lnTo>
                      <a:lnTo>
                        <a:pt x="265" y="505"/>
                      </a:lnTo>
                      <a:lnTo>
                        <a:pt x="264" y="505"/>
                      </a:lnTo>
                      <a:lnTo>
                        <a:pt x="264" y="502"/>
                      </a:lnTo>
                      <a:lnTo>
                        <a:pt x="263" y="500"/>
                      </a:lnTo>
                      <a:lnTo>
                        <a:pt x="262" y="500"/>
                      </a:lnTo>
                      <a:lnTo>
                        <a:pt x="262" y="500"/>
                      </a:lnTo>
                      <a:lnTo>
                        <a:pt x="262" y="501"/>
                      </a:lnTo>
                      <a:lnTo>
                        <a:pt x="262" y="500"/>
                      </a:lnTo>
                      <a:lnTo>
                        <a:pt x="261" y="500"/>
                      </a:lnTo>
                      <a:lnTo>
                        <a:pt x="262" y="501"/>
                      </a:lnTo>
                      <a:lnTo>
                        <a:pt x="263" y="501"/>
                      </a:lnTo>
                      <a:lnTo>
                        <a:pt x="263" y="502"/>
                      </a:lnTo>
                      <a:lnTo>
                        <a:pt x="263" y="504"/>
                      </a:lnTo>
                      <a:lnTo>
                        <a:pt x="263" y="504"/>
                      </a:lnTo>
                      <a:lnTo>
                        <a:pt x="263" y="505"/>
                      </a:lnTo>
                      <a:lnTo>
                        <a:pt x="263" y="505"/>
                      </a:lnTo>
                      <a:lnTo>
                        <a:pt x="264" y="506"/>
                      </a:lnTo>
                      <a:lnTo>
                        <a:pt x="265" y="506"/>
                      </a:lnTo>
                      <a:lnTo>
                        <a:pt x="265" y="507"/>
                      </a:lnTo>
                      <a:lnTo>
                        <a:pt x="267" y="507"/>
                      </a:lnTo>
                      <a:lnTo>
                        <a:pt x="267" y="507"/>
                      </a:lnTo>
                      <a:lnTo>
                        <a:pt x="267" y="507"/>
                      </a:lnTo>
                      <a:lnTo>
                        <a:pt x="266" y="508"/>
                      </a:lnTo>
                      <a:lnTo>
                        <a:pt x="265" y="508"/>
                      </a:lnTo>
                      <a:lnTo>
                        <a:pt x="264" y="509"/>
                      </a:lnTo>
                      <a:lnTo>
                        <a:pt x="263" y="508"/>
                      </a:lnTo>
                      <a:lnTo>
                        <a:pt x="263" y="508"/>
                      </a:lnTo>
                      <a:lnTo>
                        <a:pt x="261" y="510"/>
                      </a:lnTo>
                      <a:lnTo>
                        <a:pt x="260" y="509"/>
                      </a:lnTo>
                      <a:lnTo>
                        <a:pt x="259" y="509"/>
                      </a:lnTo>
                      <a:lnTo>
                        <a:pt x="259" y="509"/>
                      </a:lnTo>
                      <a:lnTo>
                        <a:pt x="258" y="509"/>
                      </a:lnTo>
                      <a:lnTo>
                        <a:pt x="258" y="509"/>
                      </a:lnTo>
                      <a:lnTo>
                        <a:pt x="258" y="509"/>
                      </a:lnTo>
                      <a:lnTo>
                        <a:pt x="258" y="509"/>
                      </a:lnTo>
                      <a:lnTo>
                        <a:pt x="254" y="509"/>
                      </a:lnTo>
                      <a:lnTo>
                        <a:pt x="253" y="510"/>
                      </a:lnTo>
                      <a:lnTo>
                        <a:pt x="252" y="510"/>
                      </a:lnTo>
                      <a:lnTo>
                        <a:pt x="252" y="509"/>
                      </a:lnTo>
                      <a:lnTo>
                        <a:pt x="251" y="509"/>
                      </a:lnTo>
                      <a:lnTo>
                        <a:pt x="250" y="509"/>
                      </a:lnTo>
                      <a:lnTo>
                        <a:pt x="250" y="510"/>
                      </a:lnTo>
                      <a:lnTo>
                        <a:pt x="250" y="509"/>
                      </a:lnTo>
                      <a:lnTo>
                        <a:pt x="249" y="510"/>
                      </a:lnTo>
                      <a:lnTo>
                        <a:pt x="250" y="510"/>
                      </a:lnTo>
                      <a:lnTo>
                        <a:pt x="249" y="510"/>
                      </a:lnTo>
                      <a:lnTo>
                        <a:pt x="249" y="511"/>
                      </a:lnTo>
                      <a:lnTo>
                        <a:pt x="248" y="511"/>
                      </a:lnTo>
                      <a:lnTo>
                        <a:pt x="248" y="513"/>
                      </a:lnTo>
                      <a:lnTo>
                        <a:pt x="247" y="514"/>
                      </a:lnTo>
                      <a:lnTo>
                        <a:pt x="247" y="515"/>
                      </a:lnTo>
                      <a:lnTo>
                        <a:pt x="247" y="516"/>
                      </a:lnTo>
                      <a:lnTo>
                        <a:pt x="247" y="517"/>
                      </a:lnTo>
                      <a:lnTo>
                        <a:pt x="247" y="517"/>
                      </a:lnTo>
                      <a:lnTo>
                        <a:pt x="247" y="519"/>
                      </a:lnTo>
                      <a:lnTo>
                        <a:pt x="247" y="519"/>
                      </a:lnTo>
                      <a:lnTo>
                        <a:pt x="247" y="520"/>
                      </a:lnTo>
                      <a:lnTo>
                        <a:pt x="246" y="521"/>
                      </a:lnTo>
                      <a:lnTo>
                        <a:pt x="246" y="522"/>
                      </a:lnTo>
                      <a:lnTo>
                        <a:pt x="246" y="522"/>
                      </a:lnTo>
                      <a:lnTo>
                        <a:pt x="246" y="523"/>
                      </a:lnTo>
                      <a:lnTo>
                        <a:pt x="246" y="524"/>
                      </a:lnTo>
                      <a:lnTo>
                        <a:pt x="244" y="525"/>
                      </a:lnTo>
                      <a:lnTo>
                        <a:pt x="241" y="525"/>
                      </a:lnTo>
                      <a:lnTo>
                        <a:pt x="241" y="526"/>
                      </a:lnTo>
                      <a:lnTo>
                        <a:pt x="240" y="526"/>
                      </a:lnTo>
                      <a:lnTo>
                        <a:pt x="240" y="528"/>
                      </a:lnTo>
                      <a:lnTo>
                        <a:pt x="240" y="528"/>
                      </a:lnTo>
                      <a:lnTo>
                        <a:pt x="235" y="528"/>
                      </a:lnTo>
                      <a:lnTo>
                        <a:pt x="231" y="530"/>
                      </a:lnTo>
                      <a:lnTo>
                        <a:pt x="226" y="529"/>
                      </a:lnTo>
                      <a:lnTo>
                        <a:pt x="220" y="523"/>
                      </a:lnTo>
                      <a:lnTo>
                        <a:pt x="210" y="525"/>
                      </a:lnTo>
                      <a:lnTo>
                        <a:pt x="200" y="520"/>
                      </a:lnTo>
                      <a:lnTo>
                        <a:pt x="200" y="520"/>
                      </a:lnTo>
                      <a:lnTo>
                        <a:pt x="199" y="518"/>
                      </a:lnTo>
                      <a:lnTo>
                        <a:pt x="199" y="516"/>
                      </a:lnTo>
                      <a:lnTo>
                        <a:pt x="204" y="512"/>
                      </a:lnTo>
                      <a:lnTo>
                        <a:pt x="205" y="505"/>
                      </a:lnTo>
                      <a:lnTo>
                        <a:pt x="211" y="506"/>
                      </a:lnTo>
                      <a:lnTo>
                        <a:pt x="213" y="501"/>
                      </a:lnTo>
                      <a:lnTo>
                        <a:pt x="224" y="497"/>
                      </a:lnTo>
                      <a:lnTo>
                        <a:pt x="220" y="490"/>
                      </a:lnTo>
                      <a:lnTo>
                        <a:pt x="219" y="484"/>
                      </a:lnTo>
                      <a:lnTo>
                        <a:pt x="214" y="483"/>
                      </a:lnTo>
                      <a:lnTo>
                        <a:pt x="211" y="479"/>
                      </a:lnTo>
                      <a:lnTo>
                        <a:pt x="206" y="472"/>
                      </a:lnTo>
                      <a:lnTo>
                        <a:pt x="205" y="468"/>
                      </a:lnTo>
                      <a:lnTo>
                        <a:pt x="202" y="468"/>
                      </a:lnTo>
                      <a:lnTo>
                        <a:pt x="192" y="471"/>
                      </a:lnTo>
                      <a:lnTo>
                        <a:pt x="178" y="472"/>
                      </a:lnTo>
                      <a:lnTo>
                        <a:pt x="174" y="476"/>
                      </a:lnTo>
                      <a:lnTo>
                        <a:pt x="172" y="477"/>
                      </a:lnTo>
                      <a:lnTo>
                        <a:pt x="160" y="470"/>
                      </a:lnTo>
                      <a:lnTo>
                        <a:pt x="158" y="464"/>
                      </a:lnTo>
                      <a:lnTo>
                        <a:pt x="154" y="461"/>
                      </a:lnTo>
                      <a:lnTo>
                        <a:pt x="151" y="460"/>
                      </a:lnTo>
                      <a:lnTo>
                        <a:pt x="152" y="455"/>
                      </a:lnTo>
                      <a:lnTo>
                        <a:pt x="151" y="451"/>
                      </a:lnTo>
                      <a:lnTo>
                        <a:pt x="122" y="447"/>
                      </a:lnTo>
                      <a:lnTo>
                        <a:pt x="120" y="451"/>
                      </a:lnTo>
                      <a:lnTo>
                        <a:pt x="117" y="454"/>
                      </a:lnTo>
                      <a:lnTo>
                        <a:pt x="111" y="456"/>
                      </a:lnTo>
                      <a:lnTo>
                        <a:pt x="108" y="458"/>
                      </a:lnTo>
                      <a:lnTo>
                        <a:pt x="106" y="454"/>
                      </a:lnTo>
                      <a:lnTo>
                        <a:pt x="104" y="453"/>
                      </a:lnTo>
                      <a:lnTo>
                        <a:pt x="102" y="454"/>
                      </a:lnTo>
                      <a:lnTo>
                        <a:pt x="100" y="462"/>
                      </a:lnTo>
                      <a:lnTo>
                        <a:pt x="86" y="466"/>
                      </a:lnTo>
                      <a:lnTo>
                        <a:pt x="75" y="473"/>
                      </a:lnTo>
                      <a:lnTo>
                        <a:pt x="63" y="472"/>
                      </a:lnTo>
                      <a:lnTo>
                        <a:pt x="56" y="474"/>
                      </a:lnTo>
                      <a:lnTo>
                        <a:pt x="54" y="472"/>
                      </a:lnTo>
                      <a:lnTo>
                        <a:pt x="52" y="472"/>
                      </a:lnTo>
                      <a:lnTo>
                        <a:pt x="51" y="478"/>
                      </a:lnTo>
                      <a:lnTo>
                        <a:pt x="49" y="480"/>
                      </a:lnTo>
                      <a:lnTo>
                        <a:pt x="49" y="480"/>
                      </a:lnTo>
                      <a:lnTo>
                        <a:pt x="44" y="475"/>
                      </a:lnTo>
                      <a:lnTo>
                        <a:pt x="43" y="469"/>
                      </a:lnTo>
                      <a:lnTo>
                        <a:pt x="43" y="463"/>
                      </a:lnTo>
                      <a:lnTo>
                        <a:pt x="48" y="454"/>
                      </a:lnTo>
                      <a:lnTo>
                        <a:pt x="49" y="451"/>
                      </a:lnTo>
                      <a:lnTo>
                        <a:pt x="47" y="450"/>
                      </a:lnTo>
                      <a:lnTo>
                        <a:pt x="40" y="452"/>
                      </a:lnTo>
                      <a:lnTo>
                        <a:pt x="40" y="445"/>
                      </a:lnTo>
                      <a:lnTo>
                        <a:pt x="38" y="440"/>
                      </a:lnTo>
                      <a:lnTo>
                        <a:pt x="38" y="438"/>
                      </a:lnTo>
                      <a:lnTo>
                        <a:pt x="43" y="434"/>
                      </a:lnTo>
                      <a:lnTo>
                        <a:pt x="43" y="432"/>
                      </a:lnTo>
                      <a:lnTo>
                        <a:pt x="40" y="430"/>
                      </a:lnTo>
                      <a:lnTo>
                        <a:pt x="35" y="433"/>
                      </a:lnTo>
                      <a:lnTo>
                        <a:pt x="30" y="426"/>
                      </a:lnTo>
                      <a:lnTo>
                        <a:pt x="20" y="426"/>
                      </a:lnTo>
                      <a:lnTo>
                        <a:pt x="14" y="423"/>
                      </a:lnTo>
                      <a:lnTo>
                        <a:pt x="11" y="419"/>
                      </a:lnTo>
                      <a:lnTo>
                        <a:pt x="12" y="414"/>
                      </a:lnTo>
                      <a:lnTo>
                        <a:pt x="10" y="411"/>
                      </a:lnTo>
                      <a:lnTo>
                        <a:pt x="7" y="407"/>
                      </a:lnTo>
                      <a:lnTo>
                        <a:pt x="4" y="406"/>
                      </a:lnTo>
                      <a:lnTo>
                        <a:pt x="0" y="400"/>
                      </a:lnTo>
                      <a:lnTo>
                        <a:pt x="3" y="393"/>
                      </a:lnTo>
                      <a:lnTo>
                        <a:pt x="6" y="393"/>
                      </a:lnTo>
                      <a:lnTo>
                        <a:pt x="11" y="395"/>
                      </a:lnTo>
                      <a:lnTo>
                        <a:pt x="12" y="397"/>
                      </a:lnTo>
                      <a:lnTo>
                        <a:pt x="11" y="400"/>
                      </a:lnTo>
                      <a:lnTo>
                        <a:pt x="15" y="406"/>
                      </a:lnTo>
                      <a:lnTo>
                        <a:pt x="25" y="406"/>
                      </a:lnTo>
                      <a:lnTo>
                        <a:pt x="32" y="409"/>
                      </a:lnTo>
                      <a:lnTo>
                        <a:pt x="37" y="402"/>
                      </a:lnTo>
                      <a:lnTo>
                        <a:pt x="41" y="403"/>
                      </a:lnTo>
                      <a:lnTo>
                        <a:pt x="41" y="400"/>
                      </a:lnTo>
                      <a:lnTo>
                        <a:pt x="38" y="396"/>
                      </a:lnTo>
                      <a:lnTo>
                        <a:pt x="35" y="391"/>
                      </a:lnTo>
                      <a:lnTo>
                        <a:pt x="27" y="382"/>
                      </a:lnTo>
                      <a:lnTo>
                        <a:pt x="22" y="383"/>
                      </a:lnTo>
                      <a:lnTo>
                        <a:pt x="14" y="376"/>
                      </a:lnTo>
                      <a:lnTo>
                        <a:pt x="8" y="374"/>
                      </a:lnTo>
                      <a:lnTo>
                        <a:pt x="12" y="363"/>
                      </a:lnTo>
                      <a:lnTo>
                        <a:pt x="18" y="355"/>
                      </a:lnTo>
                      <a:lnTo>
                        <a:pt x="15" y="345"/>
                      </a:lnTo>
                      <a:lnTo>
                        <a:pt x="19" y="340"/>
                      </a:lnTo>
                      <a:lnTo>
                        <a:pt x="20" y="332"/>
                      </a:lnTo>
                      <a:lnTo>
                        <a:pt x="19" y="329"/>
                      </a:lnTo>
                      <a:lnTo>
                        <a:pt x="15" y="328"/>
                      </a:lnTo>
                      <a:lnTo>
                        <a:pt x="18" y="322"/>
                      </a:lnTo>
                      <a:lnTo>
                        <a:pt x="24" y="320"/>
                      </a:lnTo>
                      <a:lnTo>
                        <a:pt x="23" y="317"/>
                      </a:lnTo>
                      <a:lnTo>
                        <a:pt x="24" y="316"/>
                      </a:lnTo>
                      <a:lnTo>
                        <a:pt x="33" y="308"/>
                      </a:lnTo>
                      <a:lnTo>
                        <a:pt x="30" y="301"/>
                      </a:lnTo>
                      <a:lnTo>
                        <a:pt x="20" y="291"/>
                      </a:lnTo>
                      <a:lnTo>
                        <a:pt x="23" y="282"/>
                      </a:lnTo>
                      <a:lnTo>
                        <a:pt x="15" y="276"/>
                      </a:lnTo>
                      <a:lnTo>
                        <a:pt x="15" y="276"/>
                      </a:lnTo>
                      <a:lnTo>
                        <a:pt x="19" y="267"/>
                      </a:lnTo>
                      <a:lnTo>
                        <a:pt x="19" y="260"/>
                      </a:lnTo>
                      <a:lnTo>
                        <a:pt x="18" y="255"/>
                      </a:lnTo>
                      <a:lnTo>
                        <a:pt x="18" y="253"/>
                      </a:lnTo>
                      <a:lnTo>
                        <a:pt x="29" y="250"/>
                      </a:lnTo>
                      <a:lnTo>
                        <a:pt x="32" y="251"/>
                      </a:lnTo>
                      <a:lnTo>
                        <a:pt x="36" y="256"/>
                      </a:lnTo>
                      <a:lnTo>
                        <a:pt x="40" y="257"/>
                      </a:lnTo>
                      <a:lnTo>
                        <a:pt x="42" y="256"/>
                      </a:lnTo>
                      <a:lnTo>
                        <a:pt x="43" y="252"/>
                      </a:lnTo>
                      <a:lnTo>
                        <a:pt x="43" y="245"/>
                      </a:lnTo>
                      <a:lnTo>
                        <a:pt x="47" y="238"/>
                      </a:lnTo>
                      <a:lnTo>
                        <a:pt x="57" y="235"/>
                      </a:lnTo>
                      <a:lnTo>
                        <a:pt x="56" y="230"/>
                      </a:lnTo>
                      <a:lnTo>
                        <a:pt x="51" y="222"/>
                      </a:lnTo>
                      <a:lnTo>
                        <a:pt x="51" y="216"/>
                      </a:lnTo>
                      <a:lnTo>
                        <a:pt x="64" y="210"/>
                      </a:lnTo>
                      <a:lnTo>
                        <a:pt x="66" y="206"/>
                      </a:lnTo>
                      <a:lnTo>
                        <a:pt x="73" y="200"/>
                      </a:lnTo>
                      <a:lnTo>
                        <a:pt x="82" y="188"/>
                      </a:lnTo>
                      <a:lnTo>
                        <a:pt x="83" y="185"/>
                      </a:lnTo>
                      <a:lnTo>
                        <a:pt x="80" y="173"/>
                      </a:lnTo>
                      <a:lnTo>
                        <a:pt x="68" y="166"/>
                      </a:lnTo>
                      <a:lnTo>
                        <a:pt x="70" y="156"/>
                      </a:lnTo>
                      <a:lnTo>
                        <a:pt x="66" y="152"/>
                      </a:lnTo>
                      <a:lnTo>
                        <a:pt x="67" y="147"/>
                      </a:lnTo>
                      <a:lnTo>
                        <a:pt x="56" y="148"/>
                      </a:lnTo>
                      <a:lnTo>
                        <a:pt x="53" y="146"/>
                      </a:lnTo>
                      <a:lnTo>
                        <a:pt x="55" y="132"/>
                      </a:lnTo>
                      <a:lnTo>
                        <a:pt x="53" y="127"/>
                      </a:lnTo>
                      <a:lnTo>
                        <a:pt x="50" y="122"/>
                      </a:lnTo>
                      <a:lnTo>
                        <a:pt x="55" y="120"/>
                      </a:lnTo>
                      <a:lnTo>
                        <a:pt x="62" y="122"/>
                      </a:lnTo>
                      <a:lnTo>
                        <a:pt x="69" y="122"/>
                      </a:lnTo>
                      <a:lnTo>
                        <a:pt x="87" y="113"/>
                      </a:lnTo>
                      <a:lnTo>
                        <a:pt x="99" y="118"/>
                      </a:lnTo>
                      <a:lnTo>
                        <a:pt x="112" y="115"/>
                      </a:lnTo>
                      <a:lnTo>
                        <a:pt x="115" y="120"/>
                      </a:lnTo>
                      <a:lnTo>
                        <a:pt x="120" y="119"/>
                      </a:lnTo>
                      <a:lnTo>
                        <a:pt x="124" y="121"/>
                      </a:lnTo>
                      <a:lnTo>
                        <a:pt x="132" y="117"/>
                      </a:lnTo>
                      <a:lnTo>
                        <a:pt x="137" y="118"/>
                      </a:lnTo>
                      <a:lnTo>
                        <a:pt x="143" y="115"/>
                      </a:lnTo>
                      <a:lnTo>
                        <a:pt x="153" y="118"/>
                      </a:lnTo>
                      <a:lnTo>
                        <a:pt x="160" y="118"/>
                      </a:lnTo>
                      <a:lnTo>
                        <a:pt x="163" y="115"/>
                      </a:lnTo>
                      <a:lnTo>
                        <a:pt x="165" y="111"/>
                      </a:lnTo>
                      <a:lnTo>
                        <a:pt x="164" y="100"/>
                      </a:lnTo>
                      <a:lnTo>
                        <a:pt x="166" y="99"/>
                      </a:lnTo>
                      <a:lnTo>
                        <a:pt x="174" y="98"/>
                      </a:lnTo>
                      <a:lnTo>
                        <a:pt x="185" y="92"/>
                      </a:lnTo>
                      <a:lnTo>
                        <a:pt x="190" y="92"/>
                      </a:lnTo>
                      <a:lnTo>
                        <a:pt x="195" y="93"/>
                      </a:lnTo>
                      <a:lnTo>
                        <a:pt x="212" y="81"/>
                      </a:lnTo>
                      <a:lnTo>
                        <a:pt x="213" y="79"/>
                      </a:lnTo>
                      <a:lnTo>
                        <a:pt x="209" y="74"/>
                      </a:lnTo>
                      <a:lnTo>
                        <a:pt x="215" y="58"/>
                      </a:lnTo>
                      <a:lnTo>
                        <a:pt x="215" y="58"/>
                      </a:lnTo>
                      <a:lnTo>
                        <a:pt x="216" y="58"/>
                      </a:lnTo>
                      <a:lnTo>
                        <a:pt x="217" y="59"/>
                      </a:lnTo>
                      <a:lnTo>
                        <a:pt x="219" y="59"/>
                      </a:lnTo>
                      <a:lnTo>
                        <a:pt x="219" y="59"/>
                      </a:lnTo>
                      <a:lnTo>
                        <a:pt x="220" y="59"/>
                      </a:lnTo>
                      <a:lnTo>
                        <a:pt x="222" y="59"/>
                      </a:lnTo>
                      <a:lnTo>
                        <a:pt x="223" y="59"/>
                      </a:lnTo>
                      <a:lnTo>
                        <a:pt x="223" y="59"/>
                      </a:lnTo>
                      <a:lnTo>
                        <a:pt x="224" y="59"/>
                      </a:lnTo>
                      <a:lnTo>
                        <a:pt x="224" y="60"/>
                      </a:lnTo>
                      <a:lnTo>
                        <a:pt x="224" y="60"/>
                      </a:lnTo>
                      <a:lnTo>
                        <a:pt x="224" y="60"/>
                      </a:lnTo>
                      <a:lnTo>
                        <a:pt x="223" y="60"/>
                      </a:lnTo>
                      <a:lnTo>
                        <a:pt x="222" y="60"/>
                      </a:lnTo>
                      <a:lnTo>
                        <a:pt x="222" y="61"/>
                      </a:lnTo>
                      <a:lnTo>
                        <a:pt x="222" y="61"/>
                      </a:lnTo>
                      <a:lnTo>
                        <a:pt x="224" y="62"/>
                      </a:lnTo>
                      <a:lnTo>
                        <a:pt x="225" y="62"/>
                      </a:lnTo>
                      <a:lnTo>
                        <a:pt x="225" y="63"/>
                      </a:lnTo>
                      <a:lnTo>
                        <a:pt x="226" y="64"/>
                      </a:lnTo>
                      <a:lnTo>
                        <a:pt x="227" y="64"/>
                      </a:lnTo>
                      <a:lnTo>
                        <a:pt x="228" y="64"/>
                      </a:lnTo>
                      <a:lnTo>
                        <a:pt x="228" y="63"/>
                      </a:lnTo>
                      <a:lnTo>
                        <a:pt x="229" y="62"/>
                      </a:lnTo>
                      <a:lnTo>
                        <a:pt x="229" y="62"/>
                      </a:lnTo>
                      <a:lnTo>
                        <a:pt x="229" y="61"/>
                      </a:lnTo>
                      <a:lnTo>
                        <a:pt x="230" y="62"/>
                      </a:lnTo>
                      <a:lnTo>
                        <a:pt x="230" y="62"/>
                      </a:lnTo>
                      <a:lnTo>
                        <a:pt x="230" y="62"/>
                      </a:lnTo>
                      <a:lnTo>
                        <a:pt x="231" y="62"/>
                      </a:lnTo>
                      <a:lnTo>
                        <a:pt x="231" y="61"/>
                      </a:lnTo>
                      <a:lnTo>
                        <a:pt x="232" y="60"/>
                      </a:lnTo>
                      <a:lnTo>
                        <a:pt x="232" y="59"/>
                      </a:lnTo>
                      <a:lnTo>
                        <a:pt x="233" y="58"/>
                      </a:lnTo>
                      <a:lnTo>
                        <a:pt x="234" y="58"/>
                      </a:lnTo>
                      <a:lnTo>
                        <a:pt x="235" y="57"/>
                      </a:lnTo>
                      <a:lnTo>
                        <a:pt x="235" y="57"/>
                      </a:lnTo>
                      <a:lnTo>
                        <a:pt x="235" y="57"/>
                      </a:lnTo>
                      <a:lnTo>
                        <a:pt x="235" y="56"/>
                      </a:lnTo>
                      <a:lnTo>
                        <a:pt x="236" y="56"/>
                      </a:lnTo>
                      <a:lnTo>
                        <a:pt x="236" y="55"/>
                      </a:lnTo>
                      <a:lnTo>
                        <a:pt x="237" y="55"/>
                      </a:lnTo>
                      <a:lnTo>
                        <a:pt x="237" y="54"/>
                      </a:lnTo>
                      <a:lnTo>
                        <a:pt x="238" y="54"/>
                      </a:lnTo>
                      <a:lnTo>
                        <a:pt x="239" y="53"/>
                      </a:lnTo>
                      <a:lnTo>
                        <a:pt x="240" y="52"/>
                      </a:lnTo>
                      <a:lnTo>
                        <a:pt x="243" y="52"/>
                      </a:lnTo>
                      <a:lnTo>
                        <a:pt x="243" y="52"/>
                      </a:lnTo>
                      <a:lnTo>
                        <a:pt x="244" y="50"/>
                      </a:lnTo>
                      <a:lnTo>
                        <a:pt x="246" y="50"/>
                      </a:lnTo>
                      <a:lnTo>
                        <a:pt x="247" y="50"/>
                      </a:lnTo>
                      <a:lnTo>
                        <a:pt x="247" y="50"/>
                      </a:lnTo>
                      <a:lnTo>
                        <a:pt x="248" y="49"/>
                      </a:lnTo>
                      <a:lnTo>
                        <a:pt x="248" y="46"/>
                      </a:lnTo>
                      <a:lnTo>
                        <a:pt x="248" y="45"/>
                      </a:lnTo>
                      <a:lnTo>
                        <a:pt x="248" y="44"/>
                      </a:lnTo>
                      <a:lnTo>
                        <a:pt x="248" y="44"/>
                      </a:lnTo>
                      <a:lnTo>
                        <a:pt x="248" y="43"/>
                      </a:lnTo>
                      <a:lnTo>
                        <a:pt x="247" y="42"/>
                      </a:lnTo>
                      <a:lnTo>
                        <a:pt x="248" y="42"/>
                      </a:lnTo>
                      <a:lnTo>
                        <a:pt x="248" y="40"/>
                      </a:lnTo>
                      <a:lnTo>
                        <a:pt x="249" y="38"/>
                      </a:lnTo>
                      <a:lnTo>
                        <a:pt x="249" y="36"/>
                      </a:lnTo>
                      <a:lnTo>
                        <a:pt x="250" y="36"/>
                      </a:lnTo>
                      <a:lnTo>
                        <a:pt x="251" y="34"/>
                      </a:lnTo>
                      <a:lnTo>
                        <a:pt x="252" y="32"/>
                      </a:lnTo>
                      <a:lnTo>
                        <a:pt x="252" y="31"/>
                      </a:lnTo>
                      <a:lnTo>
                        <a:pt x="253" y="30"/>
                      </a:lnTo>
                      <a:lnTo>
                        <a:pt x="253" y="30"/>
                      </a:lnTo>
                      <a:lnTo>
                        <a:pt x="253" y="29"/>
                      </a:lnTo>
                      <a:lnTo>
                        <a:pt x="253" y="27"/>
                      </a:lnTo>
                      <a:lnTo>
                        <a:pt x="254" y="25"/>
                      </a:lnTo>
                      <a:lnTo>
                        <a:pt x="254" y="23"/>
                      </a:lnTo>
                      <a:lnTo>
                        <a:pt x="255" y="21"/>
                      </a:lnTo>
                      <a:lnTo>
                        <a:pt x="255" y="20"/>
                      </a:lnTo>
                      <a:lnTo>
                        <a:pt x="256" y="18"/>
                      </a:lnTo>
                      <a:lnTo>
                        <a:pt x="256" y="16"/>
                      </a:lnTo>
                      <a:lnTo>
                        <a:pt x="257" y="15"/>
                      </a:lnTo>
                      <a:lnTo>
                        <a:pt x="258" y="13"/>
                      </a:lnTo>
                      <a:lnTo>
                        <a:pt x="258" y="12"/>
                      </a:lnTo>
                      <a:lnTo>
                        <a:pt x="260" y="11"/>
                      </a:lnTo>
                      <a:lnTo>
                        <a:pt x="260" y="11"/>
                      </a:lnTo>
                      <a:lnTo>
                        <a:pt x="260" y="9"/>
                      </a:lnTo>
                      <a:lnTo>
                        <a:pt x="261" y="8"/>
                      </a:lnTo>
                      <a:lnTo>
                        <a:pt x="263" y="6"/>
                      </a:lnTo>
                      <a:lnTo>
                        <a:pt x="264" y="6"/>
                      </a:lnTo>
                      <a:lnTo>
                        <a:pt x="265" y="5"/>
                      </a:lnTo>
                      <a:lnTo>
                        <a:pt x="267" y="4"/>
                      </a:lnTo>
                      <a:lnTo>
                        <a:pt x="267" y="5"/>
                      </a:lnTo>
                      <a:lnTo>
                        <a:pt x="265" y="5"/>
                      </a:lnTo>
                      <a:lnTo>
                        <a:pt x="266" y="5"/>
                      </a:lnTo>
                      <a:lnTo>
                        <a:pt x="267" y="5"/>
                      </a:lnTo>
                      <a:lnTo>
                        <a:pt x="267" y="5"/>
                      </a:lnTo>
                      <a:lnTo>
                        <a:pt x="268" y="5"/>
                      </a:lnTo>
                      <a:lnTo>
                        <a:pt x="268" y="4"/>
                      </a:lnTo>
                      <a:lnTo>
                        <a:pt x="270" y="4"/>
                      </a:lnTo>
                      <a:lnTo>
                        <a:pt x="271" y="5"/>
                      </a:lnTo>
                      <a:lnTo>
                        <a:pt x="272" y="5"/>
                      </a:lnTo>
                      <a:lnTo>
                        <a:pt x="273" y="5"/>
                      </a:lnTo>
                      <a:lnTo>
                        <a:pt x="273" y="6"/>
                      </a:lnTo>
                      <a:lnTo>
                        <a:pt x="274" y="6"/>
                      </a:lnTo>
                      <a:lnTo>
                        <a:pt x="274" y="6"/>
                      </a:lnTo>
                      <a:lnTo>
                        <a:pt x="274" y="6"/>
                      </a:lnTo>
                      <a:lnTo>
                        <a:pt x="276" y="5"/>
                      </a:lnTo>
                      <a:lnTo>
                        <a:pt x="277" y="5"/>
                      </a:lnTo>
                      <a:lnTo>
                        <a:pt x="277" y="5"/>
                      </a:lnTo>
                      <a:lnTo>
                        <a:pt x="277" y="4"/>
                      </a:lnTo>
                      <a:lnTo>
                        <a:pt x="279" y="4"/>
                      </a:lnTo>
                      <a:lnTo>
                        <a:pt x="280" y="5"/>
                      </a:lnTo>
                      <a:lnTo>
                        <a:pt x="281" y="5"/>
                      </a:lnTo>
                      <a:lnTo>
                        <a:pt x="283" y="5"/>
                      </a:lnTo>
                      <a:lnTo>
                        <a:pt x="284" y="5"/>
                      </a:lnTo>
                      <a:lnTo>
                        <a:pt x="285" y="5"/>
                      </a:lnTo>
                      <a:lnTo>
                        <a:pt x="287" y="5"/>
                      </a:lnTo>
                      <a:lnTo>
                        <a:pt x="287" y="5"/>
                      </a:lnTo>
                      <a:lnTo>
                        <a:pt x="287" y="5"/>
                      </a:lnTo>
                      <a:lnTo>
                        <a:pt x="288" y="5"/>
                      </a:lnTo>
                      <a:lnTo>
                        <a:pt x="291" y="4"/>
                      </a:lnTo>
                      <a:lnTo>
                        <a:pt x="291" y="3"/>
                      </a:lnTo>
                      <a:lnTo>
                        <a:pt x="291" y="3"/>
                      </a:lnTo>
                      <a:lnTo>
                        <a:pt x="292" y="4"/>
                      </a:lnTo>
                      <a:lnTo>
                        <a:pt x="294" y="3"/>
                      </a:lnTo>
                      <a:lnTo>
                        <a:pt x="296" y="4"/>
                      </a:lnTo>
                      <a:lnTo>
                        <a:pt x="296" y="5"/>
                      </a:lnTo>
                      <a:lnTo>
                        <a:pt x="295" y="6"/>
                      </a:lnTo>
                      <a:lnTo>
                        <a:pt x="295" y="6"/>
                      </a:lnTo>
                      <a:lnTo>
                        <a:pt x="295" y="6"/>
                      </a:lnTo>
                      <a:lnTo>
                        <a:pt x="294" y="7"/>
                      </a:lnTo>
                      <a:lnTo>
                        <a:pt x="294" y="7"/>
                      </a:lnTo>
                      <a:lnTo>
                        <a:pt x="295" y="7"/>
                      </a:lnTo>
                      <a:lnTo>
                        <a:pt x="296" y="6"/>
                      </a:lnTo>
                      <a:lnTo>
                        <a:pt x="296" y="6"/>
                      </a:lnTo>
                      <a:lnTo>
                        <a:pt x="297" y="5"/>
                      </a:lnTo>
                      <a:lnTo>
                        <a:pt x="297" y="5"/>
                      </a:lnTo>
                      <a:lnTo>
                        <a:pt x="298" y="5"/>
                      </a:lnTo>
                      <a:lnTo>
                        <a:pt x="299" y="4"/>
                      </a:lnTo>
                      <a:lnTo>
                        <a:pt x="299" y="3"/>
                      </a:lnTo>
                      <a:lnTo>
                        <a:pt x="301" y="3"/>
                      </a:lnTo>
                      <a:lnTo>
                        <a:pt x="299" y="3"/>
                      </a:lnTo>
                      <a:lnTo>
                        <a:pt x="298" y="3"/>
                      </a:lnTo>
                      <a:lnTo>
                        <a:pt x="298" y="4"/>
                      </a:lnTo>
                      <a:lnTo>
                        <a:pt x="297" y="4"/>
                      </a:lnTo>
                      <a:lnTo>
                        <a:pt x="296" y="4"/>
                      </a:lnTo>
                      <a:lnTo>
                        <a:pt x="296" y="4"/>
                      </a:lnTo>
                      <a:lnTo>
                        <a:pt x="297" y="4"/>
                      </a:lnTo>
                      <a:lnTo>
                        <a:pt x="297" y="1"/>
                      </a:lnTo>
                      <a:lnTo>
                        <a:pt x="296" y="1"/>
                      </a:lnTo>
                      <a:lnTo>
                        <a:pt x="295" y="2"/>
                      </a:lnTo>
                      <a:lnTo>
                        <a:pt x="295" y="2"/>
                      </a:lnTo>
                      <a:lnTo>
                        <a:pt x="294" y="2"/>
                      </a:lnTo>
                      <a:lnTo>
                        <a:pt x="293" y="3"/>
                      </a:lnTo>
                      <a:lnTo>
                        <a:pt x="292" y="2"/>
                      </a:lnTo>
                      <a:lnTo>
                        <a:pt x="292" y="0"/>
                      </a:lnTo>
                      <a:lnTo>
                        <a:pt x="295" y="0"/>
                      </a:lnTo>
                      <a:lnTo>
                        <a:pt x="300" y="0"/>
                      </a:lnTo>
                      <a:lnTo>
                        <a:pt x="300" y="0"/>
                      </a:lnTo>
                      <a:close/>
                    </a:path>
                  </a:pathLst>
                </a:custGeom>
                <a:grpFill/>
                <a:ln w="317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900" dirty="0"/>
                </a:p>
              </p:txBody>
            </p:sp>
            <p:sp>
              <p:nvSpPr>
                <p:cNvPr id="134" name="London" descr="{&quot;Key&quot;:&quot;london&quot;,&quot;Name&quot;:&quot;London&quot;,&quot;Value&quot;:1.0,&quot;Formula&quot;:&quot;&quot;,&quot;Text&quot;:&quot;1&quot;,&quot;HasValue&quot;:true}">
                  <a:extLst>
                    <a:ext uri="{FF2B5EF4-FFF2-40B4-BE49-F238E27FC236}">
                      <a16:creationId xmlns:a16="http://schemas.microsoft.com/office/drawing/2014/main" id="{76A46746-91B3-42AF-2596-6B695DB14D7C}"/>
                    </a:ext>
                  </a:extLst>
                </p:cNvPr>
                <p:cNvSpPr>
                  <a:spLocks/>
                </p:cNvSpPr>
                <p:nvPr/>
              </p:nvSpPr>
              <p:spPr bwMode="auto">
                <a:xfrm>
                  <a:off x="7386638" y="5535613"/>
                  <a:ext cx="279400" cy="219075"/>
                </a:xfrm>
                <a:custGeom>
                  <a:avLst/>
                  <a:gdLst>
                    <a:gd name="T0" fmla="*/ 3 w 176"/>
                    <a:gd name="T1" fmla="*/ 31 h 138"/>
                    <a:gd name="T2" fmla="*/ 6 w 176"/>
                    <a:gd name="T3" fmla="*/ 25 h 138"/>
                    <a:gd name="T4" fmla="*/ 15 w 176"/>
                    <a:gd name="T5" fmla="*/ 25 h 138"/>
                    <a:gd name="T6" fmla="*/ 38 w 176"/>
                    <a:gd name="T7" fmla="*/ 19 h 138"/>
                    <a:gd name="T8" fmla="*/ 54 w 176"/>
                    <a:gd name="T9" fmla="*/ 7 h 138"/>
                    <a:gd name="T10" fmla="*/ 57 w 176"/>
                    <a:gd name="T11" fmla="*/ 7 h 138"/>
                    <a:gd name="T12" fmla="*/ 63 w 176"/>
                    <a:gd name="T13" fmla="*/ 9 h 138"/>
                    <a:gd name="T14" fmla="*/ 72 w 176"/>
                    <a:gd name="T15" fmla="*/ 5 h 138"/>
                    <a:gd name="T16" fmla="*/ 103 w 176"/>
                    <a:gd name="T17" fmla="*/ 4 h 138"/>
                    <a:gd name="T18" fmla="*/ 103 w 176"/>
                    <a:gd name="T19" fmla="*/ 13 h 138"/>
                    <a:gd name="T20" fmla="*/ 110 w 176"/>
                    <a:gd name="T21" fmla="*/ 17 h 138"/>
                    <a:gd name="T22" fmla="*/ 124 w 176"/>
                    <a:gd name="T23" fmla="*/ 30 h 138"/>
                    <a:gd name="T24" fmla="*/ 129 w 176"/>
                    <a:gd name="T25" fmla="*/ 25 h 138"/>
                    <a:gd name="T26" fmla="*/ 154 w 176"/>
                    <a:gd name="T27" fmla="*/ 21 h 138"/>
                    <a:gd name="T28" fmla="*/ 159 w 176"/>
                    <a:gd name="T29" fmla="*/ 25 h 138"/>
                    <a:gd name="T30" fmla="*/ 166 w 176"/>
                    <a:gd name="T31" fmla="*/ 36 h 138"/>
                    <a:gd name="T32" fmla="*/ 172 w 176"/>
                    <a:gd name="T33" fmla="*/ 43 h 138"/>
                    <a:gd name="T34" fmla="*/ 165 w 176"/>
                    <a:gd name="T35" fmla="*/ 55 h 138"/>
                    <a:gd name="T36" fmla="*/ 157 w 176"/>
                    <a:gd name="T37" fmla="*/ 58 h 138"/>
                    <a:gd name="T38" fmla="*/ 151 w 176"/>
                    <a:gd name="T39" fmla="*/ 69 h 138"/>
                    <a:gd name="T40" fmla="*/ 152 w 176"/>
                    <a:gd name="T41" fmla="*/ 73 h 138"/>
                    <a:gd name="T42" fmla="*/ 150 w 176"/>
                    <a:gd name="T43" fmla="*/ 79 h 138"/>
                    <a:gd name="T44" fmla="*/ 139 w 176"/>
                    <a:gd name="T45" fmla="*/ 92 h 138"/>
                    <a:gd name="T46" fmla="*/ 138 w 176"/>
                    <a:gd name="T47" fmla="*/ 113 h 138"/>
                    <a:gd name="T48" fmla="*/ 131 w 176"/>
                    <a:gd name="T49" fmla="*/ 123 h 138"/>
                    <a:gd name="T50" fmla="*/ 126 w 176"/>
                    <a:gd name="T51" fmla="*/ 136 h 138"/>
                    <a:gd name="T52" fmla="*/ 117 w 176"/>
                    <a:gd name="T53" fmla="*/ 135 h 138"/>
                    <a:gd name="T54" fmla="*/ 110 w 176"/>
                    <a:gd name="T55" fmla="*/ 135 h 138"/>
                    <a:gd name="T56" fmla="*/ 105 w 176"/>
                    <a:gd name="T57" fmla="*/ 121 h 138"/>
                    <a:gd name="T58" fmla="*/ 96 w 176"/>
                    <a:gd name="T59" fmla="*/ 126 h 138"/>
                    <a:gd name="T60" fmla="*/ 88 w 176"/>
                    <a:gd name="T61" fmla="*/ 127 h 138"/>
                    <a:gd name="T62" fmla="*/ 78 w 176"/>
                    <a:gd name="T63" fmla="*/ 135 h 138"/>
                    <a:gd name="T64" fmla="*/ 68 w 176"/>
                    <a:gd name="T65" fmla="*/ 118 h 138"/>
                    <a:gd name="T66" fmla="*/ 59 w 176"/>
                    <a:gd name="T67" fmla="*/ 122 h 138"/>
                    <a:gd name="T68" fmla="*/ 55 w 176"/>
                    <a:gd name="T69" fmla="*/ 107 h 138"/>
                    <a:gd name="T70" fmla="*/ 43 w 176"/>
                    <a:gd name="T71" fmla="*/ 121 h 138"/>
                    <a:gd name="T72" fmla="*/ 39 w 176"/>
                    <a:gd name="T73" fmla="*/ 115 h 138"/>
                    <a:gd name="T74" fmla="*/ 40 w 176"/>
                    <a:gd name="T75" fmla="*/ 101 h 138"/>
                    <a:gd name="T76" fmla="*/ 33 w 176"/>
                    <a:gd name="T77" fmla="*/ 100 h 138"/>
                    <a:gd name="T78" fmla="*/ 21 w 176"/>
                    <a:gd name="T79" fmla="*/ 89 h 138"/>
                    <a:gd name="T80" fmla="*/ 13 w 176"/>
                    <a:gd name="T81" fmla="*/ 85 h 138"/>
                    <a:gd name="T82" fmla="*/ 5 w 176"/>
                    <a:gd name="T83" fmla="*/ 78 h 138"/>
                    <a:gd name="T84" fmla="*/ 3 w 176"/>
                    <a:gd name="T85" fmla="*/ 66 h 138"/>
                    <a:gd name="T86" fmla="*/ 1 w 176"/>
                    <a:gd name="T87" fmla="*/ 3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6" h="138">
                      <a:moveTo>
                        <a:pt x="1" y="33"/>
                      </a:moveTo>
                      <a:lnTo>
                        <a:pt x="3" y="31"/>
                      </a:lnTo>
                      <a:lnTo>
                        <a:pt x="4" y="25"/>
                      </a:lnTo>
                      <a:lnTo>
                        <a:pt x="6" y="25"/>
                      </a:lnTo>
                      <a:lnTo>
                        <a:pt x="8" y="27"/>
                      </a:lnTo>
                      <a:lnTo>
                        <a:pt x="15" y="25"/>
                      </a:lnTo>
                      <a:lnTo>
                        <a:pt x="27" y="26"/>
                      </a:lnTo>
                      <a:lnTo>
                        <a:pt x="38" y="19"/>
                      </a:lnTo>
                      <a:lnTo>
                        <a:pt x="52" y="15"/>
                      </a:lnTo>
                      <a:lnTo>
                        <a:pt x="54" y="7"/>
                      </a:lnTo>
                      <a:lnTo>
                        <a:pt x="56" y="6"/>
                      </a:lnTo>
                      <a:lnTo>
                        <a:pt x="57" y="7"/>
                      </a:lnTo>
                      <a:lnTo>
                        <a:pt x="60" y="12"/>
                      </a:lnTo>
                      <a:lnTo>
                        <a:pt x="63" y="9"/>
                      </a:lnTo>
                      <a:lnTo>
                        <a:pt x="69" y="8"/>
                      </a:lnTo>
                      <a:lnTo>
                        <a:pt x="72" y="5"/>
                      </a:lnTo>
                      <a:lnTo>
                        <a:pt x="74" y="0"/>
                      </a:lnTo>
                      <a:lnTo>
                        <a:pt x="103" y="4"/>
                      </a:lnTo>
                      <a:lnTo>
                        <a:pt x="104" y="8"/>
                      </a:lnTo>
                      <a:lnTo>
                        <a:pt x="103" y="13"/>
                      </a:lnTo>
                      <a:lnTo>
                        <a:pt x="105" y="14"/>
                      </a:lnTo>
                      <a:lnTo>
                        <a:pt x="110" y="17"/>
                      </a:lnTo>
                      <a:lnTo>
                        <a:pt x="112" y="24"/>
                      </a:lnTo>
                      <a:lnTo>
                        <a:pt x="124" y="30"/>
                      </a:lnTo>
                      <a:lnTo>
                        <a:pt x="126" y="30"/>
                      </a:lnTo>
                      <a:lnTo>
                        <a:pt x="129" y="25"/>
                      </a:lnTo>
                      <a:lnTo>
                        <a:pt x="144" y="24"/>
                      </a:lnTo>
                      <a:lnTo>
                        <a:pt x="154" y="21"/>
                      </a:lnTo>
                      <a:lnTo>
                        <a:pt x="157" y="21"/>
                      </a:lnTo>
                      <a:lnTo>
                        <a:pt x="159" y="25"/>
                      </a:lnTo>
                      <a:lnTo>
                        <a:pt x="163" y="33"/>
                      </a:lnTo>
                      <a:lnTo>
                        <a:pt x="166" y="36"/>
                      </a:lnTo>
                      <a:lnTo>
                        <a:pt x="171" y="37"/>
                      </a:lnTo>
                      <a:lnTo>
                        <a:pt x="172" y="43"/>
                      </a:lnTo>
                      <a:lnTo>
                        <a:pt x="176" y="50"/>
                      </a:lnTo>
                      <a:lnTo>
                        <a:pt x="165" y="55"/>
                      </a:lnTo>
                      <a:lnTo>
                        <a:pt x="163" y="59"/>
                      </a:lnTo>
                      <a:lnTo>
                        <a:pt x="157" y="58"/>
                      </a:lnTo>
                      <a:lnTo>
                        <a:pt x="156" y="65"/>
                      </a:lnTo>
                      <a:lnTo>
                        <a:pt x="151" y="69"/>
                      </a:lnTo>
                      <a:lnTo>
                        <a:pt x="151" y="72"/>
                      </a:lnTo>
                      <a:lnTo>
                        <a:pt x="152" y="73"/>
                      </a:lnTo>
                      <a:lnTo>
                        <a:pt x="152" y="73"/>
                      </a:lnTo>
                      <a:lnTo>
                        <a:pt x="150" y="79"/>
                      </a:lnTo>
                      <a:lnTo>
                        <a:pt x="144" y="85"/>
                      </a:lnTo>
                      <a:lnTo>
                        <a:pt x="139" y="92"/>
                      </a:lnTo>
                      <a:lnTo>
                        <a:pt x="141" y="102"/>
                      </a:lnTo>
                      <a:lnTo>
                        <a:pt x="138" y="113"/>
                      </a:lnTo>
                      <a:lnTo>
                        <a:pt x="133" y="117"/>
                      </a:lnTo>
                      <a:lnTo>
                        <a:pt x="131" y="123"/>
                      </a:lnTo>
                      <a:lnTo>
                        <a:pt x="126" y="127"/>
                      </a:lnTo>
                      <a:lnTo>
                        <a:pt x="126" y="136"/>
                      </a:lnTo>
                      <a:lnTo>
                        <a:pt x="120" y="138"/>
                      </a:lnTo>
                      <a:lnTo>
                        <a:pt x="117" y="135"/>
                      </a:lnTo>
                      <a:lnTo>
                        <a:pt x="115" y="134"/>
                      </a:lnTo>
                      <a:lnTo>
                        <a:pt x="110" y="135"/>
                      </a:lnTo>
                      <a:lnTo>
                        <a:pt x="109" y="125"/>
                      </a:lnTo>
                      <a:lnTo>
                        <a:pt x="105" y="121"/>
                      </a:lnTo>
                      <a:lnTo>
                        <a:pt x="100" y="121"/>
                      </a:lnTo>
                      <a:lnTo>
                        <a:pt x="96" y="126"/>
                      </a:lnTo>
                      <a:lnTo>
                        <a:pt x="92" y="126"/>
                      </a:lnTo>
                      <a:lnTo>
                        <a:pt x="88" y="127"/>
                      </a:lnTo>
                      <a:lnTo>
                        <a:pt x="83" y="134"/>
                      </a:lnTo>
                      <a:lnTo>
                        <a:pt x="78" y="135"/>
                      </a:lnTo>
                      <a:lnTo>
                        <a:pt x="73" y="130"/>
                      </a:lnTo>
                      <a:lnTo>
                        <a:pt x="68" y="118"/>
                      </a:lnTo>
                      <a:lnTo>
                        <a:pt x="66" y="118"/>
                      </a:lnTo>
                      <a:lnTo>
                        <a:pt x="59" y="122"/>
                      </a:lnTo>
                      <a:lnTo>
                        <a:pt x="60" y="114"/>
                      </a:lnTo>
                      <a:lnTo>
                        <a:pt x="55" y="107"/>
                      </a:lnTo>
                      <a:lnTo>
                        <a:pt x="49" y="111"/>
                      </a:lnTo>
                      <a:lnTo>
                        <a:pt x="43" y="121"/>
                      </a:lnTo>
                      <a:lnTo>
                        <a:pt x="39" y="123"/>
                      </a:lnTo>
                      <a:lnTo>
                        <a:pt x="39" y="115"/>
                      </a:lnTo>
                      <a:lnTo>
                        <a:pt x="42" y="108"/>
                      </a:lnTo>
                      <a:lnTo>
                        <a:pt x="40" y="101"/>
                      </a:lnTo>
                      <a:lnTo>
                        <a:pt x="37" y="100"/>
                      </a:lnTo>
                      <a:lnTo>
                        <a:pt x="33" y="100"/>
                      </a:lnTo>
                      <a:lnTo>
                        <a:pt x="27" y="96"/>
                      </a:lnTo>
                      <a:lnTo>
                        <a:pt x="21" y="89"/>
                      </a:lnTo>
                      <a:lnTo>
                        <a:pt x="15" y="87"/>
                      </a:lnTo>
                      <a:lnTo>
                        <a:pt x="13" y="85"/>
                      </a:lnTo>
                      <a:lnTo>
                        <a:pt x="13" y="80"/>
                      </a:lnTo>
                      <a:lnTo>
                        <a:pt x="5" y="78"/>
                      </a:lnTo>
                      <a:lnTo>
                        <a:pt x="0" y="72"/>
                      </a:lnTo>
                      <a:lnTo>
                        <a:pt x="3" y="66"/>
                      </a:lnTo>
                      <a:lnTo>
                        <a:pt x="6" y="47"/>
                      </a:lnTo>
                      <a:lnTo>
                        <a:pt x="1" y="33"/>
                      </a:lnTo>
                      <a:close/>
                    </a:path>
                  </a:pathLst>
                </a:custGeom>
                <a:grpFill/>
                <a:ln w="317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900" dirty="0"/>
                </a:p>
              </p:txBody>
            </p:sp>
            <p:sp>
              <p:nvSpPr>
                <p:cNvPr id="135" name="South East" descr="{&quot;Key&quot;:&quot;south east&quot;,&quot;Name&quot;:&quot;South East&quot;,&quot;Value&quot;:1.0,&quot;Formula&quot;:&quot;&quot;,&quot;Text&quot;:&quot;1&quot;,&quot;HasValue&quot;:true}">
                  <a:extLst>
                    <a:ext uri="{FF2B5EF4-FFF2-40B4-BE49-F238E27FC236}">
                      <a16:creationId xmlns:a16="http://schemas.microsoft.com/office/drawing/2014/main" id="{DA208377-EF6D-B523-98AE-533F11519F4B}"/>
                    </a:ext>
                  </a:extLst>
                </p:cNvPr>
                <p:cNvSpPr>
                  <a:spLocks noEditPoints="1"/>
                </p:cNvSpPr>
                <p:nvPr/>
              </p:nvSpPr>
              <p:spPr bwMode="auto">
                <a:xfrm>
                  <a:off x="6900863" y="5264150"/>
                  <a:ext cx="1136650" cy="863600"/>
                </a:xfrm>
                <a:custGeom>
                  <a:avLst/>
                  <a:gdLst>
                    <a:gd name="T0" fmla="*/ 140 w 716"/>
                    <a:gd name="T1" fmla="*/ 482 h 544"/>
                    <a:gd name="T2" fmla="*/ 172 w 716"/>
                    <a:gd name="T3" fmla="*/ 494 h 544"/>
                    <a:gd name="T4" fmla="*/ 182 w 716"/>
                    <a:gd name="T5" fmla="*/ 511 h 544"/>
                    <a:gd name="T6" fmla="*/ 157 w 716"/>
                    <a:gd name="T7" fmla="*/ 538 h 544"/>
                    <a:gd name="T8" fmla="*/ 116 w 716"/>
                    <a:gd name="T9" fmla="*/ 525 h 544"/>
                    <a:gd name="T10" fmla="*/ 77 w 716"/>
                    <a:gd name="T11" fmla="*/ 515 h 544"/>
                    <a:gd name="T12" fmla="*/ 115 w 716"/>
                    <a:gd name="T13" fmla="*/ 498 h 544"/>
                    <a:gd name="T14" fmla="*/ 222 w 716"/>
                    <a:gd name="T15" fmla="*/ 463 h 544"/>
                    <a:gd name="T16" fmla="*/ 210 w 716"/>
                    <a:gd name="T17" fmla="*/ 471 h 544"/>
                    <a:gd name="T18" fmla="*/ 196 w 716"/>
                    <a:gd name="T19" fmla="*/ 474 h 544"/>
                    <a:gd name="T20" fmla="*/ 575 w 716"/>
                    <a:gd name="T21" fmla="*/ 255 h 544"/>
                    <a:gd name="T22" fmla="*/ 607 w 716"/>
                    <a:gd name="T23" fmla="*/ 282 h 544"/>
                    <a:gd name="T24" fmla="*/ 572 w 716"/>
                    <a:gd name="T25" fmla="*/ 274 h 544"/>
                    <a:gd name="T26" fmla="*/ 568 w 716"/>
                    <a:gd name="T27" fmla="*/ 253 h 544"/>
                    <a:gd name="T28" fmla="*/ 293 w 716"/>
                    <a:gd name="T29" fmla="*/ 157 h 544"/>
                    <a:gd name="T30" fmla="*/ 406 w 716"/>
                    <a:gd name="T31" fmla="*/ 292 h 544"/>
                    <a:gd name="T32" fmla="*/ 508 w 716"/>
                    <a:gd name="T33" fmla="*/ 247 h 544"/>
                    <a:gd name="T34" fmla="*/ 543 w 716"/>
                    <a:gd name="T35" fmla="*/ 244 h 544"/>
                    <a:gd name="T36" fmla="*/ 553 w 716"/>
                    <a:gd name="T37" fmla="*/ 255 h 544"/>
                    <a:gd name="T38" fmla="*/ 541 w 716"/>
                    <a:gd name="T39" fmla="*/ 259 h 544"/>
                    <a:gd name="T40" fmla="*/ 524 w 716"/>
                    <a:gd name="T41" fmla="*/ 266 h 544"/>
                    <a:gd name="T42" fmla="*/ 543 w 716"/>
                    <a:gd name="T43" fmla="*/ 275 h 544"/>
                    <a:gd name="T44" fmla="*/ 553 w 716"/>
                    <a:gd name="T45" fmla="*/ 277 h 544"/>
                    <a:gd name="T46" fmla="*/ 559 w 716"/>
                    <a:gd name="T47" fmla="*/ 270 h 544"/>
                    <a:gd name="T48" fmla="*/ 572 w 716"/>
                    <a:gd name="T49" fmla="*/ 281 h 544"/>
                    <a:gd name="T50" fmla="*/ 604 w 716"/>
                    <a:gd name="T51" fmla="*/ 288 h 544"/>
                    <a:gd name="T52" fmla="*/ 663 w 716"/>
                    <a:gd name="T53" fmla="*/ 276 h 544"/>
                    <a:gd name="T54" fmla="*/ 712 w 716"/>
                    <a:gd name="T55" fmla="*/ 271 h 544"/>
                    <a:gd name="T56" fmla="*/ 707 w 716"/>
                    <a:gd name="T57" fmla="*/ 294 h 544"/>
                    <a:gd name="T58" fmla="*/ 701 w 716"/>
                    <a:gd name="T59" fmla="*/ 357 h 544"/>
                    <a:gd name="T60" fmla="*/ 668 w 716"/>
                    <a:gd name="T61" fmla="*/ 370 h 544"/>
                    <a:gd name="T62" fmla="*/ 620 w 716"/>
                    <a:gd name="T63" fmla="*/ 397 h 544"/>
                    <a:gd name="T64" fmla="*/ 579 w 716"/>
                    <a:gd name="T65" fmla="*/ 426 h 544"/>
                    <a:gd name="T66" fmla="*/ 537 w 716"/>
                    <a:gd name="T67" fmla="*/ 451 h 544"/>
                    <a:gd name="T68" fmla="*/ 476 w 716"/>
                    <a:gd name="T69" fmla="*/ 477 h 544"/>
                    <a:gd name="T70" fmla="*/ 418 w 716"/>
                    <a:gd name="T71" fmla="*/ 476 h 544"/>
                    <a:gd name="T72" fmla="*/ 342 w 716"/>
                    <a:gd name="T73" fmla="*/ 464 h 544"/>
                    <a:gd name="T74" fmla="*/ 271 w 716"/>
                    <a:gd name="T75" fmla="*/ 475 h 544"/>
                    <a:gd name="T76" fmla="*/ 220 w 716"/>
                    <a:gd name="T77" fmla="*/ 475 h 544"/>
                    <a:gd name="T78" fmla="*/ 238 w 716"/>
                    <a:gd name="T79" fmla="*/ 463 h 544"/>
                    <a:gd name="T80" fmla="*/ 223 w 716"/>
                    <a:gd name="T81" fmla="*/ 466 h 544"/>
                    <a:gd name="T82" fmla="*/ 219 w 716"/>
                    <a:gd name="T83" fmla="*/ 469 h 544"/>
                    <a:gd name="T84" fmla="*/ 208 w 716"/>
                    <a:gd name="T85" fmla="*/ 457 h 544"/>
                    <a:gd name="T86" fmla="*/ 193 w 716"/>
                    <a:gd name="T87" fmla="*/ 460 h 544"/>
                    <a:gd name="T88" fmla="*/ 179 w 716"/>
                    <a:gd name="T89" fmla="*/ 474 h 544"/>
                    <a:gd name="T90" fmla="*/ 180 w 716"/>
                    <a:gd name="T91" fmla="*/ 460 h 544"/>
                    <a:gd name="T92" fmla="*/ 169 w 716"/>
                    <a:gd name="T93" fmla="*/ 458 h 544"/>
                    <a:gd name="T94" fmla="*/ 162 w 716"/>
                    <a:gd name="T95" fmla="*/ 474 h 544"/>
                    <a:gd name="T96" fmla="*/ 132 w 716"/>
                    <a:gd name="T97" fmla="*/ 453 h 544"/>
                    <a:gd name="T98" fmla="*/ 118 w 716"/>
                    <a:gd name="T99" fmla="*/ 431 h 544"/>
                    <a:gd name="T100" fmla="*/ 104 w 716"/>
                    <a:gd name="T101" fmla="*/ 435 h 544"/>
                    <a:gd name="T102" fmla="*/ 116 w 716"/>
                    <a:gd name="T103" fmla="*/ 445 h 544"/>
                    <a:gd name="T104" fmla="*/ 131 w 716"/>
                    <a:gd name="T105" fmla="*/ 460 h 544"/>
                    <a:gd name="T106" fmla="*/ 120 w 716"/>
                    <a:gd name="T107" fmla="*/ 475 h 544"/>
                    <a:gd name="T108" fmla="*/ 109 w 716"/>
                    <a:gd name="T109" fmla="*/ 467 h 544"/>
                    <a:gd name="T110" fmla="*/ 99 w 716"/>
                    <a:gd name="T111" fmla="*/ 483 h 544"/>
                    <a:gd name="T112" fmla="*/ 89 w 716"/>
                    <a:gd name="T113" fmla="*/ 484 h 544"/>
                    <a:gd name="T114" fmla="*/ 82 w 716"/>
                    <a:gd name="T115" fmla="*/ 497 h 544"/>
                    <a:gd name="T116" fmla="*/ 65 w 716"/>
                    <a:gd name="T117" fmla="*/ 493 h 544"/>
                    <a:gd name="T118" fmla="*/ 73 w 716"/>
                    <a:gd name="T119" fmla="*/ 394 h 544"/>
                    <a:gd name="T120" fmla="*/ 64 w 716"/>
                    <a:gd name="T121" fmla="*/ 176 h 544"/>
                    <a:gd name="T122" fmla="*/ 143 w 716"/>
                    <a:gd name="T123" fmla="*/ 35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6" h="544">
                      <a:moveTo>
                        <a:pt x="137" y="480"/>
                      </a:moveTo>
                      <a:lnTo>
                        <a:pt x="138" y="481"/>
                      </a:lnTo>
                      <a:lnTo>
                        <a:pt x="139" y="481"/>
                      </a:lnTo>
                      <a:lnTo>
                        <a:pt x="139" y="482"/>
                      </a:lnTo>
                      <a:lnTo>
                        <a:pt x="139" y="482"/>
                      </a:lnTo>
                      <a:lnTo>
                        <a:pt x="139" y="483"/>
                      </a:lnTo>
                      <a:lnTo>
                        <a:pt x="139" y="484"/>
                      </a:lnTo>
                      <a:lnTo>
                        <a:pt x="139" y="486"/>
                      </a:lnTo>
                      <a:lnTo>
                        <a:pt x="140" y="486"/>
                      </a:lnTo>
                      <a:lnTo>
                        <a:pt x="140" y="488"/>
                      </a:lnTo>
                      <a:lnTo>
                        <a:pt x="140" y="488"/>
                      </a:lnTo>
                      <a:lnTo>
                        <a:pt x="140" y="489"/>
                      </a:lnTo>
                      <a:lnTo>
                        <a:pt x="141" y="489"/>
                      </a:lnTo>
                      <a:lnTo>
                        <a:pt x="141" y="490"/>
                      </a:lnTo>
                      <a:lnTo>
                        <a:pt x="141" y="491"/>
                      </a:lnTo>
                      <a:lnTo>
                        <a:pt x="142" y="493"/>
                      </a:lnTo>
                      <a:lnTo>
                        <a:pt x="142" y="493"/>
                      </a:lnTo>
                      <a:lnTo>
                        <a:pt x="141" y="494"/>
                      </a:lnTo>
                      <a:lnTo>
                        <a:pt x="141" y="495"/>
                      </a:lnTo>
                      <a:lnTo>
                        <a:pt x="141" y="496"/>
                      </a:lnTo>
                      <a:lnTo>
                        <a:pt x="141" y="497"/>
                      </a:lnTo>
                      <a:lnTo>
                        <a:pt x="141" y="497"/>
                      </a:lnTo>
                      <a:lnTo>
                        <a:pt x="140" y="498"/>
                      </a:lnTo>
                      <a:lnTo>
                        <a:pt x="140" y="499"/>
                      </a:lnTo>
                      <a:lnTo>
                        <a:pt x="140" y="499"/>
                      </a:lnTo>
                      <a:lnTo>
                        <a:pt x="140" y="499"/>
                      </a:lnTo>
                      <a:lnTo>
                        <a:pt x="140" y="499"/>
                      </a:lnTo>
                      <a:lnTo>
                        <a:pt x="141" y="498"/>
                      </a:lnTo>
                      <a:lnTo>
                        <a:pt x="141" y="497"/>
                      </a:lnTo>
                      <a:lnTo>
                        <a:pt x="142" y="495"/>
                      </a:lnTo>
                      <a:lnTo>
                        <a:pt x="142" y="495"/>
                      </a:lnTo>
                      <a:lnTo>
                        <a:pt x="142" y="494"/>
                      </a:lnTo>
                      <a:lnTo>
                        <a:pt x="142" y="493"/>
                      </a:lnTo>
                      <a:lnTo>
                        <a:pt x="142" y="491"/>
                      </a:lnTo>
                      <a:lnTo>
                        <a:pt x="141" y="491"/>
                      </a:lnTo>
                      <a:lnTo>
                        <a:pt x="141" y="490"/>
                      </a:lnTo>
                      <a:lnTo>
                        <a:pt x="141" y="489"/>
                      </a:lnTo>
                      <a:lnTo>
                        <a:pt x="141" y="488"/>
                      </a:lnTo>
                      <a:lnTo>
                        <a:pt x="140" y="487"/>
                      </a:lnTo>
                      <a:lnTo>
                        <a:pt x="140" y="486"/>
                      </a:lnTo>
                      <a:lnTo>
                        <a:pt x="140" y="486"/>
                      </a:lnTo>
                      <a:lnTo>
                        <a:pt x="140" y="485"/>
                      </a:lnTo>
                      <a:lnTo>
                        <a:pt x="140" y="484"/>
                      </a:lnTo>
                      <a:lnTo>
                        <a:pt x="140" y="482"/>
                      </a:lnTo>
                      <a:lnTo>
                        <a:pt x="140" y="482"/>
                      </a:lnTo>
                      <a:lnTo>
                        <a:pt x="140" y="482"/>
                      </a:lnTo>
                      <a:lnTo>
                        <a:pt x="141" y="481"/>
                      </a:lnTo>
                      <a:lnTo>
                        <a:pt x="142" y="480"/>
                      </a:lnTo>
                      <a:lnTo>
                        <a:pt x="143" y="480"/>
                      </a:lnTo>
                      <a:lnTo>
                        <a:pt x="145" y="481"/>
                      </a:lnTo>
                      <a:lnTo>
                        <a:pt x="145" y="482"/>
                      </a:lnTo>
                      <a:lnTo>
                        <a:pt x="146" y="483"/>
                      </a:lnTo>
                      <a:lnTo>
                        <a:pt x="147" y="483"/>
                      </a:lnTo>
                      <a:lnTo>
                        <a:pt x="147" y="484"/>
                      </a:lnTo>
                      <a:lnTo>
                        <a:pt x="149" y="485"/>
                      </a:lnTo>
                      <a:lnTo>
                        <a:pt x="149" y="486"/>
                      </a:lnTo>
                      <a:lnTo>
                        <a:pt x="150" y="487"/>
                      </a:lnTo>
                      <a:lnTo>
                        <a:pt x="150" y="488"/>
                      </a:lnTo>
                      <a:lnTo>
                        <a:pt x="152" y="488"/>
                      </a:lnTo>
                      <a:lnTo>
                        <a:pt x="153" y="488"/>
                      </a:lnTo>
                      <a:lnTo>
                        <a:pt x="153" y="488"/>
                      </a:lnTo>
                      <a:lnTo>
                        <a:pt x="154" y="489"/>
                      </a:lnTo>
                      <a:lnTo>
                        <a:pt x="155" y="489"/>
                      </a:lnTo>
                      <a:lnTo>
                        <a:pt x="156" y="490"/>
                      </a:lnTo>
                      <a:lnTo>
                        <a:pt x="155" y="491"/>
                      </a:lnTo>
                      <a:lnTo>
                        <a:pt x="158" y="490"/>
                      </a:lnTo>
                      <a:lnTo>
                        <a:pt x="158" y="491"/>
                      </a:lnTo>
                      <a:lnTo>
                        <a:pt x="159" y="491"/>
                      </a:lnTo>
                      <a:lnTo>
                        <a:pt x="160" y="491"/>
                      </a:lnTo>
                      <a:lnTo>
                        <a:pt x="162" y="491"/>
                      </a:lnTo>
                      <a:lnTo>
                        <a:pt x="163" y="491"/>
                      </a:lnTo>
                      <a:lnTo>
                        <a:pt x="166" y="491"/>
                      </a:lnTo>
                      <a:lnTo>
                        <a:pt x="167" y="491"/>
                      </a:lnTo>
                      <a:lnTo>
                        <a:pt x="167" y="491"/>
                      </a:lnTo>
                      <a:lnTo>
                        <a:pt x="167" y="490"/>
                      </a:lnTo>
                      <a:lnTo>
                        <a:pt x="167" y="490"/>
                      </a:lnTo>
                      <a:lnTo>
                        <a:pt x="167" y="490"/>
                      </a:lnTo>
                      <a:lnTo>
                        <a:pt x="167" y="489"/>
                      </a:lnTo>
                      <a:lnTo>
                        <a:pt x="168" y="489"/>
                      </a:lnTo>
                      <a:lnTo>
                        <a:pt x="168" y="491"/>
                      </a:lnTo>
                      <a:lnTo>
                        <a:pt x="168" y="491"/>
                      </a:lnTo>
                      <a:lnTo>
                        <a:pt x="169" y="491"/>
                      </a:lnTo>
                      <a:lnTo>
                        <a:pt x="169" y="493"/>
                      </a:lnTo>
                      <a:lnTo>
                        <a:pt x="170" y="493"/>
                      </a:lnTo>
                      <a:lnTo>
                        <a:pt x="170" y="493"/>
                      </a:lnTo>
                      <a:lnTo>
                        <a:pt x="171" y="493"/>
                      </a:lnTo>
                      <a:lnTo>
                        <a:pt x="171" y="494"/>
                      </a:lnTo>
                      <a:lnTo>
                        <a:pt x="172" y="494"/>
                      </a:lnTo>
                      <a:lnTo>
                        <a:pt x="174" y="494"/>
                      </a:lnTo>
                      <a:lnTo>
                        <a:pt x="174" y="494"/>
                      </a:lnTo>
                      <a:lnTo>
                        <a:pt x="175" y="495"/>
                      </a:lnTo>
                      <a:lnTo>
                        <a:pt x="175" y="495"/>
                      </a:lnTo>
                      <a:lnTo>
                        <a:pt x="177" y="496"/>
                      </a:lnTo>
                      <a:lnTo>
                        <a:pt x="178" y="496"/>
                      </a:lnTo>
                      <a:lnTo>
                        <a:pt x="179" y="496"/>
                      </a:lnTo>
                      <a:lnTo>
                        <a:pt x="178" y="497"/>
                      </a:lnTo>
                      <a:lnTo>
                        <a:pt x="179" y="497"/>
                      </a:lnTo>
                      <a:lnTo>
                        <a:pt x="179" y="499"/>
                      </a:lnTo>
                      <a:lnTo>
                        <a:pt x="180" y="499"/>
                      </a:lnTo>
                      <a:lnTo>
                        <a:pt x="180" y="500"/>
                      </a:lnTo>
                      <a:lnTo>
                        <a:pt x="181" y="501"/>
                      </a:lnTo>
                      <a:lnTo>
                        <a:pt x="181" y="502"/>
                      </a:lnTo>
                      <a:lnTo>
                        <a:pt x="180" y="502"/>
                      </a:lnTo>
                      <a:lnTo>
                        <a:pt x="180" y="504"/>
                      </a:lnTo>
                      <a:lnTo>
                        <a:pt x="181" y="504"/>
                      </a:lnTo>
                      <a:lnTo>
                        <a:pt x="181" y="504"/>
                      </a:lnTo>
                      <a:lnTo>
                        <a:pt x="181" y="505"/>
                      </a:lnTo>
                      <a:lnTo>
                        <a:pt x="180" y="505"/>
                      </a:lnTo>
                      <a:lnTo>
                        <a:pt x="180" y="504"/>
                      </a:lnTo>
                      <a:lnTo>
                        <a:pt x="180" y="504"/>
                      </a:lnTo>
                      <a:lnTo>
                        <a:pt x="179" y="504"/>
                      </a:lnTo>
                      <a:lnTo>
                        <a:pt x="179" y="504"/>
                      </a:lnTo>
                      <a:lnTo>
                        <a:pt x="179" y="505"/>
                      </a:lnTo>
                      <a:lnTo>
                        <a:pt x="180" y="505"/>
                      </a:lnTo>
                      <a:lnTo>
                        <a:pt x="180" y="506"/>
                      </a:lnTo>
                      <a:lnTo>
                        <a:pt x="181" y="506"/>
                      </a:lnTo>
                      <a:lnTo>
                        <a:pt x="181" y="506"/>
                      </a:lnTo>
                      <a:lnTo>
                        <a:pt x="181" y="505"/>
                      </a:lnTo>
                      <a:lnTo>
                        <a:pt x="181" y="505"/>
                      </a:lnTo>
                      <a:lnTo>
                        <a:pt x="181" y="505"/>
                      </a:lnTo>
                      <a:lnTo>
                        <a:pt x="181" y="504"/>
                      </a:lnTo>
                      <a:lnTo>
                        <a:pt x="182" y="504"/>
                      </a:lnTo>
                      <a:lnTo>
                        <a:pt x="184" y="505"/>
                      </a:lnTo>
                      <a:lnTo>
                        <a:pt x="185" y="506"/>
                      </a:lnTo>
                      <a:lnTo>
                        <a:pt x="186" y="507"/>
                      </a:lnTo>
                      <a:lnTo>
                        <a:pt x="186" y="507"/>
                      </a:lnTo>
                      <a:lnTo>
                        <a:pt x="186" y="507"/>
                      </a:lnTo>
                      <a:lnTo>
                        <a:pt x="186" y="508"/>
                      </a:lnTo>
                      <a:lnTo>
                        <a:pt x="183" y="510"/>
                      </a:lnTo>
                      <a:lnTo>
                        <a:pt x="183" y="510"/>
                      </a:lnTo>
                      <a:lnTo>
                        <a:pt x="183" y="511"/>
                      </a:lnTo>
                      <a:lnTo>
                        <a:pt x="182" y="511"/>
                      </a:lnTo>
                      <a:lnTo>
                        <a:pt x="181" y="512"/>
                      </a:lnTo>
                      <a:lnTo>
                        <a:pt x="181" y="513"/>
                      </a:lnTo>
                      <a:lnTo>
                        <a:pt x="181" y="513"/>
                      </a:lnTo>
                      <a:lnTo>
                        <a:pt x="181" y="514"/>
                      </a:lnTo>
                      <a:lnTo>
                        <a:pt x="181" y="514"/>
                      </a:lnTo>
                      <a:lnTo>
                        <a:pt x="180" y="515"/>
                      </a:lnTo>
                      <a:lnTo>
                        <a:pt x="179" y="514"/>
                      </a:lnTo>
                      <a:lnTo>
                        <a:pt x="177" y="514"/>
                      </a:lnTo>
                      <a:lnTo>
                        <a:pt x="176" y="514"/>
                      </a:lnTo>
                      <a:lnTo>
                        <a:pt x="175" y="515"/>
                      </a:lnTo>
                      <a:lnTo>
                        <a:pt x="175" y="515"/>
                      </a:lnTo>
                      <a:lnTo>
                        <a:pt x="174" y="515"/>
                      </a:lnTo>
                      <a:lnTo>
                        <a:pt x="173" y="515"/>
                      </a:lnTo>
                      <a:lnTo>
                        <a:pt x="172" y="516"/>
                      </a:lnTo>
                      <a:lnTo>
                        <a:pt x="169" y="518"/>
                      </a:lnTo>
                      <a:lnTo>
                        <a:pt x="169" y="518"/>
                      </a:lnTo>
                      <a:lnTo>
                        <a:pt x="169" y="518"/>
                      </a:lnTo>
                      <a:lnTo>
                        <a:pt x="169" y="519"/>
                      </a:lnTo>
                      <a:lnTo>
                        <a:pt x="168" y="519"/>
                      </a:lnTo>
                      <a:lnTo>
                        <a:pt x="167" y="520"/>
                      </a:lnTo>
                      <a:lnTo>
                        <a:pt x="166" y="522"/>
                      </a:lnTo>
                      <a:lnTo>
                        <a:pt x="166" y="522"/>
                      </a:lnTo>
                      <a:lnTo>
                        <a:pt x="166" y="522"/>
                      </a:lnTo>
                      <a:lnTo>
                        <a:pt x="166" y="524"/>
                      </a:lnTo>
                      <a:lnTo>
                        <a:pt x="166" y="524"/>
                      </a:lnTo>
                      <a:lnTo>
                        <a:pt x="164" y="525"/>
                      </a:lnTo>
                      <a:lnTo>
                        <a:pt x="164" y="526"/>
                      </a:lnTo>
                      <a:lnTo>
                        <a:pt x="164" y="526"/>
                      </a:lnTo>
                      <a:lnTo>
                        <a:pt x="164" y="528"/>
                      </a:lnTo>
                      <a:lnTo>
                        <a:pt x="164" y="531"/>
                      </a:lnTo>
                      <a:lnTo>
                        <a:pt x="164" y="531"/>
                      </a:lnTo>
                      <a:lnTo>
                        <a:pt x="164" y="531"/>
                      </a:lnTo>
                      <a:lnTo>
                        <a:pt x="163" y="533"/>
                      </a:lnTo>
                      <a:lnTo>
                        <a:pt x="164" y="534"/>
                      </a:lnTo>
                      <a:lnTo>
                        <a:pt x="163" y="536"/>
                      </a:lnTo>
                      <a:lnTo>
                        <a:pt x="163" y="536"/>
                      </a:lnTo>
                      <a:lnTo>
                        <a:pt x="162" y="537"/>
                      </a:lnTo>
                      <a:lnTo>
                        <a:pt x="161" y="537"/>
                      </a:lnTo>
                      <a:lnTo>
                        <a:pt x="160" y="538"/>
                      </a:lnTo>
                      <a:lnTo>
                        <a:pt x="159" y="538"/>
                      </a:lnTo>
                      <a:lnTo>
                        <a:pt x="159" y="538"/>
                      </a:lnTo>
                      <a:lnTo>
                        <a:pt x="158" y="539"/>
                      </a:lnTo>
                      <a:lnTo>
                        <a:pt x="157" y="539"/>
                      </a:lnTo>
                      <a:lnTo>
                        <a:pt x="157" y="538"/>
                      </a:lnTo>
                      <a:lnTo>
                        <a:pt x="156" y="539"/>
                      </a:lnTo>
                      <a:lnTo>
                        <a:pt x="154" y="540"/>
                      </a:lnTo>
                      <a:lnTo>
                        <a:pt x="154" y="540"/>
                      </a:lnTo>
                      <a:lnTo>
                        <a:pt x="154" y="540"/>
                      </a:lnTo>
                      <a:lnTo>
                        <a:pt x="153" y="541"/>
                      </a:lnTo>
                      <a:lnTo>
                        <a:pt x="151" y="541"/>
                      </a:lnTo>
                      <a:lnTo>
                        <a:pt x="151" y="541"/>
                      </a:lnTo>
                      <a:lnTo>
                        <a:pt x="151" y="541"/>
                      </a:lnTo>
                      <a:lnTo>
                        <a:pt x="150" y="542"/>
                      </a:lnTo>
                      <a:lnTo>
                        <a:pt x="149" y="542"/>
                      </a:lnTo>
                      <a:lnTo>
                        <a:pt x="149" y="542"/>
                      </a:lnTo>
                      <a:lnTo>
                        <a:pt x="148" y="542"/>
                      </a:lnTo>
                      <a:lnTo>
                        <a:pt x="148" y="543"/>
                      </a:lnTo>
                      <a:lnTo>
                        <a:pt x="147" y="543"/>
                      </a:lnTo>
                      <a:lnTo>
                        <a:pt x="144" y="543"/>
                      </a:lnTo>
                      <a:lnTo>
                        <a:pt x="143" y="543"/>
                      </a:lnTo>
                      <a:lnTo>
                        <a:pt x="143" y="543"/>
                      </a:lnTo>
                      <a:lnTo>
                        <a:pt x="143" y="543"/>
                      </a:lnTo>
                      <a:lnTo>
                        <a:pt x="142" y="544"/>
                      </a:lnTo>
                      <a:lnTo>
                        <a:pt x="141" y="543"/>
                      </a:lnTo>
                      <a:lnTo>
                        <a:pt x="140" y="544"/>
                      </a:lnTo>
                      <a:lnTo>
                        <a:pt x="138" y="544"/>
                      </a:lnTo>
                      <a:lnTo>
                        <a:pt x="136" y="543"/>
                      </a:lnTo>
                      <a:lnTo>
                        <a:pt x="136" y="543"/>
                      </a:lnTo>
                      <a:lnTo>
                        <a:pt x="136" y="542"/>
                      </a:lnTo>
                      <a:lnTo>
                        <a:pt x="136" y="541"/>
                      </a:lnTo>
                      <a:lnTo>
                        <a:pt x="135" y="541"/>
                      </a:lnTo>
                      <a:lnTo>
                        <a:pt x="135" y="540"/>
                      </a:lnTo>
                      <a:lnTo>
                        <a:pt x="134" y="540"/>
                      </a:lnTo>
                      <a:lnTo>
                        <a:pt x="134" y="540"/>
                      </a:lnTo>
                      <a:lnTo>
                        <a:pt x="133" y="538"/>
                      </a:lnTo>
                      <a:lnTo>
                        <a:pt x="130" y="536"/>
                      </a:lnTo>
                      <a:lnTo>
                        <a:pt x="129" y="535"/>
                      </a:lnTo>
                      <a:lnTo>
                        <a:pt x="127" y="535"/>
                      </a:lnTo>
                      <a:lnTo>
                        <a:pt x="126" y="534"/>
                      </a:lnTo>
                      <a:lnTo>
                        <a:pt x="124" y="533"/>
                      </a:lnTo>
                      <a:lnTo>
                        <a:pt x="123" y="531"/>
                      </a:lnTo>
                      <a:lnTo>
                        <a:pt x="122" y="529"/>
                      </a:lnTo>
                      <a:lnTo>
                        <a:pt x="122" y="529"/>
                      </a:lnTo>
                      <a:lnTo>
                        <a:pt x="120" y="528"/>
                      </a:lnTo>
                      <a:lnTo>
                        <a:pt x="120" y="527"/>
                      </a:lnTo>
                      <a:lnTo>
                        <a:pt x="119" y="526"/>
                      </a:lnTo>
                      <a:lnTo>
                        <a:pt x="117" y="526"/>
                      </a:lnTo>
                      <a:lnTo>
                        <a:pt x="116" y="525"/>
                      </a:lnTo>
                      <a:lnTo>
                        <a:pt x="115" y="525"/>
                      </a:lnTo>
                      <a:lnTo>
                        <a:pt x="115" y="524"/>
                      </a:lnTo>
                      <a:lnTo>
                        <a:pt x="114" y="524"/>
                      </a:lnTo>
                      <a:lnTo>
                        <a:pt x="114" y="524"/>
                      </a:lnTo>
                      <a:lnTo>
                        <a:pt x="113" y="524"/>
                      </a:lnTo>
                      <a:lnTo>
                        <a:pt x="112" y="523"/>
                      </a:lnTo>
                      <a:lnTo>
                        <a:pt x="111" y="523"/>
                      </a:lnTo>
                      <a:lnTo>
                        <a:pt x="109" y="522"/>
                      </a:lnTo>
                      <a:lnTo>
                        <a:pt x="108" y="522"/>
                      </a:lnTo>
                      <a:lnTo>
                        <a:pt x="105" y="520"/>
                      </a:lnTo>
                      <a:lnTo>
                        <a:pt x="105" y="519"/>
                      </a:lnTo>
                      <a:lnTo>
                        <a:pt x="104" y="518"/>
                      </a:lnTo>
                      <a:lnTo>
                        <a:pt x="103" y="518"/>
                      </a:lnTo>
                      <a:lnTo>
                        <a:pt x="103" y="517"/>
                      </a:lnTo>
                      <a:lnTo>
                        <a:pt x="102" y="517"/>
                      </a:lnTo>
                      <a:lnTo>
                        <a:pt x="102" y="517"/>
                      </a:lnTo>
                      <a:lnTo>
                        <a:pt x="102" y="516"/>
                      </a:lnTo>
                      <a:lnTo>
                        <a:pt x="101" y="516"/>
                      </a:lnTo>
                      <a:lnTo>
                        <a:pt x="101" y="515"/>
                      </a:lnTo>
                      <a:lnTo>
                        <a:pt x="100" y="515"/>
                      </a:lnTo>
                      <a:lnTo>
                        <a:pt x="100" y="514"/>
                      </a:lnTo>
                      <a:lnTo>
                        <a:pt x="99" y="514"/>
                      </a:lnTo>
                      <a:lnTo>
                        <a:pt x="97" y="513"/>
                      </a:lnTo>
                      <a:lnTo>
                        <a:pt x="95" y="513"/>
                      </a:lnTo>
                      <a:lnTo>
                        <a:pt x="94" y="513"/>
                      </a:lnTo>
                      <a:lnTo>
                        <a:pt x="94" y="513"/>
                      </a:lnTo>
                      <a:lnTo>
                        <a:pt x="93" y="513"/>
                      </a:lnTo>
                      <a:lnTo>
                        <a:pt x="89" y="514"/>
                      </a:lnTo>
                      <a:lnTo>
                        <a:pt x="89" y="514"/>
                      </a:lnTo>
                      <a:lnTo>
                        <a:pt x="88" y="514"/>
                      </a:lnTo>
                      <a:lnTo>
                        <a:pt x="88" y="514"/>
                      </a:lnTo>
                      <a:lnTo>
                        <a:pt x="87" y="514"/>
                      </a:lnTo>
                      <a:lnTo>
                        <a:pt x="85" y="515"/>
                      </a:lnTo>
                      <a:lnTo>
                        <a:pt x="85" y="515"/>
                      </a:lnTo>
                      <a:lnTo>
                        <a:pt x="83" y="515"/>
                      </a:lnTo>
                      <a:lnTo>
                        <a:pt x="83" y="516"/>
                      </a:lnTo>
                      <a:lnTo>
                        <a:pt x="81" y="516"/>
                      </a:lnTo>
                      <a:lnTo>
                        <a:pt x="81" y="516"/>
                      </a:lnTo>
                      <a:lnTo>
                        <a:pt x="79" y="516"/>
                      </a:lnTo>
                      <a:lnTo>
                        <a:pt x="79" y="516"/>
                      </a:lnTo>
                      <a:lnTo>
                        <a:pt x="78" y="515"/>
                      </a:lnTo>
                      <a:lnTo>
                        <a:pt x="76" y="515"/>
                      </a:lnTo>
                      <a:lnTo>
                        <a:pt x="76" y="515"/>
                      </a:lnTo>
                      <a:lnTo>
                        <a:pt x="77" y="515"/>
                      </a:lnTo>
                      <a:lnTo>
                        <a:pt x="77" y="515"/>
                      </a:lnTo>
                      <a:lnTo>
                        <a:pt x="78" y="515"/>
                      </a:lnTo>
                      <a:lnTo>
                        <a:pt x="81" y="514"/>
                      </a:lnTo>
                      <a:lnTo>
                        <a:pt x="81" y="514"/>
                      </a:lnTo>
                      <a:lnTo>
                        <a:pt x="81" y="512"/>
                      </a:lnTo>
                      <a:lnTo>
                        <a:pt x="81" y="511"/>
                      </a:lnTo>
                      <a:lnTo>
                        <a:pt x="82" y="511"/>
                      </a:lnTo>
                      <a:lnTo>
                        <a:pt x="85" y="510"/>
                      </a:lnTo>
                      <a:lnTo>
                        <a:pt x="86" y="509"/>
                      </a:lnTo>
                      <a:lnTo>
                        <a:pt x="86" y="507"/>
                      </a:lnTo>
                      <a:lnTo>
                        <a:pt x="87" y="506"/>
                      </a:lnTo>
                      <a:lnTo>
                        <a:pt x="88" y="505"/>
                      </a:lnTo>
                      <a:lnTo>
                        <a:pt x="88" y="504"/>
                      </a:lnTo>
                      <a:lnTo>
                        <a:pt x="88" y="504"/>
                      </a:lnTo>
                      <a:lnTo>
                        <a:pt x="88" y="503"/>
                      </a:lnTo>
                      <a:lnTo>
                        <a:pt x="89" y="502"/>
                      </a:lnTo>
                      <a:lnTo>
                        <a:pt x="89" y="502"/>
                      </a:lnTo>
                      <a:lnTo>
                        <a:pt x="90" y="501"/>
                      </a:lnTo>
                      <a:lnTo>
                        <a:pt x="90" y="501"/>
                      </a:lnTo>
                      <a:lnTo>
                        <a:pt x="93" y="501"/>
                      </a:lnTo>
                      <a:lnTo>
                        <a:pt x="94" y="501"/>
                      </a:lnTo>
                      <a:lnTo>
                        <a:pt x="95" y="501"/>
                      </a:lnTo>
                      <a:lnTo>
                        <a:pt x="95" y="501"/>
                      </a:lnTo>
                      <a:lnTo>
                        <a:pt x="99" y="501"/>
                      </a:lnTo>
                      <a:lnTo>
                        <a:pt x="100" y="500"/>
                      </a:lnTo>
                      <a:lnTo>
                        <a:pt x="102" y="500"/>
                      </a:lnTo>
                      <a:lnTo>
                        <a:pt x="105" y="497"/>
                      </a:lnTo>
                      <a:lnTo>
                        <a:pt x="107" y="497"/>
                      </a:lnTo>
                      <a:lnTo>
                        <a:pt x="107" y="497"/>
                      </a:lnTo>
                      <a:lnTo>
                        <a:pt x="108" y="496"/>
                      </a:lnTo>
                      <a:lnTo>
                        <a:pt x="109" y="495"/>
                      </a:lnTo>
                      <a:lnTo>
                        <a:pt x="111" y="494"/>
                      </a:lnTo>
                      <a:lnTo>
                        <a:pt x="111" y="494"/>
                      </a:lnTo>
                      <a:lnTo>
                        <a:pt x="113" y="495"/>
                      </a:lnTo>
                      <a:lnTo>
                        <a:pt x="114" y="495"/>
                      </a:lnTo>
                      <a:lnTo>
                        <a:pt x="114" y="496"/>
                      </a:lnTo>
                      <a:lnTo>
                        <a:pt x="114" y="496"/>
                      </a:lnTo>
                      <a:lnTo>
                        <a:pt x="114" y="496"/>
                      </a:lnTo>
                      <a:lnTo>
                        <a:pt x="114" y="497"/>
                      </a:lnTo>
                      <a:lnTo>
                        <a:pt x="114" y="497"/>
                      </a:lnTo>
                      <a:lnTo>
                        <a:pt x="114" y="497"/>
                      </a:lnTo>
                      <a:lnTo>
                        <a:pt x="114" y="498"/>
                      </a:lnTo>
                      <a:lnTo>
                        <a:pt x="114" y="498"/>
                      </a:lnTo>
                      <a:lnTo>
                        <a:pt x="115" y="498"/>
                      </a:lnTo>
                      <a:lnTo>
                        <a:pt x="115" y="497"/>
                      </a:lnTo>
                      <a:lnTo>
                        <a:pt x="115" y="497"/>
                      </a:lnTo>
                      <a:lnTo>
                        <a:pt x="116" y="496"/>
                      </a:lnTo>
                      <a:lnTo>
                        <a:pt x="117" y="497"/>
                      </a:lnTo>
                      <a:lnTo>
                        <a:pt x="118" y="498"/>
                      </a:lnTo>
                      <a:lnTo>
                        <a:pt x="118" y="497"/>
                      </a:lnTo>
                      <a:lnTo>
                        <a:pt x="117" y="497"/>
                      </a:lnTo>
                      <a:lnTo>
                        <a:pt x="117" y="497"/>
                      </a:lnTo>
                      <a:lnTo>
                        <a:pt x="118" y="496"/>
                      </a:lnTo>
                      <a:lnTo>
                        <a:pt x="118" y="496"/>
                      </a:lnTo>
                      <a:lnTo>
                        <a:pt x="116" y="495"/>
                      </a:lnTo>
                      <a:lnTo>
                        <a:pt x="117" y="495"/>
                      </a:lnTo>
                      <a:lnTo>
                        <a:pt x="117" y="495"/>
                      </a:lnTo>
                      <a:lnTo>
                        <a:pt x="116" y="495"/>
                      </a:lnTo>
                      <a:lnTo>
                        <a:pt x="116" y="495"/>
                      </a:lnTo>
                      <a:lnTo>
                        <a:pt x="115" y="495"/>
                      </a:lnTo>
                      <a:lnTo>
                        <a:pt x="115" y="495"/>
                      </a:lnTo>
                      <a:lnTo>
                        <a:pt x="115" y="495"/>
                      </a:lnTo>
                      <a:lnTo>
                        <a:pt x="115" y="495"/>
                      </a:lnTo>
                      <a:lnTo>
                        <a:pt x="115" y="495"/>
                      </a:lnTo>
                      <a:lnTo>
                        <a:pt x="116" y="494"/>
                      </a:lnTo>
                      <a:lnTo>
                        <a:pt x="116" y="494"/>
                      </a:lnTo>
                      <a:lnTo>
                        <a:pt x="119" y="493"/>
                      </a:lnTo>
                      <a:lnTo>
                        <a:pt x="119" y="493"/>
                      </a:lnTo>
                      <a:lnTo>
                        <a:pt x="120" y="493"/>
                      </a:lnTo>
                      <a:lnTo>
                        <a:pt x="121" y="491"/>
                      </a:lnTo>
                      <a:lnTo>
                        <a:pt x="123" y="490"/>
                      </a:lnTo>
                      <a:lnTo>
                        <a:pt x="124" y="490"/>
                      </a:lnTo>
                      <a:lnTo>
                        <a:pt x="125" y="490"/>
                      </a:lnTo>
                      <a:lnTo>
                        <a:pt x="126" y="489"/>
                      </a:lnTo>
                      <a:lnTo>
                        <a:pt x="127" y="489"/>
                      </a:lnTo>
                      <a:lnTo>
                        <a:pt x="127" y="488"/>
                      </a:lnTo>
                      <a:lnTo>
                        <a:pt x="129" y="486"/>
                      </a:lnTo>
                      <a:lnTo>
                        <a:pt x="130" y="485"/>
                      </a:lnTo>
                      <a:lnTo>
                        <a:pt x="130" y="484"/>
                      </a:lnTo>
                      <a:lnTo>
                        <a:pt x="132" y="483"/>
                      </a:lnTo>
                      <a:lnTo>
                        <a:pt x="133" y="482"/>
                      </a:lnTo>
                      <a:lnTo>
                        <a:pt x="133" y="482"/>
                      </a:lnTo>
                      <a:lnTo>
                        <a:pt x="133" y="481"/>
                      </a:lnTo>
                      <a:lnTo>
                        <a:pt x="135" y="480"/>
                      </a:lnTo>
                      <a:lnTo>
                        <a:pt x="137" y="480"/>
                      </a:lnTo>
                      <a:lnTo>
                        <a:pt x="137" y="480"/>
                      </a:lnTo>
                      <a:close/>
                      <a:moveTo>
                        <a:pt x="222" y="462"/>
                      </a:moveTo>
                      <a:lnTo>
                        <a:pt x="222" y="463"/>
                      </a:lnTo>
                      <a:lnTo>
                        <a:pt x="222" y="464"/>
                      </a:lnTo>
                      <a:lnTo>
                        <a:pt x="222" y="465"/>
                      </a:lnTo>
                      <a:lnTo>
                        <a:pt x="222" y="465"/>
                      </a:lnTo>
                      <a:lnTo>
                        <a:pt x="221" y="465"/>
                      </a:lnTo>
                      <a:lnTo>
                        <a:pt x="221" y="463"/>
                      </a:lnTo>
                      <a:lnTo>
                        <a:pt x="222" y="462"/>
                      </a:lnTo>
                      <a:close/>
                      <a:moveTo>
                        <a:pt x="207" y="457"/>
                      </a:moveTo>
                      <a:lnTo>
                        <a:pt x="208" y="458"/>
                      </a:lnTo>
                      <a:lnTo>
                        <a:pt x="208" y="458"/>
                      </a:lnTo>
                      <a:lnTo>
                        <a:pt x="209" y="459"/>
                      </a:lnTo>
                      <a:lnTo>
                        <a:pt x="209" y="459"/>
                      </a:lnTo>
                      <a:lnTo>
                        <a:pt x="210" y="459"/>
                      </a:lnTo>
                      <a:lnTo>
                        <a:pt x="211" y="460"/>
                      </a:lnTo>
                      <a:lnTo>
                        <a:pt x="211" y="461"/>
                      </a:lnTo>
                      <a:lnTo>
                        <a:pt x="211" y="461"/>
                      </a:lnTo>
                      <a:lnTo>
                        <a:pt x="212" y="463"/>
                      </a:lnTo>
                      <a:lnTo>
                        <a:pt x="212" y="463"/>
                      </a:lnTo>
                      <a:lnTo>
                        <a:pt x="212" y="464"/>
                      </a:lnTo>
                      <a:lnTo>
                        <a:pt x="212" y="465"/>
                      </a:lnTo>
                      <a:lnTo>
                        <a:pt x="212" y="465"/>
                      </a:lnTo>
                      <a:lnTo>
                        <a:pt x="212" y="466"/>
                      </a:lnTo>
                      <a:lnTo>
                        <a:pt x="213" y="468"/>
                      </a:lnTo>
                      <a:lnTo>
                        <a:pt x="212" y="469"/>
                      </a:lnTo>
                      <a:lnTo>
                        <a:pt x="211" y="468"/>
                      </a:lnTo>
                      <a:lnTo>
                        <a:pt x="210" y="467"/>
                      </a:lnTo>
                      <a:lnTo>
                        <a:pt x="210" y="466"/>
                      </a:lnTo>
                      <a:lnTo>
                        <a:pt x="209" y="466"/>
                      </a:lnTo>
                      <a:lnTo>
                        <a:pt x="208" y="466"/>
                      </a:lnTo>
                      <a:lnTo>
                        <a:pt x="208" y="466"/>
                      </a:lnTo>
                      <a:lnTo>
                        <a:pt x="209" y="466"/>
                      </a:lnTo>
                      <a:lnTo>
                        <a:pt x="210" y="467"/>
                      </a:lnTo>
                      <a:lnTo>
                        <a:pt x="209" y="468"/>
                      </a:lnTo>
                      <a:lnTo>
                        <a:pt x="208" y="467"/>
                      </a:lnTo>
                      <a:lnTo>
                        <a:pt x="208" y="468"/>
                      </a:lnTo>
                      <a:lnTo>
                        <a:pt x="209" y="468"/>
                      </a:lnTo>
                      <a:lnTo>
                        <a:pt x="209" y="468"/>
                      </a:lnTo>
                      <a:lnTo>
                        <a:pt x="210" y="468"/>
                      </a:lnTo>
                      <a:lnTo>
                        <a:pt x="211" y="469"/>
                      </a:lnTo>
                      <a:lnTo>
                        <a:pt x="212" y="469"/>
                      </a:lnTo>
                      <a:lnTo>
                        <a:pt x="212" y="470"/>
                      </a:lnTo>
                      <a:lnTo>
                        <a:pt x="213" y="470"/>
                      </a:lnTo>
                      <a:lnTo>
                        <a:pt x="212" y="471"/>
                      </a:lnTo>
                      <a:lnTo>
                        <a:pt x="212" y="471"/>
                      </a:lnTo>
                      <a:lnTo>
                        <a:pt x="210" y="471"/>
                      </a:lnTo>
                      <a:lnTo>
                        <a:pt x="211" y="471"/>
                      </a:lnTo>
                      <a:lnTo>
                        <a:pt x="211" y="471"/>
                      </a:lnTo>
                      <a:lnTo>
                        <a:pt x="212" y="471"/>
                      </a:lnTo>
                      <a:lnTo>
                        <a:pt x="212" y="472"/>
                      </a:lnTo>
                      <a:lnTo>
                        <a:pt x="211" y="472"/>
                      </a:lnTo>
                      <a:lnTo>
                        <a:pt x="211" y="472"/>
                      </a:lnTo>
                      <a:lnTo>
                        <a:pt x="211" y="472"/>
                      </a:lnTo>
                      <a:lnTo>
                        <a:pt x="211" y="472"/>
                      </a:lnTo>
                      <a:lnTo>
                        <a:pt x="211" y="472"/>
                      </a:lnTo>
                      <a:lnTo>
                        <a:pt x="210" y="472"/>
                      </a:lnTo>
                      <a:lnTo>
                        <a:pt x="210" y="473"/>
                      </a:lnTo>
                      <a:lnTo>
                        <a:pt x="212" y="473"/>
                      </a:lnTo>
                      <a:lnTo>
                        <a:pt x="213" y="473"/>
                      </a:lnTo>
                      <a:lnTo>
                        <a:pt x="213" y="474"/>
                      </a:lnTo>
                      <a:lnTo>
                        <a:pt x="212" y="474"/>
                      </a:lnTo>
                      <a:lnTo>
                        <a:pt x="211" y="474"/>
                      </a:lnTo>
                      <a:lnTo>
                        <a:pt x="211" y="474"/>
                      </a:lnTo>
                      <a:lnTo>
                        <a:pt x="212" y="474"/>
                      </a:lnTo>
                      <a:lnTo>
                        <a:pt x="212" y="474"/>
                      </a:lnTo>
                      <a:lnTo>
                        <a:pt x="211" y="475"/>
                      </a:lnTo>
                      <a:lnTo>
                        <a:pt x="210" y="475"/>
                      </a:lnTo>
                      <a:lnTo>
                        <a:pt x="210" y="475"/>
                      </a:lnTo>
                      <a:lnTo>
                        <a:pt x="210" y="475"/>
                      </a:lnTo>
                      <a:lnTo>
                        <a:pt x="210" y="475"/>
                      </a:lnTo>
                      <a:lnTo>
                        <a:pt x="211" y="475"/>
                      </a:lnTo>
                      <a:lnTo>
                        <a:pt x="211" y="475"/>
                      </a:lnTo>
                      <a:lnTo>
                        <a:pt x="212" y="475"/>
                      </a:lnTo>
                      <a:lnTo>
                        <a:pt x="212" y="474"/>
                      </a:lnTo>
                      <a:lnTo>
                        <a:pt x="213" y="474"/>
                      </a:lnTo>
                      <a:lnTo>
                        <a:pt x="213" y="473"/>
                      </a:lnTo>
                      <a:lnTo>
                        <a:pt x="214" y="474"/>
                      </a:lnTo>
                      <a:lnTo>
                        <a:pt x="214" y="475"/>
                      </a:lnTo>
                      <a:lnTo>
                        <a:pt x="214" y="475"/>
                      </a:lnTo>
                      <a:lnTo>
                        <a:pt x="215" y="475"/>
                      </a:lnTo>
                      <a:lnTo>
                        <a:pt x="215" y="476"/>
                      </a:lnTo>
                      <a:lnTo>
                        <a:pt x="214" y="477"/>
                      </a:lnTo>
                      <a:lnTo>
                        <a:pt x="214" y="477"/>
                      </a:lnTo>
                      <a:lnTo>
                        <a:pt x="213" y="477"/>
                      </a:lnTo>
                      <a:lnTo>
                        <a:pt x="212" y="477"/>
                      </a:lnTo>
                      <a:lnTo>
                        <a:pt x="206" y="475"/>
                      </a:lnTo>
                      <a:lnTo>
                        <a:pt x="200" y="475"/>
                      </a:lnTo>
                      <a:lnTo>
                        <a:pt x="199" y="474"/>
                      </a:lnTo>
                      <a:lnTo>
                        <a:pt x="196" y="474"/>
                      </a:lnTo>
                      <a:lnTo>
                        <a:pt x="196" y="474"/>
                      </a:lnTo>
                      <a:lnTo>
                        <a:pt x="195" y="474"/>
                      </a:lnTo>
                      <a:lnTo>
                        <a:pt x="195" y="472"/>
                      </a:lnTo>
                      <a:lnTo>
                        <a:pt x="195" y="472"/>
                      </a:lnTo>
                      <a:lnTo>
                        <a:pt x="195" y="471"/>
                      </a:lnTo>
                      <a:lnTo>
                        <a:pt x="196" y="471"/>
                      </a:lnTo>
                      <a:lnTo>
                        <a:pt x="196" y="471"/>
                      </a:lnTo>
                      <a:lnTo>
                        <a:pt x="196" y="472"/>
                      </a:lnTo>
                      <a:lnTo>
                        <a:pt x="197" y="471"/>
                      </a:lnTo>
                      <a:lnTo>
                        <a:pt x="197" y="471"/>
                      </a:lnTo>
                      <a:lnTo>
                        <a:pt x="198" y="471"/>
                      </a:lnTo>
                      <a:lnTo>
                        <a:pt x="200" y="471"/>
                      </a:lnTo>
                      <a:lnTo>
                        <a:pt x="200" y="471"/>
                      </a:lnTo>
                      <a:lnTo>
                        <a:pt x="201" y="471"/>
                      </a:lnTo>
                      <a:lnTo>
                        <a:pt x="201" y="470"/>
                      </a:lnTo>
                      <a:lnTo>
                        <a:pt x="201" y="470"/>
                      </a:lnTo>
                      <a:lnTo>
                        <a:pt x="202" y="469"/>
                      </a:lnTo>
                      <a:lnTo>
                        <a:pt x="202" y="468"/>
                      </a:lnTo>
                      <a:lnTo>
                        <a:pt x="204" y="466"/>
                      </a:lnTo>
                      <a:lnTo>
                        <a:pt x="204" y="465"/>
                      </a:lnTo>
                      <a:lnTo>
                        <a:pt x="204" y="464"/>
                      </a:lnTo>
                      <a:lnTo>
                        <a:pt x="205" y="463"/>
                      </a:lnTo>
                      <a:lnTo>
                        <a:pt x="205" y="463"/>
                      </a:lnTo>
                      <a:lnTo>
                        <a:pt x="202" y="462"/>
                      </a:lnTo>
                      <a:lnTo>
                        <a:pt x="202" y="461"/>
                      </a:lnTo>
                      <a:lnTo>
                        <a:pt x="204" y="460"/>
                      </a:lnTo>
                      <a:lnTo>
                        <a:pt x="205" y="460"/>
                      </a:lnTo>
                      <a:lnTo>
                        <a:pt x="205" y="459"/>
                      </a:lnTo>
                      <a:lnTo>
                        <a:pt x="206" y="459"/>
                      </a:lnTo>
                      <a:lnTo>
                        <a:pt x="206" y="459"/>
                      </a:lnTo>
                      <a:lnTo>
                        <a:pt x="206" y="459"/>
                      </a:lnTo>
                      <a:lnTo>
                        <a:pt x="206" y="459"/>
                      </a:lnTo>
                      <a:lnTo>
                        <a:pt x="208" y="458"/>
                      </a:lnTo>
                      <a:lnTo>
                        <a:pt x="207" y="458"/>
                      </a:lnTo>
                      <a:lnTo>
                        <a:pt x="207" y="457"/>
                      </a:lnTo>
                      <a:close/>
                      <a:moveTo>
                        <a:pt x="568" y="252"/>
                      </a:moveTo>
                      <a:lnTo>
                        <a:pt x="568" y="253"/>
                      </a:lnTo>
                      <a:lnTo>
                        <a:pt x="569" y="253"/>
                      </a:lnTo>
                      <a:lnTo>
                        <a:pt x="570" y="254"/>
                      </a:lnTo>
                      <a:lnTo>
                        <a:pt x="571" y="254"/>
                      </a:lnTo>
                      <a:lnTo>
                        <a:pt x="572" y="254"/>
                      </a:lnTo>
                      <a:lnTo>
                        <a:pt x="573" y="255"/>
                      </a:lnTo>
                      <a:lnTo>
                        <a:pt x="574" y="255"/>
                      </a:lnTo>
                      <a:lnTo>
                        <a:pt x="574" y="255"/>
                      </a:lnTo>
                      <a:lnTo>
                        <a:pt x="575" y="255"/>
                      </a:lnTo>
                      <a:lnTo>
                        <a:pt x="578" y="255"/>
                      </a:lnTo>
                      <a:lnTo>
                        <a:pt x="581" y="257"/>
                      </a:lnTo>
                      <a:lnTo>
                        <a:pt x="582" y="258"/>
                      </a:lnTo>
                      <a:lnTo>
                        <a:pt x="583" y="258"/>
                      </a:lnTo>
                      <a:lnTo>
                        <a:pt x="584" y="259"/>
                      </a:lnTo>
                      <a:lnTo>
                        <a:pt x="585" y="260"/>
                      </a:lnTo>
                      <a:lnTo>
                        <a:pt x="587" y="260"/>
                      </a:lnTo>
                      <a:lnTo>
                        <a:pt x="588" y="260"/>
                      </a:lnTo>
                      <a:lnTo>
                        <a:pt x="589" y="260"/>
                      </a:lnTo>
                      <a:lnTo>
                        <a:pt x="592" y="261"/>
                      </a:lnTo>
                      <a:lnTo>
                        <a:pt x="593" y="261"/>
                      </a:lnTo>
                      <a:lnTo>
                        <a:pt x="594" y="261"/>
                      </a:lnTo>
                      <a:lnTo>
                        <a:pt x="597" y="261"/>
                      </a:lnTo>
                      <a:lnTo>
                        <a:pt x="598" y="261"/>
                      </a:lnTo>
                      <a:lnTo>
                        <a:pt x="600" y="262"/>
                      </a:lnTo>
                      <a:lnTo>
                        <a:pt x="601" y="263"/>
                      </a:lnTo>
                      <a:lnTo>
                        <a:pt x="601" y="263"/>
                      </a:lnTo>
                      <a:lnTo>
                        <a:pt x="602" y="263"/>
                      </a:lnTo>
                      <a:lnTo>
                        <a:pt x="602" y="264"/>
                      </a:lnTo>
                      <a:lnTo>
                        <a:pt x="603" y="266"/>
                      </a:lnTo>
                      <a:lnTo>
                        <a:pt x="603" y="267"/>
                      </a:lnTo>
                      <a:lnTo>
                        <a:pt x="604" y="268"/>
                      </a:lnTo>
                      <a:lnTo>
                        <a:pt x="604" y="268"/>
                      </a:lnTo>
                      <a:lnTo>
                        <a:pt x="604" y="268"/>
                      </a:lnTo>
                      <a:lnTo>
                        <a:pt x="605" y="268"/>
                      </a:lnTo>
                      <a:lnTo>
                        <a:pt x="605" y="269"/>
                      </a:lnTo>
                      <a:lnTo>
                        <a:pt x="606" y="269"/>
                      </a:lnTo>
                      <a:lnTo>
                        <a:pt x="607" y="271"/>
                      </a:lnTo>
                      <a:lnTo>
                        <a:pt x="608" y="271"/>
                      </a:lnTo>
                      <a:lnTo>
                        <a:pt x="609" y="272"/>
                      </a:lnTo>
                      <a:lnTo>
                        <a:pt x="610" y="274"/>
                      </a:lnTo>
                      <a:lnTo>
                        <a:pt x="610" y="275"/>
                      </a:lnTo>
                      <a:lnTo>
                        <a:pt x="610" y="275"/>
                      </a:lnTo>
                      <a:lnTo>
                        <a:pt x="611" y="277"/>
                      </a:lnTo>
                      <a:lnTo>
                        <a:pt x="611" y="277"/>
                      </a:lnTo>
                      <a:lnTo>
                        <a:pt x="611" y="279"/>
                      </a:lnTo>
                      <a:lnTo>
                        <a:pt x="610" y="279"/>
                      </a:lnTo>
                      <a:lnTo>
                        <a:pt x="610" y="280"/>
                      </a:lnTo>
                      <a:lnTo>
                        <a:pt x="610" y="280"/>
                      </a:lnTo>
                      <a:lnTo>
                        <a:pt x="609" y="279"/>
                      </a:lnTo>
                      <a:lnTo>
                        <a:pt x="607" y="280"/>
                      </a:lnTo>
                      <a:lnTo>
                        <a:pt x="607" y="281"/>
                      </a:lnTo>
                      <a:lnTo>
                        <a:pt x="607" y="281"/>
                      </a:lnTo>
                      <a:lnTo>
                        <a:pt x="607" y="282"/>
                      </a:lnTo>
                      <a:lnTo>
                        <a:pt x="605" y="283"/>
                      </a:lnTo>
                      <a:lnTo>
                        <a:pt x="603" y="284"/>
                      </a:lnTo>
                      <a:lnTo>
                        <a:pt x="603" y="284"/>
                      </a:lnTo>
                      <a:lnTo>
                        <a:pt x="603" y="284"/>
                      </a:lnTo>
                      <a:lnTo>
                        <a:pt x="600" y="284"/>
                      </a:lnTo>
                      <a:lnTo>
                        <a:pt x="599" y="284"/>
                      </a:lnTo>
                      <a:lnTo>
                        <a:pt x="598" y="283"/>
                      </a:lnTo>
                      <a:lnTo>
                        <a:pt x="597" y="283"/>
                      </a:lnTo>
                      <a:lnTo>
                        <a:pt x="597" y="283"/>
                      </a:lnTo>
                      <a:lnTo>
                        <a:pt x="595" y="282"/>
                      </a:lnTo>
                      <a:lnTo>
                        <a:pt x="594" y="281"/>
                      </a:lnTo>
                      <a:lnTo>
                        <a:pt x="592" y="281"/>
                      </a:lnTo>
                      <a:lnTo>
                        <a:pt x="591" y="281"/>
                      </a:lnTo>
                      <a:lnTo>
                        <a:pt x="590" y="281"/>
                      </a:lnTo>
                      <a:lnTo>
                        <a:pt x="588" y="281"/>
                      </a:lnTo>
                      <a:lnTo>
                        <a:pt x="588" y="281"/>
                      </a:lnTo>
                      <a:lnTo>
                        <a:pt x="585" y="280"/>
                      </a:lnTo>
                      <a:lnTo>
                        <a:pt x="585" y="279"/>
                      </a:lnTo>
                      <a:lnTo>
                        <a:pt x="584" y="279"/>
                      </a:lnTo>
                      <a:lnTo>
                        <a:pt x="584" y="279"/>
                      </a:lnTo>
                      <a:lnTo>
                        <a:pt x="583" y="279"/>
                      </a:lnTo>
                      <a:lnTo>
                        <a:pt x="582" y="279"/>
                      </a:lnTo>
                      <a:lnTo>
                        <a:pt x="582" y="279"/>
                      </a:lnTo>
                      <a:lnTo>
                        <a:pt x="581" y="279"/>
                      </a:lnTo>
                      <a:lnTo>
                        <a:pt x="581" y="279"/>
                      </a:lnTo>
                      <a:lnTo>
                        <a:pt x="580" y="279"/>
                      </a:lnTo>
                      <a:lnTo>
                        <a:pt x="580" y="279"/>
                      </a:lnTo>
                      <a:lnTo>
                        <a:pt x="579" y="279"/>
                      </a:lnTo>
                      <a:lnTo>
                        <a:pt x="578" y="278"/>
                      </a:lnTo>
                      <a:lnTo>
                        <a:pt x="578" y="278"/>
                      </a:lnTo>
                      <a:lnTo>
                        <a:pt x="578" y="278"/>
                      </a:lnTo>
                      <a:lnTo>
                        <a:pt x="578" y="279"/>
                      </a:lnTo>
                      <a:lnTo>
                        <a:pt x="576" y="279"/>
                      </a:lnTo>
                      <a:lnTo>
                        <a:pt x="575" y="279"/>
                      </a:lnTo>
                      <a:lnTo>
                        <a:pt x="575" y="280"/>
                      </a:lnTo>
                      <a:lnTo>
                        <a:pt x="574" y="279"/>
                      </a:lnTo>
                      <a:lnTo>
                        <a:pt x="573" y="279"/>
                      </a:lnTo>
                      <a:lnTo>
                        <a:pt x="573" y="279"/>
                      </a:lnTo>
                      <a:lnTo>
                        <a:pt x="572" y="279"/>
                      </a:lnTo>
                      <a:lnTo>
                        <a:pt x="572" y="277"/>
                      </a:lnTo>
                      <a:lnTo>
                        <a:pt x="573" y="276"/>
                      </a:lnTo>
                      <a:lnTo>
                        <a:pt x="573" y="276"/>
                      </a:lnTo>
                      <a:lnTo>
                        <a:pt x="573" y="274"/>
                      </a:lnTo>
                      <a:lnTo>
                        <a:pt x="572" y="274"/>
                      </a:lnTo>
                      <a:lnTo>
                        <a:pt x="572" y="273"/>
                      </a:lnTo>
                      <a:lnTo>
                        <a:pt x="572" y="273"/>
                      </a:lnTo>
                      <a:lnTo>
                        <a:pt x="572" y="273"/>
                      </a:lnTo>
                      <a:lnTo>
                        <a:pt x="571" y="273"/>
                      </a:lnTo>
                      <a:lnTo>
                        <a:pt x="570" y="273"/>
                      </a:lnTo>
                      <a:lnTo>
                        <a:pt x="570" y="272"/>
                      </a:lnTo>
                      <a:lnTo>
                        <a:pt x="570" y="271"/>
                      </a:lnTo>
                      <a:lnTo>
                        <a:pt x="569" y="271"/>
                      </a:lnTo>
                      <a:lnTo>
                        <a:pt x="568" y="270"/>
                      </a:lnTo>
                      <a:lnTo>
                        <a:pt x="568" y="270"/>
                      </a:lnTo>
                      <a:lnTo>
                        <a:pt x="567" y="269"/>
                      </a:lnTo>
                      <a:lnTo>
                        <a:pt x="566" y="269"/>
                      </a:lnTo>
                      <a:lnTo>
                        <a:pt x="565" y="269"/>
                      </a:lnTo>
                      <a:lnTo>
                        <a:pt x="565" y="267"/>
                      </a:lnTo>
                      <a:lnTo>
                        <a:pt x="565" y="266"/>
                      </a:lnTo>
                      <a:lnTo>
                        <a:pt x="564" y="264"/>
                      </a:lnTo>
                      <a:lnTo>
                        <a:pt x="563" y="264"/>
                      </a:lnTo>
                      <a:lnTo>
                        <a:pt x="563" y="263"/>
                      </a:lnTo>
                      <a:lnTo>
                        <a:pt x="564" y="263"/>
                      </a:lnTo>
                      <a:lnTo>
                        <a:pt x="564" y="264"/>
                      </a:lnTo>
                      <a:lnTo>
                        <a:pt x="564" y="264"/>
                      </a:lnTo>
                      <a:lnTo>
                        <a:pt x="565" y="264"/>
                      </a:lnTo>
                      <a:lnTo>
                        <a:pt x="565" y="264"/>
                      </a:lnTo>
                      <a:lnTo>
                        <a:pt x="565" y="264"/>
                      </a:lnTo>
                      <a:lnTo>
                        <a:pt x="565" y="264"/>
                      </a:lnTo>
                      <a:lnTo>
                        <a:pt x="565" y="264"/>
                      </a:lnTo>
                      <a:lnTo>
                        <a:pt x="565" y="266"/>
                      </a:lnTo>
                      <a:lnTo>
                        <a:pt x="567" y="266"/>
                      </a:lnTo>
                      <a:lnTo>
                        <a:pt x="568" y="264"/>
                      </a:lnTo>
                      <a:lnTo>
                        <a:pt x="568" y="263"/>
                      </a:lnTo>
                      <a:lnTo>
                        <a:pt x="567" y="263"/>
                      </a:lnTo>
                      <a:lnTo>
                        <a:pt x="567" y="262"/>
                      </a:lnTo>
                      <a:lnTo>
                        <a:pt x="567" y="262"/>
                      </a:lnTo>
                      <a:lnTo>
                        <a:pt x="567" y="262"/>
                      </a:lnTo>
                      <a:lnTo>
                        <a:pt x="567" y="261"/>
                      </a:lnTo>
                      <a:lnTo>
                        <a:pt x="567" y="261"/>
                      </a:lnTo>
                      <a:lnTo>
                        <a:pt x="566" y="260"/>
                      </a:lnTo>
                      <a:lnTo>
                        <a:pt x="566" y="259"/>
                      </a:lnTo>
                      <a:lnTo>
                        <a:pt x="567" y="258"/>
                      </a:lnTo>
                      <a:lnTo>
                        <a:pt x="567" y="257"/>
                      </a:lnTo>
                      <a:lnTo>
                        <a:pt x="567" y="257"/>
                      </a:lnTo>
                      <a:lnTo>
                        <a:pt x="567" y="255"/>
                      </a:lnTo>
                      <a:lnTo>
                        <a:pt x="568" y="254"/>
                      </a:lnTo>
                      <a:lnTo>
                        <a:pt x="568" y="253"/>
                      </a:lnTo>
                      <a:lnTo>
                        <a:pt x="568" y="252"/>
                      </a:lnTo>
                      <a:close/>
                      <a:moveTo>
                        <a:pt x="273" y="0"/>
                      </a:moveTo>
                      <a:lnTo>
                        <a:pt x="281" y="6"/>
                      </a:lnTo>
                      <a:lnTo>
                        <a:pt x="279" y="16"/>
                      </a:lnTo>
                      <a:lnTo>
                        <a:pt x="288" y="25"/>
                      </a:lnTo>
                      <a:lnTo>
                        <a:pt x="291" y="32"/>
                      </a:lnTo>
                      <a:lnTo>
                        <a:pt x="282" y="41"/>
                      </a:lnTo>
                      <a:lnTo>
                        <a:pt x="281" y="41"/>
                      </a:lnTo>
                      <a:lnTo>
                        <a:pt x="282" y="44"/>
                      </a:lnTo>
                      <a:lnTo>
                        <a:pt x="276" y="47"/>
                      </a:lnTo>
                      <a:lnTo>
                        <a:pt x="272" y="52"/>
                      </a:lnTo>
                      <a:lnTo>
                        <a:pt x="277" y="53"/>
                      </a:lnTo>
                      <a:lnTo>
                        <a:pt x="279" y="56"/>
                      </a:lnTo>
                      <a:lnTo>
                        <a:pt x="277" y="64"/>
                      </a:lnTo>
                      <a:lnTo>
                        <a:pt x="273" y="69"/>
                      </a:lnTo>
                      <a:lnTo>
                        <a:pt x="276" y="79"/>
                      </a:lnTo>
                      <a:lnTo>
                        <a:pt x="270" y="88"/>
                      </a:lnTo>
                      <a:lnTo>
                        <a:pt x="266" y="99"/>
                      </a:lnTo>
                      <a:lnTo>
                        <a:pt x="272" y="101"/>
                      </a:lnTo>
                      <a:lnTo>
                        <a:pt x="280" y="107"/>
                      </a:lnTo>
                      <a:lnTo>
                        <a:pt x="285" y="106"/>
                      </a:lnTo>
                      <a:lnTo>
                        <a:pt x="293" y="115"/>
                      </a:lnTo>
                      <a:lnTo>
                        <a:pt x="295" y="121"/>
                      </a:lnTo>
                      <a:lnTo>
                        <a:pt x="299" y="125"/>
                      </a:lnTo>
                      <a:lnTo>
                        <a:pt x="299" y="127"/>
                      </a:lnTo>
                      <a:lnTo>
                        <a:pt x="295" y="126"/>
                      </a:lnTo>
                      <a:lnTo>
                        <a:pt x="290" y="133"/>
                      </a:lnTo>
                      <a:lnTo>
                        <a:pt x="283" y="130"/>
                      </a:lnTo>
                      <a:lnTo>
                        <a:pt x="273" y="130"/>
                      </a:lnTo>
                      <a:lnTo>
                        <a:pt x="269" y="124"/>
                      </a:lnTo>
                      <a:lnTo>
                        <a:pt x="270" y="121"/>
                      </a:lnTo>
                      <a:lnTo>
                        <a:pt x="269" y="119"/>
                      </a:lnTo>
                      <a:lnTo>
                        <a:pt x="264" y="117"/>
                      </a:lnTo>
                      <a:lnTo>
                        <a:pt x="261" y="118"/>
                      </a:lnTo>
                      <a:lnTo>
                        <a:pt x="258" y="124"/>
                      </a:lnTo>
                      <a:lnTo>
                        <a:pt x="262" y="131"/>
                      </a:lnTo>
                      <a:lnTo>
                        <a:pt x="265" y="131"/>
                      </a:lnTo>
                      <a:lnTo>
                        <a:pt x="268" y="135"/>
                      </a:lnTo>
                      <a:lnTo>
                        <a:pt x="269" y="138"/>
                      </a:lnTo>
                      <a:lnTo>
                        <a:pt x="269" y="144"/>
                      </a:lnTo>
                      <a:lnTo>
                        <a:pt x="272" y="147"/>
                      </a:lnTo>
                      <a:lnTo>
                        <a:pt x="279" y="150"/>
                      </a:lnTo>
                      <a:lnTo>
                        <a:pt x="288" y="150"/>
                      </a:lnTo>
                      <a:lnTo>
                        <a:pt x="293" y="157"/>
                      </a:lnTo>
                      <a:lnTo>
                        <a:pt x="297" y="155"/>
                      </a:lnTo>
                      <a:lnTo>
                        <a:pt x="300" y="156"/>
                      </a:lnTo>
                      <a:lnTo>
                        <a:pt x="301" y="158"/>
                      </a:lnTo>
                      <a:lnTo>
                        <a:pt x="296" y="162"/>
                      </a:lnTo>
                      <a:lnTo>
                        <a:pt x="296" y="165"/>
                      </a:lnTo>
                      <a:lnTo>
                        <a:pt x="298" y="170"/>
                      </a:lnTo>
                      <a:lnTo>
                        <a:pt x="298" y="176"/>
                      </a:lnTo>
                      <a:lnTo>
                        <a:pt x="305" y="175"/>
                      </a:lnTo>
                      <a:lnTo>
                        <a:pt x="307" y="176"/>
                      </a:lnTo>
                      <a:lnTo>
                        <a:pt x="306" y="178"/>
                      </a:lnTo>
                      <a:lnTo>
                        <a:pt x="301" y="187"/>
                      </a:lnTo>
                      <a:lnTo>
                        <a:pt x="301" y="193"/>
                      </a:lnTo>
                      <a:lnTo>
                        <a:pt x="302" y="199"/>
                      </a:lnTo>
                      <a:lnTo>
                        <a:pt x="307" y="205"/>
                      </a:lnTo>
                      <a:lnTo>
                        <a:pt x="307" y="205"/>
                      </a:lnTo>
                      <a:lnTo>
                        <a:pt x="312" y="218"/>
                      </a:lnTo>
                      <a:lnTo>
                        <a:pt x="309" y="237"/>
                      </a:lnTo>
                      <a:lnTo>
                        <a:pt x="307" y="243"/>
                      </a:lnTo>
                      <a:lnTo>
                        <a:pt x="311" y="249"/>
                      </a:lnTo>
                      <a:lnTo>
                        <a:pt x="319" y="251"/>
                      </a:lnTo>
                      <a:lnTo>
                        <a:pt x="319" y="256"/>
                      </a:lnTo>
                      <a:lnTo>
                        <a:pt x="321" y="258"/>
                      </a:lnTo>
                      <a:lnTo>
                        <a:pt x="327" y="260"/>
                      </a:lnTo>
                      <a:lnTo>
                        <a:pt x="333" y="267"/>
                      </a:lnTo>
                      <a:lnTo>
                        <a:pt x="339" y="271"/>
                      </a:lnTo>
                      <a:lnTo>
                        <a:pt x="343" y="271"/>
                      </a:lnTo>
                      <a:lnTo>
                        <a:pt x="346" y="272"/>
                      </a:lnTo>
                      <a:lnTo>
                        <a:pt x="348" y="279"/>
                      </a:lnTo>
                      <a:lnTo>
                        <a:pt x="345" y="287"/>
                      </a:lnTo>
                      <a:lnTo>
                        <a:pt x="345" y="294"/>
                      </a:lnTo>
                      <a:lnTo>
                        <a:pt x="349" y="293"/>
                      </a:lnTo>
                      <a:lnTo>
                        <a:pt x="355" y="282"/>
                      </a:lnTo>
                      <a:lnTo>
                        <a:pt x="361" y="278"/>
                      </a:lnTo>
                      <a:lnTo>
                        <a:pt x="366" y="285"/>
                      </a:lnTo>
                      <a:lnTo>
                        <a:pt x="365" y="293"/>
                      </a:lnTo>
                      <a:lnTo>
                        <a:pt x="372" y="289"/>
                      </a:lnTo>
                      <a:lnTo>
                        <a:pt x="374" y="289"/>
                      </a:lnTo>
                      <a:lnTo>
                        <a:pt x="379" y="301"/>
                      </a:lnTo>
                      <a:lnTo>
                        <a:pt x="384" y="307"/>
                      </a:lnTo>
                      <a:lnTo>
                        <a:pt x="391" y="305"/>
                      </a:lnTo>
                      <a:lnTo>
                        <a:pt x="394" y="298"/>
                      </a:lnTo>
                      <a:lnTo>
                        <a:pt x="398" y="297"/>
                      </a:lnTo>
                      <a:lnTo>
                        <a:pt x="402" y="297"/>
                      </a:lnTo>
                      <a:lnTo>
                        <a:pt x="406" y="292"/>
                      </a:lnTo>
                      <a:lnTo>
                        <a:pt x="411" y="292"/>
                      </a:lnTo>
                      <a:lnTo>
                        <a:pt x="415" y="296"/>
                      </a:lnTo>
                      <a:lnTo>
                        <a:pt x="416" y="306"/>
                      </a:lnTo>
                      <a:lnTo>
                        <a:pt x="421" y="305"/>
                      </a:lnTo>
                      <a:lnTo>
                        <a:pt x="423" y="306"/>
                      </a:lnTo>
                      <a:lnTo>
                        <a:pt x="426" y="309"/>
                      </a:lnTo>
                      <a:lnTo>
                        <a:pt x="432" y="307"/>
                      </a:lnTo>
                      <a:lnTo>
                        <a:pt x="432" y="298"/>
                      </a:lnTo>
                      <a:lnTo>
                        <a:pt x="437" y="294"/>
                      </a:lnTo>
                      <a:lnTo>
                        <a:pt x="439" y="289"/>
                      </a:lnTo>
                      <a:lnTo>
                        <a:pt x="444" y="284"/>
                      </a:lnTo>
                      <a:lnTo>
                        <a:pt x="447" y="273"/>
                      </a:lnTo>
                      <a:lnTo>
                        <a:pt x="445" y="263"/>
                      </a:lnTo>
                      <a:lnTo>
                        <a:pt x="450" y="256"/>
                      </a:lnTo>
                      <a:lnTo>
                        <a:pt x="456" y="250"/>
                      </a:lnTo>
                      <a:lnTo>
                        <a:pt x="458" y="244"/>
                      </a:lnTo>
                      <a:lnTo>
                        <a:pt x="458" y="244"/>
                      </a:lnTo>
                      <a:lnTo>
                        <a:pt x="468" y="250"/>
                      </a:lnTo>
                      <a:lnTo>
                        <a:pt x="477" y="247"/>
                      </a:lnTo>
                      <a:lnTo>
                        <a:pt x="483" y="253"/>
                      </a:lnTo>
                      <a:lnTo>
                        <a:pt x="488" y="254"/>
                      </a:lnTo>
                      <a:lnTo>
                        <a:pt x="493" y="253"/>
                      </a:lnTo>
                      <a:lnTo>
                        <a:pt x="498" y="252"/>
                      </a:lnTo>
                      <a:lnTo>
                        <a:pt x="498" y="252"/>
                      </a:lnTo>
                      <a:lnTo>
                        <a:pt x="499" y="254"/>
                      </a:lnTo>
                      <a:lnTo>
                        <a:pt x="499" y="254"/>
                      </a:lnTo>
                      <a:lnTo>
                        <a:pt x="500" y="254"/>
                      </a:lnTo>
                      <a:lnTo>
                        <a:pt x="501" y="253"/>
                      </a:lnTo>
                      <a:lnTo>
                        <a:pt x="501" y="253"/>
                      </a:lnTo>
                      <a:lnTo>
                        <a:pt x="505" y="253"/>
                      </a:lnTo>
                      <a:lnTo>
                        <a:pt x="505" y="252"/>
                      </a:lnTo>
                      <a:lnTo>
                        <a:pt x="506" y="252"/>
                      </a:lnTo>
                      <a:lnTo>
                        <a:pt x="506" y="251"/>
                      </a:lnTo>
                      <a:lnTo>
                        <a:pt x="507" y="251"/>
                      </a:lnTo>
                      <a:lnTo>
                        <a:pt x="508" y="251"/>
                      </a:lnTo>
                      <a:lnTo>
                        <a:pt x="508" y="250"/>
                      </a:lnTo>
                      <a:lnTo>
                        <a:pt x="508" y="250"/>
                      </a:lnTo>
                      <a:lnTo>
                        <a:pt x="508" y="249"/>
                      </a:lnTo>
                      <a:lnTo>
                        <a:pt x="508" y="248"/>
                      </a:lnTo>
                      <a:lnTo>
                        <a:pt x="508" y="248"/>
                      </a:lnTo>
                      <a:lnTo>
                        <a:pt x="507" y="248"/>
                      </a:lnTo>
                      <a:lnTo>
                        <a:pt x="508" y="247"/>
                      </a:lnTo>
                      <a:lnTo>
                        <a:pt x="507" y="247"/>
                      </a:lnTo>
                      <a:lnTo>
                        <a:pt x="508" y="247"/>
                      </a:lnTo>
                      <a:lnTo>
                        <a:pt x="509" y="247"/>
                      </a:lnTo>
                      <a:lnTo>
                        <a:pt x="510" y="247"/>
                      </a:lnTo>
                      <a:lnTo>
                        <a:pt x="510" y="247"/>
                      </a:lnTo>
                      <a:lnTo>
                        <a:pt x="509" y="247"/>
                      </a:lnTo>
                      <a:lnTo>
                        <a:pt x="508" y="247"/>
                      </a:lnTo>
                      <a:lnTo>
                        <a:pt x="509" y="245"/>
                      </a:lnTo>
                      <a:lnTo>
                        <a:pt x="509" y="245"/>
                      </a:lnTo>
                      <a:lnTo>
                        <a:pt x="509" y="244"/>
                      </a:lnTo>
                      <a:lnTo>
                        <a:pt x="510" y="243"/>
                      </a:lnTo>
                      <a:lnTo>
                        <a:pt x="510" y="242"/>
                      </a:lnTo>
                      <a:lnTo>
                        <a:pt x="510" y="242"/>
                      </a:lnTo>
                      <a:lnTo>
                        <a:pt x="510" y="242"/>
                      </a:lnTo>
                      <a:lnTo>
                        <a:pt x="510" y="241"/>
                      </a:lnTo>
                      <a:lnTo>
                        <a:pt x="513" y="240"/>
                      </a:lnTo>
                      <a:lnTo>
                        <a:pt x="514" y="240"/>
                      </a:lnTo>
                      <a:lnTo>
                        <a:pt x="517" y="240"/>
                      </a:lnTo>
                      <a:lnTo>
                        <a:pt x="517" y="240"/>
                      </a:lnTo>
                      <a:lnTo>
                        <a:pt x="519" y="240"/>
                      </a:lnTo>
                      <a:lnTo>
                        <a:pt x="520" y="240"/>
                      </a:lnTo>
                      <a:lnTo>
                        <a:pt x="521" y="241"/>
                      </a:lnTo>
                      <a:lnTo>
                        <a:pt x="522" y="241"/>
                      </a:lnTo>
                      <a:lnTo>
                        <a:pt x="523" y="240"/>
                      </a:lnTo>
                      <a:lnTo>
                        <a:pt x="525" y="240"/>
                      </a:lnTo>
                      <a:lnTo>
                        <a:pt x="527" y="240"/>
                      </a:lnTo>
                      <a:lnTo>
                        <a:pt x="527" y="240"/>
                      </a:lnTo>
                      <a:lnTo>
                        <a:pt x="528" y="241"/>
                      </a:lnTo>
                      <a:lnTo>
                        <a:pt x="528" y="242"/>
                      </a:lnTo>
                      <a:lnTo>
                        <a:pt x="529" y="241"/>
                      </a:lnTo>
                      <a:lnTo>
                        <a:pt x="529" y="241"/>
                      </a:lnTo>
                      <a:lnTo>
                        <a:pt x="529" y="241"/>
                      </a:lnTo>
                      <a:lnTo>
                        <a:pt x="531" y="241"/>
                      </a:lnTo>
                      <a:lnTo>
                        <a:pt x="532" y="241"/>
                      </a:lnTo>
                      <a:lnTo>
                        <a:pt x="533" y="242"/>
                      </a:lnTo>
                      <a:lnTo>
                        <a:pt x="534" y="242"/>
                      </a:lnTo>
                      <a:lnTo>
                        <a:pt x="534" y="241"/>
                      </a:lnTo>
                      <a:lnTo>
                        <a:pt x="535" y="241"/>
                      </a:lnTo>
                      <a:lnTo>
                        <a:pt x="536" y="241"/>
                      </a:lnTo>
                      <a:lnTo>
                        <a:pt x="537" y="241"/>
                      </a:lnTo>
                      <a:lnTo>
                        <a:pt x="540" y="242"/>
                      </a:lnTo>
                      <a:lnTo>
                        <a:pt x="540" y="242"/>
                      </a:lnTo>
                      <a:lnTo>
                        <a:pt x="541" y="243"/>
                      </a:lnTo>
                      <a:lnTo>
                        <a:pt x="541" y="243"/>
                      </a:lnTo>
                      <a:lnTo>
                        <a:pt x="541" y="244"/>
                      </a:lnTo>
                      <a:lnTo>
                        <a:pt x="543" y="244"/>
                      </a:lnTo>
                      <a:lnTo>
                        <a:pt x="543" y="243"/>
                      </a:lnTo>
                      <a:lnTo>
                        <a:pt x="544" y="243"/>
                      </a:lnTo>
                      <a:lnTo>
                        <a:pt x="548" y="243"/>
                      </a:lnTo>
                      <a:lnTo>
                        <a:pt x="548" y="243"/>
                      </a:lnTo>
                      <a:lnTo>
                        <a:pt x="551" y="243"/>
                      </a:lnTo>
                      <a:lnTo>
                        <a:pt x="551" y="244"/>
                      </a:lnTo>
                      <a:lnTo>
                        <a:pt x="553" y="244"/>
                      </a:lnTo>
                      <a:lnTo>
                        <a:pt x="553" y="244"/>
                      </a:lnTo>
                      <a:lnTo>
                        <a:pt x="553" y="245"/>
                      </a:lnTo>
                      <a:lnTo>
                        <a:pt x="554" y="244"/>
                      </a:lnTo>
                      <a:lnTo>
                        <a:pt x="554" y="244"/>
                      </a:lnTo>
                      <a:lnTo>
                        <a:pt x="555" y="244"/>
                      </a:lnTo>
                      <a:lnTo>
                        <a:pt x="555" y="244"/>
                      </a:lnTo>
                      <a:lnTo>
                        <a:pt x="557" y="244"/>
                      </a:lnTo>
                      <a:lnTo>
                        <a:pt x="558" y="245"/>
                      </a:lnTo>
                      <a:lnTo>
                        <a:pt x="559" y="245"/>
                      </a:lnTo>
                      <a:lnTo>
                        <a:pt x="560" y="246"/>
                      </a:lnTo>
                      <a:lnTo>
                        <a:pt x="561" y="247"/>
                      </a:lnTo>
                      <a:lnTo>
                        <a:pt x="563" y="248"/>
                      </a:lnTo>
                      <a:lnTo>
                        <a:pt x="563" y="251"/>
                      </a:lnTo>
                      <a:lnTo>
                        <a:pt x="563" y="252"/>
                      </a:lnTo>
                      <a:lnTo>
                        <a:pt x="564" y="253"/>
                      </a:lnTo>
                      <a:lnTo>
                        <a:pt x="564" y="253"/>
                      </a:lnTo>
                      <a:lnTo>
                        <a:pt x="563" y="254"/>
                      </a:lnTo>
                      <a:lnTo>
                        <a:pt x="564" y="254"/>
                      </a:lnTo>
                      <a:lnTo>
                        <a:pt x="562" y="256"/>
                      </a:lnTo>
                      <a:lnTo>
                        <a:pt x="562" y="256"/>
                      </a:lnTo>
                      <a:lnTo>
                        <a:pt x="562" y="257"/>
                      </a:lnTo>
                      <a:lnTo>
                        <a:pt x="561" y="257"/>
                      </a:lnTo>
                      <a:lnTo>
                        <a:pt x="560" y="257"/>
                      </a:lnTo>
                      <a:lnTo>
                        <a:pt x="560" y="257"/>
                      </a:lnTo>
                      <a:lnTo>
                        <a:pt x="559" y="258"/>
                      </a:lnTo>
                      <a:lnTo>
                        <a:pt x="558" y="257"/>
                      </a:lnTo>
                      <a:lnTo>
                        <a:pt x="557" y="257"/>
                      </a:lnTo>
                      <a:lnTo>
                        <a:pt x="557" y="258"/>
                      </a:lnTo>
                      <a:lnTo>
                        <a:pt x="556" y="258"/>
                      </a:lnTo>
                      <a:lnTo>
                        <a:pt x="553" y="258"/>
                      </a:lnTo>
                      <a:lnTo>
                        <a:pt x="553" y="257"/>
                      </a:lnTo>
                      <a:lnTo>
                        <a:pt x="553" y="257"/>
                      </a:lnTo>
                      <a:lnTo>
                        <a:pt x="553" y="257"/>
                      </a:lnTo>
                      <a:lnTo>
                        <a:pt x="554" y="256"/>
                      </a:lnTo>
                      <a:lnTo>
                        <a:pt x="554" y="256"/>
                      </a:lnTo>
                      <a:lnTo>
                        <a:pt x="553" y="255"/>
                      </a:lnTo>
                      <a:lnTo>
                        <a:pt x="553" y="255"/>
                      </a:lnTo>
                      <a:lnTo>
                        <a:pt x="552" y="254"/>
                      </a:lnTo>
                      <a:lnTo>
                        <a:pt x="551" y="254"/>
                      </a:lnTo>
                      <a:lnTo>
                        <a:pt x="551" y="253"/>
                      </a:lnTo>
                      <a:lnTo>
                        <a:pt x="551" y="253"/>
                      </a:lnTo>
                      <a:lnTo>
                        <a:pt x="551" y="253"/>
                      </a:lnTo>
                      <a:lnTo>
                        <a:pt x="551" y="252"/>
                      </a:lnTo>
                      <a:lnTo>
                        <a:pt x="550" y="253"/>
                      </a:lnTo>
                      <a:lnTo>
                        <a:pt x="550" y="252"/>
                      </a:lnTo>
                      <a:lnTo>
                        <a:pt x="549" y="252"/>
                      </a:lnTo>
                      <a:lnTo>
                        <a:pt x="549" y="253"/>
                      </a:lnTo>
                      <a:lnTo>
                        <a:pt x="549" y="253"/>
                      </a:lnTo>
                      <a:lnTo>
                        <a:pt x="549" y="254"/>
                      </a:lnTo>
                      <a:lnTo>
                        <a:pt x="549" y="254"/>
                      </a:lnTo>
                      <a:lnTo>
                        <a:pt x="550" y="254"/>
                      </a:lnTo>
                      <a:lnTo>
                        <a:pt x="550" y="255"/>
                      </a:lnTo>
                      <a:lnTo>
                        <a:pt x="551" y="256"/>
                      </a:lnTo>
                      <a:lnTo>
                        <a:pt x="550" y="256"/>
                      </a:lnTo>
                      <a:lnTo>
                        <a:pt x="549" y="256"/>
                      </a:lnTo>
                      <a:lnTo>
                        <a:pt x="548" y="257"/>
                      </a:lnTo>
                      <a:lnTo>
                        <a:pt x="548" y="257"/>
                      </a:lnTo>
                      <a:lnTo>
                        <a:pt x="547" y="256"/>
                      </a:lnTo>
                      <a:lnTo>
                        <a:pt x="548" y="256"/>
                      </a:lnTo>
                      <a:lnTo>
                        <a:pt x="548" y="255"/>
                      </a:lnTo>
                      <a:lnTo>
                        <a:pt x="547" y="255"/>
                      </a:lnTo>
                      <a:lnTo>
                        <a:pt x="547" y="255"/>
                      </a:lnTo>
                      <a:lnTo>
                        <a:pt x="547" y="255"/>
                      </a:lnTo>
                      <a:lnTo>
                        <a:pt x="547" y="255"/>
                      </a:lnTo>
                      <a:lnTo>
                        <a:pt x="547" y="256"/>
                      </a:lnTo>
                      <a:lnTo>
                        <a:pt x="547" y="256"/>
                      </a:lnTo>
                      <a:lnTo>
                        <a:pt x="546" y="256"/>
                      </a:lnTo>
                      <a:lnTo>
                        <a:pt x="546" y="256"/>
                      </a:lnTo>
                      <a:lnTo>
                        <a:pt x="546" y="255"/>
                      </a:lnTo>
                      <a:lnTo>
                        <a:pt x="545" y="255"/>
                      </a:lnTo>
                      <a:lnTo>
                        <a:pt x="545" y="256"/>
                      </a:lnTo>
                      <a:lnTo>
                        <a:pt x="543" y="256"/>
                      </a:lnTo>
                      <a:lnTo>
                        <a:pt x="543" y="257"/>
                      </a:lnTo>
                      <a:lnTo>
                        <a:pt x="543" y="257"/>
                      </a:lnTo>
                      <a:lnTo>
                        <a:pt x="542" y="257"/>
                      </a:lnTo>
                      <a:lnTo>
                        <a:pt x="542" y="258"/>
                      </a:lnTo>
                      <a:lnTo>
                        <a:pt x="543" y="258"/>
                      </a:lnTo>
                      <a:lnTo>
                        <a:pt x="543" y="259"/>
                      </a:lnTo>
                      <a:lnTo>
                        <a:pt x="542" y="258"/>
                      </a:lnTo>
                      <a:lnTo>
                        <a:pt x="541" y="259"/>
                      </a:lnTo>
                      <a:lnTo>
                        <a:pt x="541" y="259"/>
                      </a:lnTo>
                      <a:lnTo>
                        <a:pt x="540" y="260"/>
                      </a:lnTo>
                      <a:lnTo>
                        <a:pt x="540" y="261"/>
                      </a:lnTo>
                      <a:lnTo>
                        <a:pt x="541" y="261"/>
                      </a:lnTo>
                      <a:lnTo>
                        <a:pt x="542" y="259"/>
                      </a:lnTo>
                      <a:lnTo>
                        <a:pt x="543" y="260"/>
                      </a:lnTo>
                      <a:lnTo>
                        <a:pt x="543" y="261"/>
                      </a:lnTo>
                      <a:lnTo>
                        <a:pt x="542" y="261"/>
                      </a:lnTo>
                      <a:lnTo>
                        <a:pt x="541" y="262"/>
                      </a:lnTo>
                      <a:lnTo>
                        <a:pt x="541" y="262"/>
                      </a:lnTo>
                      <a:lnTo>
                        <a:pt x="540" y="263"/>
                      </a:lnTo>
                      <a:lnTo>
                        <a:pt x="538" y="263"/>
                      </a:lnTo>
                      <a:lnTo>
                        <a:pt x="538" y="266"/>
                      </a:lnTo>
                      <a:lnTo>
                        <a:pt x="537" y="266"/>
                      </a:lnTo>
                      <a:lnTo>
                        <a:pt x="537" y="266"/>
                      </a:lnTo>
                      <a:lnTo>
                        <a:pt x="538" y="266"/>
                      </a:lnTo>
                      <a:lnTo>
                        <a:pt x="538" y="263"/>
                      </a:lnTo>
                      <a:lnTo>
                        <a:pt x="537" y="263"/>
                      </a:lnTo>
                      <a:lnTo>
                        <a:pt x="537" y="263"/>
                      </a:lnTo>
                      <a:lnTo>
                        <a:pt x="537" y="263"/>
                      </a:lnTo>
                      <a:lnTo>
                        <a:pt x="536" y="264"/>
                      </a:lnTo>
                      <a:lnTo>
                        <a:pt x="535" y="264"/>
                      </a:lnTo>
                      <a:lnTo>
                        <a:pt x="535" y="263"/>
                      </a:lnTo>
                      <a:lnTo>
                        <a:pt x="533" y="263"/>
                      </a:lnTo>
                      <a:lnTo>
                        <a:pt x="533" y="264"/>
                      </a:lnTo>
                      <a:lnTo>
                        <a:pt x="532" y="263"/>
                      </a:lnTo>
                      <a:lnTo>
                        <a:pt x="532" y="264"/>
                      </a:lnTo>
                      <a:lnTo>
                        <a:pt x="531" y="264"/>
                      </a:lnTo>
                      <a:lnTo>
                        <a:pt x="531" y="266"/>
                      </a:lnTo>
                      <a:lnTo>
                        <a:pt x="531" y="264"/>
                      </a:lnTo>
                      <a:lnTo>
                        <a:pt x="530" y="264"/>
                      </a:lnTo>
                      <a:lnTo>
                        <a:pt x="530" y="266"/>
                      </a:lnTo>
                      <a:lnTo>
                        <a:pt x="530" y="266"/>
                      </a:lnTo>
                      <a:lnTo>
                        <a:pt x="530" y="266"/>
                      </a:lnTo>
                      <a:lnTo>
                        <a:pt x="529" y="266"/>
                      </a:lnTo>
                      <a:lnTo>
                        <a:pt x="529" y="266"/>
                      </a:lnTo>
                      <a:lnTo>
                        <a:pt x="528" y="264"/>
                      </a:lnTo>
                      <a:lnTo>
                        <a:pt x="526" y="266"/>
                      </a:lnTo>
                      <a:lnTo>
                        <a:pt x="525" y="264"/>
                      </a:lnTo>
                      <a:lnTo>
                        <a:pt x="524" y="264"/>
                      </a:lnTo>
                      <a:lnTo>
                        <a:pt x="523" y="266"/>
                      </a:lnTo>
                      <a:lnTo>
                        <a:pt x="523" y="266"/>
                      </a:lnTo>
                      <a:lnTo>
                        <a:pt x="523" y="266"/>
                      </a:lnTo>
                      <a:lnTo>
                        <a:pt x="524" y="266"/>
                      </a:lnTo>
                      <a:lnTo>
                        <a:pt x="524" y="266"/>
                      </a:lnTo>
                      <a:lnTo>
                        <a:pt x="525" y="266"/>
                      </a:lnTo>
                      <a:lnTo>
                        <a:pt x="526" y="267"/>
                      </a:lnTo>
                      <a:lnTo>
                        <a:pt x="527" y="267"/>
                      </a:lnTo>
                      <a:lnTo>
                        <a:pt x="527" y="268"/>
                      </a:lnTo>
                      <a:lnTo>
                        <a:pt x="527" y="268"/>
                      </a:lnTo>
                      <a:lnTo>
                        <a:pt x="527" y="269"/>
                      </a:lnTo>
                      <a:lnTo>
                        <a:pt x="528" y="269"/>
                      </a:lnTo>
                      <a:lnTo>
                        <a:pt x="528" y="270"/>
                      </a:lnTo>
                      <a:lnTo>
                        <a:pt x="528" y="270"/>
                      </a:lnTo>
                      <a:lnTo>
                        <a:pt x="529" y="270"/>
                      </a:lnTo>
                      <a:lnTo>
                        <a:pt x="529" y="271"/>
                      </a:lnTo>
                      <a:lnTo>
                        <a:pt x="530" y="271"/>
                      </a:lnTo>
                      <a:lnTo>
                        <a:pt x="530" y="271"/>
                      </a:lnTo>
                      <a:lnTo>
                        <a:pt x="530" y="271"/>
                      </a:lnTo>
                      <a:lnTo>
                        <a:pt x="531" y="272"/>
                      </a:lnTo>
                      <a:lnTo>
                        <a:pt x="532" y="272"/>
                      </a:lnTo>
                      <a:lnTo>
                        <a:pt x="532" y="272"/>
                      </a:lnTo>
                      <a:lnTo>
                        <a:pt x="534" y="273"/>
                      </a:lnTo>
                      <a:lnTo>
                        <a:pt x="534" y="272"/>
                      </a:lnTo>
                      <a:lnTo>
                        <a:pt x="536" y="272"/>
                      </a:lnTo>
                      <a:lnTo>
                        <a:pt x="536" y="273"/>
                      </a:lnTo>
                      <a:lnTo>
                        <a:pt x="537" y="273"/>
                      </a:lnTo>
                      <a:lnTo>
                        <a:pt x="537" y="273"/>
                      </a:lnTo>
                      <a:lnTo>
                        <a:pt x="537" y="272"/>
                      </a:lnTo>
                      <a:lnTo>
                        <a:pt x="538" y="272"/>
                      </a:lnTo>
                      <a:lnTo>
                        <a:pt x="538" y="273"/>
                      </a:lnTo>
                      <a:lnTo>
                        <a:pt x="537" y="273"/>
                      </a:lnTo>
                      <a:lnTo>
                        <a:pt x="537" y="273"/>
                      </a:lnTo>
                      <a:lnTo>
                        <a:pt x="538" y="274"/>
                      </a:lnTo>
                      <a:lnTo>
                        <a:pt x="538" y="274"/>
                      </a:lnTo>
                      <a:lnTo>
                        <a:pt x="538" y="274"/>
                      </a:lnTo>
                      <a:lnTo>
                        <a:pt x="538" y="274"/>
                      </a:lnTo>
                      <a:lnTo>
                        <a:pt x="540" y="274"/>
                      </a:lnTo>
                      <a:lnTo>
                        <a:pt x="540" y="275"/>
                      </a:lnTo>
                      <a:lnTo>
                        <a:pt x="538" y="275"/>
                      </a:lnTo>
                      <a:lnTo>
                        <a:pt x="538" y="275"/>
                      </a:lnTo>
                      <a:lnTo>
                        <a:pt x="541" y="276"/>
                      </a:lnTo>
                      <a:lnTo>
                        <a:pt x="541" y="276"/>
                      </a:lnTo>
                      <a:lnTo>
                        <a:pt x="542" y="276"/>
                      </a:lnTo>
                      <a:lnTo>
                        <a:pt x="542" y="276"/>
                      </a:lnTo>
                      <a:lnTo>
                        <a:pt x="541" y="276"/>
                      </a:lnTo>
                      <a:lnTo>
                        <a:pt x="542" y="275"/>
                      </a:lnTo>
                      <a:lnTo>
                        <a:pt x="542" y="275"/>
                      </a:lnTo>
                      <a:lnTo>
                        <a:pt x="543" y="275"/>
                      </a:lnTo>
                      <a:lnTo>
                        <a:pt x="542" y="275"/>
                      </a:lnTo>
                      <a:lnTo>
                        <a:pt x="542" y="274"/>
                      </a:lnTo>
                      <a:lnTo>
                        <a:pt x="542" y="273"/>
                      </a:lnTo>
                      <a:lnTo>
                        <a:pt x="542" y="273"/>
                      </a:lnTo>
                      <a:lnTo>
                        <a:pt x="542" y="273"/>
                      </a:lnTo>
                      <a:lnTo>
                        <a:pt x="543" y="273"/>
                      </a:lnTo>
                      <a:lnTo>
                        <a:pt x="544" y="273"/>
                      </a:lnTo>
                      <a:lnTo>
                        <a:pt x="545" y="273"/>
                      </a:lnTo>
                      <a:lnTo>
                        <a:pt x="545" y="273"/>
                      </a:lnTo>
                      <a:lnTo>
                        <a:pt x="545" y="274"/>
                      </a:lnTo>
                      <a:lnTo>
                        <a:pt x="545" y="274"/>
                      </a:lnTo>
                      <a:lnTo>
                        <a:pt x="544" y="275"/>
                      </a:lnTo>
                      <a:lnTo>
                        <a:pt x="544" y="275"/>
                      </a:lnTo>
                      <a:lnTo>
                        <a:pt x="543" y="276"/>
                      </a:lnTo>
                      <a:lnTo>
                        <a:pt x="543" y="277"/>
                      </a:lnTo>
                      <a:lnTo>
                        <a:pt x="543" y="277"/>
                      </a:lnTo>
                      <a:lnTo>
                        <a:pt x="544" y="277"/>
                      </a:lnTo>
                      <a:lnTo>
                        <a:pt x="544" y="276"/>
                      </a:lnTo>
                      <a:lnTo>
                        <a:pt x="544" y="276"/>
                      </a:lnTo>
                      <a:lnTo>
                        <a:pt x="544" y="275"/>
                      </a:lnTo>
                      <a:lnTo>
                        <a:pt x="546" y="275"/>
                      </a:lnTo>
                      <a:lnTo>
                        <a:pt x="546" y="274"/>
                      </a:lnTo>
                      <a:lnTo>
                        <a:pt x="546" y="274"/>
                      </a:lnTo>
                      <a:lnTo>
                        <a:pt x="546" y="273"/>
                      </a:lnTo>
                      <a:lnTo>
                        <a:pt x="546" y="273"/>
                      </a:lnTo>
                      <a:lnTo>
                        <a:pt x="547" y="272"/>
                      </a:lnTo>
                      <a:lnTo>
                        <a:pt x="546" y="271"/>
                      </a:lnTo>
                      <a:lnTo>
                        <a:pt x="546" y="271"/>
                      </a:lnTo>
                      <a:lnTo>
                        <a:pt x="548" y="270"/>
                      </a:lnTo>
                      <a:lnTo>
                        <a:pt x="548" y="271"/>
                      </a:lnTo>
                      <a:lnTo>
                        <a:pt x="549" y="271"/>
                      </a:lnTo>
                      <a:lnTo>
                        <a:pt x="549" y="271"/>
                      </a:lnTo>
                      <a:lnTo>
                        <a:pt x="550" y="272"/>
                      </a:lnTo>
                      <a:lnTo>
                        <a:pt x="550" y="272"/>
                      </a:lnTo>
                      <a:lnTo>
                        <a:pt x="550" y="272"/>
                      </a:lnTo>
                      <a:lnTo>
                        <a:pt x="550" y="273"/>
                      </a:lnTo>
                      <a:lnTo>
                        <a:pt x="551" y="273"/>
                      </a:lnTo>
                      <a:lnTo>
                        <a:pt x="551" y="274"/>
                      </a:lnTo>
                      <a:lnTo>
                        <a:pt x="551" y="274"/>
                      </a:lnTo>
                      <a:lnTo>
                        <a:pt x="552" y="274"/>
                      </a:lnTo>
                      <a:lnTo>
                        <a:pt x="552" y="275"/>
                      </a:lnTo>
                      <a:lnTo>
                        <a:pt x="552" y="275"/>
                      </a:lnTo>
                      <a:lnTo>
                        <a:pt x="552" y="276"/>
                      </a:lnTo>
                      <a:lnTo>
                        <a:pt x="553" y="277"/>
                      </a:lnTo>
                      <a:lnTo>
                        <a:pt x="553" y="277"/>
                      </a:lnTo>
                      <a:lnTo>
                        <a:pt x="553" y="277"/>
                      </a:lnTo>
                      <a:lnTo>
                        <a:pt x="554" y="277"/>
                      </a:lnTo>
                      <a:lnTo>
                        <a:pt x="554" y="276"/>
                      </a:lnTo>
                      <a:lnTo>
                        <a:pt x="555" y="276"/>
                      </a:lnTo>
                      <a:lnTo>
                        <a:pt x="555" y="274"/>
                      </a:lnTo>
                      <a:lnTo>
                        <a:pt x="555" y="273"/>
                      </a:lnTo>
                      <a:lnTo>
                        <a:pt x="556" y="272"/>
                      </a:lnTo>
                      <a:lnTo>
                        <a:pt x="557" y="272"/>
                      </a:lnTo>
                      <a:lnTo>
                        <a:pt x="558" y="271"/>
                      </a:lnTo>
                      <a:lnTo>
                        <a:pt x="559" y="271"/>
                      </a:lnTo>
                      <a:lnTo>
                        <a:pt x="559" y="272"/>
                      </a:lnTo>
                      <a:lnTo>
                        <a:pt x="559" y="273"/>
                      </a:lnTo>
                      <a:lnTo>
                        <a:pt x="558" y="273"/>
                      </a:lnTo>
                      <a:lnTo>
                        <a:pt x="558" y="274"/>
                      </a:lnTo>
                      <a:lnTo>
                        <a:pt x="558" y="274"/>
                      </a:lnTo>
                      <a:lnTo>
                        <a:pt x="558" y="274"/>
                      </a:lnTo>
                      <a:lnTo>
                        <a:pt x="557" y="274"/>
                      </a:lnTo>
                      <a:lnTo>
                        <a:pt x="557" y="274"/>
                      </a:lnTo>
                      <a:lnTo>
                        <a:pt x="558" y="274"/>
                      </a:lnTo>
                      <a:lnTo>
                        <a:pt x="558" y="275"/>
                      </a:lnTo>
                      <a:lnTo>
                        <a:pt x="558" y="275"/>
                      </a:lnTo>
                      <a:lnTo>
                        <a:pt x="558" y="275"/>
                      </a:lnTo>
                      <a:lnTo>
                        <a:pt x="558" y="275"/>
                      </a:lnTo>
                      <a:lnTo>
                        <a:pt x="558" y="274"/>
                      </a:lnTo>
                      <a:lnTo>
                        <a:pt x="559" y="275"/>
                      </a:lnTo>
                      <a:lnTo>
                        <a:pt x="560" y="274"/>
                      </a:lnTo>
                      <a:lnTo>
                        <a:pt x="561" y="275"/>
                      </a:lnTo>
                      <a:lnTo>
                        <a:pt x="561" y="274"/>
                      </a:lnTo>
                      <a:lnTo>
                        <a:pt x="561" y="274"/>
                      </a:lnTo>
                      <a:lnTo>
                        <a:pt x="562" y="274"/>
                      </a:lnTo>
                      <a:lnTo>
                        <a:pt x="562" y="273"/>
                      </a:lnTo>
                      <a:lnTo>
                        <a:pt x="562" y="273"/>
                      </a:lnTo>
                      <a:lnTo>
                        <a:pt x="562" y="273"/>
                      </a:lnTo>
                      <a:lnTo>
                        <a:pt x="562" y="272"/>
                      </a:lnTo>
                      <a:lnTo>
                        <a:pt x="561" y="273"/>
                      </a:lnTo>
                      <a:lnTo>
                        <a:pt x="561" y="272"/>
                      </a:lnTo>
                      <a:lnTo>
                        <a:pt x="561" y="272"/>
                      </a:lnTo>
                      <a:lnTo>
                        <a:pt x="561" y="272"/>
                      </a:lnTo>
                      <a:lnTo>
                        <a:pt x="561" y="272"/>
                      </a:lnTo>
                      <a:lnTo>
                        <a:pt x="560" y="272"/>
                      </a:lnTo>
                      <a:lnTo>
                        <a:pt x="560" y="271"/>
                      </a:lnTo>
                      <a:lnTo>
                        <a:pt x="559" y="271"/>
                      </a:lnTo>
                      <a:lnTo>
                        <a:pt x="559" y="270"/>
                      </a:lnTo>
                      <a:lnTo>
                        <a:pt x="558" y="270"/>
                      </a:lnTo>
                      <a:lnTo>
                        <a:pt x="558" y="268"/>
                      </a:lnTo>
                      <a:lnTo>
                        <a:pt x="558" y="267"/>
                      </a:lnTo>
                      <a:lnTo>
                        <a:pt x="558" y="266"/>
                      </a:lnTo>
                      <a:lnTo>
                        <a:pt x="558" y="262"/>
                      </a:lnTo>
                      <a:lnTo>
                        <a:pt x="558" y="261"/>
                      </a:lnTo>
                      <a:lnTo>
                        <a:pt x="559" y="262"/>
                      </a:lnTo>
                      <a:lnTo>
                        <a:pt x="561" y="262"/>
                      </a:lnTo>
                      <a:lnTo>
                        <a:pt x="561" y="262"/>
                      </a:lnTo>
                      <a:lnTo>
                        <a:pt x="562" y="262"/>
                      </a:lnTo>
                      <a:lnTo>
                        <a:pt x="563" y="261"/>
                      </a:lnTo>
                      <a:lnTo>
                        <a:pt x="563" y="261"/>
                      </a:lnTo>
                      <a:lnTo>
                        <a:pt x="564" y="261"/>
                      </a:lnTo>
                      <a:lnTo>
                        <a:pt x="564" y="261"/>
                      </a:lnTo>
                      <a:lnTo>
                        <a:pt x="564" y="261"/>
                      </a:lnTo>
                      <a:lnTo>
                        <a:pt x="564" y="262"/>
                      </a:lnTo>
                      <a:lnTo>
                        <a:pt x="565" y="262"/>
                      </a:lnTo>
                      <a:lnTo>
                        <a:pt x="565" y="263"/>
                      </a:lnTo>
                      <a:lnTo>
                        <a:pt x="564" y="263"/>
                      </a:lnTo>
                      <a:lnTo>
                        <a:pt x="564" y="263"/>
                      </a:lnTo>
                      <a:lnTo>
                        <a:pt x="563" y="263"/>
                      </a:lnTo>
                      <a:lnTo>
                        <a:pt x="562" y="264"/>
                      </a:lnTo>
                      <a:lnTo>
                        <a:pt x="563" y="268"/>
                      </a:lnTo>
                      <a:lnTo>
                        <a:pt x="564" y="269"/>
                      </a:lnTo>
                      <a:lnTo>
                        <a:pt x="564" y="270"/>
                      </a:lnTo>
                      <a:lnTo>
                        <a:pt x="566" y="271"/>
                      </a:lnTo>
                      <a:lnTo>
                        <a:pt x="567" y="271"/>
                      </a:lnTo>
                      <a:lnTo>
                        <a:pt x="568" y="272"/>
                      </a:lnTo>
                      <a:lnTo>
                        <a:pt x="568" y="273"/>
                      </a:lnTo>
                      <a:lnTo>
                        <a:pt x="569" y="273"/>
                      </a:lnTo>
                      <a:lnTo>
                        <a:pt x="569" y="274"/>
                      </a:lnTo>
                      <a:lnTo>
                        <a:pt x="570" y="274"/>
                      </a:lnTo>
                      <a:lnTo>
                        <a:pt x="571" y="274"/>
                      </a:lnTo>
                      <a:lnTo>
                        <a:pt x="572" y="275"/>
                      </a:lnTo>
                      <a:lnTo>
                        <a:pt x="572" y="276"/>
                      </a:lnTo>
                      <a:lnTo>
                        <a:pt x="571" y="276"/>
                      </a:lnTo>
                      <a:lnTo>
                        <a:pt x="571" y="277"/>
                      </a:lnTo>
                      <a:lnTo>
                        <a:pt x="571" y="278"/>
                      </a:lnTo>
                      <a:lnTo>
                        <a:pt x="571" y="278"/>
                      </a:lnTo>
                      <a:lnTo>
                        <a:pt x="571" y="279"/>
                      </a:lnTo>
                      <a:lnTo>
                        <a:pt x="571" y="279"/>
                      </a:lnTo>
                      <a:lnTo>
                        <a:pt x="571" y="280"/>
                      </a:lnTo>
                      <a:lnTo>
                        <a:pt x="572" y="280"/>
                      </a:lnTo>
                      <a:lnTo>
                        <a:pt x="572" y="281"/>
                      </a:lnTo>
                      <a:lnTo>
                        <a:pt x="572" y="282"/>
                      </a:lnTo>
                      <a:lnTo>
                        <a:pt x="571" y="282"/>
                      </a:lnTo>
                      <a:lnTo>
                        <a:pt x="571" y="282"/>
                      </a:lnTo>
                      <a:lnTo>
                        <a:pt x="572" y="282"/>
                      </a:lnTo>
                      <a:lnTo>
                        <a:pt x="572" y="282"/>
                      </a:lnTo>
                      <a:lnTo>
                        <a:pt x="574" y="282"/>
                      </a:lnTo>
                      <a:lnTo>
                        <a:pt x="575" y="282"/>
                      </a:lnTo>
                      <a:lnTo>
                        <a:pt x="575" y="282"/>
                      </a:lnTo>
                      <a:lnTo>
                        <a:pt x="576" y="282"/>
                      </a:lnTo>
                      <a:lnTo>
                        <a:pt x="582" y="282"/>
                      </a:lnTo>
                      <a:lnTo>
                        <a:pt x="583" y="283"/>
                      </a:lnTo>
                      <a:lnTo>
                        <a:pt x="583" y="284"/>
                      </a:lnTo>
                      <a:lnTo>
                        <a:pt x="583" y="284"/>
                      </a:lnTo>
                      <a:lnTo>
                        <a:pt x="583" y="284"/>
                      </a:lnTo>
                      <a:lnTo>
                        <a:pt x="584" y="284"/>
                      </a:lnTo>
                      <a:lnTo>
                        <a:pt x="584" y="284"/>
                      </a:lnTo>
                      <a:lnTo>
                        <a:pt x="584" y="284"/>
                      </a:lnTo>
                      <a:lnTo>
                        <a:pt x="585" y="284"/>
                      </a:lnTo>
                      <a:lnTo>
                        <a:pt x="585" y="284"/>
                      </a:lnTo>
                      <a:lnTo>
                        <a:pt x="586" y="284"/>
                      </a:lnTo>
                      <a:lnTo>
                        <a:pt x="586" y="284"/>
                      </a:lnTo>
                      <a:lnTo>
                        <a:pt x="587" y="284"/>
                      </a:lnTo>
                      <a:lnTo>
                        <a:pt x="587" y="285"/>
                      </a:lnTo>
                      <a:lnTo>
                        <a:pt x="590" y="284"/>
                      </a:lnTo>
                      <a:lnTo>
                        <a:pt x="591" y="284"/>
                      </a:lnTo>
                      <a:lnTo>
                        <a:pt x="592" y="284"/>
                      </a:lnTo>
                      <a:lnTo>
                        <a:pt x="593" y="284"/>
                      </a:lnTo>
                      <a:lnTo>
                        <a:pt x="596" y="285"/>
                      </a:lnTo>
                      <a:lnTo>
                        <a:pt x="597" y="286"/>
                      </a:lnTo>
                      <a:lnTo>
                        <a:pt x="598" y="287"/>
                      </a:lnTo>
                      <a:lnTo>
                        <a:pt x="600" y="288"/>
                      </a:lnTo>
                      <a:lnTo>
                        <a:pt x="600" y="288"/>
                      </a:lnTo>
                      <a:lnTo>
                        <a:pt x="599" y="288"/>
                      </a:lnTo>
                      <a:lnTo>
                        <a:pt x="599" y="290"/>
                      </a:lnTo>
                      <a:lnTo>
                        <a:pt x="599" y="290"/>
                      </a:lnTo>
                      <a:lnTo>
                        <a:pt x="599" y="290"/>
                      </a:lnTo>
                      <a:lnTo>
                        <a:pt x="600" y="290"/>
                      </a:lnTo>
                      <a:lnTo>
                        <a:pt x="600" y="289"/>
                      </a:lnTo>
                      <a:lnTo>
                        <a:pt x="601" y="288"/>
                      </a:lnTo>
                      <a:lnTo>
                        <a:pt x="601" y="288"/>
                      </a:lnTo>
                      <a:lnTo>
                        <a:pt x="602" y="288"/>
                      </a:lnTo>
                      <a:lnTo>
                        <a:pt x="603" y="288"/>
                      </a:lnTo>
                      <a:lnTo>
                        <a:pt x="604" y="288"/>
                      </a:lnTo>
                      <a:lnTo>
                        <a:pt x="604" y="288"/>
                      </a:lnTo>
                      <a:lnTo>
                        <a:pt x="604" y="287"/>
                      </a:lnTo>
                      <a:lnTo>
                        <a:pt x="606" y="288"/>
                      </a:lnTo>
                      <a:lnTo>
                        <a:pt x="607" y="287"/>
                      </a:lnTo>
                      <a:lnTo>
                        <a:pt x="608" y="287"/>
                      </a:lnTo>
                      <a:lnTo>
                        <a:pt x="611" y="287"/>
                      </a:lnTo>
                      <a:lnTo>
                        <a:pt x="612" y="288"/>
                      </a:lnTo>
                      <a:lnTo>
                        <a:pt x="613" y="288"/>
                      </a:lnTo>
                      <a:lnTo>
                        <a:pt x="615" y="287"/>
                      </a:lnTo>
                      <a:lnTo>
                        <a:pt x="617" y="287"/>
                      </a:lnTo>
                      <a:lnTo>
                        <a:pt x="618" y="287"/>
                      </a:lnTo>
                      <a:lnTo>
                        <a:pt x="619" y="287"/>
                      </a:lnTo>
                      <a:lnTo>
                        <a:pt x="620" y="287"/>
                      </a:lnTo>
                      <a:lnTo>
                        <a:pt x="620" y="287"/>
                      </a:lnTo>
                      <a:lnTo>
                        <a:pt x="621" y="287"/>
                      </a:lnTo>
                      <a:lnTo>
                        <a:pt x="622" y="286"/>
                      </a:lnTo>
                      <a:lnTo>
                        <a:pt x="624" y="285"/>
                      </a:lnTo>
                      <a:lnTo>
                        <a:pt x="625" y="284"/>
                      </a:lnTo>
                      <a:lnTo>
                        <a:pt x="626" y="283"/>
                      </a:lnTo>
                      <a:lnTo>
                        <a:pt x="627" y="282"/>
                      </a:lnTo>
                      <a:lnTo>
                        <a:pt x="627" y="281"/>
                      </a:lnTo>
                      <a:lnTo>
                        <a:pt x="628" y="281"/>
                      </a:lnTo>
                      <a:lnTo>
                        <a:pt x="628" y="281"/>
                      </a:lnTo>
                      <a:lnTo>
                        <a:pt x="634" y="281"/>
                      </a:lnTo>
                      <a:lnTo>
                        <a:pt x="635" y="280"/>
                      </a:lnTo>
                      <a:lnTo>
                        <a:pt x="636" y="280"/>
                      </a:lnTo>
                      <a:lnTo>
                        <a:pt x="636" y="279"/>
                      </a:lnTo>
                      <a:lnTo>
                        <a:pt x="638" y="280"/>
                      </a:lnTo>
                      <a:lnTo>
                        <a:pt x="641" y="280"/>
                      </a:lnTo>
                      <a:lnTo>
                        <a:pt x="642" y="280"/>
                      </a:lnTo>
                      <a:lnTo>
                        <a:pt x="642" y="279"/>
                      </a:lnTo>
                      <a:lnTo>
                        <a:pt x="642" y="279"/>
                      </a:lnTo>
                      <a:lnTo>
                        <a:pt x="642" y="279"/>
                      </a:lnTo>
                      <a:lnTo>
                        <a:pt x="642" y="278"/>
                      </a:lnTo>
                      <a:lnTo>
                        <a:pt x="646" y="279"/>
                      </a:lnTo>
                      <a:lnTo>
                        <a:pt x="648" y="278"/>
                      </a:lnTo>
                      <a:lnTo>
                        <a:pt x="650" y="278"/>
                      </a:lnTo>
                      <a:lnTo>
                        <a:pt x="652" y="278"/>
                      </a:lnTo>
                      <a:lnTo>
                        <a:pt x="655" y="278"/>
                      </a:lnTo>
                      <a:lnTo>
                        <a:pt x="657" y="278"/>
                      </a:lnTo>
                      <a:lnTo>
                        <a:pt x="657" y="278"/>
                      </a:lnTo>
                      <a:lnTo>
                        <a:pt x="658" y="278"/>
                      </a:lnTo>
                      <a:lnTo>
                        <a:pt x="659" y="277"/>
                      </a:lnTo>
                      <a:lnTo>
                        <a:pt x="662" y="277"/>
                      </a:lnTo>
                      <a:lnTo>
                        <a:pt x="663" y="276"/>
                      </a:lnTo>
                      <a:lnTo>
                        <a:pt x="665" y="276"/>
                      </a:lnTo>
                      <a:lnTo>
                        <a:pt x="670" y="276"/>
                      </a:lnTo>
                      <a:lnTo>
                        <a:pt x="673" y="277"/>
                      </a:lnTo>
                      <a:lnTo>
                        <a:pt x="673" y="277"/>
                      </a:lnTo>
                      <a:lnTo>
                        <a:pt x="680" y="277"/>
                      </a:lnTo>
                      <a:lnTo>
                        <a:pt x="681" y="276"/>
                      </a:lnTo>
                      <a:lnTo>
                        <a:pt x="681" y="276"/>
                      </a:lnTo>
                      <a:lnTo>
                        <a:pt x="682" y="275"/>
                      </a:lnTo>
                      <a:lnTo>
                        <a:pt x="682" y="275"/>
                      </a:lnTo>
                      <a:lnTo>
                        <a:pt x="685" y="275"/>
                      </a:lnTo>
                      <a:lnTo>
                        <a:pt x="685" y="275"/>
                      </a:lnTo>
                      <a:lnTo>
                        <a:pt x="687" y="275"/>
                      </a:lnTo>
                      <a:lnTo>
                        <a:pt x="687" y="276"/>
                      </a:lnTo>
                      <a:lnTo>
                        <a:pt x="688" y="276"/>
                      </a:lnTo>
                      <a:lnTo>
                        <a:pt x="688" y="275"/>
                      </a:lnTo>
                      <a:lnTo>
                        <a:pt x="690" y="275"/>
                      </a:lnTo>
                      <a:lnTo>
                        <a:pt x="690" y="275"/>
                      </a:lnTo>
                      <a:lnTo>
                        <a:pt x="691" y="275"/>
                      </a:lnTo>
                      <a:lnTo>
                        <a:pt x="692" y="275"/>
                      </a:lnTo>
                      <a:lnTo>
                        <a:pt x="693" y="275"/>
                      </a:lnTo>
                      <a:lnTo>
                        <a:pt x="693" y="274"/>
                      </a:lnTo>
                      <a:lnTo>
                        <a:pt x="695" y="274"/>
                      </a:lnTo>
                      <a:lnTo>
                        <a:pt x="695" y="274"/>
                      </a:lnTo>
                      <a:lnTo>
                        <a:pt x="696" y="274"/>
                      </a:lnTo>
                      <a:lnTo>
                        <a:pt x="696" y="274"/>
                      </a:lnTo>
                      <a:lnTo>
                        <a:pt x="696" y="273"/>
                      </a:lnTo>
                      <a:lnTo>
                        <a:pt x="697" y="274"/>
                      </a:lnTo>
                      <a:lnTo>
                        <a:pt x="698" y="274"/>
                      </a:lnTo>
                      <a:lnTo>
                        <a:pt x="699" y="274"/>
                      </a:lnTo>
                      <a:lnTo>
                        <a:pt x="700" y="274"/>
                      </a:lnTo>
                      <a:lnTo>
                        <a:pt x="701" y="274"/>
                      </a:lnTo>
                      <a:lnTo>
                        <a:pt x="702" y="274"/>
                      </a:lnTo>
                      <a:lnTo>
                        <a:pt x="702" y="273"/>
                      </a:lnTo>
                      <a:lnTo>
                        <a:pt x="702" y="273"/>
                      </a:lnTo>
                      <a:lnTo>
                        <a:pt x="702" y="272"/>
                      </a:lnTo>
                      <a:lnTo>
                        <a:pt x="703" y="272"/>
                      </a:lnTo>
                      <a:lnTo>
                        <a:pt x="706" y="272"/>
                      </a:lnTo>
                      <a:lnTo>
                        <a:pt x="707" y="272"/>
                      </a:lnTo>
                      <a:lnTo>
                        <a:pt x="708" y="272"/>
                      </a:lnTo>
                      <a:lnTo>
                        <a:pt x="708" y="272"/>
                      </a:lnTo>
                      <a:lnTo>
                        <a:pt x="710" y="272"/>
                      </a:lnTo>
                      <a:lnTo>
                        <a:pt x="711" y="272"/>
                      </a:lnTo>
                      <a:lnTo>
                        <a:pt x="711" y="272"/>
                      </a:lnTo>
                      <a:lnTo>
                        <a:pt x="712" y="271"/>
                      </a:lnTo>
                      <a:lnTo>
                        <a:pt x="712" y="272"/>
                      </a:lnTo>
                      <a:lnTo>
                        <a:pt x="713" y="273"/>
                      </a:lnTo>
                      <a:lnTo>
                        <a:pt x="714" y="273"/>
                      </a:lnTo>
                      <a:lnTo>
                        <a:pt x="714" y="273"/>
                      </a:lnTo>
                      <a:lnTo>
                        <a:pt x="715" y="274"/>
                      </a:lnTo>
                      <a:lnTo>
                        <a:pt x="715" y="275"/>
                      </a:lnTo>
                      <a:lnTo>
                        <a:pt x="715" y="275"/>
                      </a:lnTo>
                      <a:lnTo>
                        <a:pt x="716" y="275"/>
                      </a:lnTo>
                      <a:lnTo>
                        <a:pt x="716" y="276"/>
                      </a:lnTo>
                      <a:lnTo>
                        <a:pt x="716" y="277"/>
                      </a:lnTo>
                      <a:lnTo>
                        <a:pt x="716" y="278"/>
                      </a:lnTo>
                      <a:lnTo>
                        <a:pt x="716" y="280"/>
                      </a:lnTo>
                      <a:lnTo>
                        <a:pt x="716" y="280"/>
                      </a:lnTo>
                      <a:lnTo>
                        <a:pt x="716" y="283"/>
                      </a:lnTo>
                      <a:lnTo>
                        <a:pt x="715" y="283"/>
                      </a:lnTo>
                      <a:lnTo>
                        <a:pt x="715" y="284"/>
                      </a:lnTo>
                      <a:lnTo>
                        <a:pt x="715" y="284"/>
                      </a:lnTo>
                      <a:lnTo>
                        <a:pt x="715" y="284"/>
                      </a:lnTo>
                      <a:lnTo>
                        <a:pt x="715" y="285"/>
                      </a:lnTo>
                      <a:lnTo>
                        <a:pt x="715" y="285"/>
                      </a:lnTo>
                      <a:lnTo>
                        <a:pt x="715" y="285"/>
                      </a:lnTo>
                      <a:lnTo>
                        <a:pt x="715" y="285"/>
                      </a:lnTo>
                      <a:lnTo>
                        <a:pt x="715" y="286"/>
                      </a:lnTo>
                      <a:lnTo>
                        <a:pt x="715" y="286"/>
                      </a:lnTo>
                      <a:lnTo>
                        <a:pt x="715" y="286"/>
                      </a:lnTo>
                      <a:lnTo>
                        <a:pt x="715" y="287"/>
                      </a:lnTo>
                      <a:lnTo>
                        <a:pt x="714" y="287"/>
                      </a:lnTo>
                      <a:lnTo>
                        <a:pt x="715" y="287"/>
                      </a:lnTo>
                      <a:lnTo>
                        <a:pt x="714" y="288"/>
                      </a:lnTo>
                      <a:lnTo>
                        <a:pt x="713" y="290"/>
                      </a:lnTo>
                      <a:lnTo>
                        <a:pt x="712" y="291"/>
                      </a:lnTo>
                      <a:lnTo>
                        <a:pt x="711" y="292"/>
                      </a:lnTo>
                      <a:lnTo>
                        <a:pt x="710" y="293"/>
                      </a:lnTo>
                      <a:lnTo>
                        <a:pt x="711" y="293"/>
                      </a:lnTo>
                      <a:lnTo>
                        <a:pt x="710" y="293"/>
                      </a:lnTo>
                      <a:lnTo>
                        <a:pt x="711" y="294"/>
                      </a:lnTo>
                      <a:lnTo>
                        <a:pt x="711" y="294"/>
                      </a:lnTo>
                      <a:lnTo>
                        <a:pt x="710" y="293"/>
                      </a:lnTo>
                      <a:lnTo>
                        <a:pt x="710" y="294"/>
                      </a:lnTo>
                      <a:lnTo>
                        <a:pt x="709" y="294"/>
                      </a:lnTo>
                      <a:lnTo>
                        <a:pt x="709" y="294"/>
                      </a:lnTo>
                      <a:lnTo>
                        <a:pt x="709" y="295"/>
                      </a:lnTo>
                      <a:lnTo>
                        <a:pt x="708" y="293"/>
                      </a:lnTo>
                      <a:lnTo>
                        <a:pt x="707" y="294"/>
                      </a:lnTo>
                      <a:lnTo>
                        <a:pt x="705" y="294"/>
                      </a:lnTo>
                      <a:lnTo>
                        <a:pt x="704" y="293"/>
                      </a:lnTo>
                      <a:lnTo>
                        <a:pt x="704" y="293"/>
                      </a:lnTo>
                      <a:lnTo>
                        <a:pt x="703" y="293"/>
                      </a:lnTo>
                      <a:lnTo>
                        <a:pt x="702" y="293"/>
                      </a:lnTo>
                      <a:lnTo>
                        <a:pt x="701" y="293"/>
                      </a:lnTo>
                      <a:lnTo>
                        <a:pt x="700" y="294"/>
                      </a:lnTo>
                      <a:lnTo>
                        <a:pt x="700" y="294"/>
                      </a:lnTo>
                      <a:lnTo>
                        <a:pt x="699" y="296"/>
                      </a:lnTo>
                      <a:lnTo>
                        <a:pt x="699" y="297"/>
                      </a:lnTo>
                      <a:lnTo>
                        <a:pt x="699" y="297"/>
                      </a:lnTo>
                      <a:lnTo>
                        <a:pt x="700" y="297"/>
                      </a:lnTo>
                      <a:lnTo>
                        <a:pt x="700" y="298"/>
                      </a:lnTo>
                      <a:lnTo>
                        <a:pt x="701" y="300"/>
                      </a:lnTo>
                      <a:lnTo>
                        <a:pt x="701" y="304"/>
                      </a:lnTo>
                      <a:lnTo>
                        <a:pt x="701" y="305"/>
                      </a:lnTo>
                      <a:lnTo>
                        <a:pt x="702" y="307"/>
                      </a:lnTo>
                      <a:lnTo>
                        <a:pt x="702" y="309"/>
                      </a:lnTo>
                      <a:lnTo>
                        <a:pt x="703" y="310"/>
                      </a:lnTo>
                      <a:lnTo>
                        <a:pt x="703" y="311"/>
                      </a:lnTo>
                      <a:lnTo>
                        <a:pt x="703" y="312"/>
                      </a:lnTo>
                      <a:lnTo>
                        <a:pt x="703" y="312"/>
                      </a:lnTo>
                      <a:lnTo>
                        <a:pt x="704" y="315"/>
                      </a:lnTo>
                      <a:lnTo>
                        <a:pt x="705" y="317"/>
                      </a:lnTo>
                      <a:lnTo>
                        <a:pt x="706" y="319"/>
                      </a:lnTo>
                      <a:lnTo>
                        <a:pt x="706" y="320"/>
                      </a:lnTo>
                      <a:lnTo>
                        <a:pt x="707" y="324"/>
                      </a:lnTo>
                      <a:lnTo>
                        <a:pt x="707" y="329"/>
                      </a:lnTo>
                      <a:lnTo>
                        <a:pt x="707" y="339"/>
                      </a:lnTo>
                      <a:lnTo>
                        <a:pt x="708" y="339"/>
                      </a:lnTo>
                      <a:lnTo>
                        <a:pt x="707" y="343"/>
                      </a:lnTo>
                      <a:lnTo>
                        <a:pt x="708" y="346"/>
                      </a:lnTo>
                      <a:lnTo>
                        <a:pt x="707" y="347"/>
                      </a:lnTo>
                      <a:lnTo>
                        <a:pt x="707" y="347"/>
                      </a:lnTo>
                      <a:lnTo>
                        <a:pt x="707" y="348"/>
                      </a:lnTo>
                      <a:lnTo>
                        <a:pt x="706" y="349"/>
                      </a:lnTo>
                      <a:lnTo>
                        <a:pt x="706" y="350"/>
                      </a:lnTo>
                      <a:lnTo>
                        <a:pt x="705" y="352"/>
                      </a:lnTo>
                      <a:lnTo>
                        <a:pt x="703" y="353"/>
                      </a:lnTo>
                      <a:lnTo>
                        <a:pt x="703" y="353"/>
                      </a:lnTo>
                      <a:lnTo>
                        <a:pt x="703" y="353"/>
                      </a:lnTo>
                      <a:lnTo>
                        <a:pt x="703" y="354"/>
                      </a:lnTo>
                      <a:lnTo>
                        <a:pt x="703" y="355"/>
                      </a:lnTo>
                      <a:lnTo>
                        <a:pt x="701" y="357"/>
                      </a:lnTo>
                      <a:lnTo>
                        <a:pt x="699" y="358"/>
                      </a:lnTo>
                      <a:lnTo>
                        <a:pt x="697" y="359"/>
                      </a:lnTo>
                      <a:lnTo>
                        <a:pt x="697" y="358"/>
                      </a:lnTo>
                      <a:lnTo>
                        <a:pt x="695" y="359"/>
                      </a:lnTo>
                      <a:lnTo>
                        <a:pt x="695" y="362"/>
                      </a:lnTo>
                      <a:lnTo>
                        <a:pt x="694" y="362"/>
                      </a:lnTo>
                      <a:lnTo>
                        <a:pt x="694" y="361"/>
                      </a:lnTo>
                      <a:lnTo>
                        <a:pt x="693" y="362"/>
                      </a:lnTo>
                      <a:lnTo>
                        <a:pt x="692" y="362"/>
                      </a:lnTo>
                      <a:lnTo>
                        <a:pt x="692" y="362"/>
                      </a:lnTo>
                      <a:lnTo>
                        <a:pt x="692" y="362"/>
                      </a:lnTo>
                      <a:lnTo>
                        <a:pt x="691" y="361"/>
                      </a:lnTo>
                      <a:lnTo>
                        <a:pt x="691" y="361"/>
                      </a:lnTo>
                      <a:lnTo>
                        <a:pt x="690" y="362"/>
                      </a:lnTo>
                      <a:lnTo>
                        <a:pt x="688" y="362"/>
                      </a:lnTo>
                      <a:lnTo>
                        <a:pt x="688" y="363"/>
                      </a:lnTo>
                      <a:lnTo>
                        <a:pt x="690" y="364"/>
                      </a:lnTo>
                      <a:lnTo>
                        <a:pt x="688" y="364"/>
                      </a:lnTo>
                      <a:lnTo>
                        <a:pt x="688" y="365"/>
                      </a:lnTo>
                      <a:lnTo>
                        <a:pt x="690" y="365"/>
                      </a:lnTo>
                      <a:lnTo>
                        <a:pt x="691" y="365"/>
                      </a:lnTo>
                      <a:lnTo>
                        <a:pt x="691" y="366"/>
                      </a:lnTo>
                      <a:lnTo>
                        <a:pt x="688" y="366"/>
                      </a:lnTo>
                      <a:lnTo>
                        <a:pt x="688" y="365"/>
                      </a:lnTo>
                      <a:lnTo>
                        <a:pt x="685" y="365"/>
                      </a:lnTo>
                      <a:lnTo>
                        <a:pt x="684" y="365"/>
                      </a:lnTo>
                      <a:lnTo>
                        <a:pt x="684" y="366"/>
                      </a:lnTo>
                      <a:lnTo>
                        <a:pt x="683" y="366"/>
                      </a:lnTo>
                      <a:lnTo>
                        <a:pt x="682" y="367"/>
                      </a:lnTo>
                      <a:lnTo>
                        <a:pt x="682" y="367"/>
                      </a:lnTo>
                      <a:lnTo>
                        <a:pt x="681" y="367"/>
                      </a:lnTo>
                      <a:lnTo>
                        <a:pt x="681" y="368"/>
                      </a:lnTo>
                      <a:lnTo>
                        <a:pt x="679" y="368"/>
                      </a:lnTo>
                      <a:lnTo>
                        <a:pt x="679" y="368"/>
                      </a:lnTo>
                      <a:lnTo>
                        <a:pt x="679" y="368"/>
                      </a:lnTo>
                      <a:lnTo>
                        <a:pt x="678" y="369"/>
                      </a:lnTo>
                      <a:lnTo>
                        <a:pt x="678" y="369"/>
                      </a:lnTo>
                      <a:lnTo>
                        <a:pt x="678" y="369"/>
                      </a:lnTo>
                      <a:lnTo>
                        <a:pt x="676" y="369"/>
                      </a:lnTo>
                      <a:lnTo>
                        <a:pt x="675" y="369"/>
                      </a:lnTo>
                      <a:lnTo>
                        <a:pt x="672" y="369"/>
                      </a:lnTo>
                      <a:lnTo>
                        <a:pt x="669" y="370"/>
                      </a:lnTo>
                      <a:lnTo>
                        <a:pt x="668" y="370"/>
                      </a:lnTo>
                      <a:lnTo>
                        <a:pt x="668" y="370"/>
                      </a:lnTo>
                      <a:lnTo>
                        <a:pt x="666" y="371"/>
                      </a:lnTo>
                      <a:lnTo>
                        <a:pt x="666" y="371"/>
                      </a:lnTo>
                      <a:lnTo>
                        <a:pt x="665" y="372"/>
                      </a:lnTo>
                      <a:lnTo>
                        <a:pt x="665" y="372"/>
                      </a:lnTo>
                      <a:lnTo>
                        <a:pt x="665" y="373"/>
                      </a:lnTo>
                      <a:lnTo>
                        <a:pt x="665" y="373"/>
                      </a:lnTo>
                      <a:lnTo>
                        <a:pt x="665" y="374"/>
                      </a:lnTo>
                      <a:lnTo>
                        <a:pt x="665" y="375"/>
                      </a:lnTo>
                      <a:lnTo>
                        <a:pt x="664" y="375"/>
                      </a:lnTo>
                      <a:lnTo>
                        <a:pt x="662" y="375"/>
                      </a:lnTo>
                      <a:lnTo>
                        <a:pt x="662" y="376"/>
                      </a:lnTo>
                      <a:lnTo>
                        <a:pt x="661" y="376"/>
                      </a:lnTo>
                      <a:lnTo>
                        <a:pt x="662" y="376"/>
                      </a:lnTo>
                      <a:lnTo>
                        <a:pt x="662" y="376"/>
                      </a:lnTo>
                      <a:lnTo>
                        <a:pt x="663" y="377"/>
                      </a:lnTo>
                      <a:lnTo>
                        <a:pt x="661" y="377"/>
                      </a:lnTo>
                      <a:lnTo>
                        <a:pt x="661" y="377"/>
                      </a:lnTo>
                      <a:lnTo>
                        <a:pt x="660" y="377"/>
                      </a:lnTo>
                      <a:lnTo>
                        <a:pt x="660" y="377"/>
                      </a:lnTo>
                      <a:lnTo>
                        <a:pt x="657" y="379"/>
                      </a:lnTo>
                      <a:lnTo>
                        <a:pt x="654" y="379"/>
                      </a:lnTo>
                      <a:lnTo>
                        <a:pt x="646" y="380"/>
                      </a:lnTo>
                      <a:lnTo>
                        <a:pt x="644" y="381"/>
                      </a:lnTo>
                      <a:lnTo>
                        <a:pt x="642" y="381"/>
                      </a:lnTo>
                      <a:lnTo>
                        <a:pt x="640" y="381"/>
                      </a:lnTo>
                      <a:lnTo>
                        <a:pt x="639" y="382"/>
                      </a:lnTo>
                      <a:lnTo>
                        <a:pt x="638" y="382"/>
                      </a:lnTo>
                      <a:lnTo>
                        <a:pt x="636" y="383"/>
                      </a:lnTo>
                      <a:lnTo>
                        <a:pt x="636" y="383"/>
                      </a:lnTo>
                      <a:lnTo>
                        <a:pt x="635" y="384"/>
                      </a:lnTo>
                      <a:lnTo>
                        <a:pt x="634" y="384"/>
                      </a:lnTo>
                      <a:lnTo>
                        <a:pt x="632" y="385"/>
                      </a:lnTo>
                      <a:lnTo>
                        <a:pt x="630" y="387"/>
                      </a:lnTo>
                      <a:lnTo>
                        <a:pt x="630" y="387"/>
                      </a:lnTo>
                      <a:lnTo>
                        <a:pt x="629" y="388"/>
                      </a:lnTo>
                      <a:lnTo>
                        <a:pt x="628" y="389"/>
                      </a:lnTo>
                      <a:lnTo>
                        <a:pt x="626" y="390"/>
                      </a:lnTo>
                      <a:lnTo>
                        <a:pt x="626" y="391"/>
                      </a:lnTo>
                      <a:lnTo>
                        <a:pt x="623" y="393"/>
                      </a:lnTo>
                      <a:lnTo>
                        <a:pt x="623" y="393"/>
                      </a:lnTo>
                      <a:lnTo>
                        <a:pt x="623" y="394"/>
                      </a:lnTo>
                      <a:lnTo>
                        <a:pt x="622" y="394"/>
                      </a:lnTo>
                      <a:lnTo>
                        <a:pt x="622" y="395"/>
                      </a:lnTo>
                      <a:lnTo>
                        <a:pt x="620" y="397"/>
                      </a:lnTo>
                      <a:lnTo>
                        <a:pt x="619" y="398"/>
                      </a:lnTo>
                      <a:lnTo>
                        <a:pt x="619" y="399"/>
                      </a:lnTo>
                      <a:lnTo>
                        <a:pt x="618" y="400"/>
                      </a:lnTo>
                      <a:lnTo>
                        <a:pt x="618" y="401"/>
                      </a:lnTo>
                      <a:lnTo>
                        <a:pt x="618" y="401"/>
                      </a:lnTo>
                      <a:lnTo>
                        <a:pt x="618" y="402"/>
                      </a:lnTo>
                      <a:lnTo>
                        <a:pt x="617" y="405"/>
                      </a:lnTo>
                      <a:lnTo>
                        <a:pt x="616" y="409"/>
                      </a:lnTo>
                      <a:lnTo>
                        <a:pt x="615" y="413"/>
                      </a:lnTo>
                      <a:lnTo>
                        <a:pt x="615" y="417"/>
                      </a:lnTo>
                      <a:lnTo>
                        <a:pt x="616" y="422"/>
                      </a:lnTo>
                      <a:lnTo>
                        <a:pt x="616" y="423"/>
                      </a:lnTo>
                      <a:lnTo>
                        <a:pt x="617" y="425"/>
                      </a:lnTo>
                      <a:lnTo>
                        <a:pt x="618" y="427"/>
                      </a:lnTo>
                      <a:lnTo>
                        <a:pt x="619" y="431"/>
                      </a:lnTo>
                      <a:lnTo>
                        <a:pt x="618" y="432"/>
                      </a:lnTo>
                      <a:lnTo>
                        <a:pt x="618" y="433"/>
                      </a:lnTo>
                      <a:lnTo>
                        <a:pt x="617" y="433"/>
                      </a:lnTo>
                      <a:lnTo>
                        <a:pt x="617" y="433"/>
                      </a:lnTo>
                      <a:lnTo>
                        <a:pt x="615" y="433"/>
                      </a:lnTo>
                      <a:lnTo>
                        <a:pt x="610" y="433"/>
                      </a:lnTo>
                      <a:lnTo>
                        <a:pt x="609" y="433"/>
                      </a:lnTo>
                      <a:lnTo>
                        <a:pt x="608" y="433"/>
                      </a:lnTo>
                      <a:lnTo>
                        <a:pt x="604" y="432"/>
                      </a:lnTo>
                      <a:lnTo>
                        <a:pt x="604" y="432"/>
                      </a:lnTo>
                      <a:lnTo>
                        <a:pt x="601" y="431"/>
                      </a:lnTo>
                      <a:lnTo>
                        <a:pt x="601" y="431"/>
                      </a:lnTo>
                      <a:lnTo>
                        <a:pt x="600" y="431"/>
                      </a:lnTo>
                      <a:lnTo>
                        <a:pt x="599" y="431"/>
                      </a:lnTo>
                      <a:lnTo>
                        <a:pt x="599" y="431"/>
                      </a:lnTo>
                      <a:lnTo>
                        <a:pt x="598" y="430"/>
                      </a:lnTo>
                      <a:lnTo>
                        <a:pt x="595" y="430"/>
                      </a:lnTo>
                      <a:lnTo>
                        <a:pt x="595" y="430"/>
                      </a:lnTo>
                      <a:lnTo>
                        <a:pt x="594" y="430"/>
                      </a:lnTo>
                      <a:lnTo>
                        <a:pt x="594" y="429"/>
                      </a:lnTo>
                      <a:lnTo>
                        <a:pt x="590" y="428"/>
                      </a:lnTo>
                      <a:lnTo>
                        <a:pt x="589" y="428"/>
                      </a:lnTo>
                      <a:lnTo>
                        <a:pt x="587" y="428"/>
                      </a:lnTo>
                      <a:lnTo>
                        <a:pt x="585" y="428"/>
                      </a:lnTo>
                      <a:lnTo>
                        <a:pt x="585" y="427"/>
                      </a:lnTo>
                      <a:lnTo>
                        <a:pt x="584" y="427"/>
                      </a:lnTo>
                      <a:lnTo>
                        <a:pt x="583" y="427"/>
                      </a:lnTo>
                      <a:lnTo>
                        <a:pt x="582" y="427"/>
                      </a:lnTo>
                      <a:lnTo>
                        <a:pt x="579" y="426"/>
                      </a:lnTo>
                      <a:lnTo>
                        <a:pt x="575" y="426"/>
                      </a:lnTo>
                      <a:lnTo>
                        <a:pt x="574" y="426"/>
                      </a:lnTo>
                      <a:lnTo>
                        <a:pt x="573" y="426"/>
                      </a:lnTo>
                      <a:lnTo>
                        <a:pt x="574" y="427"/>
                      </a:lnTo>
                      <a:lnTo>
                        <a:pt x="574" y="427"/>
                      </a:lnTo>
                      <a:lnTo>
                        <a:pt x="574" y="428"/>
                      </a:lnTo>
                      <a:lnTo>
                        <a:pt x="573" y="428"/>
                      </a:lnTo>
                      <a:lnTo>
                        <a:pt x="569" y="429"/>
                      </a:lnTo>
                      <a:lnTo>
                        <a:pt x="568" y="430"/>
                      </a:lnTo>
                      <a:lnTo>
                        <a:pt x="565" y="432"/>
                      </a:lnTo>
                      <a:lnTo>
                        <a:pt x="564" y="433"/>
                      </a:lnTo>
                      <a:lnTo>
                        <a:pt x="562" y="435"/>
                      </a:lnTo>
                      <a:lnTo>
                        <a:pt x="561" y="436"/>
                      </a:lnTo>
                      <a:lnTo>
                        <a:pt x="561" y="436"/>
                      </a:lnTo>
                      <a:lnTo>
                        <a:pt x="560" y="436"/>
                      </a:lnTo>
                      <a:lnTo>
                        <a:pt x="560" y="437"/>
                      </a:lnTo>
                      <a:lnTo>
                        <a:pt x="559" y="438"/>
                      </a:lnTo>
                      <a:lnTo>
                        <a:pt x="559" y="438"/>
                      </a:lnTo>
                      <a:lnTo>
                        <a:pt x="557" y="439"/>
                      </a:lnTo>
                      <a:lnTo>
                        <a:pt x="556" y="440"/>
                      </a:lnTo>
                      <a:lnTo>
                        <a:pt x="556" y="441"/>
                      </a:lnTo>
                      <a:lnTo>
                        <a:pt x="555" y="441"/>
                      </a:lnTo>
                      <a:lnTo>
                        <a:pt x="555" y="443"/>
                      </a:lnTo>
                      <a:lnTo>
                        <a:pt x="553" y="444"/>
                      </a:lnTo>
                      <a:lnTo>
                        <a:pt x="553" y="445"/>
                      </a:lnTo>
                      <a:lnTo>
                        <a:pt x="552" y="445"/>
                      </a:lnTo>
                      <a:lnTo>
                        <a:pt x="552" y="446"/>
                      </a:lnTo>
                      <a:lnTo>
                        <a:pt x="552" y="446"/>
                      </a:lnTo>
                      <a:lnTo>
                        <a:pt x="551" y="446"/>
                      </a:lnTo>
                      <a:lnTo>
                        <a:pt x="551" y="446"/>
                      </a:lnTo>
                      <a:lnTo>
                        <a:pt x="550" y="447"/>
                      </a:lnTo>
                      <a:lnTo>
                        <a:pt x="549" y="447"/>
                      </a:lnTo>
                      <a:lnTo>
                        <a:pt x="549" y="447"/>
                      </a:lnTo>
                      <a:lnTo>
                        <a:pt x="548" y="447"/>
                      </a:lnTo>
                      <a:lnTo>
                        <a:pt x="547" y="447"/>
                      </a:lnTo>
                      <a:lnTo>
                        <a:pt x="546" y="447"/>
                      </a:lnTo>
                      <a:lnTo>
                        <a:pt x="546" y="448"/>
                      </a:lnTo>
                      <a:lnTo>
                        <a:pt x="545" y="448"/>
                      </a:lnTo>
                      <a:lnTo>
                        <a:pt x="544" y="449"/>
                      </a:lnTo>
                      <a:lnTo>
                        <a:pt x="544" y="449"/>
                      </a:lnTo>
                      <a:lnTo>
                        <a:pt x="540" y="450"/>
                      </a:lnTo>
                      <a:lnTo>
                        <a:pt x="538" y="451"/>
                      </a:lnTo>
                      <a:lnTo>
                        <a:pt x="537" y="451"/>
                      </a:lnTo>
                      <a:lnTo>
                        <a:pt x="537" y="451"/>
                      </a:lnTo>
                      <a:lnTo>
                        <a:pt x="536" y="451"/>
                      </a:lnTo>
                      <a:lnTo>
                        <a:pt x="535" y="452"/>
                      </a:lnTo>
                      <a:lnTo>
                        <a:pt x="533" y="452"/>
                      </a:lnTo>
                      <a:lnTo>
                        <a:pt x="529" y="453"/>
                      </a:lnTo>
                      <a:lnTo>
                        <a:pt x="525" y="453"/>
                      </a:lnTo>
                      <a:lnTo>
                        <a:pt x="522" y="453"/>
                      </a:lnTo>
                      <a:lnTo>
                        <a:pt x="520" y="455"/>
                      </a:lnTo>
                      <a:lnTo>
                        <a:pt x="520" y="455"/>
                      </a:lnTo>
                      <a:lnTo>
                        <a:pt x="519" y="455"/>
                      </a:lnTo>
                      <a:lnTo>
                        <a:pt x="519" y="455"/>
                      </a:lnTo>
                      <a:lnTo>
                        <a:pt x="519" y="456"/>
                      </a:lnTo>
                      <a:lnTo>
                        <a:pt x="517" y="456"/>
                      </a:lnTo>
                      <a:lnTo>
                        <a:pt x="516" y="457"/>
                      </a:lnTo>
                      <a:lnTo>
                        <a:pt x="516" y="457"/>
                      </a:lnTo>
                      <a:lnTo>
                        <a:pt x="515" y="457"/>
                      </a:lnTo>
                      <a:lnTo>
                        <a:pt x="514" y="457"/>
                      </a:lnTo>
                      <a:lnTo>
                        <a:pt x="513" y="458"/>
                      </a:lnTo>
                      <a:lnTo>
                        <a:pt x="512" y="458"/>
                      </a:lnTo>
                      <a:lnTo>
                        <a:pt x="507" y="459"/>
                      </a:lnTo>
                      <a:lnTo>
                        <a:pt x="505" y="459"/>
                      </a:lnTo>
                      <a:lnTo>
                        <a:pt x="504" y="459"/>
                      </a:lnTo>
                      <a:lnTo>
                        <a:pt x="503" y="459"/>
                      </a:lnTo>
                      <a:lnTo>
                        <a:pt x="499" y="460"/>
                      </a:lnTo>
                      <a:lnTo>
                        <a:pt x="496" y="461"/>
                      </a:lnTo>
                      <a:lnTo>
                        <a:pt x="495" y="462"/>
                      </a:lnTo>
                      <a:lnTo>
                        <a:pt x="493" y="462"/>
                      </a:lnTo>
                      <a:lnTo>
                        <a:pt x="487" y="465"/>
                      </a:lnTo>
                      <a:lnTo>
                        <a:pt x="485" y="467"/>
                      </a:lnTo>
                      <a:lnTo>
                        <a:pt x="484" y="468"/>
                      </a:lnTo>
                      <a:lnTo>
                        <a:pt x="483" y="468"/>
                      </a:lnTo>
                      <a:lnTo>
                        <a:pt x="483" y="470"/>
                      </a:lnTo>
                      <a:lnTo>
                        <a:pt x="481" y="473"/>
                      </a:lnTo>
                      <a:lnTo>
                        <a:pt x="481" y="473"/>
                      </a:lnTo>
                      <a:lnTo>
                        <a:pt x="481" y="473"/>
                      </a:lnTo>
                      <a:lnTo>
                        <a:pt x="481" y="473"/>
                      </a:lnTo>
                      <a:lnTo>
                        <a:pt x="480" y="473"/>
                      </a:lnTo>
                      <a:lnTo>
                        <a:pt x="480" y="473"/>
                      </a:lnTo>
                      <a:lnTo>
                        <a:pt x="481" y="474"/>
                      </a:lnTo>
                      <a:lnTo>
                        <a:pt x="481" y="474"/>
                      </a:lnTo>
                      <a:lnTo>
                        <a:pt x="481" y="475"/>
                      </a:lnTo>
                      <a:lnTo>
                        <a:pt x="480" y="475"/>
                      </a:lnTo>
                      <a:lnTo>
                        <a:pt x="480" y="475"/>
                      </a:lnTo>
                      <a:lnTo>
                        <a:pt x="478" y="476"/>
                      </a:lnTo>
                      <a:lnTo>
                        <a:pt x="476" y="477"/>
                      </a:lnTo>
                      <a:lnTo>
                        <a:pt x="473" y="480"/>
                      </a:lnTo>
                      <a:lnTo>
                        <a:pt x="472" y="481"/>
                      </a:lnTo>
                      <a:lnTo>
                        <a:pt x="472" y="482"/>
                      </a:lnTo>
                      <a:lnTo>
                        <a:pt x="470" y="484"/>
                      </a:lnTo>
                      <a:lnTo>
                        <a:pt x="470" y="484"/>
                      </a:lnTo>
                      <a:lnTo>
                        <a:pt x="469" y="485"/>
                      </a:lnTo>
                      <a:lnTo>
                        <a:pt x="468" y="487"/>
                      </a:lnTo>
                      <a:lnTo>
                        <a:pt x="467" y="490"/>
                      </a:lnTo>
                      <a:lnTo>
                        <a:pt x="466" y="490"/>
                      </a:lnTo>
                      <a:lnTo>
                        <a:pt x="463" y="490"/>
                      </a:lnTo>
                      <a:lnTo>
                        <a:pt x="462" y="491"/>
                      </a:lnTo>
                      <a:lnTo>
                        <a:pt x="458" y="490"/>
                      </a:lnTo>
                      <a:lnTo>
                        <a:pt x="457" y="490"/>
                      </a:lnTo>
                      <a:lnTo>
                        <a:pt x="456" y="490"/>
                      </a:lnTo>
                      <a:lnTo>
                        <a:pt x="455" y="490"/>
                      </a:lnTo>
                      <a:lnTo>
                        <a:pt x="454" y="489"/>
                      </a:lnTo>
                      <a:lnTo>
                        <a:pt x="453" y="488"/>
                      </a:lnTo>
                      <a:lnTo>
                        <a:pt x="451" y="487"/>
                      </a:lnTo>
                      <a:lnTo>
                        <a:pt x="448" y="486"/>
                      </a:lnTo>
                      <a:lnTo>
                        <a:pt x="448" y="486"/>
                      </a:lnTo>
                      <a:lnTo>
                        <a:pt x="446" y="485"/>
                      </a:lnTo>
                      <a:lnTo>
                        <a:pt x="445" y="484"/>
                      </a:lnTo>
                      <a:lnTo>
                        <a:pt x="444" y="484"/>
                      </a:lnTo>
                      <a:lnTo>
                        <a:pt x="443" y="483"/>
                      </a:lnTo>
                      <a:lnTo>
                        <a:pt x="442" y="483"/>
                      </a:lnTo>
                      <a:lnTo>
                        <a:pt x="441" y="484"/>
                      </a:lnTo>
                      <a:lnTo>
                        <a:pt x="441" y="484"/>
                      </a:lnTo>
                      <a:lnTo>
                        <a:pt x="441" y="484"/>
                      </a:lnTo>
                      <a:lnTo>
                        <a:pt x="440" y="484"/>
                      </a:lnTo>
                      <a:lnTo>
                        <a:pt x="438" y="484"/>
                      </a:lnTo>
                      <a:lnTo>
                        <a:pt x="437" y="484"/>
                      </a:lnTo>
                      <a:lnTo>
                        <a:pt x="431" y="478"/>
                      </a:lnTo>
                      <a:lnTo>
                        <a:pt x="426" y="476"/>
                      </a:lnTo>
                      <a:lnTo>
                        <a:pt x="425" y="476"/>
                      </a:lnTo>
                      <a:lnTo>
                        <a:pt x="423" y="476"/>
                      </a:lnTo>
                      <a:lnTo>
                        <a:pt x="423" y="476"/>
                      </a:lnTo>
                      <a:lnTo>
                        <a:pt x="422" y="476"/>
                      </a:lnTo>
                      <a:lnTo>
                        <a:pt x="422" y="477"/>
                      </a:lnTo>
                      <a:lnTo>
                        <a:pt x="423" y="478"/>
                      </a:lnTo>
                      <a:lnTo>
                        <a:pt x="423" y="478"/>
                      </a:lnTo>
                      <a:lnTo>
                        <a:pt x="422" y="477"/>
                      </a:lnTo>
                      <a:lnTo>
                        <a:pt x="422" y="477"/>
                      </a:lnTo>
                      <a:lnTo>
                        <a:pt x="421" y="476"/>
                      </a:lnTo>
                      <a:lnTo>
                        <a:pt x="418" y="476"/>
                      </a:lnTo>
                      <a:lnTo>
                        <a:pt x="415" y="475"/>
                      </a:lnTo>
                      <a:lnTo>
                        <a:pt x="414" y="475"/>
                      </a:lnTo>
                      <a:lnTo>
                        <a:pt x="412" y="474"/>
                      </a:lnTo>
                      <a:lnTo>
                        <a:pt x="411" y="474"/>
                      </a:lnTo>
                      <a:lnTo>
                        <a:pt x="410" y="473"/>
                      </a:lnTo>
                      <a:lnTo>
                        <a:pt x="408" y="473"/>
                      </a:lnTo>
                      <a:lnTo>
                        <a:pt x="403" y="470"/>
                      </a:lnTo>
                      <a:lnTo>
                        <a:pt x="402" y="470"/>
                      </a:lnTo>
                      <a:lnTo>
                        <a:pt x="401" y="470"/>
                      </a:lnTo>
                      <a:lnTo>
                        <a:pt x="399" y="469"/>
                      </a:lnTo>
                      <a:lnTo>
                        <a:pt x="392" y="466"/>
                      </a:lnTo>
                      <a:lnTo>
                        <a:pt x="392" y="466"/>
                      </a:lnTo>
                      <a:lnTo>
                        <a:pt x="392" y="467"/>
                      </a:lnTo>
                      <a:lnTo>
                        <a:pt x="388" y="467"/>
                      </a:lnTo>
                      <a:lnTo>
                        <a:pt x="388" y="467"/>
                      </a:lnTo>
                      <a:lnTo>
                        <a:pt x="388" y="466"/>
                      </a:lnTo>
                      <a:lnTo>
                        <a:pt x="387" y="465"/>
                      </a:lnTo>
                      <a:lnTo>
                        <a:pt x="382" y="464"/>
                      </a:lnTo>
                      <a:lnTo>
                        <a:pt x="382" y="465"/>
                      </a:lnTo>
                      <a:lnTo>
                        <a:pt x="382" y="465"/>
                      </a:lnTo>
                      <a:lnTo>
                        <a:pt x="382" y="465"/>
                      </a:lnTo>
                      <a:lnTo>
                        <a:pt x="382" y="465"/>
                      </a:lnTo>
                      <a:lnTo>
                        <a:pt x="382" y="464"/>
                      </a:lnTo>
                      <a:lnTo>
                        <a:pt x="381" y="464"/>
                      </a:lnTo>
                      <a:lnTo>
                        <a:pt x="378" y="463"/>
                      </a:lnTo>
                      <a:lnTo>
                        <a:pt x="363" y="461"/>
                      </a:lnTo>
                      <a:lnTo>
                        <a:pt x="360" y="461"/>
                      </a:lnTo>
                      <a:lnTo>
                        <a:pt x="359" y="461"/>
                      </a:lnTo>
                      <a:lnTo>
                        <a:pt x="360" y="461"/>
                      </a:lnTo>
                      <a:lnTo>
                        <a:pt x="361" y="460"/>
                      </a:lnTo>
                      <a:lnTo>
                        <a:pt x="360" y="460"/>
                      </a:lnTo>
                      <a:lnTo>
                        <a:pt x="359" y="460"/>
                      </a:lnTo>
                      <a:lnTo>
                        <a:pt x="359" y="461"/>
                      </a:lnTo>
                      <a:lnTo>
                        <a:pt x="359" y="460"/>
                      </a:lnTo>
                      <a:lnTo>
                        <a:pt x="359" y="461"/>
                      </a:lnTo>
                      <a:lnTo>
                        <a:pt x="359" y="461"/>
                      </a:lnTo>
                      <a:lnTo>
                        <a:pt x="359" y="462"/>
                      </a:lnTo>
                      <a:lnTo>
                        <a:pt x="359" y="462"/>
                      </a:lnTo>
                      <a:lnTo>
                        <a:pt x="357" y="461"/>
                      </a:lnTo>
                      <a:lnTo>
                        <a:pt x="351" y="462"/>
                      </a:lnTo>
                      <a:lnTo>
                        <a:pt x="351" y="462"/>
                      </a:lnTo>
                      <a:lnTo>
                        <a:pt x="347" y="463"/>
                      </a:lnTo>
                      <a:lnTo>
                        <a:pt x="343" y="464"/>
                      </a:lnTo>
                      <a:lnTo>
                        <a:pt x="342" y="464"/>
                      </a:lnTo>
                      <a:lnTo>
                        <a:pt x="340" y="465"/>
                      </a:lnTo>
                      <a:lnTo>
                        <a:pt x="339" y="465"/>
                      </a:lnTo>
                      <a:lnTo>
                        <a:pt x="338" y="466"/>
                      </a:lnTo>
                      <a:lnTo>
                        <a:pt x="335" y="466"/>
                      </a:lnTo>
                      <a:lnTo>
                        <a:pt x="334" y="467"/>
                      </a:lnTo>
                      <a:lnTo>
                        <a:pt x="330" y="468"/>
                      </a:lnTo>
                      <a:lnTo>
                        <a:pt x="329" y="468"/>
                      </a:lnTo>
                      <a:lnTo>
                        <a:pt x="323" y="468"/>
                      </a:lnTo>
                      <a:lnTo>
                        <a:pt x="323" y="469"/>
                      </a:lnTo>
                      <a:lnTo>
                        <a:pt x="321" y="469"/>
                      </a:lnTo>
                      <a:lnTo>
                        <a:pt x="321" y="469"/>
                      </a:lnTo>
                      <a:lnTo>
                        <a:pt x="318" y="469"/>
                      </a:lnTo>
                      <a:lnTo>
                        <a:pt x="314" y="470"/>
                      </a:lnTo>
                      <a:lnTo>
                        <a:pt x="312" y="469"/>
                      </a:lnTo>
                      <a:lnTo>
                        <a:pt x="310" y="469"/>
                      </a:lnTo>
                      <a:lnTo>
                        <a:pt x="310" y="469"/>
                      </a:lnTo>
                      <a:lnTo>
                        <a:pt x="302" y="469"/>
                      </a:lnTo>
                      <a:lnTo>
                        <a:pt x="302" y="470"/>
                      </a:lnTo>
                      <a:lnTo>
                        <a:pt x="297" y="469"/>
                      </a:lnTo>
                      <a:lnTo>
                        <a:pt x="297" y="470"/>
                      </a:lnTo>
                      <a:lnTo>
                        <a:pt x="297" y="470"/>
                      </a:lnTo>
                      <a:lnTo>
                        <a:pt x="297" y="470"/>
                      </a:lnTo>
                      <a:lnTo>
                        <a:pt x="297" y="470"/>
                      </a:lnTo>
                      <a:lnTo>
                        <a:pt x="294" y="470"/>
                      </a:lnTo>
                      <a:lnTo>
                        <a:pt x="293" y="470"/>
                      </a:lnTo>
                      <a:lnTo>
                        <a:pt x="292" y="470"/>
                      </a:lnTo>
                      <a:lnTo>
                        <a:pt x="290" y="471"/>
                      </a:lnTo>
                      <a:lnTo>
                        <a:pt x="289" y="472"/>
                      </a:lnTo>
                      <a:lnTo>
                        <a:pt x="289" y="472"/>
                      </a:lnTo>
                      <a:lnTo>
                        <a:pt x="289" y="472"/>
                      </a:lnTo>
                      <a:lnTo>
                        <a:pt x="287" y="472"/>
                      </a:lnTo>
                      <a:lnTo>
                        <a:pt x="287" y="472"/>
                      </a:lnTo>
                      <a:lnTo>
                        <a:pt x="287" y="473"/>
                      </a:lnTo>
                      <a:lnTo>
                        <a:pt x="286" y="473"/>
                      </a:lnTo>
                      <a:lnTo>
                        <a:pt x="285" y="473"/>
                      </a:lnTo>
                      <a:lnTo>
                        <a:pt x="282" y="473"/>
                      </a:lnTo>
                      <a:lnTo>
                        <a:pt x="281" y="473"/>
                      </a:lnTo>
                      <a:lnTo>
                        <a:pt x="279" y="474"/>
                      </a:lnTo>
                      <a:lnTo>
                        <a:pt x="280" y="474"/>
                      </a:lnTo>
                      <a:lnTo>
                        <a:pt x="279" y="474"/>
                      </a:lnTo>
                      <a:lnTo>
                        <a:pt x="274" y="474"/>
                      </a:lnTo>
                      <a:lnTo>
                        <a:pt x="273" y="475"/>
                      </a:lnTo>
                      <a:lnTo>
                        <a:pt x="272" y="475"/>
                      </a:lnTo>
                      <a:lnTo>
                        <a:pt x="271" y="475"/>
                      </a:lnTo>
                      <a:lnTo>
                        <a:pt x="272" y="476"/>
                      </a:lnTo>
                      <a:lnTo>
                        <a:pt x="270" y="476"/>
                      </a:lnTo>
                      <a:lnTo>
                        <a:pt x="267" y="477"/>
                      </a:lnTo>
                      <a:lnTo>
                        <a:pt x="265" y="477"/>
                      </a:lnTo>
                      <a:lnTo>
                        <a:pt x="257" y="479"/>
                      </a:lnTo>
                      <a:lnTo>
                        <a:pt x="257" y="480"/>
                      </a:lnTo>
                      <a:lnTo>
                        <a:pt x="256" y="481"/>
                      </a:lnTo>
                      <a:lnTo>
                        <a:pt x="256" y="481"/>
                      </a:lnTo>
                      <a:lnTo>
                        <a:pt x="255" y="481"/>
                      </a:lnTo>
                      <a:lnTo>
                        <a:pt x="255" y="482"/>
                      </a:lnTo>
                      <a:lnTo>
                        <a:pt x="254" y="482"/>
                      </a:lnTo>
                      <a:lnTo>
                        <a:pt x="254" y="483"/>
                      </a:lnTo>
                      <a:lnTo>
                        <a:pt x="254" y="483"/>
                      </a:lnTo>
                      <a:lnTo>
                        <a:pt x="254" y="483"/>
                      </a:lnTo>
                      <a:lnTo>
                        <a:pt x="253" y="483"/>
                      </a:lnTo>
                      <a:lnTo>
                        <a:pt x="253" y="484"/>
                      </a:lnTo>
                      <a:lnTo>
                        <a:pt x="251" y="485"/>
                      </a:lnTo>
                      <a:lnTo>
                        <a:pt x="251" y="487"/>
                      </a:lnTo>
                      <a:lnTo>
                        <a:pt x="251" y="488"/>
                      </a:lnTo>
                      <a:lnTo>
                        <a:pt x="250" y="489"/>
                      </a:lnTo>
                      <a:lnTo>
                        <a:pt x="250" y="490"/>
                      </a:lnTo>
                      <a:lnTo>
                        <a:pt x="248" y="493"/>
                      </a:lnTo>
                      <a:lnTo>
                        <a:pt x="247" y="494"/>
                      </a:lnTo>
                      <a:lnTo>
                        <a:pt x="246" y="496"/>
                      </a:lnTo>
                      <a:lnTo>
                        <a:pt x="245" y="496"/>
                      </a:lnTo>
                      <a:lnTo>
                        <a:pt x="244" y="495"/>
                      </a:lnTo>
                      <a:lnTo>
                        <a:pt x="242" y="494"/>
                      </a:lnTo>
                      <a:lnTo>
                        <a:pt x="242" y="493"/>
                      </a:lnTo>
                      <a:lnTo>
                        <a:pt x="239" y="490"/>
                      </a:lnTo>
                      <a:lnTo>
                        <a:pt x="239" y="490"/>
                      </a:lnTo>
                      <a:lnTo>
                        <a:pt x="237" y="489"/>
                      </a:lnTo>
                      <a:lnTo>
                        <a:pt x="236" y="488"/>
                      </a:lnTo>
                      <a:lnTo>
                        <a:pt x="233" y="485"/>
                      </a:lnTo>
                      <a:lnTo>
                        <a:pt x="228" y="482"/>
                      </a:lnTo>
                      <a:lnTo>
                        <a:pt x="220" y="478"/>
                      </a:lnTo>
                      <a:lnTo>
                        <a:pt x="218" y="476"/>
                      </a:lnTo>
                      <a:lnTo>
                        <a:pt x="218" y="475"/>
                      </a:lnTo>
                      <a:lnTo>
                        <a:pt x="218" y="475"/>
                      </a:lnTo>
                      <a:lnTo>
                        <a:pt x="218" y="474"/>
                      </a:lnTo>
                      <a:lnTo>
                        <a:pt x="218" y="473"/>
                      </a:lnTo>
                      <a:lnTo>
                        <a:pt x="219" y="473"/>
                      </a:lnTo>
                      <a:lnTo>
                        <a:pt x="220" y="474"/>
                      </a:lnTo>
                      <a:lnTo>
                        <a:pt x="220" y="475"/>
                      </a:lnTo>
                      <a:lnTo>
                        <a:pt x="220" y="475"/>
                      </a:lnTo>
                      <a:lnTo>
                        <a:pt x="219" y="475"/>
                      </a:lnTo>
                      <a:lnTo>
                        <a:pt x="219" y="476"/>
                      </a:lnTo>
                      <a:lnTo>
                        <a:pt x="220" y="476"/>
                      </a:lnTo>
                      <a:lnTo>
                        <a:pt x="220" y="475"/>
                      </a:lnTo>
                      <a:lnTo>
                        <a:pt x="220" y="474"/>
                      </a:lnTo>
                      <a:lnTo>
                        <a:pt x="221" y="474"/>
                      </a:lnTo>
                      <a:lnTo>
                        <a:pt x="221" y="473"/>
                      </a:lnTo>
                      <a:lnTo>
                        <a:pt x="223" y="472"/>
                      </a:lnTo>
                      <a:lnTo>
                        <a:pt x="223" y="472"/>
                      </a:lnTo>
                      <a:lnTo>
                        <a:pt x="223" y="471"/>
                      </a:lnTo>
                      <a:lnTo>
                        <a:pt x="223" y="470"/>
                      </a:lnTo>
                      <a:lnTo>
                        <a:pt x="224" y="470"/>
                      </a:lnTo>
                      <a:lnTo>
                        <a:pt x="223" y="469"/>
                      </a:lnTo>
                      <a:lnTo>
                        <a:pt x="224" y="469"/>
                      </a:lnTo>
                      <a:lnTo>
                        <a:pt x="224" y="469"/>
                      </a:lnTo>
                      <a:lnTo>
                        <a:pt x="224" y="469"/>
                      </a:lnTo>
                      <a:lnTo>
                        <a:pt x="224" y="469"/>
                      </a:lnTo>
                      <a:lnTo>
                        <a:pt x="224" y="468"/>
                      </a:lnTo>
                      <a:lnTo>
                        <a:pt x="224" y="469"/>
                      </a:lnTo>
                      <a:lnTo>
                        <a:pt x="224" y="468"/>
                      </a:lnTo>
                      <a:lnTo>
                        <a:pt x="225" y="467"/>
                      </a:lnTo>
                      <a:lnTo>
                        <a:pt x="226" y="467"/>
                      </a:lnTo>
                      <a:lnTo>
                        <a:pt x="228" y="467"/>
                      </a:lnTo>
                      <a:lnTo>
                        <a:pt x="229" y="468"/>
                      </a:lnTo>
                      <a:lnTo>
                        <a:pt x="230" y="468"/>
                      </a:lnTo>
                      <a:lnTo>
                        <a:pt x="233" y="470"/>
                      </a:lnTo>
                      <a:lnTo>
                        <a:pt x="234" y="469"/>
                      </a:lnTo>
                      <a:lnTo>
                        <a:pt x="234" y="469"/>
                      </a:lnTo>
                      <a:lnTo>
                        <a:pt x="234" y="469"/>
                      </a:lnTo>
                      <a:lnTo>
                        <a:pt x="235" y="468"/>
                      </a:lnTo>
                      <a:lnTo>
                        <a:pt x="237" y="468"/>
                      </a:lnTo>
                      <a:lnTo>
                        <a:pt x="237" y="468"/>
                      </a:lnTo>
                      <a:lnTo>
                        <a:pt x="237" y="468"/>
                      </a:lnTo>
                      <a:lnTo>
                        <a:pt x="237" y="467"/>
                      </a:lnTo>
                      <a:lnTo>
                        <a:pt x="238" y="466"/>
                      </a:lnTo>
                      <a:lnTo>
                        <a:pt x="239" y="465"/>
                      </a:lnTo>
                      <a:lnTo>
                        <a:pt x="239" y="463"/>
                      </a:lnTo>
                      <a:lnTo>
                        <a:pt x="241" y="462"/>
                      </a:lnTo>
                      <a:lnTo>
                        <a:pt x="241" y="460"/>
                      </a:lnTo>
                      <a:lnTo>
                        <a:pt x="239" y="460"/>
                      </a:lnTo>
                      <a:lnTo>
                        <a:pt x="239" y="460"/>
                      </a:lnTo>
                      <a:lnTo>
                        <a:pt x="239" y="461"/>
                      </a:lnTo>
                      <a:lnTo>
                        <a:pt x="239" y="462"/>
                      </a:lnTo>
                      <a:lnTo>
                        <a:pt x="238" y="463"/>
                      </a:lnTo>
                      <a:lnTo>
                        <a:pt x="238" y="465"/>
                      </a:lnTo>
                      <a:lnTo>
                        <a:pt x="238" y="465"/>
                      </a:lnTo>
                      <a:lnTo>
                        <a:pt x="236" y="466"/>
                      </a:lnTo>
                      <a:lnTo>
                        <a:pt x="236" y="466"/>
                      </a:lnTo>
                      <a:lnTo>
                        <a:pt x="235" y="467"/>
                      </a:lnTo>
                      <a:lnTo>
                        <a:pt x="234" y="468"/>
                      </a:lnTo>
                      <a:lnTo>
                        <a:pt x="233" y="468"/>
                      </a:lnTo>
                      <a:lnTo>
                        <a:pt x="232" y="468"/>
                      </a:lnTo>
                      <a:lnTo>
                        <a:pt x="230" y="468"/>
                      </a:lnTo>
                      <a:lnTo>
                        <a:pt x="230" y="467"/>
                      </a:lnTo>
                      <a:lnTo>
                        <a:pt x="228" y="466"/>
                      </a:lnTo>
                      <a:lnTo>
                        <a:pt x="227" y="466"/>
                      </a:lnTo>
                      <a:lnTo>
                        <a:pt x="227" y="464"/>
                      </a:lnTo>
                      <a:lnTo>
                        <a:pt x="228" y="463"/>
                      </a:lnTo>
                      <a:lnTo>
                        <a:pt x="229" y="463"/>
                      </a:lnTo>
                      <a:lnTo>
                        <a:pt x="229" y="463"/>
                      </a:lnTo>
                      <a:lnTo>
                        <a:pt x="230" y="462"/>
                      </a:lnTo>
                      <a:lnTo>
                        <a:pt x="230" y="462"/>
                      </a:lnTo>
                      <a:lnTo>
                        <a:pt x="231" y="461"/>
                      </a:lnTo>
                      <a:lnTo>
                        <a:pt x="231" y="461"/>
                      </a:lnTo>
                      <a:lnTo>
                        <a:pt x="231" y="461"/>
                      </a:lnTo>
                      <a:lnTo>
                        <a:pt x="230" y="461"/>
                      </a:lnTo>
                      <a:lnTo>
                        <a:pt x="230" y="461"/>
                      </a:lnTo>
                      <a:lnTo>
                        <a:pt x="229" y="461"/>
                      </a:lnTo>
                      <a:lnTo>
                        <a:pt x="229" y="460"/>
                      </a:lnTo>
                      <a:lnTo>
                        <a:pt x="230" y="458"/>
                      </a:lnTo>
                      <a:lnTo>
                        <a:pt x="230" y="458"/>
                      </a:lnTo>
                      <a:lnTo>
                        <a:pt x="230" y="458"/>
                      </a:lnTo>
                      <a:lnTo>
                        <a:pt x="229" y="458"/>
                      </a:lnTo>
                      <a:lnTo>
                        <a:pt x="228" y="457"/>
                      </a:lnTo>
                      <a:lnTo>
                        <a:pt x="228" y="458"/>
                      </a:lnTo>
                      <a:lnTo>
                        <a:pt x="228" y="459"/>
                      </a:lnTo>
                      <a:lnTo>
                        <a:pt x="228" y="460"/>
                      </a:lnTo>
                      <a:lnTo>
                        <a:pt x="229" y="460"/>
                      </a:lnTo>
                      <a:lnTo>
                        <a:pt x="229" y="461"/>
                      </a:lnTo>
                      <a:lnTo>
                        <a:pt x="228" y="463"/>
                      </a:lnTo>
                      <a:lnTo>
                        <a:pt x="227" y="464"/>
                      </a:lnTo>
                      <a:lnTo>
                        <a:pt x="227" y="465"/>
                      </a:lnTo>
                      <a:lnTo>
                        <a:pt x="226" y="466"/>
                      </a:lnTo>
                      <a:lnTo>
                        <a:pt x="225" y="466"/>
                      </a:lnTo>
                      <a:lnTo>
                        <a:pt x="225" y="466"/>
                      </a:lnTo>
                      <a:lnTo>
                        <a:pt x="225" y="466"/>
                      </a:lnTo>
                      <a:lnTo>
                        <a:pt x="225" y="466"/>
                      </a:lnTo>
                      <a:lnTo>
                        <a:pt x="223" y="466"/>
                      </a:lnTo>
                      <a:lnTo>
                        <a:pt x="223" y="467"/>
                      </a:lnTo>
                      <a:lnTo>
                        <a:pt x="223" y="468"/>
                      </a:lnTo>
                      <a:lnTo>
                        <a:pt x="222" y="468"/>
                      </a:lnTo>
                      <a:lnTo>
                        <a:pt x="222" y="468"/>
                      </a:lnTo>
                      <a:lnTo>
                        <a:pt x="221" y="468"/>
                      </a:lnTo>
                      <a:lnTo>
                        <a:pt x="221" y="467"/>
                      </a:lnTo>
                      <a:lnTo>
                        <a:pt x="221" y="466"/>
                      </a:lnTo>
                      <a:lnTo>
                        <a:pt x="223" y="465"/>
                      </a:lnTo>
                      <a:lnTo>
                        <a:pt x="224" y="465"/>
                      </a:lnTo>
                      <a:lnTo>
                        <a:pt x="224" y="464"/>
                      </a:lnTo>
                      <a:lnTo>
                        <a:pt x="223" y="464"/>
                      </a:lnTo>
                      <a:lnTo>
                        <a:pt x="223" y="462"/>
                      </a:lnTo>
                      <a:lnTo>
                        <a:pt x="222" y="461"/>
                      </a:lnTo>
                      <a:lnTo>
                        <a:pt x="222" y="460"/>
                      </a:lnTo>
                      <a:lnTo>
                        <a:pt x="222" y="459"/>
                      </a:lnTo>
                      <a:lnTo>
                        <a:pt x="223" y="459"/>
                      </a:lnTo>
                      <a:lnTo>
                        <a:pt x="223" y="458"/>
                      </a:lnTo>
                      <a:lnTo>
                        <a:pt x="223" y="457"/>
                      </a:lnTo>
                      <a:lnTo>
                        <a:pt x="222" y="457"/>
                      </a:lnTo>
                      <a:lnTo>
                        <a:pt x="222" y="458"/>
                      </a:lnTo>
                      <a:lnTo>
                        <a:pt x="221" y="457"/>
                      </a:lnTo>
                      <a:lnTo>
                        <a:pt x="220" y="458"/>
                      </a:lnTo>
                      <a:lnTo>
                        <a:pt x="219" y="457"/>
                      </a:lnTo>
                      <a:lnTo>
                        <a:pt x="219" y="457"/>
                      </a:lnTo>
                      <a:lnTo>
                        <a:pt x="218" y="458"/>
                      </a:lnTo>
                      <a:lnTo>
                        <a:pt x="219" y="459"/>
                      </a:lnTo>
                      <a:lnTo>
                        <a:pt x="219" y="460"/>
                      </a:lnTo>
                      <a:lnTo>
                        <a:pt x="219" y="462"/>
                      </a:lnTo>
                      <a:lnTo>
                        <a:pt x="220" y="462"/>
                      </a:lnTo>
                      <a:lnTo>
                        <a:pt x="220" y="463"/>
                      </a:lnTo>
                      <a:lnTo>
                        <a:pt x="220" y="465"/>
                      </a:lnTo>
                      <a:lnTo>
                        <a:pt x="220" y="465"/>
                      </a:lnTo>
                      <a:lnTo>
                        <a:pt x="220" y="465"/>
                      </a:lnTo>
                      <a:lnTo>
                        <a:pt x="220" y="468"/>
                      </a:lnTo>
                      <a:lnTo>
                        <a:pt x="220" y="468"/>
                      </a:lnTo>
                      <a:lnTo>
                        <a:pt x="220" y="469"/>
                      </a:lnTo>
                      <a:lnTo>
                        <a:pt x="220" y="469"/>
                      </a:lnTo>
                      <a:lnTo>
                        <a:pt x="220" y="469"/>
                      </a:lnTo>
                      <a:lnTo>
                        <a:pt x="220" y="470"/>
                      </a:lnTo>
                      <a:lnTo>
                        <a:pt x="220" y="470"/>
                      </a:lnTo>
                      <a:lnTo>
                        <a:pt x="220" y="471"/>
                      </a:lnTo>
                      <a:lnTo>
                        <a:pt x="219" y="470"/>
                      </a:lnTo>
                      <a:lnTo>
                        <a:pt x="219" y="470"/>
                      </a:lnTo>
                      <a:lnTo>
                        <a:pt x="219" y="469"/>
                      </a:lnTo>
                      <a:lnTo>
                        <a:pt x="219" y="469"/>
                      </a:lnTo>
                      <a:lnTo>
                        <a:pt x="218" y="468"/>
                      </a:lnTo>
                      <a:lnTo>
                        <a:pt x="217" y="468"/>
                      </a:lnTo>
                      <a:lnTo>
                        <a:pt x="217" y="467"/>
                      </a:lnTo>
                      <a:lnTo>
                        <a:pt x="217" y="467"/>
                      </a:lnTo>
                      <a:lnTo>
                        <a:pt x="216" y="467"/>
                      </a:lnTo>
                      <a:lnTo>
                        <a:pt x="216" y="466"/>
                      </a:lnTo>
                      <a:lnTo>
                        <a:pt x="215" y="465"/>
                      </a:lnTo>
                      <a:lnTo>
                        <a:pt x="214" y="465"/>
                      </a:lnTo>
                      <a:lnTo>
                        <a:pt x="214" y="465"/>
                      </a:lnTo>
                      <a:lnTo>
                        <a:pt x="213" y="465"/>
                      </a:lnTo>
                      <a:lnTo>
                        <a:pt x="213" y="465"/>
                      </a:lnTo>
                      <a:lnTo>
                        <a:pt x="213" y="464"/>
                      </a:lnTo>
                      <a:lnTo>
                        <a:pt x="213" y="464"/>
                      </a:lnTo>
                      <a:lnTo>
                        <a:pt x="213" y="464"/>
                      </a:lnTo>
                      <a:lnTo>
                        <a:pt x="213" y="464"/>
                      </a:lnTo>
                      <a:lnTo>
                        <a:pt x="212" y="464"/>
                      </a:lnTo>
                      <a:lnTo>
                        <a:pt x="212" y="463"/>
                      </a:lnTo>
                      <a:lnTo>
                        <a:pt x="213" y="463"/>
                      </a:lnTo>
                      <a:lnTo>
                        <a:pt x="213" y="462"/>
                      </a:lnTo>
                      <a:lnTo>
                        <a:pt x="213" y="460"/>
                      </a:lnTo>
                      <a:lnTo>
                        <a:pt x="214" y="460"/>
                      </a:lnTo>
                      <a:lnTo>
                        <a:pt x="214" y="459"/>
                      </a:lnTo>
                      <a:lnTo>
                        <a:pt x="214" y="459"/>
                      </a:lnTo>
                      <a:lnTo>
                        <a:pt x="215" y="457"/>
                      </a:lnTo>
                      <a:lnTo>
                        <a:pt x="215" y="456"/>
                      </a:lnTo>
                      <a:lnTo>
                        <a:pt x="215" y="456"/>
                      </a:lnTo>
                      <a:lnTo>
                        <a:pt x="213" y="456"/>
                      </a:lnTo>
                      <a:lnTo>
                        <a:pt x="213" y="456"/>
                      </a:lnTo>
                      <a:lnTo>
                        <a:pt x="212" y="456"/>
                      </a:lnTo>
                      <a:lnTo>
                        <a:pt x="211" y="456"/>
                      </a:lnTo>
                      <a:lnTo>
                        <a:pt x="211" y="456"/>
                      </a:lnTo>
                      <a:lnTo>
                        <a:pt x="211" y="457"/>
                      </a:lnTo>
                      <a:lnTo>
                        <a:pt x="210" y="457"/>
                      </a:lnTo>
                      <a:lnTo>
                        <a:pt x="210" y="458"/>
                      </a:lnTo>
                      <a:lnTo>
                        <a:pt x="210" y="458"/>
                      </a:lnTo>
                      <a:lnTo>
                        <a:pt x="210" y="458"/>
                      </a:lnTo>
                      <a:lnTo>
                        <a:pt x="210" y="458"/>
                      </a:lnTo>
                      <a:lnTo>
                        <a:pt x="209" y="458"/>
                      </a:lnTo>
                      <a:lnTo>
                        <a:pt x="209" y="457"/>
                      </a:lnTo>
                      <a:lnTo>
                        <a:pt x="209" y="457"/>
                      </a:lnTo>
                      <a:lnTo>
                        <a:pt x="209" y="457"/>
                      </a:lnTo>
                      <a:lnTo>
                        <a:pt x="208" y="457"/>
                      </a:lnTo>
                      <a:lnTo>
                        <a:pt x="208" y="457"/>
                      </a:lnTo>
                      <a:lnTo>
                        <a:pt x="206" y="456"/>
                      </a:lnTo>
                      <a:lnTo>
                        <a:pt x="206" y="456"/>
                      </a:lnTo>
                      <a:lnTo>
                        <a:pt x="206" y="457"/>
                      </a:lnTo>
                      <a:lnTo>
                        <a:pt x="206" y="457"/>
                      </a:lnTo>
                      <a:lnTo>
                        <a:pt x="206" y="457"/>
                      </a:lnTo>
                      <a:lnTo>
                        <a:pt x="205" y="457"/>
                      </a:lnTo>
                      <a:lnTo>
                        <a:pt x="205" y="459"/>
                      </a:lnTo>
                      <a:lnTo>
                        <a:pt x="205" y="459"/>
                      </a:lnTo>
                      <a:lnTo>
                        <a:pt x="205" y="458"/>
                      </a:lnTo>
                      <a:lnTo>
                        <a:pt x="204" y="458"/>
                      </a:lnTo>
                      <a:lnTo>
                        <a:pt x="202" y="458"/>
                      </a:lnTo>
                      <a:lnTo>
                        <a:pt x="200" y="457"/>
                      </a:lnTo>
                      <a:lnTo>
                        <a:pt x="200" y="456"/>
                      </a:lnTo>
                      <a:lnTo>
                        <a:pt x="199" y="456"/>
                      </a:lnTo>
                      <a:lnTo>
                        <a:pt x="198" y="456"/>
                      </a:lnTo>
                      <a:lnTo>
                        <a:pt x="196" y="456"/>
                      </a:lnTo>
                      <a:lnTo>
                        <a:pt x="196" y="457"/>
                      </a:lnTo>
                      <a:lnTo>
                        <a:pt x="197" y="458"/>
                      </a:lnTo>
                      <a:lnTo>
                        <a:pt x="198" y="458"/>
                      </a:lnTo>
                      <a:lnTo>
                        <a:pt x="199" y="458"/>
                      </a:lnTo>
                      <a:lnTo>
                        <a:pt x="199" y="458"/>
                      </a:lnTo>
                      <a:lnTo>
                        <a:pt x="199" y="459"/>
                      </a:lnTo>
                      <a:lnTo>
                        <a:pt x="199" y="459"/>
                      </a:lnTo>
                      <a:lnTo>
                        <a:pt x="200" y="460"/>
                      </a:lnTo>
                      <a:lnTo>
                        <a:pt x="200" y="460"/>
                      </a:lnTo>
                      <a:lnTo>
                        <a:pt x="199" y="460"/>
                      </a:lnTo>
                      <a:lnTo>
                        <a:pt x="199" y="460"/>
                      </a:lnTo>
                      <a:lnTo>
                        <a:pt x="199" y="460"/>
                      </a:lnTo>
                      <a:lnTo>
                        <a:pt x="199" y="459"/>
                      </a:lnTo>
                      <a:lnTo>
                        <a:pt x="198" y="459"/>
                      </a:lnTo>
                      <a:lnTo>
                        <a:pt x="197" y="458"/>
                      </a:lnTo>
                      <a:lnTo>
                        <a:pt x="197" y="458"/>
                      </a:lnTo>
                      <a:lnTo>
                        <a:pt x="196" y="458"/>
                      </a:lnTo>
                      <a:lnTo>
                        <a:pt x="196" y="458"/>
                      </a:lnTo>
                      <a:lnTo>
                        <a:pt x="195" y="459"/>
                      </a:lnTo>
                      <a:lnTo>
                        <a:pt x="195" y="460"/>
                      </a:lnTo>
                      <a:lnTo>
                        <a:pt x="195" y="460"/>
                      </a:lnTo>
                      <a:lnTo>
                        <a:pt x="195" y="460"/>
                      </a:lnTo>
                      <a:lnTo>
                        <a:pt x="195" y="461"/>
                      </a:lnTo>
                      <a:lnTo>
                        <a:pt x="195" y="461"/>
                      </a:lnTo>
                      <a:lnTo>
                        <a:pt x="194" y="461"/>
                      </a:lnTo>
                      <a:lnTo>
                        <a:pt x="193" y="461"/>
                      </a:lnTo>
                      <a:lnTo>
                        <a:pt x="194" y="461"/>
                      </a:lnTo>
                      <a:lnTo>
                        <a:pt x="193" y="460"/>
                      </a:lnTo>
                      <a:lnTo>
                        <a:pt x="193" y="459"/>
                      </a:lnTo>
                      <a:lnTo>
                        <a:pt x="193" y="459"/>
                      </a:lnTo>
                      <a:lnTo>
                        <a:pt x="192" y="459"/>
                      </a:lnTo>
                      <a:lnTo>
                        <a:pt x="191" y="459"/>
                      </a:lnTo>
                      <a:lnTo>
                        <a:pt x="190" y="459"/>
                      </a:lnTo>
                      <a:lnTo>
                        <a:pt x="190" y="459"/>
                      </a:lnTo>
                      <a:lnTo>
                        <a:pt x="191" y="460"/>
                      </a:lnTo>
                      <a:lnTo>
                        <a:pt x="191" y="462"/>
                      </a:lnTo>
                      <a:lnTo>
                        <a:pt x="192" y="462"/>
                      </a:lnTo>
                      <a:lnTo>
                        <a:pt x="192" y="462"/>
                      </a:lnTo>
                      <a:lnTo>
                        <a:pt x="192" y="463"/>
                      </a:lnTo>
                      <a:lnTo>
                        <a:pt x="191" y="463"/>
                      </a:lnTo>
                      <a:lnTo>
                        <a:pt x="191" y="464"/>
                      </a:lnTo>
                      <a:lnTo>
                        <a:pt x="191" y="466"/>
                      </a:lnTo>
                      <a:lnTo>
                        <a:pt x="192" y="466"/>
                      </a:lnTo>
                      <a:lnTo>
                        <a:pt x="192" y="466"/>
                      </a:lnTo>
                      <a:lnTo>
                        <a:pt x="192" y="466"/>
                      </a:lnTo>
                      <a:lnTo>
                        <a:pt x="191" y="468"/>
                      </a:lnTo>
                      <a:lnTo>
                        <a:pt x="192" y="470"/>
                      </a:lnTo>
                      <a:lnTo>
                        <a:pt x="192" y="471"/>
                      </a:lnTo>
                      <a:lnTo>
                        <a:pt x="192" y="472"/>
                      </a:lnTo>
                      <a:lnTo>
                        <a:pt x="192" y="472"/>
                      </a:lnTo>
                      <a:lnTo>
                        <a:pt x="191" y="473"/>
                      </a:lnTo>
                      <a:lnTo>
                        <a:pt x="192" y="473"/>
                      </a:lnTo>
                      <a:lnTo>
                        <a:pt x="193" y="472"/>
                      </a:lnTo>
                      <a:lnTo>
                        <a:pt x="193" y="472"/>
                      </a:lnTo>
                      <a:lnTo>
                        <a:pt x="194" y="472"/>
                      </a:lnTo>
                      <a:lnTo>
                        <a:pt x="194" y="471"/>
                      </a:lnTo>
                      <a:lnTo>
                        <a:pt x="194" y="471"/>
                      </a:lnTo>
                      <a:lnTo>
                        <a:pt x="194" y="471"/>
                      </a:lnTo>
                      <a:lnTo>
                        <a:pt x="194" y="471"/>
                      </a:lnTo>
                      <a:lnTo>
                        <a:pt x="194" y="473"/>
                      </a:lnTo>
                      <a:lnTo>
                        <a:pt x="194" y="474"/>
                      </a:lnTo>
                      <a:lnTo>
                        <a:pt x="193" y="474"/>
                      </a:lnTo>
                      <a:lnTo>
                        <a:pt x="191" y="475"/>
                      </a:lnTo>
                      <a:lnTo>
                        <a:pt x="190" y="475"/>
                      </a:lnTo>
                      <a:lnTo>
                        <a:pt x="189" y="475"/>
                      </a:lnTo>
                      <a:lnTo>
                        <a:pt x="188" y="476"/>
                      </a:lnTo>
                      <a:lnTo>
                        <a:pt x="186" y="476"/>
                      </a:lnTo>
                      <a:lnTo>
                        <a:pt x="185" y="477"/>
                      </a:lnTo>
                      <a:lnTo>
                        <a:pt x="182" y="477"/>
                      </a:lnTo>
                      <a:lnTo>
                        <a:pt x="180" y="475"/>
                      </a:lnTo>
                      <a:lnTo>
                        <a:pt x="179" y="475"/>
                      </a:lnTo>
                      <a:lnTo>
                        <a:pt x="179" y="474"/>
                      </a:lnTo>
                      <a:lnTo>
                        <a:pt x="177" y="473"/>
                      </a:lnTo>
                      <a:lnTo>
                        <a:pt x="177" y="472"/>
                      </a:lnTo>
                      <a:lnTo>
                        <a:pt x="178" y="472"/>
                      </a:lnTo>
                      <a:lnTo>
                        <a:pt x="177" y="471"/>
                      </a:lnTo>
                      <a:lnTo>
                        <a:pt x="177" y="471"/>
                      </a:lnTo>
                      <a:lnTo>
                        <a:pt x="177" y="471"/>
                      </a:lnTo>
                      <a:lnTo>
                        <a:pt x="177" y="470"/>
                      </a:lnTo>
                      <a:lnTo>
                        <a:pt x="177" y="469"/>
                      </a:lnTo>
                      <a:lnTo>
                        <a:pt x="177" y="468"/>
                      </a:lnTo>
                      <a:lnTo>
                        <a:pt x="178" y="467"/>
                      </a:lnTo>
                      <a:lnTo>
                        <a:pt x="178" y="468"/>
                      </a:lnTo>
                      <a:lnTo>
                        <a:pt x="178" y="467"/>
                      </a:lnTo>
                      <a:lnTo>
                        <a:pt x="178" y="467"/>
                      </a:lnTo>
                      <a:lnTo>
                        <a:pt x="178" y="466"/>
                      </a:lnTo>
                      <a:lnTo>
                        <a:pt x="179" y="466"/>
                      </a:lnTo>
                      <a:lnTo>
                        <a:pt x="180" y="467"/>
                      </a:lnTo>
                      <a:lnTo>
                        <a:pt x="181" y="467"/>
                      </a:lnTo>
                      <a:lnTo>
                        <a:pt x="181" y="467"/>
                      </a:lnTo>
                      <a:lnTo>
                        <a:pt x="181" y="467"/>
                      </a:lnTo>
                      <a:lnTo>
                        <a:pt x="181" y="466"/>
                      </a:lnTo>
                      <a:lnTo>
                        <a:pt x="180" y="466"/>
                      </a:lnTo>
                      <a:lnTo>
                        <a:pt x="180" y="466"/>
                      </a:lnTo>
                      <a:lnTo>
                        <a:pt x="180" y="466"/>
                      </a:lnTo>
                      <a:lnTo>
                        <a:pt x="180" y="466"/>
                      </a:lnTo>
                      <a:lnTo>
                        <a:pt x="179" y="466"/>
                      </a:lnTo>
                      <a:lnTo>
                        <a:pt x="180" y="463"/>
                      </a:lnTo>
                      <a:lnTo>
                        <a:pt x="180" y="463"/>
                      </a:lnTo>
                      <a:lnTo>
                        <a:pt x="181" y="464"/>
                      </a:lnTo>
                      <a:lnTo>
                        <a:pt x="181" y="464"/>
                      </a:lnTo>
                      <a:lnTo>
                        <a:pt x="181" y="465"/>
                      </a:lnTo>
                      <a:lnTo>
                        <a:pt x="181" y="464"/>
                      </a:lnTo>
                      <a:lnTo>
                        <a:pt x="181" y="464"/>
                      </a:lnTo>
                      <a:lnTo>
                        <a:pt x="181" y="463"/>
                      </a:lnTo>
                      <a:lnTo>
                        <a:pt x="181" y="463"/>
                      </a:lnTo>
                      <a:lnTo>
                        <a:pt x="180" y="462"/>
                      </a:lnTo>
                      <a:lnTo>
                        <a:pt x="179" y="461"/>
                      </a:lnTo>
                      <a:lnTo>
                        <a:pt x="180" y="461"/>
                      </a:lnTo>
                      <a:lnTo>
                        <a:pt x="181" y="461"/>
                      </a:lnTo>
                      <a:lnTo>
                        <a:pt x="181" y="460"/>
                      </a:lnTo>
                      <a:lnTo>
                        <a:pt x="181" y="460"/>
                      </a:lnTo>
                      <a:lnTo>
                        <a:pt x="181" y="461"/>
                      </a:lnTo>
                      <a:lnTo>
                        <a:pt x="181" y="461"/>
                      </a:lnTo>
                      <a:lnTo>
                        <a:pt x="182" y="460"/>
                      </a:lnTo>
                      <a:lnTo>
                        <a:pt x="180" y="460"/>
                      </a:lnTo>
                      <a:lnTo>
                        <a:pt x="180" y="459"/>
                      </a:lnTo>
                      <a:lnTo>
                        <a:pt x="178" y="458"/>
                      </a:lnTo>
                      <a:lnTo>
                        <a:pt x="178" y="456"/>
                      </a:lnTo>
                      <a:lnTo>
                        <a:pt x="178" y="456"/>
                      </a:lnTo>
                      <a:lnTo>
                        <a:pt x="179" y="455"/>
                      </a:lnTo>
                      <a:lnTo>
                        <a:pt x="179" y="455"/>
                      </a:lnTo>
                      <a:lnTo>
                        <a:pt x="177" y="455"/>
                      </a:lnTo>
                      <a:lnTo>
                        <a:pt x="177" y="455"/>
                      </a:lnTo>
                      <a:lnTo>
                        <a:pt x="177" y="456"/>
                      </a:lnTo>
                      <a:lnTo>
                        <a:pt x="177" y="456"/>
                      </a:lnTo>
                      <a:lnTo>
                        <a:pt x="177" y="456"/>
                      </a:lnTo>
                      <a:lnTo>
                        <a:pt x="176" y="456"/>
                      </a:lnTo>
                      <a:lnTo>
                        <a:pt x="176" y="457"/>
                      </a:lnTo>
                      <a:lnTo>
                        <a:pt x="177" y="457"/>
                      </a:lnTo>
                      <a:lnTo>
                        <a:pt x="177" y="457"/>
                      </a:lnTo>
                      <a:lnTo>
                        <a:pt x="177" y="458"/>
                      </a:lnTo>
                      <a:lnTo>
                        <a:pt x="177" y="458"/>
                      </a:lnTo>
                      <a:lnTo>
                        <a:pt x="176" y="458"/>
                      </a:lnTo>
                      <a:lnTo>
                        <a:pt x="175" y="458"/>
                      </a:lnTo>
                      <a:lnTo>
                        <a:pt x="174" y="458"/>
                      </a:lnTo>
                      <a:lnTo>
                        <a:pt x="172" y="457"/>
                      </a:lnTo>
                      <a:lnTo>
                        <a:pt x="171" y="457"/>
                      </a:lnTo>
                      <a:lnTo>
                        <a:pt x="170" y="457"/>
                      </a:lnTo>
                      <a:lnTo>
                        <a:pt x="169" y="457"/>
                      </a:lnTo>
                      <a:lnTo>
                        <a:pt x="170" y="456"/>
                      </a:lnTo>
                      <a:lnTo>
                        <a:pt x="169" y="457"/>
                      </a:lnTo>
                      <a:lnTo>
                        <a:pt x="168" y="456"/>
                      </a:lnTo>
                      <a:lnTo>
                        <a:pt x="168" y="456"/>
                      </a:lnTo>
                      <a:lnTo>
                        <a:pt x="167" y="456"/>
                      </a:lnTo>
                      <a:lnTo>
                        <a:pt x="167" y="456"/>
                      </a:lnTo>
                      <a:lnTo>
                        <a:pt x="167" y="456"/>
                      </a:lnTo>
                      <a:lnTo>
                        <a:pt x="164" y="457"/>
                      </a:lnTo>
                      <a:lnTo>
                        <a:pt x="163" y="457"/>
                      </a:lnTo>
                      <a:lnTo>
                        <a:pt x="163" y="457"/>
                      </a:lnTo>
                      <a:lnTo>
                        <a:pt x="164" y="458"/>
                      </a:lnTo>
                      <a:lnTo>
                        <a:pt x="164" y="458"/>
                      </a:lnTo>
                      <a:lnTo>
                        <a:pt x="164" y="458"/>
                      </a:lnTo>
                      <a:lnTo>
                        <a:pt x="164" y="458"/>
                      </a:lnTo>
                      <a:lnTo>
                        <a:pt x="167" y="458"/>
                      </a:lnTo>
                      <a:lnTo>
                        <a:pt x="167" y="458"/>
                      </a:lnTo>
                      <a:lnTo>
                        <a:pt x="167" y="457"/>
                      </a:lnTo>
                      <a:lnTo>
                        <a:pt x="168" y="457"/>
                      </a:lnTo>
                      <a:lnTo>
                        <a:pt x="168" y="458"/>
                      </a:lnTo>
                      <a:lnTo>
                        <a:pt x="169" y="458"/>
                      </a:lnTo>
                      <a:lnTo>
                        <a:pt x="170" y="459"/>
                      </a:lnTo>
                      <a:lnTo>
                        <a:pt x="170" y="459"/>
                      </a:lnTo>
                      <a:lnTo>
                        <a:pt x="170" y="460"/>
                      </a:lnTo>
                      <a:lnTo>
                        <a:pt x="169" y="461"/>
                      </a:lnTo>
                      <a:lnTo>
                        <a:pt x="170" y="461"/>
                      </a:lnTo>
                      <a:lnTo>
                        <a:pt x="170" y="461"/>
                      </a:lnTo>
                      <a:lnTo>
                        <a:pt x="170" y="462"/>
                      </a:lnTo>
                      <a:lnTo>
                        <a:pt x="171" y="462"/>
                      </a:lnTo>
                      <a:lnTo>
                        <a:pt x="171" y="463"/>
                      </a:lnTo>
                      <a:lnTo>
                        <a:pt x="172" y="465"/>
                      </a:lnTo>
                      <a:lnTo>
                        <a:pt x="172" y="465"/>
                      </a:lnTo>
                      <a:lnTo>
                        <a:pt x="173" y="466"/>
                      </a:lnTo>
                      <a:lnTo>
                        <a:pt x="174" y="466"/>
                      </a:lnTo>
                      <a:lnTo>
                        <a:pt x="174" y="467"/>
                      </a:lnTo>
                      <a:lnTo>
                        <a:pt x="174" y="467"/>
                      </a:lnTo>
                      <a:lnTo>
                        <a:pt x="175" y="467"/>
                      </a:lnTo>
                      <a:lnTo>
                        <a:pt x="175" y="467"/>
                      </a:lnTo>
                      <a:lnTo>
                        <a:pt x="175" y="467"/>
                      </a:lnTo>
                      <a:lnTo>
                        <a:pt x="175" y="468"/>
                      </a:lnTo>
                      <a:lnTo>
                        <a:pt x="175" y="468"/>
                      </a:lnTo>
                      <a:lnTo>
                        <a:pt x="175" y="469"/>
                      </a:lnTo>
                      <a:lnTo>
                        <a:pt x="175" y="469"/>
                      </a:lnTo>
                      <a:lnTo>
                        <a:pt x="175" y="469"/>
                      </a:lnTo>
                      <a:lnTo>
                        <a:pt x="176" y="470"/>
                      </a:lnTo>
                      <a:lnTo>
                        <a:pt x="175" y="470"/>
                      </a:lnTo>
                      <a:lnTo>
                        <a:pt x="175" y="470"/>
                      </a:lnTo>
                      <a:lnTo>
                        <a:pt x="175" y="470"/>
                      </a:lnTo>
                      <a:lnTo>
                        <a:pt x="176" y="470"/>
                      </a:lnTo>
                      <a:lnTo>
                        <a:pt x="176" y="471"/>
                      </a:lnTo>
                      <a:lnTo>
                        <a:pt x="176" y="472"/>
                      </a:lnTo>
                      <a:lnTo>
                        <a:pt x="177" y="473"/>
                      </a:lnTo>
                      <a:lnTo>
                        <a:pt x="176" y="474"/>
                      </a:lnTo>
                      <a:lnTo>
                        <a:pt x="174" y="475"/>
                      </a:lnTo>
                      <a:lnTo>
                        <a:pt x="174" y="476"/>
                      </a:lnTo>
                      <a:lnTo>
                        <a:pt x="174" y="476"/>
                      </a:lnTo>
                      <a:lnTo>
                        <a:pt x="173" y="478"/>
                      </a:lnTo>
                      <a:lnTo>
                        <a:pt x="171" y="478"/>
                      </a:lnTo>
                      <a:lnTo>
                        <a:pt x="170" y="478"/>
                      </a:lnTo>
                      <a:lnTo>
                        <a:pt x="168" y="476"/>
                      </a:lnTo>
                      <a:lnTo>
                        <a:pt x="167" y="475"/>
                      </a:lnTo>
                      <a:lnTo>
                        <a:pt x="166" y="474"/>
                      </a:lnTo>
                      <a:lnTo>
                        <a:pt x="164" y="474"/>
                      </a:lnTo>
                      <a:lnTo>
                        <a:pt x="163" y="474"/>
                      </a:lnTo>
                      <a:lnTo>
                        <a:pt x="162" y="474"/>
                      </a:lnTo>
                      <a:lnTo>
                        <a:pt x="160" y="473"/>
                      </a:lnTo>
                      <a:lnTo>
                        <a:pt x="158" y="471"/>
                      </a:lnTo>
                      <a:lnTo>
                        <a:pt x="158" y="471"/>
                      </a:lnTo>
                      <a:lnTo>
                        <a:pt x="157" y="470"/>
                      </a:lnTo>
                      <a:lnTo>
                        <a:pt x="157" y="469"/>
                      </a:lnTo>
                      <a:lnTo>
                        <a:pt x="156" y="469"/>
                      </a:lnTo>
                      <a:lnTo>
                        <a:pt x="156" y="468"/>
                      </a:lnTo>
                      <a:lnTo>
                        <a:pt x="156" y="467"/>
                      </a:lnTo>
                      <a:lnTo>
                        <a:pt x="155" y="467"/>
                      </a:lnTo>
                      <a:lnTo>
                        <a:pt x="155" y="467"/>
                      </a:lnTo>
                      <a:lnTo>
                        <a:pt x="154" y="466"/>
                      </a:lnTo>
                      <a:lnTo>
                        <a:pt x="154" y="466"/>
                      </a:lnTo>
                      <a:lnTo>
                        <a:pt x="153" y="465"/>
                      </a:lnTo>
                      <a:lnTo>
                        <a:pt x="152" y="465"/>
                      </a:lnTo>
                      <a:lnTo>
                        <a:pt x="150" y="464"/>
                      </a:lnTo>
                      <a:lnTo>
                        <a:pt x="149" y="464"/>
                      </a:lnTo>
                      <a:lnTo>
                        <a:pt x="149" y="464"/>
                      </a:lnTo>
                      <a:lnTo>
                        <a:pt x="148" y="464"/>
                      </a:lnTo>
                      <a:lnTo>
                        <a:pt x="145" y="461"/>
                      </a:lnTo>
                      <a:lnTo>
                        <a:pt x="144" y="461"/>
                      </a:lnTo>
                      <a:lnTo>
                        <a:pt x="143" y="461"/>
                      </a:lnTo>
                      <a:lnTo>
                        <a:pt x="143" y="460"/>
                      </a:lnTo>
                      <a:lnTo>
                        <a:pt x="140" y="459"/>
                      </a:lnTo>
                      <a:lnTo>
                        <a:pt x="139" y="458"/>
                      </a:lnTo>
                      <a:lnTo>
                        <a:pt x="138" y="458"/>
                      </a:lnTo>
                      <a:lnTo>
                        <a:pt x="138" y="458"/>
                      </a:lnTo>
                      <a:lnTo>
                        <a:pt x="137" y="458"/>
                      </a:lnTo>
                      <a:lnTo>
                        <a:pt x="136" y="457"/>
                      </a:lnTo>
                      <a:lnTo>
                        <a:pt x="136" y="456"/>
                      </a:lnTo>
                      <a:lnTo>
                        <a:pt x="136" y="455"/>
                      </a:lnTo>
                      <a:lnTo>
                        <a:pt x="136" y="455"/>
                      </a:lnTo>
                      <a:lnTo>
                        <a:pt x="137" y="455"/>
                      </a:lnTo>
                      <a:lnTo>
                        <a:pt x="136" y="453"/>
                      </a:lnTo>
                      <a:lnTo>
                        <a:pt x="137" y="453"/>
                      </a:lnTo>
                      <a:lnTo>
                        <a:pt x="136" y="452"/>
                      </a:lnTo>
                      <a:lnTo>
                        <a:pt x="136" y="452"/>
                      </a:lnTo>
                      <a:lnTo>
                        <a:pt x="136" y="453"/>
                      </a:lnTo>
                      <a:lnTo>
                        <a:pt x="135" y="453"/>
                      </a:lnTo>
                      <a:lnTo>
                        <a:pt x="134" y="452"/>
                      </a:lnTo>
                      <a:lnTo>
                        <a:pt x="132" y="452"/>
                      </a:lnTo>
                      <a:lnTo>
                        <a:pt x="132" y="453"/>
                      </a:lnTo>
                      <a:lnTo>
                        <a:pt x="132" y="453"/>
                      </a:lnTo>
                      <a:lnTo>
                        <a:pt x="132" y="453"/>
                      </a:lnTo>
                      <a:lnTo>
                        <a:pt x="132" y="453"/>
                      </a:lnTo>
                      <a:lnTo>
                        <a:pt x="132" y="452"/>
                      </a:lnTo>
                      <a:lnTo>
                        <a:pt x="132" y="452"/>
                      </a:lnTo>
                      <a:lnTo>
                        <a:pt x="132" y="452"/>
                      </a:lnTo>
                      <a:lnTo>
                        <a:pt x="132" y="452"/>
                      </a:lnTo>
                      <a:lnTo>
                        <a:pt x="131" y="451"/>
                      </a:lnTo>
                      <a:lnTo>
                        <a:pt x="130" y="449"/>
                      </a:lnTo>
                      <a:lnTo>
                        <a:pt x="129" y="448"/>
                      </a:lnTo>
                      <a:lnTo>
                        <a:pt x="129" y="448"/>
                      </a:lnTo>
                      <a:lnTo>
                        <a:pt x="127" y="447"/>
                      </a:lnTo>
                      <a:lnTo>
                        <a:pt x="126" y="447"/>
                      </a:lnTo>
                      <a:lnTo>
                        <a:pt x="126" y="446"/>
                      </a:lnTo>
                      <a:lnTo>
                        <a:pt x="125" y="446"/>
                      </a:lnTo>
                      <a:lnTo>
                        <a:pt x="125" y="445"/>
                      </a:lnTo>
                      <a:lnTo>
                        <a:pt x="124" y="444"/>
                      </a:lnTo>
                      <a:lnTo>
                        <a:pt x="124" y="444"/>
                      </a:lnTo>
                      <a:lnTo>
                        <a:pt x="123" y="442"/>
                      </a:lnTo>
                      <a:lnTo>
                        <a:pt x="122" y="441"/>
                      </a:lnTo>
                      <a:lnTo>
                        <a:pt x="121" y="441"/>
                      </a:lnTo>
                      <a:lnTo>
                        <a:pt x="120" y="441"/>
                      </a:lnTo>
                      <a:lnTo>
                        <a:pt x="119" y="440"/>
                      </a:lnTo>
                      <a:lnTo>
                        <a:pt x="119" y="439"/>
                      </a:lnTo>
                      <a:lnTo>
                        <a:pt x="119" y="436"/>
                      </a:lnTo>
                      <a:lnTo>
                        <a:pt x="119" y="436"/>
                      </a:lnTo>
                      <a:lnTo>
                        <a:pt x="119" y="435"/>
                      </a:lnTo>
                      <a:lnTo>
                        <a:pt x="119" y="435"/>
                      </a:lnTo>
                      <a:lnTo>
                        <a:pt x="119" y="434"/>
                      </a:lnTo>
                      <a:lnTo>
                        <a:pt x="120" y="434"/>
                      </a:lnTo>
                      <a:lnTo>
                        <a:pt x="122" y="433"/>
                      </a:lnTo>
                      <a:lnTo>
                        <a:pt x="122" y="432"/>
                      </a:lnTo>
                      <a:lnTo>
                        <a:pt x="121" y="431"/>
                      </a:lnTo>
                      <a:lnTo>
                        <a:pt x="120" y="431"/>
                      </a:lnTo>
                      <a:lnTo>
                        <a:pt x="121" y="432"/>
                      </a:lnTo>
                      <a:lnTo>
                        <a:pt x="121" y="432"/>
                      </a:lnTo>
                      <a:lnTo>
                        <a:pt x="120" y="432"/>
                      </a:lnTo>
                      <a:lnTo>
                        <a:pt x="119" y="431"/>
                      </a:lnTo>
                      <a:lnTo>
                        <a:pt x="119" y="432"/>
                      </a:lnTo>
                      <a:lnTo>
                        <a:pt x="119" y="431"/>
                      </a:lnTo>
                      <a:lnTo>
                        <a:pt x="118" y="430"/>
                      </a:lnTo>
                      <a:lnTo>
                        <a:pt x="119" y="430"/>
                      </a:lnTo>
                      <a:lnTo>
                        <a:pt x="119" y="430"/>
                      </a:lnTo>
                      <a:lnTo>
                        <a:pt x="119" y="430"/>
                      </a:lnTo>
                      <a:lnTo>
                        <a:pt x="119" y="430"/>
                      </a:lnTo>
                      <a:lnTo>
                        <a:pt x="118" y="430"/>
                      </a:lnTo>
                      <a:lnTo>
                        <a:pt x="118" y="431"/>
                      </a:lnTo>
                      <a:lnTo>
                        <a:pt x="118" y="432"/>
                      </a:lnTo>
                      <a:lnTo>
                        <a:pt x="119" y="432"/>
                      </a:lnTo>
                      <a:lnTo>
                        <a:pt x="119" y="432"/>
                      </a:lnTo>
                      <a:lnTo>
                        <a:pt x="120" y="432"/>
                      </a:lnTo>
                      <a:lnTo>
                        <a:pt x="121" y="433"/>
                      </a:lnTo>
                      <a:lnTo>
                        <a:pt x="120" y="434"/>
                      </a:lnTo>
                      <a:lnTo>
                        <a:pt x="119" y="434"/>
                      </a:lnTo>
                      <a:lnTo>
                        <a:pt x="119" y="434"/>
                      </a:lnTo>
                      <a:lnTo>
                        <a:pt x="119" y="435"/>
                      </a:lnTo>
                      <a:lnTo>
                        <a:pt x="118" y="435"/>
                      </a:lnTo>
                      <a:lnTo>
                        <a:pt x="118" y="436"/>
                      </a:lnTo>
                      <a:lnTo>
                        <a:pt x="119" y="436"/>
                      </a:lnTo>
                      <a:lnTo>
                        <a:pt x="118" y="436"/>
                      </a:lnTo>
                      <a:lnTo>
                        <a:pt x="119" y="436"/>
                      </a:lnTo>
                      <a:lnTo>
                        <a:pt x="119" y="437"/>
                      </a:lnTo>
                      <a:lnTo>
                        <a:pt x="118" y="440"/>
                      </a:lnTo>
                      <a:lnTo>
                        <a:pt x="117" y="440"/>
                      </a:lnTo>
                      <a:lnTo>
                        <a:pt x="117" y="441"/>
                      </a:lnTo>
                      <a:lnTo>
                        <a:pt x="118" y="442"/>
                      </a:lnTo>
                      <a:lnTo>
                        <a:pt x="117" y="442"/>
                      </a:lnTo>
                      <a:lnTo>
                        <a:pt x="117" y="442"/>
                      </a:lnTo>
                      <a:lnTo>
                        <a:pt x="116" y="440"/>
                      </a:lnTo>
                      <a:lnTo>
                        <a:pt x="116" y="439"/>
                      </a:lnTo>
                      <a:lnTo>
                        <a:pt x="116" y="439"/>
                      </a:lnTo>
                      <a:lnTo>
                        <a:pt x="115" y="438"/>
                      </a:lnTo>
                      <a:lnTo>
                        <a:pt x="115" y="438"/>
                      </a:lnTo>
                      <a:lnTo>
                        <a:pt x="115" y="439"/>
                      </a:lnTo>
                      <a:lnTo>
                        <a:pt x="114" y="438"/>
                      </a:lnTo>
                      <a:lnTo>
                        <a:pt x="114" y="438"/>
                      </a:lnTo>
                      <a:lnTo>
                        <a:pt x="114" y="437"/>
                      </a:lnTo>
                      <a:lnTo>
                        <a:pt x="113" y="437"/>
                      </a:lnTo>
                      <a:lnTo>
                        <a:pt x="113" y="437"/>
                      </a:lnTo>
                      <a:lnTo>
                        <a:pt x="111" y="436"/>
                      </a:lnTo>
                      <a:lnTo>
                        <a:pt x="111" y="435"/>
                      </a:lnTo>
                      <a:lnTo>
                        <a:pt x="109" y="435"/>
                      </a:lnTo>
                      <a:lnTo>
                        <a:pt x="109" y="434"/>
                      </a:lnTo>
                      <a:lnTo>
                        <a:pt x="109" y="434"/>
                      </a:lnTo>
                      <a:lnTo>
                        <a:pt x="108" y="434"/>
                      </a:lnTo>
                      <a:lnTo>
                        <a:pt x="107" y="434"/>
                      </a:lnTo>
                      <a:lnTo>
                        <a:pt x="107" y="435"/>
                      </a:lnTo>
                      <a:lnTo>
                        <a:pt x="106" y="435"/>
                      </a:lnTo>
                      <a:lnTo>
                        <a:pt x="105" y="435"/>
                      </a:lnTo>
                      <a:lnTo>
                        <a:pt x="105" y="435"/>
                      </a:lnTo>
                      <a:lnTo>
                        <a:pt x="104" y="435"/>
                      </a:lnTo>
                      <a:lnTo>
                        <a:pt x="104" y="434"/>
                      </a:lnTo>
                      <a:lnTo>
                        <a:pt x="103" y="434"/>
                      </a:lnTo>
                      <a:lnTo>
                        <a:pt x="103" y="433"/>
                      </a:lnTo>
                      <a:lnTo>
                        <a:pt x="102" y="433"/>
                      </a:lnTo>
                      <a:lnTo>
                        <a:pt x="102" y="432"/>
                      </a:lnTo>
                      <a:lnTo>
                        <a:pt x="102" y="432"/>
                      </a:lnTo>
                      <a:lnTo>
                        <a:pt x="102" y="431"/>
                      </a:lnTo>
                      <a:lnTo>
                        <a:pt x="101" y="431"/>
                      </a:lnTo>
                      <a:lnTo>
                        <a:pt x="101" y="430"/>
                      </a:lnTo>
                      <a:lnTo>
                        <a:pt x="100" y="430"/>
                      </a:lnTo>
                      <a:lnTo>
                        <a:pt x="100" y="430"/>
                      </a:lnTo>
                      <a:lnTo>
                        <a:pt x="100" y="431"/>
                      </a:lnTo>
                      <a:lnTo>
                        <a:pt x="100" y="431"/>
                      </a:lnTo>
                      <a:lnTo>
                        <a:pt x="100" y="431"/>
                      </a:lnTo>
                      <a:lnTo>
                        <a:pt x="100" y="432"/>
                      </a:lnTo>
                      <a:lnTo>
                        <a:pt x="100" y="433"/>
                      </a:lnTo>
                      <a:lnTo>
                        <a:pt x="101" y="433"/>
                      </a:lnTo>
                      <a:lnTo>
                        <a:pt x="101" y="434"/>
                      </a:lnTo>
                      <a:lnTo>
                        <a:pt x="102" y="434"/>
                      </a:lnTo>
                      <a:lnTo>
                        <a:pt x="103" y="435"/>
                      </a:lnTo>
                      <a:lnTo>
                        <a:pt x="103" y="435"/>
                      </a:lnTo>
                      <a:lnTo>
                        <a:pt x="104" y="436"/>
                      </a:lnTo>
                      <a:lnTo>
                        <a:pt x="107" y="436"/>
                      </a:lnTo>
                      <a:lnTo>
                        <a:pt x="107" y="437"/>
                      </a:lnTo>
                      <a:lnTo>
                        <a:pt x="108" y="437"/>
                      </a:lnTo>
                      <a:lnTo>
                        <a:pt x="108" y="437"/>
                      </a:lnTo>
                      <a:lnTo>
                        <a:pt x="108" y="436"/>
                      </a:lnTo>
                      <a:lnTo>
                        <a:pt x="109" y="437"/>
                      </a:lnTo>
                      <a:lnTo>
                        <a:pt x="110" y="437"/>
                      </a:lnTo>
                      <a:lnTo>
                        <a:pt x="111" y="437"/>
                      </a:lnTo>
                      <a:lnTo>
                        <a:pt x="111" y="438"/>
                      </a:lnTo>
                      <a:lnTo>
                        <a:pt x="111" y="438"/>
                      </a:lnTo>
                      <a:lnTo>
                        <a:pt x="111" y="438"/>
                      </a:lnTo>
                      <a:lnTo>
                        <a:pt x="112" y="438"/>
                      </a:lnTo>
                      <a:lnTo>
                        <a:pt x="112" y="439"/>
                      </a:lnTo>
                      <a:lnTo>
                        <a:pt x="113" y="441"/>
                      </a:lnTo>
                      <a:lnTo>
                        <a:pt x="113" y="441"/>
                      </a:lnTo>
                      <a:lnTo>
                        <a:pt x="114" y="442"/>
                      </a:lnTo>
                      <a:lnTo>
                        <a:pt x="114" y="442"/>
                      </a:lnTo>
                      <a:lnTo>
                        <a:pt x="114" y="443"/>
                      </a:lnTo>
                      <a:lnTo>
                        <a:pt x="116" y="444"/>
                      </a:lnTo>
                      <a:lnTo>
                        <a:pt x="116" y="444"/>
                      </a:lnTo>
                      <a:lnTo>
                        <a:pt x="116" y="445"/>
                      </a:lnTo>
                      <a:lnTo>
                        <a:pt x="116" y="445"/>
                      </a:lnTo>
                      <a:lnTo>
                        <a:pt x="116" y="446"/>
                      </a:lnTo>
                      <a:lnTo>
                        <a:pt x="117" y="446"/>
                      </a:lnTo>
                      <a:lnTo>
                        <a:pt x="117" y="446"/>
                      </a:lnTo>
                      <a:lnTo>
                        <a:pt x="118" y="447"/>
                      </a:lnTo>
                      <a:lnTo>
                        <a:pt x="118" y="446"/>
                      </a:lnTo>
                      <a:lnTo>
                        <a:pt x="118" y="446"/>
                      </a:lnTo>
                      <a:lnTo>
                        <a:pt x="119" y="446"/>
                      </a:lnTo>
                      <a:lnTo>
                        <a:pt x="119" y="446"/>
                      </a:lnTo>
                      <a:lnTo>
                        <a:pt x="119" y="446"/>
                      </a:lnTo>
                      <a:lnTo>
                        <a:pt x="119" y="447"/>
                      </a:lnTo>
                      <a:lnTo>
                        <a:pt x="118" y="447"/>
                      </a:lnTo>
                      <a:lnTo>
                        <a:pt x="118" y="447"/>
                      </a:lnTo>
                      <a:lnTo>
                        <a:pt x="119" y="448"/>
                      </a:lnTo>
                      <a:lnTo>
                        <a:pt x="119" y="448"/>
                      </a:lnTo>
                      <a:lnTo>
                        <a:pt x="119" y="448"/>
                      </a:lnTo>
                      <a:lnTo>
                        <a:pt x="119" y="449"/>
                      </a:lnTo>
                      <a:lnTo>
                        <a:pt x="120" y="449"/>
                      </a:lnTo>
                      <a:lnTo>
                        <a:pt x="120" y="450"/>
                      </a:lnTo>
                      <a:lnTo>
                        <a:pt x="121" y="450"/>
                      </a:lnTo>
                      <a:lnTo>
                        <a:pt x="121" y="451"/>
                      </a:lnTo>
                      <a:lnTo>
                        <a:pt x="122" y="451"/>
                      </a:lnTo>
                      <a:lnTo>
                        <a:pt x="123" y="452"/>
                      </a:lnTo>
                      <a:lnTo>
                        <a:pt x="124" y="452"/>
                      </a:lnTo>
                      <a:lnTo>
                        <a:pt x="124" y="453"/>
                      </a:lnTo>
                      <a:lnTo>
                        <a:pt x="125" y="453"/>
                      </a:lnTo>
                      <a:lnTo>
                        <a:pt x="125" y="455"/>
                      </a:lnTo>
                      <a:lnTo>
                        <a:pt x="127" y="455"/>
                      </a:lnTo>
                      <a:lnTo>
                        <a:pt x="129" y="456"/>
                      </a:lnTo>
                      <a:lnTo>
                        <a:pt x="129" y="456"/>
                      </a:lnTo>
                      <a:lnTo>
                        <a:pt x="130" y="456"/>
                      </a:lnTo>
                      <a:lnTo>
                        <a:pt x="130" y="455"/>
                      </a:lnTo>
                      <a:lnTo>
                        <a:pt x="130" y="455"/>
                      </a:lnTo>
                      <a:lnTo>
                        <a:pt x="130" y="456"/>
                      </a:lnTo>
                      <a:lnTo>
                        <a:pt x="131" y="456"/>
                      </a:lnTo>
                      <a:lnTo>
                        <a:pt x="131" y="456"/>
                      </a:lnTo>
                      <a:lnTo>
                        <a:pt x="132" y="457"/>
                      </a:lnTo>
                      <a:lnTo>
                        <a:pt x="133" y="459"/>
                      </a:lnTo>
                      <a:lnTo>
                        <a:pt x="132" y="458"/>
                      </a:lnTo>
                      <a:lnTo>
                        <a:pt x="131" y="457"/>
                      </a:lnTo>
                      <a:lnTo>
                        <a:pt x="130" y="458"/>
                      </a:lnTo>
                      <a:lnTo>
                        <a:pt x="130" y="458"/>
                      </a:lnTo>
                      <a:lnTo>
                        <a:pt x="130" y="459"/>
                      </a:lnTo>
                      <a:lnTo>
                        <a:pt x="131" y="459"/>
                      </a:lnTo>
                      <a:lnTo>
                        <a:pt x="131" y="460"/>
                      </a:lnTo>
                      <a:lnTo>
                        <a:pt x="131" y="460"/>
                      </a:lnTo>
                      <a:lnTo>
                        <a:pt x="131" y="460"/>
                      </a:lnTo>
                      <a:lnTo>
                        <a:pt x="132" y="461"/>
                      </a:lnTo>
                      <a:lnTo>
                        <a:pt x="133" y="461"/>
                      </a:lnTo>
                      <a:lnTo>
                        <a:pt x="133" y="464"/>
                      </a:lnTo>
                      <a:lnTo>
                        <a:pt x="133" y="464"/>
                      </a:lnTo>
                      <a:lnTo>
                        <a:pt x="134" y="464"/>
                      </a:lnTo>
                      <a:lnTo>
                        <a:pt x="134" y="463"/>
                      </a:lnTo>
                      <a:lnTo>
                        <a:pt x="134" y="463"/>
                      </a:lnTo>
                      <a:lnTo>
                        <a:pt x="134" y="463"/>
                      </a:lnTo>
                      <a:lnTo>
                        <a:pt x="134" y="464"/>
                      </a:lnTo>
                      <a:lnTo>
                        <a:pt x="135" y="464"/>
                      </a:lnTo>
                      <a:lnTo>
                        <a:pt x="135" y="465"/>
                      </a:lnTo>
                      <a:lnTo>
                        <a:pt x="135" y="465"/>
                      </a:lnTo>
                      <a:lnTo>
                        <a:pt x="135" y="464"/>
                      </a:lnTo>
                      <a:lnTo>
                        <a:pt x="135" y="464"/>
                      </a:lnTo>
                      <a:lnTo>
                        <a:pt x="135" y="463"/>
                      </a:lnTo>
                      <a:lnTo>
                        <a:pt x="135" y="463"/>
                      </a:lnTo>
                      <a:lnTo>
                        <a:pt x="135" y="463"/>
                      </a:lnTo>
                      <a:lnTo>
                        <a:pt x="136" y="463"/>
                      </a:lnTo>
                      <a:lnTo>
                        <a:pt x="136" y="463"/>
                      </a:lnTo>
                      <a:lnTo>
                        <a:pt x="136" y="465"/>
                      </a:lnTo>
                      <a:lnTo>
                        <a:pt x="135" y="465"/>
                      </a:lnTo>
                      <a:lnTo>
                        <a:pt x="135" y="466"/>
                      </a:lnTo>
                      <a:lnTo>
                        <a:pt x="134" y="466"/>
                      </a:lnTo>
                      <a:lnTo>
                        <a:pt x="133" y="467"/>
                      </a:lnTo>
                      <a:lnTo>
                        <a:pt x="132" y="468"/>
                      </a:lnTo>
                      <a:lnTo>
                        <a:pt x="132" y="468"/>
                      </a:lnTo>
                      <a:lnTo>
                        <a:pt x="132" y="468"/>
                      </a:lnTo>
                      <a:lnTo>
                        <a:pt x="131" y="469"/>
                      </a:lnTo>
                      <a:lnTo>
                        <a:pt x="131" y="469"/>
                      </a:lnTo>
                      <a:lnTo>
                        <a:pt x="131" y="470"/>
                      </a:lnTo>
                      <a:lnTo>
                        <a:pt x="130" y="471"/>
                      </a:lnTo>
                      <a:lnTo>
                        <a:pt x="130" y="471"/>
                      </a:lnTo>
                      <a:lnTo>
                        <a:pt x="129" y="474"/>
                      </a:lnTo>
                      <a:lnTo>
                        <a:pt x="127" y="474"/>
                      </a:lnTo>
                      <a:lnTo>
                        <a:pt x="126" y="474"/>
                      </a:lnTo>
                      <a:lnTo>
                        <a:pt x="126" y="475"/>
                      </a:lnTo>
                      <a:lnTo>
                        <a:pt x="125" y="474"/>
                      </a:lnTo>
                      <a:lnTo>
                        <a:pt x="123" y="474"/>
                      </a:lnTo>
                      <a:lnTo>
                        <a:pt x="122" y="474"/>
                      </a:lnTo>
                      <a:lnTo>
                        <a:pt x="120" y="474"/>
                      </a:lnTo>
                      <a:lnTo>
                        <a:pt x="120" y="474"/>
                      </a:lnTo>
                      <a:lnTo>
                        <a:pt x="120" y="475"/>
                      </a:lnTo>
                      <a:lnTo>
                        <a:pt x="119" y="475"/>
                      </a:lnTo>
                      <a:lnTo>
                        <a:pt x="118" y="476"/>
                      </a:lnTo>
                      <a:lnTo>
                        <a:pt x="116" y="476"/>
                      </a:lnTo>
                      <a:lnTo>
                        <a:pt x="115" y="475"/>
                      </a:lnTo>
                      <a:lnTo>
                        <a:pt x="114" y="475"/>
                      </a:lnTo>
                      <a:lnTo>
                        <a:pt x="114" y="475"/>
                      </a:lnTo>
                      <a:lnTo>
                        <a:pt x="114" y="474"/>
                      </a:lnTo>
                      <a:lnTo>
                        <a:pt x="114" y="473"/>
                      </a:lnTo>
                      <a:lnTo>
                        <a:pt x="114" y="473"/>
                      </a:lnTo>
                      <a:lnTo>
                        <a:pt x="114" y="472"/>
                      </a:lnTo>
                      <a:lnTo>
                        <a:pt x="114" y="472"/>
                      </a:lnTo>
                      <a:lnTo>
                        <a:pt x="114" y="471"/>
                      </a:lnTo>
                      <a:lnTo>
                        <a:pt x="114" y="470"/>
                      </a:lnTo>
                      <a:lnTo>
                        <a:pt x="114" y="470"/>
                      </a:lnTo>
                      <a:lnTo>
                        <a:pt x="114" y="469"/>
                      </a:lnTo>
                      <a:lnTo>
                        <a:pt x="113" y="469"/>
                      </a:lnTo>
                      <a:lnTo>
                        <a:pt x="113" y="469"/>
                      </a:lnTo>
                      <a:lnTo>
                        <a:pt x="112" y="469"/>
                      </a:lnTo>
                      <a:lnTo>
                        <a:pt x="112" y="469"/>
                      </a:lnTo>
                      <a:lnTo>
                        <a:pt x="112" y="468"/>
                      </a:lnTo>
                      <a:lnTo>
                        <a:pt x="112" y="468"/>
                      </a:lnTo>
                      <a:lnTo>
                        <a:pt x="112" y="468"/>
                      </a:lnTo>
                      <a:lnTo>
                        <a:pt x="112" y="467"/>
                      </a:lnTo>
                      <a:lnTo>
                        <a:pt x="110" y="467"/>
                      </a:lnTo>
                      <a:lnTo>
                        <a:pt x="110" y="466"/>
                      </a:lnTo>
                      <a:lnTo>
                        <a:pt x="109" y="466"/>
                      </a:lnTo>
                      <a:lnTo>
                        <a:pt x="109" y="466"/>
                      </a:lnTo>
                      <a:lnTo>
                        <a:pt x="108" y="466"/>
                      </a:lnTo>
                      <a:lnTo>
                        <a:pt x="108" y="465"/>
                      </a:lnTo>
                      <a:lnTo>
                        <a:pt x="108" y="464"/>
                      </a:lnTo>
                      <a:lnTo>
                        <a:pt x="107" y="464"/>
                      </a:lnTo>
                      <a:lnTo>
                        <a:pt x="107" y="463"/>
                      </a:lnTo>
                      <a:lnTo>
                        <a:pt x="106" y="463"/>
                      </a:lnTo>
                      <a:lnTo>
                        <a:pt x="105" y="463"/>
                      </a:lnTo>
                      <a:lnTo>
                        <a:pt x="105" y="463"/>
                      </a:lnTo>
                      <a:lnTo>
                        <a:pt x="104" y="463"/>
                      </a:lnTo>
                      <a:lnTo>
                        <a:pt x="104" y="463"/>
                      </a:lnTo>
                      <a:lnTo>
                        <a:pt x="105" y="463"/>
                      </a:lnTo>
                      <a:lnTo>
                        <a:pt x="106" y="463"/>
                      </a:lnTo>
                      <a:lnTo>
                        <a:pt x="106" y="464"/>
                      </a:lnTo>
                      <a:lnTo>
                        <a:pt x="108" y="465"/>
                      </a:lnTo>
                      <a:lnTo>
                        <a:pt x="108" y="466"/>
                      </a:lnTo>
                      <a:lnTo>
                        <a:pt x="108" y="467"/>
                      </a:lnTo>
                      <a:lnTo>
                        <a:pt x="109" y="467"/>
                      </a:lnTo>
                      <a:lnTo>
                        <a:pt x="109" y="466"/>
                      </a:lnTo>
                      <a:lnTo>
                        <a:pt x="110" y="466"/>
                      </a:lnTo>
                      <a:lnTo>
                        <a:pt x="110" y="467"/>
                      </a:lnTo>
                      <a:lnTo>
                        <a:pt x="110" y="467"/>
                      </a:lnTo>
                      <a:lnTo>
                        <a:pt x="111" y="467"/>
                      </a:lnTo>
                      <a:lnTo>
                        <a:pt x="111" y="467"/>
                      </a:lnTo>
                      <a:lnTo>
                        <a:pt x="112" y="467"/>
                      </a:lnTo>
                      <a:lnTo>
                        <a:pt x="112" y="468"/>
                      </a:lnTo>
                      <a:lnTo>
                        <a:pt x="112" y="468"/>
                      </a:lnTo>
                      <a:lnTo>
                        <a:pt x="111" y="469"/>
                      </a:lnTo>
                      <a:lnTo>
                        <a:pt x="111" y="469"/>
                      </a:lnTo>
                      <a:lnTo>
                        <a:pt x="112" y="469"/>
                      </a:lnTo>
                      <a:lnTo>
                        <a:pt x="113" y="469"/>
                      </a:lnTo>
                      <a:lnTo>
                        <a:pt x="113" y="469"/>
                      </a:lnTo>
                      <a:lnTo>
                        <a:pt x="113" y="472"/>
                      </a:lnTo>
                      <a:lnTo>
                        <a:pt x="114" y="472"/>
                      </a:lnTo>
                      <a:lnTo>
                        <a:pt x="114" y="473"/>
                      </a:lnTo>
                      <a:lnTo>
                        <a:pt x="113" y="473"/>
                      </a:lnTo>
                      <a:lnTo>
                        <a:pt x="113" y="474"/>
                      </a:lnTo>
                      <a:lnTo>
                        <a:pt x="117" y="476"/>
                      </a:lnTo>
                      <a:lnTo>
                        <a:pt x="117" y="476"/>
                      </a:lnTo>
                      <a:lnTo>
                        <a:pt x="118" y="477"/>
                      </a:lnTo>
                      <a:lnTo>
                        <a:pt x="118" y="476"/>
                      </a:lnTo>
                      <a:lnTo>
                        <a:pt x="119" y="476"/>
                      </a:lnTo>
                      <a:lnTo>
                        <a:pt x="119" y="476"/>
                      </a:lnTo>
                      <a:lnTo>
                        <a:pt x="120" y="476"/>
                      </a:lnTo>
                      <a:lnTo>
                        <a:pt x="120" y="476"/>
                      </a:lnTo>
                      <a:lnTo>
                        <a:pt x="119" y="477"/>
                      </a:lnTo>
                      <a:lnTo>
                        <a:pt x="118" y="477"/>
                      </a:lnTo>
                      <a:lnTo>
                        <a:pt x="117" y="478"/>
                      </a:lnTo>
                      <a:lnTo>
                        <a:pt x="116" y="478"/>
                      </a:lnTo>
                      <a:lnTo>
                        <a:pt x="115" y="479"/>
                      </a:lnTo>
                      <a:lnTo>
                        <a:pt x="114" y="479"/>
                      </a:lnTo>
                      <a:lnTo>
                        <a:pt x="113" y="480"/>
                      </a:lnTo>
                      <a:lnTo>
                        <a:pt x="108" y="481"/>
                      </a:lnTo>
                      <a:lnTo>
                        <a:pt x="106" y="482"/>
                      </a:lnTo>
                      <a:lnTo>
                        <a:pt x="104" y="482"/>
                      </a:lnTo>
                      <a:lnTo>
                        <a:pt x="103" y="482"/>
                      </a:lnTo>
                      <a:lnTo>
                        <a:pt x="103" y="482"/>
                      </a:lnTo>
                      <a:lnTo>
                        <a:pt x="102" y="482"/>
                      </a:lnTo>
                      <a:lnTo>
                        <a:pt x="101" y="483"/>
                      </a:lnTo>
                      <a:lnTo>
                        <a:pt x="100" y="484"/>
                      </a:lnTo>
                      <a:lnTo>
                        <a:pt x="99" y="484"/>
                      </a:lnTo>
                      <a:lnTo>
                        <a:pt x="99" y="483"/>
                      </a:lnTo>
                      <a:lnTo>
                        <a:pt x="99" y="483"/>
                      </a:lnTo>
                      <a:lnTo>
                        <a:pt x="99" y="484"/>
                      </a:lnTo>
                      <a:lnTo>
                        <a:pt x="98" y="485"/>
                      </a:lnTo>
                      <a:lnTo>
                        <a:pt x="97" y="485"/>
                      </a:lnTo>
                      <a:lnTo>
                        <a:pt x="97" y="485"/>
                      </a:lnTo>
                      <a:lnTo>
                        <a:pt x="96" y="485"/>
                      </a:lnTo>
                      <a:lnTo>
                        <a:pt x="98" y="485"/>
                      </a:lnTo>
                      <a:lnTo>
                        <a:pt x="98" y="484"/>
                      </a:lnTo>
                      <a:lnTo>
                        <a:pt x="98" y="484"/>
                      </a:lnTo>
                      <a:lnTo>
                        <a:pt x="98" y="484"/>
                      </a:lnTo>
                      <a:lnTo>
                        <a:pt x="97" y="484"/>
                      </a:lnTo>
                      <a:lnTo>
                        <a:pt x="97" y="484"/>
                      </a:lnTo>
                      <a:lnTo>
                        <a:pt x="97" y="484"/>
                      </a:lnTo>
                      <a:lnTo>
                        <a:pt x="97" y="484"/>
                      </a:lnTo>
                      <a:lnTo>
                        <a:pt x="97" y="485"/>
                      </a:lnTo>
                      <a:lnTo>
                        <a:pt x="97" y="485"/>
                      </a:lnTo>
                      <a:lnTo>
                        <a:pt x="96" y="485"/>
                      </a:lnTo>
                      <a:lnTo>
                        <a:pt x="96" y="484"/>
                      </a:lnTo>
                      <a:lnTo>
                        <a:pt x="96" y="484"/>
                      </a:lnTo>
                      <a:lnTo>
                        <a:pt x="96" y="484"/>
                      </a:lnTo>
                      <a:lnTo>
                        <a:pt x="96" y="484"/>
                      </a:lnTo>
                      <a:lnTo>
                        <a:pt x="96" y="485"/>
                      </a:lnTo>
                      <a:lnTo>
                        <a:pt x="95" y="484"/>
                      </a:lnTo>
                      <a:lnTo>
                        <a:pt x="95" y="485"/>
                      </a:lnTo>
                      <a:lnTo>
                        <a:pt x="96" y="485"/>
                      </a:lnTo>
                      <a:lnTo>
                        <a:pt x="96" y="486"/>
                      </a:lnTo>
                      <a:lnTo>
                        <a:pt x="95" y="486"/>
                      </a:lnTo>
                      <a:lnTo>
                        <a:pt x="94" y="486"/>
                      </a:lnTo>
                      <a:lnTo>
                        <a:pt x="94" y="486"/>
                      </a:lnTo>
                      <a:lnTo>
                        <a:pt x="94" y="486"/>
                      </a:lnTo>
                      <a:lnTo>
                        <a:pt x="94" y="486"/>
                      </a:lnTo>
                      <a:lnTo>
                        <a:pt x="94" y="487"/>
                      </a:lnTo>
                      <a:lnTo>
                        <a:pt x="92" y="487"/>
                      </a:lnTo>
                      <a:lnTo>
                        <a:pt x="92" y="487"/>
                      </a:lnTo>
                      <a:lnTo>
                        <a:pt x="92" y="486"/>
                      </a:lnTo>
                      <a:lnTo>
                        <a:pt x="93" y="485"/>
                      </a:lnTo>
                      <a:lnTo>
                        <a:pt x="94" y="485"/>
                      </a:lnTo>
                      <a:lnTo>
                        <a:pt x="94" y="485"/>
                      </a:lnTo>
                      <a:lnTo>
                        <a:pt x="93" y="485"/>
                      </a:lnTo>
                      <a:lnTo>
                        <a:pt x="92" y="486"/>
                      </a:lnTo>
                      <a:lnTo>
                        <a:pt x="92" y="486"/>
                      </a:lnTo>
                      <a:lnTo>
                        <a:pt x="90" y="485"/>
                      </a:lnTo>
                      <a:lnTo>
                        <a:pt x="90" y="485"/>
                      </a:lnTo>
                      <a:lnTo>
                        <a:pt x="89" y="484"/>
                      </a:lnTo>
                      <a:lnTo>
                        <a:pt x="89" y="484"/>
                      </a:lnTo>
                      <a:lnTo>
                        <a:pt x="89" y="483"/>
                      </a:lnTo>
                      <a:lnTo>
                        <a:pt x="89" y="483"/>
                      </a:lnTo>
                      <a:lnTo>
                        <a:pt x="89" y="484"/>
                      </a:lnTo>
                      <a:lnTo>
                        <a:pt x="89" y="484"/>
                      </a:lnTo>
                      <a:lnTo>
                        <a:pt x="89" y="485"/>
                      </a:lnTo>
                      <a:lnTo>
                        <a:pt x="90" y="486"/>
                      </a:lnTo>
                      <a:lnTo>
                        <a:pt x="90" y="487"/>
                      </a:lnTo>
                      <a:lnTo>
                        <a:pt x="90" y="487"/>
                      </a:lnTo>
                      <a:lnTo>
                        <a:pt x="89" y="487"/>
                      </a:lnTo>
                      <a:lnTo>
                        <a:pt x="89" y="486"/>
                      </a:lnTo>
                      <a:lnTo>
                        <a:pt x="89" y="486"/>
                      </a:lnTo>
                      <a:lnTo>
                        <a:pt x="89" y="486"/>
                      </a:lnTo>
                      <a:lnTo>
                        <a:pt x="89" y="486"/>
                      </a:lnTo>
                      <a:lnTo>
                        <a:pt x="89" y="487"/>
                      </a:lnTo>
                      <a:lnTo>
                        <a:pt x="88" y="487"/>
                      </a:lnTo>
                      <a:lnTo>
                        <a:pt x="88" y="488"/>
                      </a:lnTo>
                      <a:lnTo>
                        <a:pt x="87" y="488"/>
                      </a:lnTo>
                      <a:lnTo>
                        <a:pt x="87" y="488"/>
                      </a:lnTo>
                      <a:lnTo>
                        <a:pt x="87" y="488"/>
                      </a:lnTo>
                      <a:lnTo>
                        <a:pt x="87" y="489"/>
                      </a:lnTo>
                      <a:lnTo>
                        <a:pt x="87" y="489"/>
                      </a:lnTo>
                      <a:lnTo>
                        <a:pt x="87" y="489"/>
                      </a:lnTo>
                      <a:lnTo>
                        <a:pt x="88" y="489"/>
                      </a:lnTo>
                      <a:lnTo>
                        <a:pt x="88" y="490"/>
                      </a:lnTo>
                      <a:lnTo>
                        <a:pt x="86" y="491"/>
                      </a:lnTo>
                      <a:lnTo>
                        <a:pt x="86" y="493"/>
                      </a:lnTo>
                      <a:lnTo>
                        <a:pt x="86" y="493"/>
                      </a:lnTo>
                      <a:lnTo>
                        <a:pt x="85" y="494"/>
                      </a:lnTo>
                      <a:lnTo>
                        <a:pt x="85" y="494"/>
                      </a:lnTo>
                      <a:lnTo>
                        <a:pt x="85" y="495"/>
                      </a:lnTo>
                      <a:lnTo>
                        <a:pt x="85" y="495"/>
                      </a:lnTo>
                      <a:lnTo>
                        <a:pt x="85" y="495"/>
                      </a:lnTo>
                      <a:lnTo>
                        <a:pt x="85" y="496"/>
                      </a:lnTo>
                      <a:lnTo>
                        <a:pt x="83" y="497"/>
                      </a:lnTo>
                      <a:lnTo>
                        <a:pt x="84" y="497"/>
                      </a:lnTo>
                      <a:lnTo>
                        <a:pt x="83" y="497"/>
                      </a:lnTo>
                      <a:lnTo>
                        <a:pt x="83" y="498"/>
                      </a:lnTo>
                      <a:lnTo>
                        <a:pt x="83" y="499"/>
                      </a:lnTo>
                      <a:lnTo>
                        <a:pt x="83" y="499"/>
                      </a:lnTo>
                      <a:lnTo>
                        <a:pt x="82" y="498"/>
                      </a:lnTo>
                      <a:lnTo>
                        <a:pt x="82" y="498"/>
                      </a:lnTo>
                      <a:lnTo>
                        <a:pt x="82" y="497"/>
                      </a:lnTo>
                      <a:lnTo>
                        <a:pt x="82" y="497"/>
                      </a:lnTo>
                      <a:lnTo>
                        <a:pt x="82" y="497"/>
                      </a:lnTo>
                      <a:lnTo>
                        <a:pt x="82" y="497"/>
                      </a:lnTo>
                      <a:lnTo>
                        <a:pt x="82" y="496"/>
                      </a:lnTo>
                      <a:lnTo>
                        <a:pt x="82" y="496"/>
                      </a:lnTo>
                      <a:lnTo>
                        <a:pt x="81" y="496"/>
                      </a:lnTo>
                      <a:lnTo>
                        <a:pt x="81" y="496"/>
                      </a:lnTo>
                      <a:lnTo>
                        <a:pt x="81" y="496"/>
                      </a:lnTo>
                      <a:lnTo>
                        <a:pt x="81" y="497"/>
                      </a:lnTo>
                      <a:lnTo>
                        <a:pt x="81" y="497"/>
                      </a:lnTo>
                      <a:lnTo>
                        <a:pt x="82" y="498"/>
                      </a:lnTo>
                      <a:lnTo>
                        <a:pt x="82" y="498"/>
                      </a:lnTo>
                      <a:lnTo>
                        <a:pt x="82" y="499"/>
                      </a:lnTo>
                      <a:lnTo>
                        <a:pt x="80" y="499"/>
                      </a:lnTo>
                      <a:lnTo>
                        <a:pt x="80" y="499"/>
                      </a:lnTo>
                      <a:lnTo>
                        <a:pt x="80" y="498"/>
                      </a:lnTo>
                      <a:lnTo>
                        <a:pt x="79" y="498"/>
                      </a:lnTo>
                      <a:lnTo>
                        <a:pt x="79" y="498"/>
                      </a:lnTo>
                      <a:lnTo>
                        <a:pt x="79" y="498"/>
                      </a:lnTo>
                      <a:lnTo>
                        <a:pt x="80" y="499"/>
                      </a:lnTo>
                      <a:lnTo>
                        <a:pt x="82" y="499"/>
                      </a:lnTo>
                      <a:lnTo>
                        <a:pt x="82" y="500"/>
                      </a:lnTo>
                      <a:lnTo>
                        <a:pt x="82" y="500"/>
                      </a:lnTo>
                      <a:lnTo>
                        <a:pt x="83" y="500"/>
                      </a:lnTo>
                      <a:lnTo>
                        <a:pt x="82" y="500"/>
                      </a:lnTo>
                      <a:lnTo>
                        <a:pt x="83" y="500"/>
                      </a:lnTo>
                      <a:lnTo>
                        <a:pt x="83" y="500"/>
                      </a:lnTo>
                      <a:lnTo>
                        <a:pt x="83" y="500"/>
                      </a:lnTo>
                      <a:lnTo>
                        <a:pt x="83" y="501"/>
                      </a:lnTo>
                      <a:lnTo>
                        <a:pt x="84" y="500"/>
                      </a:lnTo>
                      <a:lnTo>
                        <a:pt x="83" y="500"/>
                      </a:lnTo>
                      <a:lnTo>
                        <a:pt x="83" y="499"/>
                      </a:lnTo>
                      <a:lnTo>
                        <a:pt x="83" y="499"/>
                      </a:lnTo>
                      <a:lnTo>
                        <a:pt x="84" y="500"/>
                      </a:lnTo>
                      <a:lnTo>
                        <a:pt x="85" y="500"/>
                      </a:lnTo>
                      <a:lnTo>
                        <a:pt x="84" y="501"/>
                      </a:lnTo>
                      <a:lnTo>
                        <a:pt x="83" y="501"/>
                      </a:lnTo>
                      <a:lnTo>
                        <a:pt x="82" y="501"/>
                      </a:lnTo>
                      <a:lnTo>
                        <a:pt x="81" y="500"/>
                      </a:lnTo>
                      <a:lnTo>
                        <a:pt x="77" y="497"/>
                      </a:lnTo>
                      <a:lnTo>
                        <a:pt x="74" y="496"/>
                      </a:lnTo>
                      <a:lnTo>
                        <a:pt x="72" y="495"/>
                      </a:lnTo>
                      <a:lnTo>
                        <a:pt x="69" y="494"/>
                      </a:lnTo>
                      <a:lnTo>
                        <a:pt x="67" y="493"/>
                      </a:lnTo>
                      <a:lnTo>
                        <a:pt x="65" y="493"/>
                      </a:lnTo>
                      <a:lnTo>
                        <a:pt x="64" y="491"/>
                      </a:lnTo>
                      <a:lnTo>
                        <a:pt x="64" y="491"/>
                      </a:lnTo>
                      <a:lnTo>
                        <a:pt x="62" y="491"/>
                      </a:lnTo>
                      <a:lnTo>
                        <a:pt x="61" y="491"/>
                      </a:lnTo>
                      <a:lnTo>
                        <a:pt x="59" y="491"/>
                      </a:lnTo>
                      <a:lnTo>
                        <a:pt x="59" y="491"/>
                      </a:lnTo>
                      <a:lnTo>
                        <a:pt x="58" y="484"/>
                      </a:lnTo>
                      <a:lnTo>
                        <a:pt x="45" y="484"/>
                      </a:lnTo>
                      <a:lnTo>
                        <a:pt x="46" y="478"/>
                      </a:lnTo>
                      <a:lnTo>
                        <a:pt x="45" y="477"/>
                      </a:lnTo>
                      <a:lnTo>
                        <a:pt x="35" y="480"/>
                      </a:lnTo>
                      <a:lnTo>
                        <a:pt x="32" y="475"/>
                      </a:lnTo>
                      <a:lnTo>
                        <a:pt x="30" y="469"/>
                      </a:lnTo>
                      <a:lnTo>
                        <a:pt x="30" y="463"/>
                      </a:lnTo>
                      <a:lnTo>
                        <a:pt x="33" y="459"/>
                      </a:lnTo>
                      <a:lnTo>
                        <a:pt x="31" y="447"/>
                      </a:lnTo>
                      <a:lnTo>
                        <a:pt x="25" y="447"/>
                      </a:lnTo>
                      <a:lnTo>
                        <a:pt x="24" y="439"/>
                      </a:lnTo>
                      <a:lnTo>
                        <a:pt x="29" y="434"/>
                      </a:lnTo>
                      <a:lnTo>
                        <a:pt x="31" y="427"/>
                      </a:lnTo>
                      <a:lnTo>
                        <a:pt x="24" y="425"/>
                      </a:lnTo>
                      <a:lnTo>
                        <a:pt x="19" y="429"/>
                      </a:lnTo>
                      <a:lnTo>
                        <a:pt x="14" y="428"/>
                      </a:lnTo>
                      <a:lnTo>
                        <a:pt x="9" y="422"/>
                      </a:lnTo>
                      <a:lnTo>
                        <a:pt x="0" y="407"/>
                      </a:lnTo>
                      <a:lnTo>
                        <a:pt x="5" y="403"/>
                      </a:lnTo>
                      <a:lnTo>
                        <a:pt x="18" y="401"/>
                      </a:lnTo>
                      <a:lnTo>
                        <a:pt x="19" y="401"/>
                      </a:lnTo>
                      <a:lnTo>
                        <a:pt x="18" y="404"/>
                      </a:lnTo>
                      <a:lnTo>
                        <a:pt x="20" y="404"/>
                      </a:lnTo>
                      <a:lnTo>
                        <a:pt x="22" y="400"/>
                      </a:lnTo>
                      <a:lnTo>
                        <a:pt x="24" y="400"/>
                      </a:lnTo>
                      <a:lnTo>
                        <a:pt x="30" y="405"/>
                      </a:lnTo>
                      <a:lnTo>
                        <a:pt x="39" y="407"/>
                      </a:lnTo>
                      <a:lnTo>
                        <a:pt x="44" y="410"/>
                      </a:lnTo>
                      <a:lnTo>
                        <a:pt x="54" y="411"/>
                      </a:lnTo>
                      <a:lnTo>
                        <a:pt x="59" y="418"/>
                      </a:lnTo>
                      <a:lnTo>
                        <a:pt x="63" y="420"/>
                      </a:lnTo>
                      <a:lnTo>
                        <a:pt x="72" y="417"/>
                      </a:lnTo>
                      <a:lnTo>
                        <a:pt x="74" y="410"/>
                      </a:lnTo>
                      <a:lnTo>
                        <a:pt x="69" y="404"/>
                      </a:lnTo>
                      <a:lnTo>
                        <a:pt x="71" y="401"/>
                      </a:lnTo>
                      <a:lnTo>
                        <a:pt x="75" y="397"/>
                      </a:lnTo>
                      <a:lnTo>
                        <a:pt x="73" y="394"/>
                      </a:lnTo>
                      <a:lnTo>
                        <a:pt x="69" y="392"/>
                      </a:lnTo>
                      <a:lnTo>
                        <a:pt x="70" y="385"/>
                      </a:lnTo>
                      <a:lnTo>
                        <a:pt x="67" y="374"/>
                      </a:lnTo>
                      <a:lnTo>
                        <a:pt x="69" y="366"/>
                      </a:lnTo>
                      <a:lnTo>
                        <a:pt x="68" y="364"/>
                      </a:lnTo>
                      <a:lnTo>
                        <a:pt x="63" y="361"/>
                      </a:lnTo>
                      <a:lnTo>
                        <a:pt x="64" y="353"/>
                      </a:lnTo>
                      <a:lnTo>
                        <a:pt x="63" y="346"/>
                      </a:lnTo>
                      <a:lnTo>
                        <a:pt x="56" y="334"/>
                      </a:lnTo>
                      <a:lnTo>
                        <a:pt x="54" y="324"/>
                      </a:lnTo>
                      <a:lnTo>
                        <a:pt x="57" y="323"/>
                      </a:lnTo>
                      <a:lnTo>
                        <a:pt x="68" y="325"/>
                      </a:lnTo>
                      <a:lnTo>
                        <a:pt x="71" y="323"/>
                      </a:lnTo>
                      <a:lnTo>
                        <a:pt x="74" y="319"/>
                      </a:lnTo>
                      <a:lnTo>
                        <a:pt x="78" y="317"/>
                      </a:lnTo>
                      <a:lnTo>
                        <a:pt x="87" y="321"/>
                      </a:lnTo>
                      <a:lnTo>
                        <a:pt x="89" y="319"/>
                      </a:lnTo>
                      <a:lnTo>
                        <a:pt x="86" y="311"/>
                      </a:lnTo>
                      <a:lnTo>
                        <a:pt x="90" y="301"/>
                      </a:lnTo>
                      <a:lnTo>
                        <a:pt x="89" y="292"/>
                      </a:lnTo>
                      <a:lnTo>
                        <a:pt x="98" y="291"/>
                      </a:lnTo>
                      <a:lnTo>
                        <a:pt x="98" y="288"/>
                      </a:lnTo>
                      <a:lnTo>
                        <a:pt x="96" y="284"/>
                      </a:lnTo>
                      <a:lnTo>
                        <a:pt x="96" y="280"/>
                      </a:lnTo>
                      <a:lnTo>
                        <a:pt x="88" y="277"/>
                      </a:lnTo>
                      <a:lnTo>
                        <a:pt x="81" y="264"/>
                      </a:lnTo>
                      <a:lnTo>
                        <a:pt x="83" y="262"/>
                      </a:lnTo>
                      <a:lnTo>
                        <a:pt x="90" y="260"/>
                      </a:lnTo>
                      <a:lnTo>
                        <a:pt x="90" y="257"/>
                      </a:lnTo>
                      <a:lnTo>
                        <a:pt x="89" y="251"/>
                      </a:lnTo>
                      <a:lnTo>
                        <a:pt x="84" y="248"/>
                      </a:lnTo>
                      <a:lnTo>
                        <a:pt x="79" y="239"/>
                      </a:lnTo>
                      <a:lnTo>
                        <a:pt x="77" y="230"/>
                      </a:lnTo>
                      <a:lnTo>
                        <a:pt x="73" y="229"/>
                      </a:lnTo>
                      <a:lnTo>
                        <a:pt x="64" y="212"/>
                      </a:lnTo>
                      <a:lnTo>
                        <a:pt x="60" y="212"/>
                      </a:lnTo>
                      <a:lnTo>
                        <a:pt x="58" y="211"/>
                      </a:lnTo>
                      <a:lnTo>
                        <a:pt x="58" y="202"/>
                      </a:lnTo>
                      <a:lnTo>
                        <a:pt x="62" y="198"/>
                      </a:lnTo>
                      <a:lnTo>
                        <a:pt x="63" y="191"/>
                      </a:lnTo>
                      <a:lnTo>
                        <a:pt x="57" y="184"/>
                      </a:lnTo>
                      <a:lnTo>
                        <a:pt x="56" y="178"/>
                      </a:lnTo>
                      <a:lnTo>
                        <a:pt x="57" y="175"/>
                      </a:lnTo>
                      <a:lnTo>
                        <a:pt x="64" y="176"/>
                      </a:lnTo>
                      <a:lnTo>
                        <a:pt x="65" y="174"/>
                      </a:lnTo>
                      <a:lnTo>
                        <a:pt x="64" y="172"/>
                      </a:lnTo>
                      <a:lnTo>
                        <a:pt x="58" y="166"/>
                      </a:lnTo>
                      <a:lnTo>
                        <a:pt x="57" y="157"/>
                      </a:lnTo>
                      <a:lnTo>
                        <a:pt x="55" y="146"/>
                      </a:lnTo>
                      <a:lnTo>
                        <a:pt x="50" y="142"/>
                      </a:lnTo>
                      <a:lnTo>
                        <a:pt x="58" y="135"/>
                      </a:lnTo>
                      <a:lnTo>
                        <a:pt x="58" y="115"/>
                      </a:lnTo>
                      <a:lnTo>
                        <a:pt x="62" y="105"/>
                      </a:lnTo>
                      <a:lnTo>
                        <a:pt x="66" y="102"/>
                      </a:lnTo>
                      <a:lnTo>
                        <a:pt x="64" y="96"/>
                      </a:lnTo>
                      <a:lnTo>
                        <a:pt x="71" y="89"/>
                      </a:lnTo>
                      <a:lnTo>
                        <a:pt x="71" y="86"/>
                      </a:lnTo>
                      <a:lnTo>
                        <a:pt x="70" y="85"/>
                      </a:lnTo>
                      <a:lnTo>
                        <a:pt x="62" y="80"/>
                      </a:lnTo>
                      <a:lnTo>
                        <a:pt x="63" y="71"/>
                      </a:lnTo>
                      <a:lnTo>
                        <a:pt x="63" y="71"/>
                      </a:lnTo>
                      <a:lnTo>
                        <a:pt x="73" y="81"/>
                      </a:lnTo>
                      <a:lnTo>
                        <a:pt x="75" y="81"/>
                      </a:lnTo>
                      <a:lnTo>
                        <a:pt x="77" y="77"/>
                      </a:lnTo>
                      <a:lnTo>
                        <a:pt x="84" y="77"/>
                      </a:lnTo>
                      <a:lnTo>
                        <a:pt x="85" y="71"/>
                      </a:lnTo>
                      <a:lnTo>
                        <a:pt x="92" y="69"/>
                      </a:lnTo>
                      <a:lnTo>
                        <a:pt x="93" y="66"/>
                      </a:lnTo>
                      <a:lnTo>
                        <a:pt x="96" y="52"/>
                      </a:lnTo>
                      <a:lnTo>
                        <a:pt x="96" y="45"/>
                      </a:lnTo>
                      <a:lnTo>
                        <a:pt x="100" y="40"/>
                      </a:lnTo>
                      <a:lnTo>
                        <a:pt x="101" y="35"/>
                      </a:lnTo>
                      <a:lnTo>
                        <a:pt x="107" y="34"/>
                      </a:lnTo>
                      <a:lnTo>
                        <a:pt x="108" y="34"/>
                      </a:lnTo>
                      <a:lnTo>
                        <a:pt x="108" y="29"/>
                      </a:lnTo>
                      <a:lnTo>
                        <a:pt x="110" y="28"/>
                      </a:lnTo>
                      <a:lnTo>
                        <a:pt x="114" y="29"/>
                      </a:lnTo>
                      <a:lnTo>
                        <a:pt x="120" y="34"/>
                      </a:lnTo>
                      <a:lnTo>
                        <a:pt x="124" y="33"/>
                      </a:lnTo>
                      <a:lnTo>
                        <a:pt x="126" y="30"/>
                      </a:lnTo>
                      <a:lnTo>
                        <a:pt x="121" y="25"/>
                      </a:lnTo>
                      <a:lnTo>
                        <a:pt x="129" y="20"/>
                      </a:lnTo>
                      <a:lnTo>
                        <a:pt x="130" y="14"/>
                      </a:lnTo>
                      <a:lnTo>
                        <a:pt x="133" y="11"/>
                      </a:lnTo>
                      <a:lnTo>
                        <a:pt x="133" y="11"/>
                      </a:lnTo>
                      <a:lnTo>
                        <a:pt x="150" y="32"/>
                      </a:lnTo>
                      <a:lnTo>
                        <a:pt x="149" y="34"/>
                      </a:lnTo>
                      <a:lnTo>
                        <a:pt x="143" y="35"/>
                      </a:lnTo>
                      <a:lnTo>
                        <a:pt x="136" y="40"/>
                      </a:lnTo>
                      <a:lnTo>
                        <a:pt x="139" y="42"/>
                      </a:lnTo>
                      <a:lnTo>
                        <a:pt x="138" y="53"/>
                      </a:lnTo>
                      <a:lnTo>
                        <a:pt x="140" y="55"/>
                      </a:lnTo>
                      <a:lnTo>
                        <a:pt x="144" y="72"/>
                      </a:lnTo>
                      <a:lnTo>
                        <a:pt x="146" y="73"/>
                      </a:lnTo>
                      <a:lnTo>
                        <a:pt x="151" y="72"/>
                      </a:lnTo>
                      <a:lnTo>
                        <a:pt x="161" y="73"/>
                      </a:lnTo>
                      <a:lnTo>
                        <a:pt x="167" y="69"/>
                      </a:lnTo>
                      <a:lnTo>
                        <a:pt x="171" y="69"/>
                      </a:lnTo>
                      <a:lnTo>
                        <a:pt x="175" y="63"/>
                      </a:lnTo>
                      <a:lnTo>
                        <a:pt x="178" y="62"/>
                      </a:lnTo>
                      <a:lnTo>
                        <a:pt x="171" y="60"/>
                      </a:lnTo>
                      <a:lnTo>
                        <a:pt x="175" y="54"/>
                      </a:lnTo>
                      <a:lnTo>
                        <a:pt x="180" y="51"/>
                      </a:lnTo>
                      <a:lnTo>
                        <a:pt x="192" y="48"/>
                      </a:lnTo>
                      <a:lnTo>
                        <a:pt x="195" y="44"/>
                      </a:lnTo>
                      <a:lnTo>
                        <a:pt x="202" y="45"/>
                      </a:lnTo>
                      <a:lnTo>
                        <a:pt x="211" y="41"/>
                      </a:lnTo>
                      <a:lnTo>
                        <a:pt x="213" y="42"/>
                      </a:lnTo>
                      <a:lnTo>
                        <a:pt x="221" y="59"/>
                      </a:lnTo>
                      <a:lnTo>
                        <a:pt x="223" y="59"/>
                      </a:lnTo>
                      <a:lnTo>
                        <a:pt x="230" y="52"/>
                      </a:lnTo>
                      <a:lnTo>
                        <a:pt x="230" y="46"/>
                      </a:lnTo>
                      <a:lnTo>
                        <a:pt x="235" y="45"/>
                      </a:lnTo>
                      <a:lnTo>
                        <a:pt x="236" y="44"/>
                      </a:lnTo>
                      <a:lnTo>
                        <a:pt x="236" y="41"/>
                      </a:lnTo>
                      <a:lnTo>
                        <a:pt x="231" y="36"/>
                      </a:lnTo>
                      <a:lnTo>
                        <a:pt x="228" y="30"/>
                      </a:lnTo>
                      <a:lnTo>
                        <a:pt x="226" y="29"/>
                      </a:lnTo>
                      <a:lnTo>
                        <a:pt x="226" y="26"/>
                      </a:lnTo>
                      <a:lnTo>
                        <a:pt x="237" y="22"/>
                      </a:lnTo>
                      <a:lnTo>
                        <a:pt x="239" y="19"/>
                      </a:lnTo>
                      <a:lnTo>
                        <a:pt x="239" y="16"/>
                      </a:lnTo>
                      <a:lnTo>
                        <a:pt x="242" y="14"/>
                      </a:lnTo>
                      <a:lnTo>
                        <a:pt x="248" y="16"/>
                      </a:lnTo>
                      <a:lnTo>
                        <a:pt x="251" y="10"/>
                      </a:lnTo>
                      <a:lnTo>
                        <a:pt x="257" y="11"/>
                      </a:lnTo>
                      <a:lnTo>
                        <a:pt x="273" y="0"/>
                      </a:lnTo>
                      <a:close/>
                    </a:path>
                  </a:pathLst>
                </a:custGeom>
                <a:grpFill/>
                <a:ln w="317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900" dirty="0"/>
                </a:p>
              </p:txBody>
            </p:sp>
            <p:sp>
              <p:nvSpPr>
                <p:cNvPr id="136" name="South West" descr="{&quot;Key&quot;:&quot;south west&quot;,&quot;Name&quot;:&quot;South West&quot;,&quot;Value&quot;:1.0,&quot;Formula&quot;:&quot;&quot;,&quot;Text&quot;:&quot;1&quot;,&quot;HasValue&quot;:true}">
                  <a:extLst>
                    <a:ext uri="{FF2B5EF4-FFF2-40B4-BE49-F238E27FC236}">
                      <a16:creationId xmlns:a16="http://schemas.microsoft.com/office/drawing/2014/main" id="{18649664-797B-6004-0A7C-17E3614AAD38}"/>
                    </a:ext>
                  </a:extLst>
                </p:cNvPr>
                <p:cNvSpPr>
                  <a:spLocks noEditPoints="1"/>
                </p:cNvSpPr>
                <p:nvPr/>
              </p:nvSpPr>
              <p:spPr bwMode="auto">
                <a:xfrm>
                  <a:off x="5421313" y="5310188"/>
                  <a:ext cx="1636713" cy="1177925"/>
                </a:xfrm>
                <a:custGeom>
                  <a:avLst/>
                  <a:gdLst>
                    <a:gd name="T0" fmla="*/ 21 w 1031"/>
                    <a:gd name="T1" fmla="*/ 727 h 742"/>
                    <a:gd name="T2" fmla="*/ 5 w 1031"/>
                    <a:gd name="T3" fmla="*/ 727 h 742"/>
                    <a:gd name="T4" fmla="*/ 8 w 1031"/>
                    <a:gd name="T5" fmla="*/ 716 h 742"/>
                    <a:gd name="T6" fmla="*/ 17 w 1031"/>
                    <a:gd name="T7" fmla="*/ 711 h 742"/>
                    <a:gd name="T8" fmla="*/ 816 w 1031"/>
                    <a:gd name="T9" fmla="*/ 77 h 742"/>
                    <a:gd name="T10" fmla="*/ 1006 w 1031"/>
                    <a:gd name="T11" fmla="*/ 200 h 742"/>
                    <a:gd name="T12" fmla="*/ 976 w 1031"/>
                    <a:gd name="T13" fmla="*/ 468 h 742"/>
                    <a:gd name="T14" fmla="*/ 931 w 1031"/>
                    <a:gd name="T15" fmla="*/ 469 h 742"/>
                    <a:gd name="T16" fmla="*/ 916 w 1031"/>
                    <a:gd name="T17" fmla="*/ 473 h 742"/>
                    <a:gd name="T18" fmla="*/ 932 w 1031"/>
                    <a:gd name="T19" fmla="*/ 489 h 742"/>
                    <a:gd name="T20" fmla="*/ 883 w 1031"/>
                    <a:gd name="T21" fmla="*/ 499 h 742"/>
                    <a:gd name="T22" fmla="*/ 830 w 1031"/>
                    <a:gd name="T23" fmla="*/ 516 h 742"/>
                    <a:gd name="T24" fmla="*/ 762 w 1031"/>
                    <a:gd name="T25" fmla="*/ 470 h 742"/>
                    <a:gd name="T26" fmla="*/ 656 w 1031"/>
                    <a:gd name="T27" fmla="*/ 482 h 742"/>
                    <a:gd name="T28" fmla="*/ 617 w 1031"/>
                    <a:gd name="T29" fmla="*/ 493 h 742"/>
                    <a:gd name="T30" fmla="*/ 601 w 1031"/>
                    <a:gd name="T31" fmla="*/ 525 h 742"/>
                    <a:gd name="T32" fmla="*/ 595 w 1031"/>
                    <a:gd name="T33" fmla="*/ 562 h 742"/>
                    <a:gd name="T34" fmla="*/ 591 w 1031"/>
                    <a:gd name="T35" fmla="*/ 589 h 742"/>
                    <a:gd name="T36" fmla="*/ 584 w 1031"/>
                    <a:gd name="T37" fmla="*/ 576 h 742"/>
                    <a:gd name="T38" fmla="*/ 573 w 1031"/>
                    <a:gd name="T39" fmla="*/ 632 h 742"/>
                    <a:gd name="T40" fmla="*/ 554 w 1031"/>
                    <a:gd name="T41" fmla="*/ 619 h 742"/>
                    <a:gd name="T42" fmla="*/ 538 w 1031"/>
                    <a:gd name="T43" fmla="*/ 631 h 742"/>
                    <a:gd name="T44" fmla="*/ 522 w 1031"/>
                    <a:gd name="T45" fmla="*/ 608 h 742"/>
                    <a:gd name="T46" fmla="*/ 493 w 1031"/>
                    <a:gd name="T47" fmla="*/ 607 h 742"/>
                    <a:gd name="T48" fmla="*/ 478 w 1031"/>
                    <a:gd name="T49" fmla="*/ 599 h 742"/>
                    <a:gd name="T50" fmla="*/ 465 w 1031"/>
                    <a:gd name="T51" fmla="*/ 584 h 742"/>
                    <a:gd name="T52" fmla="*/ 460 w 1031"/>
                    <a:gd name="T53" fmla="*/ 560 h 742"/>
                    <a:gd name="T54" fmla="*/ 458 w 1031"/>
                    <a:gd name="T55" fmla="*/ 569 h 742"/>
                    <a:gd name="T56" fmla="*/ 456 w 1031"/>
                    <a:gd name="T57" fmla="*/ 574 h 742"/>
                    <a:gd name="T58" fmla="*/ 467 w 1031"/>
                    <a:gd name="T59" fmla="*/ 588 h 742"/>
                    <a:gd name="T60" fmla="*/ 409 w 1031"/>
                    <a:gd name="T61" fmla="*/ 586 h 742"/>
                    <a:gd name="T62" fmla="*/ 370 w 1031"/>
                    <a:gd name="T63" fmla="*/ 593 h 742"/>
                    <a:gd name="T64" fmla="*/ 357 w 1031"/>
                    <a:gd name="T65" fmla="*/ 590 h 742"/>
                    <a:gd name="T66" fmla="*/ 340 w 1031"/>
                    <a:gd name="T67" fmla="*/ 621 h 742"/>
                    <a:gd name="T68" fmla="*/ 302 w 1031"/>
                    <a:gd name="T69" fmla="*/ 636 h 742"/>
                    <a:gd name="T70" fmla="*/ 288 w 1031"/>
                    <a:gd name="T71" fmla="*/ 651 h 742"/>
                    <a:gd name="T72" fmla="*/ 280 w 1031"/>
                    <a:gd name="T73" fmla="*/ 650 h 742"/>
                    <a:gd name="T74" fmla="*/ 269 w 1031"/>
                    <a:gd name="T75" fmla="*/ 670 h 742"/>
                    <a:gd name="T76" fmla="*/ 269 w 1031"/>
                    <a:gd name="T77" fmla="*/ 675 h 742"/>
                    <a:gd name="T78" fmla="*/ 261 w 1031"/>
                    <a:gd name="T79" fmla="*/ 701 h 742"/>
                    <a:gd name="T80" fmla="*/ 237 w 1031"/>
                    <a:gd name="T81" fmla="*/ 705 h 742"/>
                    <a:gd name="T82" fmla="*/ 212 w 1031"/>
                    <a:gd name="T83" fmla="*/ 671 h 742"/>
                    <a:gd name="T84" fmla="*/ 170 w 1031"/>
                    <a:gd name="T85" fmla="*/ 686 h 742"/>
                    <a:gd name="T86" fmla="*/ 145 w 1031"/>
                    <a:gd name="T87" fmla="*/ 677 h 742"/>
                    <a:gd name="T88" fmla="*/ 161 w 1031"/>
                    <a:gd name="T89" fmla="*/ 645 h 742"/>
                    <a:gd name="T90" fmla="*/ 195 w 1031"/>
                    <a:gd name="T91" fmla="*/ 639 h 742"/>
                    <a:gd name="T92" fmla="*/ 227 w 1031"/>
                    <a:gd name="T93" fmla="*/ 618 h 742"/>
                    <a:gd name="T94" fmla="*/ 260 w 1031"/>
                    <a:gd name="T95" fmla="*/ 583 h 742"/>
                    <a:gd name="T96" fmla="*/ 283 w 1031"/>
                    <a:gd name="T97" fmla="*/ 558 h 742"/>
                    <a:gd name="T98" fmla="*/ 291 w 1031"/>
                    <a:gd name="T99" fmla="*/ 525 h 742"/>
                    <a:gd name="T100" fmla="*/ 315 w 1031"/>
                    <a:gd name="T101" fmla="*/ 528 h 742"/>
                    <a:gd name="T102" fmla="*/ 324 w 1031"/>
                    <a:gd name="T103" fmla="*/ 509 h 742"/>
                    <a:gd name="T104" fmla="*/ 357 w 1031"/>
                    <a:gd name="T105" fmla="*/ 475 h 742"/>
                    <a:gd name="T106" fmla="*/ 383 w 1031"/>
                    <a:gd name="T107" fmla="*/ 435 h 742"/>
                    <a:gd name="T108" fmla="*/ 389 w 1031"/>
                    <a:gd name="T109" fmla="*/ 385 h 742"/>
                    <a:gd name="T110" fmla="*/ 450 w 1031"/>
                    <a:gd name="T111" fmla="*/ 361 h 742"/>
                    <a:gd name="T112" fmla="*/ 485 w 1031"/>
                    <a:gd name="T113" fmla="*/ 348 h 742"/>
                    <a:gd name="T114" fmla="*/ 453 w 1031"/>
                    <a:gd name="T115" fmla="*/ 312 h 742"/>
                    <a:gd name="T116" fmla="*/ 528 w 1031"/>
                    <a:gd name="T117" fmla="*/ 298 h 742"/>
                    <a:gd name="T118" fmla="*/ 638 w 1031"/>
                    <a:gd name="T119" fmla="*/ 313 h 742"/>
                    <a:gd name="T120" fmla="*/ 707 w 1031"/>
                    <a:gd name="T121" fmla="*/ 307 h 742"/>
                    <a:gd name="T122" fmla="*/ 722 w 1031"/>
                    <a:gd name="T123" fmla="*/ 241 h 742"/>
                    <a:gd name="T124" fmla="*/ 775 w 1031"/>
                    <a:gd name="T125" fmla="*/ 20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31" h="742">
                      <a:moveTo>
                        <a:pt x="6" y="737"/>
                      </a:moveTo>
                      <a:lnTo>
                        <a:pt x="6" y="738"/>
                      </a:lnTo>
                      <a:lnTo>
                        <a:pt x="7" y="738"/>
                      </a:lnTo>
                      <a:lnTo>
                        <a:pt x="7" y="738"/>
                      </a:lnTo>
                      <a:lnTo>
                        <a:pt x="8" y="738"/>
                      </a:lnTo>
                      <a:lnTo>
                        <a:pt x="8" y="738"/>
                      </a:lnTo>
                      <a:lnTo>
                        <a:pt x="9" y="739"/>
                      </a:lnTo>
                      <a:lnTo>
                        <a:pt x="9" y="738"/>
                      </a:lnTo>
                      <a:lnTo>
                        <a:pt x="8" y="738"/>
                      </a:lnTo>
                      <a:lnTo>
                        <a:pt x="9" y="738"/>
                      </a:lnTo>
                      <a:lnTo>
                        <a:pt x="9" y="737"/>
                      </a:lnTo>
                      <a:lnTo>
                        <a:pt x="10" y="738"/>
                      </a:lnTo>
                      <a:lnTo>
                        <a:pt x="10" y="739"/>
                      </a:lnTo>
                      <a:lnTo>
                        <a:pt x="11" y="739"/>
                      </a:lnTo>
                      <a:lnTo>
                        <a:pt x="10" y="739"/>
                      </a:lnTo>
                      <a:lnTo>
                        <a:pt x="10" y="740"/>
                      </a:lnTo>
                      <a:lnTo>
                        <a:pt x="10" y="740"/>
                      </a:lnTo>
                      <a:lnTo>
                        <a:pt x="10" y="740"/>
                      </a:lnTo>
                      <a:lnTo>
                        <a:pt x="9" y="739"/>
                      </a:lnTo>
                      <a:lnTo>
                        <a:pt x="9" y="739"/>
                      </a:lnTo>
                      <a:lnTo>
                        <a:pt x="8" y="739"/>
                      </a:lnTo>
                      <a:lnTo>
                        <a:pt x="8" y="740"/>
                      </a:lnTo>
                      <a:lnTo>
                        <a:pt x="9" y="740"/>
                      </a:lnTo>
                      <a:lnTo>
                        <a:pt x="9" y="741"/>
                      </a:lnTo>
                      <a:lnTo>
                        <a:pt x="8" y="741"/>
                      </a:lnTo>
                      <a:lnTo>
                        <a:pt x="8" y="742"/>
                      </a:lnTo>
                      <a:lnTo>
                        <a:pt x="8" y="742"/>
                      </a:lnTo>
                      <a:lnTo>
                        <a:pt x="7" y="742"/>
                      </a:lnTo>
                      <a:lnTo>
                        <a:pt x="7" y="741"/>
                      </a:lnTo>
                      <a:lnTo>
                        <a:pt x="7" y="741"/>
                      </a:lnTo>
                      <a:lnTo>
                        <a:pt x="7" y="740"/>
                      </a:lnTo>
                      <a:lnTo>
                        <a:pt x="6" y="740"/>
                      </a:lnTo>
                      <a:lnTo>
                        <a:pt x="6" y="741"/>
                      </a:lnTo>
                      <a:lnTo>
                        <a:pt x="6" y="741"/>
                      </a:lnTo>
                      <a:lnTo>
                        <a:pt x="6" y="741"/>
                      </a:lnTo>
                      <a:lnTo>
                        <a:pt x="5" y="741"/>
                      </a:lnTo>
                      <a:lnTo>
                        <a:pt x="5" y="739"/>
                      </a:lnTo>
                      <a:lnTo>
                        <a:pt x="6" y="739"/>
                      </a:lnTo>
                      <a:lnTo>
                        <a:pt x="6" y="739"/>
                      </a:lnTo>
                      <a:lnTo>
                        <a:pt x="5" y="738"/>
                      </a:lnTo>
                      <a:lnTo>
                        <a:pt x="5" y="739"/>
                      </a:lnTo>
                      <a:lnTo>
                        <a:pt x="5" y="739"/>
                      </a:lnTo>
                      <a:lnTo>
                        <a:pt x="5" y="739"/>
                      </a:lnTo>
                      <a:lnTo>
                        <a:pt x="5" y="739"/>
                      </a:lnTo>
                      <a:lnTo>
                        <a:pt x="4" y="738"/>
                      </a:lnTo>
                      <a:lnTo>
                        <a:pt x="4" y="738"/>
                      </a:lnTo>
                      <a:lnTo>
                        <a:pt x="4" y="737"/>
                      </a:lnTo>
                      <a:lnTo>
                        <a:pt x="5" y="737"/>
                      </a:lnTo>
                      <a:lnTo>
                        <a:pt x="5" y="738"/>
                      </a:lnTo>
                      <a:lnTo>
                        <a:pt x="6" y="738"/>
                      </a:lnTo>
                      <a:lnTo>
                        <a:pt x="5" y="737"/>
                      </a:lnTo>
                      <a:lnTo>
                        <a:pt x="6" y="737"/>
                      </a:lnTo>
                      <a:close/>
                      <a:moveTo>
                        <a:pt x="1" y="737"/>
                      </a:moveTo>
                      <a:lnTo>
                        <a:pt x="1" y="738"/>
                      </a:lnTo>
                      <a:lnTo>
                        <a:pt x="2" y="738"/>
                      </a:lnTo>
                      <a:lnTo>
                        <a:pt x="2" y="739"/>
                      </a:lnTo>
                      <a:lnTo>
                        <a:pt x="3" y="739"/>
                      </a:lnTo>
                      <a:lnTo>
                        <a:pt x="3" y="739"/>
                      </a:lnTo>
                      <a:lnTo>
                        <a:pt x="2" y="740"/>
                      </a:lnTo>
                      <a:lnTo>
                        <a:pt x="2" y="740"/>
                      </a:lnTo>
                      <a:lnTo>
                        <a:pt x="2" y="739"/>
                      </a:lnTo>
                      <a:lnTo>
                        <a:pt x="1" y="739"/>
                      </a:lnTo>
                      <a:lnTo>
                        <a:pt x="2" y="739"/>
                      </a:lnTo>
                      <a:lnTo>
                        <a:pt x="1" y="739"/>
                      </a:lnTo>
                      <a:lnTo>
                        <a:pt x="0" y="739"/>
                      </a:lnTo>
                      <a:lnTo>
                        <a:pt x="0" y="738"/>
                      </a:lnTo>
                      <a:lnTo>
                        <a:pt x="0" y="738"/>
                      </a:lnTo>
                      <a:lnTo>
                        <a:pt x="0" y="738"/>
                      </a:lnTo>
                      <a:lnTo>
                        <a:pt x="0" y="737"/>
                      </a:lnTo>
                      <a:lnTo>
                        <a:pt x="1" y="737"/>
                      </a:lnTo>
                      <a:close/>
                      <a:moveTo>
                        <a:pt x="18" y="724"/>
                      </a:moveTo>
                      <a:lnTo>
                        <a:pt x="18" y="724"/>
                      </a:lnTo>
                      <a:lnTo>
                        <a:pt x="19" y="724"/>
                      </a:lnTo>
                      <a:lnTo>
                        <a:pt x="19" y="725"/>
                      </a:lnTo>
                      <a:lnTo>
                        <a:pt x="19" y="725"/>
                      </a:lnTo>
                      <a:lnTo>
                        <a:pt x="20" y="725"/>
                      </a:lnTo>
                      <a:lnTo>
                        <a:pt x="20" y="725"/>
                      </a:lnTo>
                      <a:lnTo>
                        <a:pt x="20" y="726"/>
                      </a:lnTo>
                      <a:lnTo>
                        <a:pt x="21" y="726"/>
                      </a:lnTo>
                      <a:lnTo>
                        <a:pt x="21" y="727"/>
                      </a:lnTo>
                      <a:lnTo>
                        <a:pt x="21" y="727"/>
                      </a:lnTo>
                      <a:lnTo>
                        <a:pt x="21" y="726"/>
                      </a:lnTo>
                      <a:lnTo>
                        <a:pt x="22" y="727"/>
                      </a:lnTo>
                      <a:lnTo>
                        <a:pt x="22" y="727"/>
                      </a:lnTo>
                      <a:lnTo>
                        <a:pt x="22" y="727"/>
                      </a:lnTo>
                      <a:lnTo>
                        <a:pt x="21" y="727"/>
                      </a:lnTo>
                      <a:lnTo>
                        <a:pt x="21" y="727"/>
                      </a:lnTo>
                      <a:lnTo>
                        <a:pt x="22" y="729"/>
                      </a:lnTo>
                      <a:lnTo>
                        <a:pt x="22" y="729"/>
                      </a:lnTo>
                      <a:lnTo>
                        <a:pt x="22" y="729"/>
                      </a:lnTo>
                      <a:lnTo>
                        <a:pt x="22" y="729"/>
                      </a:lnTo>
                      <a:lnTo>
                        <a:pt x="22" y="729"/>
                      </a:lnTo>
                      <a:lnTo>
                        <a:pt x="22" y="730"/>
                      </a:lnTo>
                      <a:lnTo>
                        <a:pt x="21" y="732"/>
                      </a:lnTo>
                      <a:lnTo>
                        <a:pt x="20" y="732"/>
                      </a:lnTo>
                      <a:lnTo>
                        <a:pt x="20" y="732"/>
                      </a:lnTo>
                      <a:lnTo>
                        <a:pt x="21" y="732"/>
                      </a:lnTo>
                      <a:lnTo>
                        <a:pt x="21" y="733"/>
                      </a:lnTo>
                      <a:lnTo>
                        <a:pt x="21" y="732"/>
                      </a:lnTo>
                      <a:lnTo>
                        <a:pt x="21" y="733"/>
                      </a:lnTo>
                      <a:lnTo>
                        <a:pt x="20" y="734"/>
                      </a:lnTo>
                      <a:lnTo>
                        <a:pt x="20" y="734"/>
                      </a:lnTo>
                      <a:lnTo>
                        <a:pt x="18" y="734"/>
                      </a:lnTo>
                      <a:lnTo>
                        <a:pt x="18" y="733"/>
                      </a:lnTo>
                      <a:lnTo>
                        <a:pt x="18" y="734"/>
                      </a:lnTo>
                      <a:lnTo>
                        <a:pt x="18" y="734"/>
                      </a:lnTo>
                      <a:lnTo>
                        <a:pt x="17" y="734"/>
                      </a:lnTo>
                      <a:lnTo>
                        <a:pt x="17" y="733"/>
                      </a:lnTo>
                      <a:lnTo>
                        <a:pt x="17" y="733"/>
                      </a:lnTo>
                      <a:lnTo>
                        <a:pt x="17" y="734"/>
                      </a:lnTo>
                      <a:lnTo>
                        <a:pt x="17" y="734"/>
                      </a:lnTo>
                      <a:lnTo>
                        <a:pt x="17" y="734"/>
                      </a:lnTo>
                      <a:lnTo>
                        <a:pt x="17" y="734"/>
                      </a:lnTo>
                      <a:lnTo>
                        <a:pt x="17" y="734"/>
                      </a:lnTo>
                      <a:lnTo>
                        <a:pt x="17" y="735"/>
                      </a:lnTo>
                      <a:lnTo>
                        <a:pt x="17" y="735"/>
                      </a:lnTo>
                      <a:lnTo>
                        <a:pt x="17" y="736"/>
                      </a:lnTo>
                      <a:lnTo>
                        <a:pt x="16" y="736"/>
                      </a:lnTo>
                      <a:lnTo>
                        <a:pt x="16" y="735"/>
                      </a:lnTo>
                      <a:lnTo>
                        <a:pt x="16" y="735"/>
                      </a:lnTo>
                      <a:lnTo>
                        <a:pt x="15" y="734"/>
                      </a:lnTo>
                      <a:lnTo>
                        <a:pt x="14" y="734"/>
                      </a:lnTo>
                      <a:lnTo>
                        <a:pt x="14" y="733"/>
                      </a:lnTo>
                      <a:lnTo>
                        <a:pt x="15" y="733"/>
                      </a:lnTo>
                      <a:lnTo>
                        <a:pt x="14" y="733"/>
                      </a:lnTo>
                      <a:lnTo>
                        <a:pt x="14" y="733"/>
                      </a:lnTo>
                      <a:lnTo>
                        <a:pt x="14" y="734"/>
                      </a:lnTo>
                      <a:lnTo>
                        <a:pt x="12" y="734"/>
                      </a:lnTo>
                      <a:lnTo>
                        <a:pt x="11" y="734"/>
                      </a:lnTo>
                      <a:lnTo>
                        <a:pt x="11" y="734"/>
                      </a:lnTo>
                      <a:lnTo>
                        <a:pt x="10" y="733"/>
                      </a:lnTo>
                      <a:lnTo>
                        <a:pt x="10" y="733"/>
                      </a:lnTo>
                      <a:lnTo>
                        <a:pt x="11" y="732"/>
                      </a:lnTo>
                      <a:lnTo>
                        <a:pt x="12" y="731"/>
                      </a:lnTo>
                      <a:lnTo>
                        <a:pt x="12" y="732"/>
                      </a:lnTo>
                      <a:lnTo>
                        <a:pt x="14" y="732"/>
                      </a:lnTo>
                      <a:lnTo>
                        <a:pt x="15" y="732"/>
                      </a:lnTo>
                      <a:lnTo>
                        <a:pt x="14" y="732"/>
                      </a:lnTo>
                      <a:lnTo>
                        <a:pt x="15" y="731"/>
                      </a:lnTo>
                      <a:lnTo>
                        <a:pt x="15" y="732"/>
                      </a:lnTo>
                      <a:lnTo>
                        <a:pt x="15" y="731"/>
                      </a:lnTo>
                      <a:lnTo>
                        <a:pt x="15" y="731"/>
                      </a:lnTo>
                      <a:lnTo>
                        <a:pt x="15" y="730"/>
                      </a:lnTo>
                      <a:lnTo>
                        <a:pt x="14" y="730"/>
                      </a:lnTo>
                      <a:lnTo>
                        <a:pt x="15" y="730"/>
                      </a:lnTo>
                      <a:lnTo>
                        <a:pt x="15" y="730"/>
                      </a:lnTo>
                      <a:lnTo>
                        <a:pt x="15" y="730"/>
                      </a:lnTo>
                      <a:lnTo>
                        <a:pt x="15" y="729"/>
                      </a:lnTo>
                      <a:lnTo>
                        <a:pt x="14" y="729"/>
                      </a:lnTo>
                      <a:lnTo>
                        <a:pt x="15" y="729"/>
                      </a:lnTo>
                      <a:lnTo>
                        <a:pt x="14" y="727"/>
                      </a:lnTo>
                      <a:lnTo>
                        <a:pt x="15" y="727"/>
                      </a:lnTo>
                      <a:lnTo>
                        <a:pt x="15" y="726"/>
                      </a:lnTo>
                      <a:lnTo>
                        <a:pt x="15" y="725"/>
                      </a:lnTo>
                      <a:lnTo>
                        <a:pt x="16" y="725"/>
                      </a:lnTo>
                      <a:lnTo>
                        <a:pt x="16" y="725"/>
                      </a:lnTo>
                      <a:lnTo>
                        <a:pt x="17" y="725"/>
                      </a:lnTo>
                      <a:lnTo>
                        <a:pt x="17" y="724"/>
                      </a:lnTo>
                      <a:lnTo>
                        <a:pt x="18" y="724"/>
                      </a:lnTo>
                      <a:lnTo>
                        <a:pt x="18" y="724"/>
                      </a:lnTo>
                      <a:close/>
                      <a:moveTo>
                        <a:pt x="5" y="724"/>
                      </a:moveTo>
                      <a:lnTo>
                        <a:pt x="5" y="724"/>
                      </a:lnTo>
                      <a:lnTo>
                        <a:pt x="6" y="724"/>
                      </a:lnTo>
                      <a:lnTo>
                        <a:pt x="6" y="724"/>
                      </a:lnTo>
                      <a:lnTo>
                        <a:pt x="6" y="725"/>
                      </a:lnTo>
                      <a:lnTo>
                        <a:pt x="6" y="726"/>
                      </a:lnTo>
                      <a:lnTo>
                        <a:pt x="6" y="726"/>
                      </a:lnTo>
                      <a:lnTo>
                        <a:pt x="6" y="727"/>
                      </a:lnTo>
                      <a:lnTo>
                        <a:pt x="6" y="727"/>
                      </a:lnTo>
                      <a:lnTo>
                        <a:pt x="6" y="727"/>
                      </a:lnTo>
                      <a:lnTo>
                        <a:pt x="6" y="727"/>
                      </a:lnTo>
                      <a:lnTo>
                        <a:pt x="5" y="727"/>
                      </a:lnTo>
                      <a:lnTo>
                        <a:pt x="5" y="727"/>
                      </a:lnTo>
                      <a:lnTo>
                        <a:pt x="4" y="727"/>
                      </a:lnTo>
                      <a:lnTo>
                        <a:pt x="4" y="726"/>
                      </a:lnTo>
                      <a:lnTo>
                        <a:pt x="5" y="725"/>
                      </a:lnTo>
                      <a:lnTo>
                        <a:pt x="5" y="725"/>
                      </a:lnTo>
                      <a:lnTo>
                        <a:pt x="4" y="724"/>
                      </a:lnTo>
                      <a:lnTo>
                        <a:pt x="5" y="724"/>
                      </a:lnTo>
                      <a:lnTo>
                        <a:pt x="5" y="724"/>
                      </a:lnTo>
                      <a:close/>
                      <a:moveTo>
                        <a:pt x="24" y="721"/>
                      </a:moveTo>
                      <a:lnTo>
                        <a:pt x="24" y="721"/>
                      </a:lnTo>
                      <a:lnTo>
                        <a:pt x="25" y="721"/>
                      </a:lnTo>
                      <a:lnTo>
                        <a:pt x="25" y="721"/>
                      </a:lnTo>
                      <a:lnTo>
                        <a:pt x="24" y="721"/>
                      </a:lnTo>
                      <a:lnTo>
                        <a:pt x="24" y="722"/>
                      </a:lnTo>
                      <a:lnTo>
                        <a:pt x="25" y="722"/>
                      </a:lnTo>
                      <a:lnTo>
                        <a:pt x="25" y="722"/>
                      </a:lnTo>
                      <a:lnTo>
                        <a:pt x="25" y="723"/>
                      </a:lnTo>
                      <a:lnTo>
                        <a:pt x="24" y="723"/>
                      </a:lnTo>
                      <a:lnTo>
                        <a:pt x="23" y="722"/>
                      </a:lnTo>
                      <a:lnTo>
                        <a:pt x="24" y="721"/>
                      </a:lnTo>
                      <a:close/>
                      <a:moveTo>
                        <a:pt x="25" y="718"/>
                      </a:moveTo>
                      <a:lnTo>
                        <a:pt x="25" y="718"/>
                      </a:lnTo>
                      <a:lnTo>
                        <a:pt x="25" y="719"/>
                      </a:lnTo>
                      <a:lnTo>
                        <a:pt x="26" y="719"/>
                      </a:lnTo>
                      <a:lnTo>
                        <a:pt x="26" y="719"/>
                      </a:lnTo>
                      <a:lnTo>
                        <a:pt x="27" y="720"/>
                      </a:lnTo>
                      <a:lnTo>
                        <a:pt x="27" y="721"/>
                      </a:lnTo>
                      <a:lnTo>
                        <a:pt x="26" y="721"/>
                      </a:lnTo>
                      <a:lnTo>
                        <a:pt x="25" y="720"/>
                      </a:lnTo>
                      <a:lnTo>
                        <a:pt x="25" y="719"/>
                      </a:lnTo>
                      <a:lnTo>
                        <a:pt x="25" y="719"/>
                      </a:lnTo>
                      <a:lnTo>
                        <a:pt x="24" y="718"/>
                      </a:lnTo>
                      <a:lnTo>
                        <a:pt x="24" y="718"/>
                      </a:lnTo>
                      <a:lnTo>
                        <a:pt x="25" y="718"/>
                      </a:lnTo>
                      <a:close/>
                      <a:moveTo>
                        <a:pt x="4" y="714"/>
                      </a:moveTo>
                      <a:lnTo>
                        <a:pt x="4" y="715"/>
                      </a:lnTo>
                      <a:lnTo>
                        <a:pt x="4" y="716"/>
                      </a:lnTo>
                      <a:lnTo>
                        <a:pt x="5" y="716"/>
                      </a:lnTo>
                      <a:lnTo>
                        <a:pt x="5" y="716"/>
                      </a:lnTo>
                      <a:lnTo>
                        <a:pt x="5" y="716"/>
                      </a:lnTo>
                      <a:lnTo>
                        <a:pt x="6" y="717"/>
                      </a:lnTo>
                      <a:lnTo>
                        <a:pt x="6" y="717"/>
                      </a:lnTo>
                      <a:lnTo>
                        <a:pt x="6" y="718"/>
                      </a:lnTo>
                      <a:lnTo>
                        <a:pt x="6" y="718"/>
                      </a:lnTo>
                      <a:lnTo>
                        <a:pt x="6" y="719"/>
                      </a:lnTo>
                      <a:lnTo>
                        <a:pt x="6" y="719"/>
                      </a:lnTo>
                      <a:lnTo>
                        <a:pt x="6" y="719"/>
                      </a:lnTo>
                      <a:lnTo>
                        <a:pt x="5" y="720"/>
                      </a:lnTo>
                      <a:lnTo>
                        <a:pt x="5" y="720"/>
                      </a:lnTo>
                      <a:lnTo>
                        <a:pt x="6" y="721"/>
                      </a:lnTo>
                      <a:lnTo>
                        <a:pt x="6" y="721"/>
                      </a:lnTo>
                      <a:lnTo>
                        <a:pt x="6" y="722"/>
                      </a:lnTo>
                      <a:lnTo>
                        <a:pt x="5" y="722"/>
                      </a:lnTo>
                      <a:lnTo>
                        <a:pt x="4" y="722"/>
                      </a:lnTo>
                      <a:lnTo>
                        <a:pt x="3" y="723"/>
                      </a:lnTo>
                      <a:lnTo>
                        <a:pt x="3" y="722"/>
                      </a:lnTo>
                      <a:lnTo>
                        <a:pt x="4" y="722"/>
                      </a:lnTo>
                      <a:lnTo>
                        <a:pt x="4" y="721"/>
                      </a:lnTo>
                      <a:lnTo>
                        <a:pt x="3" y="721"/>
                      </a:lnTo>
                      <a:lnTo>
                        <a:pt x="3" y="721"/>
                      </a:lnTo>
                      <a:lnTo>
                        <a:pt x="4" y="721"/>
                      </a:lnTo>
                      <a:lnTo>
                        <a:pt x="4" y="720"/>
                      </a:lnTo>
                      <a:lnTo>
                        <a:pt x="4" y="720"/>
                      </a:lnTo>
                      <a:lnTo>
                        <a:pt x="4" y="720"/>
                      </a:lnTo>
                      <a:lnTo>
                        <a:pt x="3" y="720"/>
                      </a:lnTo>
                      <a:lnTo>
                        <a:pt x="2" y="720"/>
                      </a:lnTo>
                      <a:lnTo>
                        <a:pt x="2" y="720"/>
                      </a:lnTo>
                      <a:lnTo>
                        <a:pt x="3" y="718"/>
                      </a:lnTo>
                      <a:lnTo>
                        <a:pt x="3" y="717"/>
                      </a:lnTo>
                      <a:lnTo>
                        <a:pt x="4" y="717"/>
                      </a:lnTo>
                      <a:lnTo>
                        <a:pt x="4" y="717"/>
                      </a:lnTo>
                      <a:lnTo>
                        <a:pt x="4" y="717"/>
                      </a:lnTo>
                      <a:lnTo>
                        <a:pt x="4" y="716"/>
                      </a:lnTo>
                      <a:lnTo>
                        <a:pt x="4" y="716"/>
                      </a:lnTo>
                      <a:lnTo>
                        <a:pt x="4" y="716"/>
                      </a:lnTo>
                      <a:lnTo>
                        <a:pt x="3" y="716"/>
                      </a:lnTo>
                      <a:lnTo>
                        <a:pt x="4" y="715"/>
                      </a:lnTo>
                      <a:lnTo>
                        <a:pt x="4" y="714"/>
                      </a:lnTo>
                      <a:close/>
                      <a:moveTo>
                        <a:pt x="7" y="714"/>
                      </a:moveTo>
                      <a:lnTo>
                        <a:pt x="7" y="714"/>
                      </a:lnTo>
                      <a:lnTo>
                        <a:pt x="8" y="715"/>
                      </a:lnTo>
                      <a:lnTo>
                        <a:pt x="8" y="715"/>
                      </a:lnTo>
                      <a:lnTo>
                        <a:pt x="8" y="715"/>
                      </a:lnTo>
                      <a:lnTo>
                        <a:pt x="8" y="715"/>
                      </a:lnTo>
                      <a:lnTo>
                        <a:pt x="8" y="716"/>
                      </a:lnTo>
                      <a:lnTo>
                        <a:pt x="8" y="716"/>
                      </a:lnTo>
                      <a:lnTo>
                        <a:pt x="9" y="715"/>
                      </a:lnTo>
                      <a:lnTo>
                        <a:pt x="9" y="715"/>
                      </a:lnTo>
                      <a:lnTo>
                        <a:pt x="10" y="716"/>
                      </a:lnTo>
                      <a:lnTo>
                        <a:pt x="9" y="717"/>
                      </a:lnTo>
                      <a:lnTo>
                        <a:pt x="10" y="717"/>
                      </a:lnTo>
                      <a:lnTo>
                        <a:pt x="10" y="717"/>
                      </a:lnTo>
                      <a:lnTo>
                        <a:pt x="10" y="717"/>
                      </a:lnTo>
                      <a:lnTo>
                        <a:pt x="10" y="717"/>
                      </a:lnTo>
                      <a:lnTo>
                        <a:pt x="11" y="717"/>
                      </a:lnTo>
                      <a:lnTo>
                        <a:pt x="11" y="718"/>
                      </a:lnTo>
                      <a:lnTo>
                        <a:pt x="12" y="718"/>
                      </a:lnTo>
                      <a:lnTo>
                        <a:pt x="12" y="719"/>
                      </a:lnTo>
                      <a:lnTo>
                        <a:pt x="12" y="719"/>
                      </a:lnTo>
                      <a:lnTo>
                        <a:pt x="12" y="720"/>
                      </a:lnTo>
                      <a:lnTo>
                        <a:pt x="12" y="721"/>
                      </a:lnTo>
                      <a:lnTo>
                        <a:pt x="12" y="721"/>
                      </a:lnTo>
                      <a:lnTo>
                        <a:pt x="14" y="722"/>
                      </a:lnTo>
                      <a:lnTo>
                        <a:pt x="14" y="722"/>
                      </a:lnTo>
                      <a:lnTo>
                        <a:pt x="12" y="722"/>
                      </a:lnTo>
                      <a:lnTo>
                        <a:pt x="11" y="722"/>
                      </a:lnTo>
                      <a:lnTo>
                        <a:pt x="11" y="722"/>
                      </a:lnTo>
                      <a:lnTo>
                        <a:pt x="10" y="722"/>
                      </a:lnTo>
                      <a:lnTo>
                        <a:pt x="10" y="724"/>
                      </a:lnTo>
                      <a:lnTo>
                        <a:pt x="9" y="723"/>
                      </a:lnTo>
                      <a:lnTo>
                        <a:pt x="9" y="724"/>
                      </a:lnTo>
                      <a:lnTo>
                        <a:pt x="8" y="724"/>
                      </a:lnTo>
                      <a:lnTo>
                        <a:pt x="8" y="723"/>
                      </a:lnTo>
                      <a:lnTo>
                        <a:pt x="9" y="723"/>
                      </a:lnTo>
                      <a:lnTo>
                        <a:pt x="9" y="723"/>
                      </a:lnTo>
                      <a:lnTo>
                        <a:pt x="9" y="722"/>
                      </a:lnTo>
                      <a:lnTo>
                        <a:pt x="9" y="721"/>
                      </a:lnTo>
                      <a:lnTo>
                        <a:pt x="8" y="721"/>
                      </a:lnTo>
                      <a:lnTo>
                        <a:pt x="8" y="721"/>
                      </a:lnTo>
                      <a:lnTo>
                        <a:pt x="8" y="720"/>
                      </a:lnTo>
                      <a:lnTo>
                        <a:pt x="7" y="719"/>
                      </a:lnTo>
                      <a:lnTo>
                        <a:pt x="7" y="719"/>
                      </a:lnTo>
                      <a:lnTo>
                        <a:pt x="8" y="719"/>
                      </a:lnTo>
                      <a:lnTo>
                        <a:pt x="8" y="719"/>
                      </a:lnTo>
                      <a:lnTo>
                        <a:pt x="7" y="718"/>
                      </a:lnTo>
                      <a:lnTo>
                        <a:pt x="7" y="718"/>
                      </a:lnTo>
                      <a:lnTo>
                        <a:pt x="7" y="717"/>
                      </a:lnTo>
                      <a:lnTo>
                        <a:pt x="7" y="717"/>
                      </a:lnTo>
                      <a:lnTo>
                        <a:pt x="6" y="716"/>
                      </a:lnTo>
                      <a:lnTo>
                        <a:pt x="5" y="715"/>
                      </a:lnTo>
                      <a:lnTo>
                        <a:pt x="6" y="714"/>
                      </a:lnTo>
                      <a:lnTo>
                        <a:pt x="7" y="714"/>
                      </a:lnTo>
                      <a:lnTo>
                        <a:pt x="7" y="714"/>
                      </a:lnTo>
                      <a:close/>
                      <a:moveTo>
                        <a:pt x="15" y="713"/>
                      </a:moveTo>
                      <a:lnTo>
                        <a:pt x="15" y="713"/>
                      </a:lnTo>
                      <a:lnTo>
                        <a:pt x="15" y="714"/>
                      </a:lnTo>
                      <a:lnTo>
                        <a:pt x="15" y="714"/>
                      </a:lnTo>
                      <a:lnTo>
                        <a:pt x="15" y="714"/>
                      </a:lnTo>
                      <a:lnTo>
                        <a:pt x="15" y="714"/>
                      </a:lnTo>
                      <a:lnTo>
                        <a:pt x="16" y="715"/>
                      </a:lnTo>
                      <a:lnTo>
                        <a:pt x="16" y="715"/>
                      </a:lnTo>
                      <a:lnTo>
                        <a:pt x="16" y="716"/>
                      </a:lnTo>
                      <a:lnTo>
                        <a:pt x="15" y="716"/>
                      </a:lnTo>
                      <a:lnTo>
                        <a:pt x="15" y="715"/>
                      </a:lnTo>
                      <a:lnTo>
                        <a:pt x="15" y="715"/>
                      </a:lnTo>
                      <a:lnTo>
                        <a:pt x="15" y="715"/>
                      </a:lnTo>
                      <a:lnTo>
                        <a:pt x="14" y="715"/>
                      </a:lnTo>
                      <a:lnTo>
                        <a:pt x="14" y="714"/>
                      </a:lnTo>
                      <a:lnTo>
                        <a:pt x="14" y="715"/>
                      </a:lnTo>
                      <a:lnTo>
                        <a:pt x="12" y="716"/>
                      </a:lnTo>
                      <a:lnTo>
                        <a:pt x="12" y="714"/>
                      </a:lnTo>
                      <a:lnTo>
                        <a:pt x="14" y="713"/>
                      </a:lnTo>
                      <a:lnTo>
                        <a:pt x="14" y="714"/>
                      </a:lnTo>
                      <a:lnTo>
                        <a:pt x="15" y="713"/>
                      </a:lnTo>
                      <a:lnTo>
                        <a:pt x="15" y="713"/>
                      </a:lnTo>
                      <a:close/>
                      <a:moveTo>
                        <a:pt x="11" y="712"/>
                      </a:moveTo>
                      <a:lnTo>
                        <a:pt x="11" y="712"/>
                      </a:lnTo>
                      <a:lnTo>
                        <a:pt x="12" y="712"/>
                      </a:lnTo>
                      <a:lnTo>
                        <a:pt x="12" y="713"/>
                      </a:lnTo>
                      <a:lnTo>
                        <a:pt x="11" y="714"/>
                      </a:lnTo>
                      <a:lnTo>
                        <a:pt x="11" y="713"/>
                      </a:lnTo>
                      <a:lnTo>
                        <a:pt x="11" y="714"/>
                      </a:lnTo>
                      <a:lnTo>
                        <a:pt x="10" y="714"/>
                      </a:lnTo>
                      <a:lnTo>
                        <a:pt x="10" y="713"/>
                      </a:lnTo>
                      <a:lnTo>
                        <a:pt x="10" y="713"/>
                      </a:lnTo>
                      <a:lnTo>
                        <a:pt x="10" y="712"/>
                      </a:lnTo>
                      <a:lnTo>
                        <a:pt x="11" y="712"/>
                      </a:lnTo>
                      <a:lnTo>
                        <a:pt x="11" y="712"/>
                      </a:lnTo>
                      <a:lnTo>
                        <a:pt x="11" y="712"/>
                      </a:lnTo>
                      <a:close/>
                      <a:moveTo>
                        <a:pt x="17" y="710"/>
                      </a:moveTo>
                      <a:lnTo>
                        <a:pt x="17" y="711"/>
                      </a:lnTo>
                      <a:lnTo>
                        <a:pt x="17" y="711"/>
                      </a:lnTo>
                      <a:lnTo>
                        <a:pt x="17" y="712"/>
                      </a:lnTo>
                      <a:lnTo>
                        <a:pt x="17" y="712"/>
                      </a:lnTo>
                      <a:lnTo>
                        <a:pt x="18" y="712"/>
                      </a:lnTo>
                      <a:lnTo>
                        <a:pt x="19" y="712"/>
                      </a:lnTo>
                      <a:lnTo>
                        <a:pt x="19" y="714"/>
                      </a:lnTo>
                      <a:lnTo>
                        <a:pt x="19" y="715"/>
                      </a:lnTo>
                      <a:lnTo>
                        <a:pt x="20" y="715"/>
                      </a:lnTo>
                      <a:lnTo>
                        <a:pt x="20" y="715"/>
                      </a:lnTo>
                      <a:lnTo>
                        <a:pt x="21" y="715"/>
                      </a:lnTo>
                      <a:lnTo>
                        <a:pt x="21" y="715"/>
                      </a:lnTo>
                      <a:lnTo>
                        <a:pt x="21" y="715"/>
                      </a:lnTo>
                      <a:lnTo>
                        <a:pt x="22" y="715"/>
                      </a:lnTo>
                      <a:lnTo>
                        <a:pt x="23" y="715"/>
                      </a:lnTo>
                      <a:lnTo>
                        <a:pt x="23" y="715"/>
                      </a:lnTo>
                      <a:lnTo>
                        <a:pt x="23" y="715"/>
                      </a:lnTo>
                      <a:lnTo>
                        <a:pt x="24" y="714"/>
                      </a:lnTo>
                      <a:lnTo>
                        <a:pt x="24" y="714"/>
                      </a:lnTo>
                      <a:lnTo>
                        <a:pt x="25" y="715"/>
                      </a:lnTo>
                      <a:lnTo>
                        <a:pt x="25" y="716"/>
                      </a:lnTo>
                      <a:lnTo>
                        <a:pt x="24" y="716"/>
                      </a:lnTo>
                      <a:lnTo>
                        <a:pt x="24" y="717"/>
                      </a:lnTo>
                      <a:lnTo>
                        <a:pt x="24" y="717"/>
                      </a:lnTo>
                      <a:lnTo>
                        <a:pt x="24" y="717"/>
                      </a:lnTo>
                      <a:lnTo>
                        <a:pt x="23" y="717"/>
                      </a:lnTo>
                      <a:lnTo>
                        <a:pt x="23" y="717"/>
                      </a:lnTo>
                      <a:lnTo>
                        <a:pt x="22" y="717"/>
                      </a:lnTo>
                      <a:lnTo>
                        <a:pt x="21" y="718"/>
                      </a:lnTo>
                      <a:lnTo>
                        <a:pt x="20" y="718"/>
                      </a:lnTo>
                      <a:lnTo>
                        <a:pt x="19" y="716"/>
                      </a:lnTo>
                      <a:lnTo>
                        <a:pt x="18" y="716"/>
                      </a:lnTo>
                      <a:lnTo>
                        <a:pt x="18" y="716"/>
                      </a:lnTo>
                      <a:lnTo>
                        <a:pt x="16" y="716"/>
                      </a:lnTo>
                      <a:lnTo>
                        <a:pt x="16" y="715"/>
                      </a:lnTo>
                      <a:lnTo>
                        <a:pt x="16" y="714"/>
                      </a:lnTo>
                      <a:lnTo>
                        <a:pt x="16" y="714"/>
                      </a:lnTo>
                      <a:lnTo>
                        <a:pt x="17" y="714"/>
                      </a:lnTo>
                      <a:lnTo>
                        <a:pt x="17" y="714"/>
                      </a:lnTo>
                      <a:lnTo>
                        <a:pt x="17" y="713"/>
                      </a:lnTo>
                      <a:lnTo>
                        <a:pt x="17" y="713"/>
                      </a:lnTo>
                      <a:lnTo>
                        <a:pt x="17" y="713"/>
                      </a:lnTo>
                      <a:lnTo>
                        <a:pt x="16" y="713"/>
                      </a:lnTo>
                      <a:lnTo>
                        <a:pt x="17" y="712"/>
                      </a:lnTo>
                      <a:lnTo>
                        <a:pt x="17" y="711"/>
                      </a:lnTo>
                      <a:lnTo>
                        <a:pt x="17" y="710"/>
                      </a:lnTo>
                      <a:close/>
                      <a:moveTo>
                        <a:pt x="18" y="710"/>
                      </a:moveTo>
                      <a:lnTo>
                        <a:pt x="19" y="710"/>
                      </a:lnTo>
                      <a:lnTo>
                        <a:pt x="19" y="710"/>
                      </a:lnTo>
                      <a:lnTo>
                        <a:pt x="19" y="711"/>
                      </a:lnTo>
                      <a:lnTo>
                        <a:pt x="20" y="711"/>
                      </a:lnTo>
                      <a:lnTo>
                        <a:pt x="20" y="712"/>
                      </a:lnTo>
                      <a:lnTo>
                        <a:pt x="19" y="712"/>
                      </a:lnTo>
                      <a:lnTo>
                        <a:pt x="19" y="712"/>
                      </a:lnTo>
                      <a:lnTo>
                        <a:pt x="19" y="711"/>
                      </a:lnTo>
                      <a:lnTo>
                        <a:pt x="18" y="711"/>
                      </a:lnTo>
                      <a:lnTo>
                        <a:pt x="18" y="711"/>
                      </a:lnTo>
                      <a:lnTo>
                        <a:pt x="18" y="711"/>
                      </a:lnTo>
                      <a:lnTo>
                        <a:pt x="18" y="710"/>
                      </a:lnTo>
                      <a:lnTo>
                        <a:pt x="18" y="710"/>
                      </a:lnTo>
                      <a:close/>
                      <a:moveTo>
                        <a:pt x="835" y="512"/>
                      </a:moveTo>
                      <a:lnTo>
                        <a:pt x="835" y="513"/>
                      </a:lnTo>
                      <a:lnTo>
                        <a:pt x="834" y="516"/>
                      </a:lnTo>
                      <a:lnTo>
                        <a:pt x="834" y="517"/>
                      </a:lnTo>
                      <a:lnTo>
                        <a:pt x="833" y="517"/>
                      </a:lnTo>
                      <a:lnTo>
                        <a:pt x="834" y="516"/>
                      </a:lnTo>
                      <a:lnTo>
                        <a:pt x="834" y="512"/>
                      </a:lnTo>
                      <a:lnTo>
                        <a:pt x="835" y="512"/>
                      </a:lnTo>
                      <a:close/>
                      <a:moveTo>
                        <a:pt x="831" y="509"/>
                      </a:moveTo>
                      <a:lnTo>
                        <a:pt x="832" y="510"/>
                      </a:lnTo>
                      <a:lnTo>
                        <a:pt x="833" y="510"/>
                      </a:lnTo>
                      <a:lnTo>
                        <a:pt x="834" y="512"/>
                      </a:lnTo>
                      <a:lnTo>
                        <a:pt x="834" y="512"/>
                      </a:lnTo>
                      <a:lnTo>
                        <a:pt x="832" y="510"/>
                      </a:lnTo>
                      <a:lnTo>
                        <a:pt x="832" y="510"/>
                      </a:lnTo>
                      <a:lnTo>
                        <a:pt x="831" y="509"/>
                      </a:lnTo>
                      <a:lnTo>
                        <a:pt x="831" y="509"/>
                      </a:lnTo>
                      <a:close/>
                      <a:moveTo>
                        <a:pt x="786" y="97"/>
                      </a:moveTo>
                      <a:lnTo>
                        <a:pt x="787" y="89"/>
                      </a:lnTo>
                      <a:lnTo>
                        <a:pt x="788" y="87"/>
                      </a:lnTo>
                      <a:lnTo>
                        <a:pt x="789" y="87"/>
                      </a:lnTo>
                      <a:lnTo>
                        <a:pt x="791" y="92"/>
                      </a:lnTo>
                      <a:lnTo>
                        <a:pt x="796" y="89"/>
                      </a:lnTo>
                      <a:lnTo>
                        <a:pt x="799" y="90"/>
                      </a:lnTo>
                      <a:lnTo>
                        <a:pt x="801" y="86"/>
                      </a:lnTo>
                      <a:lnTo>
                        <a:pt x="807" y="83"/>
                      </a:lnTo>
                      <a:lnTo>
                        <a:pt x="813" y="85"/>
                      </a:lnTo>
                      <a:lnTo>
                        <a:pt x="816" y="77"/>
                      </a:lnTo>
                      <a:lnTo>
                        <a:pt x="823" y="76"/>
                      </a:lnTo>
                      <a:lnTo>
                        <a:pt x="830" y="71"/>
                      </a:lnTo>
                      <a:lnTo>
                        <a:pt x="831" y="69"/>
                      </a:lnTo>
                      <a:lnTo>
                        <a:pt x="831" y="65"/>
                      </a:lnTo>
                      <a:lnTo>
                        <a:pt x="826" y="60"/>
                      </a:lnTo>
                      <a:lnTo>
                        <a:pt x="825" y="55"/>
                      </a:lnTo>
                      <a:lnTo>
                        <a:pt x="821" y="51"/>
                      </a:lnTo>
                      <a:lnTo>
                        <a:pt x="821" y="44"/>
                      </a:lnTo>
                      <a:lnTo>
                        <a:pt x="824" y="41"/>
                      </a:lnTo>
                      <a:lnTo>
                        <a:pt x="823" y="37"/>
                      </a:lnTo>
                      <a:lnTo>
                        <a:pt x="825" y="30"/>
                      </a:lnTo>
                      <a:lnTo>
                        <a:pt x="829" y="32"/>
                      </a:lnTo>
                      <a:lnTo>
                        <a:pt x="831" y="38"/>
                      </a:lnTo>
                      <a:lnTo>
                        <a:pt x="835" y="40"/>
                      </a:lnTo>
                      <a:lnTo>
                        <a:pt x="840" y="38"/>
                      </a:lnTo>
                      <a:lnTo>
                        <a:pt x="845" y="32"/>
                      </a:lnTo>
                      <a:lnTo>
                        <a:pt x="850" y="31"/>
                      </a:lnTo>
                      <a:lnTo>
                        <a:pt x="855" y="39"/>
                      </a:lnTo>
                      <a:lnTo>
                        <a:pt x="857" y="45"/>
                      </a:lnTo>
                      <a:lnTo>
                        <a:pt x="869" y="50"/>
                      </a:lnTo>
                      <a:lnTo>
                        <a:pt x="872" y="49"/>
                      </a:lnTo>
                      <a:lnTo>
                        <a:pt x="879" y="39"/>
                      </a:lnTo>
                      <a:lnTo>
                        <a:pt x="886" y="40"/>
                      </a:lnTo>
                      <a:lnTo>
                        <a:pt x="889" y="38"/>
                      </a:lnTo>
                      <a:lnTo>
                        <a:pt x="885" y="34"/>
                      </a:lnTo>
                      <a:lnTo>
                        <a:pt x="886" y="25"/>
                      </a:lnTo>
                      <a:lnTo>
                        <a:pt x="888" y="23"/>
                      </a:lnTo>
                      <a:lnTo>
                        <a:pt x="898" y="22"/>
                      </a:lnTo>
                      <a:lnTo>
                        <a:pt x="892" y="34"/>
                      </a:lnTo>
                      <a:lnTo>
                        <a:pt x="895" y="38"/>
                      </a:lnTo>
                      <a:lnTo>
                        <a:pt x="900" y="34"/>
                      </a:lnTo>
                      <a:lnTo>
                        <a:pt x="907" y="34"/>
                      </a:lnTo>
                      <a:lnTo>
                        <a:pt x="916" y="36"/>
                      </a:lnTo>
                      <a:lnTo>
                        <a:pt x="928" y="28"/>
                      </a:lnTo>
                      <a:lnTo>
                        <a:pt x="934" y="26"/>
                      </a:lnTo>
                      <a:lnTo>
                        <a:pt x="939" y="27"/>
                      </a:lnTo>
                      <a:lnTo>
                        <a:pt x="942" y="26"/>
                      </a:lnTo>
                      <a:lnTo>
                        <a:pt x="947" y="27"/>
                      </a:lnTo>
                      <a:lnTo>
                        <a:pt x="956" y="34"/>
                      </a:lnTo>
                      <a:lnTo>
                        <a:pt x="958" y="34"/>
                      </a:lnTo>
                      <a:lnTo>
                        <a:pt x="959" y="30"/>
                      </a:lnTo>
                      <a:lnTo>
                        <a:pt x="959" y="25"/>
                      </a:lnTo>
                      <a:lnTo>
                        <a:pt x="954" y="18"/>
                      </a:lnTo>
                      <a:lnTo>
                        <a:pt x="951" y="17"/>
                      </a:lnTo>
                      <a:lnTo>
                        <a:pt x="951" y="15"/>
                      </a:lnTo>
                      <a:lnTo>
                        <a:pt x="956" y="12"/>
                      </a:lnTo>
                      <a:lnTo>
                        <a:pt x="962" y="13"/>
                      </a:lnTo>
                      <a:lnTo>
                        <a:pt x="969" y="2"/>
                      </a:lnTo>
                      <a:lnTo>
                        <a:pt x="973" y="0"/>
                      </a:lnTo>
                      <a:lnTo>
                        <a:pt x="977" y="5"/>
                      </a:lnTo>
                      <a:lnTo>
                        <a:pt x="982" y="7"/>
                      </a:lnTo>
                      <a:lnTo>
                        <a:pt x="984" y="14"/>
                      </a:lnTo>
                      <a:lnTo>
                        <a:pt x="991" y="26"/>
                      </a:lnTo>
                      <a:lnTo>
                        <a:pt x="995" y="27"/>
                      </a:lnTo>
                      <a:lnTo>
                        <a:pt x="1002" y="26"/>
                      </a:lnTo>
                      <a:lnTo>
                        <a:pt x="1004" y="27"/>
                      </a:lnTo>
                      <a:lnTo>
                        <a:pt x="999" y="36"/>
                      </a:lnTo>
                      <a:lnTo>
                        <a:pt x="996" y="40"/>
                      </a:lnTo>
                      <a:lnTo>
                        <a:pt x="996" y="41"/>
                      </a:lnTo>
                      <a:lnTo>
                        <a:pt x="996" y="41"/>
                      </a:lnTo>
                      <a:lnTo>
                        <a:pt x="995" y="51"/>
                      </a:lnTo>
                      <a:lnTo>
                        <a:pt x="1003" y="55"/>
                      </a:lnTo>
                      <a:lnTo>
                        <a:pt x="1004" y="57"/>
                      </a:lnTo>
                      <a:lnTo>
                        <a:pt x="1004" y="60"/>
                      </a:lnTo>
                      <a:lnTo>
                        <a:pt x="997" y="67"/>
                      </a:lnTo>
                      <a:lnTo>
                        <a:pt x="999" y="72"/>
                      </a:lnTo>
                      <a:lnTo>
                        <a:pt x="995" y="76"/>
                      </a:lnTo>
                      <a:lnTo>
                        <a:pt x="991" y="86"/>
                      </a:lnTo>
                      <a:lnTo>
                        <a:pt x="990" y="105"/>
                      </a:lnTo>
                      <a:lnTo>
                        <a:pt x="983" y="113"/>
                      </a:lnTo>
                      <a:lnTo>
                        <a:pt x="987" y="117"/>
                      </a:lnTo>
                      <a:lnTo>
                        <a:pt x="990" y="128"/>
                      </a:lnTo>
                      <a:lnTo>
                        <a:pt x="991" y="137"/>
                      </a:lnTo>
                      <a:lnTo>
                        <a:pt x="997" y="143"/>
                      </a:lnTo>
                      <a:lnTo>
                        <a:pt x="997" y="145"/>
                      </a:lnTo>
                      <a:lnTo>
                        <a:pt x="996" y="147"/>
                      </a:lnTo>
                      <a:lnTo>
                        <a:pt x="989" y="145"/>
                      </a:lnTo>
                      <a:lnTo>
                        <a:pt x="989" y="149"/>
                      </a:lnTo>
                      <a:lnTo>
                        <a:pt x="989" y="155"/>
                      </a:lnTo>
                      <a:lnTo>
                        <a:pt x="995" y="162"/>
                      </a:lnTo>
                      <a:lnTo>
                        <a:pt x="994" y="169"/>
                      </a:lnTo>
                      <a:lnTo>
                        <a:pt x="990" y="172"/>
                      </a:lnTo>
                      <a:lnTo>
                        <a:pt x="991" y="181"/>
                      </a:lnTo>
                      <a:lnTo>
                        <a:pt x="992" y="183"/>
                      </a:lnTo>
                      <a:lnTo>
                        <a:pt x="997" y="183"/>
                      </a:lnTo>
                      <a:lnTo>
                        <a:pt x="1006" y="200"/>
                      </a:lnTo>
                      <a:lnTo>
                        <a:pt x="1010" y="201"/>
                      </a:lnTo>
                      <a:lnTo>
                        <a:pt x="1011" y="210"/>
                      </a:lnTo>
                      <a:lnTo>
                        <a:pt x="1017" y="219"/>
                      </a:lnTo>
                      <a:lnTo>
                        <a:pt x="1021" y="222"/>
                      </a:lnTo>
                      <a:lnTo>
                        <a:pt x="1024" y="228"/>
                      </a:lnTo>
                      <a:lnTo>
                        <a:pt x="1022" y="231"/>
                      </a:lnTo>
                      <a:lnTo>
                        <a:pt x="1016" y="232"/>
                      </a:lnTo>
                      <a:lnTo>
                        <a:pt x="1014" y="235"/>
                      </a:lnTo>
                      <a:lnTo>
                        <a:pt x="1020" y="247"/>
                      </a:lnTo>
                      <a:lnTo>
                        <a:pt x="1028" y="251"/>
                      </a:lnTo>
                      <a:lnTo>
                        <a:pt x="1029" y="255"/>
                      </a:lnTo>
                      <a:lnTo>
                        <a:pt x="1031" y="258"/>
                      </a:lnTo>
                      <a:lnTo>
                        <a:pt x="1031" y="262"/>
                      </a:lnTo>
                      <a:lnTo>
                        <a:pt x="1021" y="263"/>
                      </a:lnTo>
                      <a:lnTo>
                        <a:pt x="1024" y="272"/>
                      </a:lnTo>
                      <a:lnTo>
                        <a:pt x="1019" y="282"/>
                      </a:lnTo>
                      <a:lnTo>
                        <a:pt x="1021" y="289"/>
                      </a:lnTo>
                      <a:lnTo>
                        <a:pt x="1019" y="292"/>
                      </a:lnTo>
                      <a:lnTo>
                        <a:pt x="1011" y="288"/>
                      </a:lnTo>
                      <a:lnTo>
                        <a:pt x="1006" y="289"/>
                      </a:lnTo>
                      <a:lnTo>
                        <a:pt x="1003" y="294"/>
                      </a:lnTo>
                      <a:lnTo>
                        <a:pt x="1001" y="295"/>
                      </a:lnTo>
                      <a:lnTo>
                        <a:pt x="990" y="293"/>
                      </a:lnTo>
                      <a:lnTo>
                        <a:pt x="987" y="294"/>
                      </a:lnTo>
                      <a:lnTo>
                        <a:pt x="989" y="305"/>
                      </a:lnTo>
                      <a:lnTo>
                        <a:pt x="995" y="317"/>
                      </a:lnTo>
                      <a:lnTo>
                        <a:pt x="997" y="324"/>
                      </a:lnTo>
                      <a:lnTo>
                        <a:pt x="996" y="331"/>
                      </a:lnTo>
                      <a:lnTo>
                        <a:pt x="1001" y="334"/>
                      </a:lnTo>
                      <a:lnTo>
                        <a:pt x="1002" y="337"/>
                      </a:lnTo>
                      <a:lnTo>
                        <a:pt x="1000" y="344"/>
                      </a:lnTo>
                      <a:lnTo>
                        <a:pt x="1002" y="356"/>
                      </a:lnTo>
                      <a:lnTo>
                        <a:pt x="1002" y="362"/>
                      </a:lnTo>
                      <a:lnTo>
                        <a:pt x="1006" y="365"/>
                      </a:lnTo>
                      <a:lnTo>
                        <a:pt x="1007" y="368"/>
                      </a:lnTo>
                      <a:lnTo>
                        <a:pt x="1003" y="372"/>
                      </a:lnTo>
                      <a:lnTo>
                        <a:pt x="1002" y="375"/>
                      </a:lnTo>
                      <a:lnTo>
                        <a:pt x="1006" y="381"/>
                      </a:lnTo>
                      <a:lnTo>
                        <a:pt x="1004" y="388"/>
                      </a:lnTo>
                      <a:lnTo>
                        <a:pt x="995" y="391"/>
                      </a:lnTo>
                      <a:lnTo>
                        <a:pt x="992" y="389"/>
                      </a:lnTo>
                      <a:lnTo>
                        <a:pt x="986" y="382"/>
                      </a:lnTo>
                      <a:lnTo>
                        <a:pt x="977" y="381"/>
                      </a:lnTo>
                      <a:lnTo>
                        <a:pt x="971" y="378"/>
                      </a:lnTo>
                      <a:lnTo>
                        <a:pt x="962" y="376"/>
                      </a:lnTo>
                      <a:lnTo>
                        <a:pt x="957" y="370"/>
                      </a:lnTo>
                      <a:lnTo>
                        <a:pt x="955" y="371"/>
                      </a:lnTo>
                      <a:lnTo>
                        <a:pt x="953" y="375"/>
                      </a:lnTo>
                      <a:lnTo>
                        <a:pt x="950" y="375"/>
                      </a:lnTo>
                      <a:lnTo>
                        <a:pt x="951" y="372"/>
                      </a:lnTo>
                      <a:lnTo>
                        <a:pt x="950" y="372"/>
                      </a:lnTo>
                      <a:lnTo>
                        <a:pt x="937" y="374"/>
                      </a:lnTo>
                      <a:lnTo>
                        <a:pt x="933" y="377"/>
                      </a:lnTo>
                      <a:lnTo>
                        <a:pt x="941" y="393"/>
                      </a:lnTo>
                      <a:lnTo>
                        <a:pt x="947" y="399"/>
                      </a:lnTo>
                      <a:lnTo>
                        <a:pt x="952" y="400"/>
                      </a:lnTo>
                      <a:lnTo>
                        <a:pt x="957" y="396"/>
                      </a:lnTo>
                      <a:lnTo>
                        <a:pt x="963" y="397"/>
                      </a:lnTo>
                      <a:lnTo>
                        <a:pt x="962" y="405"/>
                      </a:lnTo>
                      <a:lnTo>
                        <a:pt x="956" y="410"/>
                      </a:lnTo>
                      <a:lnTo>
                        <a:pt x="958" y="418"/>
                      </a:lnTo>
                      <a:lnTo>
                        <a:pt x="963" y="417"/>
                      </a:lnTo>
                      <a:lnTo>
                        <a:pt x="965" y="430"/>
                      </a:lnTo>
                      <a:lnTo>
                        <a:pt x="963" y="434"/>
                      </a:lnTo>
                      <a:lnTo>
                        <a:pt x="962" y="440"/>
                      </a:lnTo>
                      <a:lnTo>
                        <a:pt x="964" y="446"/>
                      </a:lnTo>
                      <a:lnTo>
                        <a:pt x="967" y="450"/>
                      </a:lnTo>
                      <a:lnTo>
                        <a:pt x="978" y="447"/>
                      </a:lnTo>
                      <a:lnTo>
                        <a:pt x="979" y="448"/>
                      </a:lnTo>
                      <a:lnTo>
                        <a:pt x="978" y="455"/>
                      </a:lnTo>
                      <a:lnTo>
                        <a:pt x="991" y="455"/>
                      </a:lnTo>
                      <a:lnTo>
                        <a:pt x="992" y="461"/>
                      </a:lnTo>
                      <a:lnTo>
                        <a:pt x="992" y="461"/>
                      </a:lnTo>
                      <a:lnTo>
                        <a:pt x="988" y="461"/>
                      </a:lnTo>
                      <a:lnTo>
                        <a:pt x="987" y="461"/>
                      </a:lnTo>
                      <a:lnTo>
                        <a:pt x="983" y="461"/>
                      </a:lnTo>
                      <a:lnTo>
                        <a:pt x="980" y="461"/>
                      </a:lnTo>
                      <a:lnTo>
                        <a:pt x="978" y="464"/>
                      </a:lnTo>
                      <a:lnTo>
                        <a:pt x="978" y="464"/>
                      </a:lnTo>
                      <a:lnTo>
                        <a:pt x="978" y="464"/>
                      </a:lnTo>
                      <a:lnTo>
                        <a:pt x="978" y="464"/>
                      </a:lnTo>
                      <a:lnTo>
                        <a:pt x="977" y="466"/>
                      </a:lnTo>
                      <a:lnTo>
                        <a:pt x="977" y="466"/>
                      </a:lnTo>
                      <a:lnTo>
                        <a:pt x="977" y="467"/>
                      </a:lnTo>
                      <a:lnTo>
                        <a:pt x="977" y="467"/>
                      </a:lnTo>
                      <a:lnTo>
                        <a:pt x="976" y="468"/>
                      </a:lnTo>
                      <a:lnTo>
                        <a:pt x="976" y="469"/>
                      </a:lnTo>
                      <a:lnTo>
                        <a:pt x="976" y="469"/>
                      </a:lnTo>
                      <a:lnTo>
                        <a:pt x="975" y="470"/>
                      </a:lnTo>
                      <a:lnTo>
                        <a:pt x="975" y="470"/>
                      </a:lnTo>
                      <a:lnTo>
                        <a:pt x="974" y="469"/>
                      </a:lnTo>
                      <a:lnTo>
                        <a:pt x="972" y="468"/>
                      </a:lnTo>
                      <a:lnTo>
                        <a:pt x="971" y="468"/>
                      </a:lnTo>
                      <a:lnTo>
                        <a:pt x="971" y="468"/>
                      </a:lnTo>
                      <a:lnTo>
                        <a:pt x="970" y="468"/>
                      </a:lnTo>
                      <a:lnTo>
                        <a:pt x="967" y="467"/>
                      </a:lnTo>
                      <a:lnTo>
                        <a:pt x="965" y="468"/>
                      </a:lnTo>
                      <a:lnTo>
                        <a:pt x="965" y="467"/>
                      </a:lnTo>
                      <a:lnTo>
                        <a:pt x="963" y="467"/>
                      </a:lnTo>
                      <a:lnTo>
                        <a:pt x="962" y="467"/>
                      </a:lnTo>
                      <a:lnTo>
                        <a:pt x="959" y="467"/>
                      </a:lnTo>
                      <a:lnTo>
                        <a:pt x="958" y="467"/>
                      </a:lnTo>
                      <a:lnTo>
                        <a:pt x="956" y="467"/>
                      </a:lnTo>
                      <a:lnTo>
                        <a:pt x="955" y="467"/>
                      </a:lnTo>
                      <a:lnTo>
                        <a:pt x="954" y="467"/>
                      </a:lnTo>
                      <a:lnTo>
                        <a:pt x="953" y="467"/>
                      </a:lnTo>
                      <a:lnTo>
                        <a:pt x="952" y="468"/>
                      </a:lnTo>
                      <a:lnTo>
                        <a:pt x="951" y="468"/>
                      </a:lnTo>
                      <a:lnTo>
                        <a:pt x="949" y="469"/>
                      </a:lnTo>
                      <a:lnTo>
                        <a:pt x="946" y="469"/>
                      </a:lnTo>
                      <a:lnTo>
                        <a:pt x="944" y="470"/>
                      </a:lnTo>
                      <a:lnTo>
                        <a:pt x="944" y="470"/>
                      </a:lnTo>
                      <a:lnTo>
                        <a:pt x="942" y="471"/>
                      </a:lnTo>
                      <a:lnTo>
                        <a:pt x="941" y="472"/>
                      </a:lnTo>
                      <a:lnTo>
                        <a:pt x="940" y="472"/>
                      </a:lnTo>
                      <a:lnTo>
                        <a:pt x="940" y="473"/>
                      </a:lnTo>
                      <a:lnTo>
                        <a:pt x="938" y="474"/>
                      </a:lnTo>
                      <a:lnTo>
                        <a:pt x="938" y="474"/>
                      </a:lnTo>
                      <a:lnTo>
                        <a:pt x="937" y="475"/>
                      </a:lnTo>
                      <a:lnTo>
                        <a:pt x="936" y="476"/>
                      </a:lnTo>
                      <a:lnTo>
                        <a:pt x="935" y="477"/>
                      </a:lnTo>
                      <a:lnTo>
                        <a:pt x="935" y="478"/>
                      </a:lnTo>
                      <a:lnTo>
                        <a:pt x="935" y="478"/>
                      </a:lnTo>
                      <a:lnTo>
                        <a:pt x="934" y="478"/>
                      </a:lnTo>
                      <a:lnTo>
                        <a:pt x="934" y="479"/>
                      </a:lnTo>
                      <a:lnTo>
                        <a:pt x="934" y="479"/>
                      </a:lnTo>
                      <a:lnTo>
                        <a:pt x="933" y="479"/>
                      </a:lnTo>
                      <a:lnTo>
                        <a:pt x="932" y="479"/>
                      </a:lnTo>
                      <a:lnTo>
                        <a:pt x="932" y="478"/>
                      </a:lnTo>
                      <a:lnTo>
                        <a:pt x="933" y="477"/>
                      </a:lnTo>
                      <a:lnTo>
                        <a:pt x="933" y="477"/>
                      </a:lnTo>
                      <a:lnTo>
                        <a:pt x="933" y="477"/>
                      </a:lnTo>
                      <a:lnTo>
                        <a:pt x="934" y="477"/>
                      </a:lnTo>
                      <a:lnTo>
                        <a:pt x="934" y="477"/>
                      </a:lnTo>
                      <a:lnTo>
                        <a:pt x="935" y="477"/>
                      </a:lnTo>
                      <a:lnTo>
                        <a:pt x="935" y="477"/>
                      </a:lnTo>
                      <a:lnTo>
                        <a:pt x="935" y="476"/>
                      </a:lnTo>
                      <a:lnTo>
                        <a:pt x="936" y="476"/>
                      </a:lnTo>
                      <a:lnTo>
                        <a:pt x="936" y="475"/>
                      </a:lnTo>
                      <a:lnTo>
                        <a:pt x="936" y="475"/>
                      </a:lnTo>
                      <a:lnTo>
                        <a:pt x="936" y="474"/>
                      </a:lnTo>
                      <a:lnTo>
                        <a:pt x="935" y="474"/>
                      </a:lnTo>
                      <a:lnTo>
                        <a:pt x="935" y="473"/>
                      </a:lnTo>
                      <a:lnTo>
                        <a:pt x="935" y="473"/>
                      </a:lnTo>
                      <a:lnTo>
                        <a:pt x="935" y="473"/>
                      </a:lnTo>
                      <a:lnTo>
                        <a:pt x="934" y="473"/>
                      </a:lnTo>
                      <a:lnTo>
                        <a:pt x="934" y="473"/>
                      </a:lnTo>
                      <a:lnTo>
                        <a:pt x="933" y="472"/>
                      </a:lnTo>
                      <a:lnTo>
                        <a:pt x="933" y="472"/>
                      </a:lnTo>
                      <a:lnTo>
                        <a:pt x="933" y="472"/>
                      </a:lnTo>
                      <a:lnTo>
                        <a:pt x="932" y="472"/>
                      </a:lnTo>
                      <a:lnTo>
                        <a:pt x="932" y="473"/>
                      </a:lnTo>
                      <a:lnTo>
                        <a:pt x="932" y="472"/>
                      </a:lnTo>
                      <a:lnTo>
                        <a:pt x="932" y="471"/>
                      </a:lnTo>
                      <a:lnTo>
                        <a:pt x="933" y="471"/>
                      </a:lnTo>
                      <a:lnTo>
                        <a:pt x="933" y="471"/>
                      </a:lnTo>
                      <a:lnTo>
                        <a:pt x="932" y="470"/>
                      </a:lnTo>
                      <a:lnTo>
                        <a:pt x="932" y="470"/>
                      </a:lnTo>
                      <a:lnTo>
                        <a:pt x="932" y="471"/>
                      </a:lnTo>
                      <a:lnTo>
                        <a:pt x="932" y="471"/>
                      </a:lnTo>
                      <a:lnTo>
                        <a:pt x="932" y="471"/>
                      </a:lnTo>
                      <a:lnTo>
                        <a:pt x="931" y="471"/>
                      </a:lnTo>
                      <a:lnTo>
                        <a:pt x="931" y="470"/>
                      </a:lnTo>
                      <a:lnTo>
                        <a:pt x="931" y="470"/>
                      </a:lnTo>
                      <a:lnTo>
                        <a:pt x="931" y="471"/>
                      </a:lnTo>
                      <a:lnTo>
                        <a:pt x="930" y="471"/>
                      </a:lnTo>
                      <a:lnTo>
                        <a:pt x="930" y="470"/>
                      </a:lnTo>
                      <a:lnTo>
                        <a:pt x="930" y="470"/>
                      </a:lnTo>
                      <a:lnTo>
                        <a:pt x="930" y="470"/>
                      </a:lnTo>
                      <a:lnTo>
                        <a:pt x="931" y="469"/>
                      </a:lnTo>
                      <a:lnTo>
                        <a:pt x="931" y="469"/>
                      </a:lnTo>
                      <a:lnTo>
                        <a:pt x="931" y="469"/>
                      </a:lnTo>
                      <a:lnTo>
                        <a:pt x="930" y="469"/>
                      </a:lnTo>
                      <a:lnTo>
                        <a:pt x="929" y="469"/>
                      </a:lnTo>
                      <a:lnTo>
                        <a:pt x="929" y="470"/>
                      </a:lnTo>
                      <a:lnTo>
                        <a:pt x="929" y="470"/>
                      </a:lnTo>
                      <a:lnTo>
                        <a:pt x="928" y="470"/>
                      </a:lnTo>
                      <a:lnTo>
                        <a:pt x="928" y="470"/>
                      </a:lnTo>
                      <a:lnTo>
                        <a:pt x="928" y="470"/>
                      </a:lnTo>
                      <a:lnTo>
                        <a:pt x="927" y="470"/>
                      </a:lnTo>
                      <a:lnTo>
                        <a:pt x="926" y="470"/>
                      </a:lnTo>
                      <a:lnTo>
                        <a:pt x="925" y="470"/>
                      </a:lnTo>
                      <a:lnTo>
                        <a:pt x="925" y="470"/>
                      </a:lnTo>
                      <a:lnTo>
                        <a:pt x="925" y="471"/>
                      </a:lnTo>
                      <a:lnTo>
                        <a:pt x="925" y="471"/>
                      </a:lnTo>
                      <a:lnTo>
                        <a:pt x="925" y="471"/>
                      </a:lnTo>
                      <a:lnTo>
                        <a:pt x="924" y="471"/>
                      </a:lnTo>
                      <a:lnTo>
                        <a:pt x="923" y="471"/>
                      </a:lnTo>
                      <a:lnTo>
                        <a:pt x="922" y="471"/>
                      </a:lnTo>
                      <a:lnTo>
                        <a:pt x="922" y="470"/>
                      </a:lnTo>
                      <a:lnTo>
                        <a:pt x="919" y="470"/>
                      </a:lnTo>
                      <a:lnTo>
                        <a:pt x="919" y="470"/>
                      </a:lnTo>
                      <a:lnTo>
                        <a:pt x="918" y="470"/>
                      </a:lnTo>
                      <a:lnTo>
                        <a:pt x="917" y="470"/>
                      </a:lnTo>
                      <a:lnTo>
                        <a:pt x="917" y="469"/>
                      </a:lnTo>
                      <a:lnTo>
                        <a:pt x="915" y="468"/>
                      </a:lnTo>
                      <a:lnTo>
                        <a:pt x="915" y="468"/>
                      </a:lnTo>
                      <a:lnTo>
                        <a:pt x="914" y="468"/>
                      </a:lnTo>
                      <a:lnTo>
                        <a:pt x="914" y="467"/>
                      </a:lnTo>
                      <a:lnTo>
                        <a:pt x="913" y="467"/>
                      </a:lnTo>
                      <a:lnTo>
                        <a:pt x="913" y="468"/>
                      </a:lnTo>
                      <a:lnTo>
                        <a:pt x="914" y="468"/>
                      </a:lnTo>
                      <a:lnTo>
                        <a:pt x="913" y="468"/>
                      </a:lnTo>
                      <a:lnTo>
                        <a:pt x="913" y="469"/>
                      </a:lnTo>
                      <a:lnTo>
                        <a:pt x="913" y="469"/>
                      </a:lnTo>
                      <a:lnTo>
                        <a:pt x="913" y="469"/>
                      </a:lnTo>
                      <a:lnTo>
                        <a:pt x="912" y="468"/>
                      </a:lnTo>
                      <a:lnTo>
                        <a:pt x="912" y="468"/>
                      </a:lnTo>
                      <a:lnTo>
                        <a:pt x="912" y="468"/>
                      </a:lnTo>
                      <a:lnTo>
                        <a:pt x="912" y="468"/>
                      </a:lnTo>
                      <a:lnTo>
                        <a:pt x="910" y="468"/>
                      </a:lnTo>
                      <a:lnTo>
                        <a:pt x="909" y="468"/>
                      </a:lnTo>
                      <a:lnTo>
                        <a:pt x="908" y="469"/>
                      </a:lnTo>
                      <a:lnTo>
                        <a:pt x="908" y="470"/>
                      </a:lnTo>
                      <a:lnTo>
                        <a:pt x="907" y="470"/>
                      </a:lnTo>
                      <a:lnTo>
                        <a:pt x="907" y="471"/>
                      </a:lnTo>
                      <a:lnTo>
                        <a:pt x="908" y="471"/>
                      </a:lnTo>
                      <a:lnTo>
                        <a:pt x="909" y="471"/>
                      </a:lnTo>
                      <a:lnTo>
                        <a:pt x="909" y="471"/>
                      </a:lnTo>
                      <a:lnTo>
                        <a:pt x="908" y="472"/>
                      </a:lnTo>
                      <a:lnTo>
                        <a:pt x="906" y="472"/>
                      </a:lnTo>
                      <a:lnTo>
                        <a:pt x="907" y="472"/>
                      </a:lnTo>
                      <a:lnTo>
                        <a:pt x="906" y="473"/>
                      </a:lnTo>
                      <a:lnTo>
                        <a:pt x="907" y="474"/>
                      </a:lnTo>
                      <a:lnTo>
                        <a:pt x="906" y="474"/>
                      </a:lnTo>
                      <a:lnTo>
                        <a:pt x="906" y="475"/>
                      </a:lnTo>
                      <a:lnTo>
                        <a:pt x="906" y="475"/>
                      </a:lnTo>
                      <a:lnTo>
                        <a:pt x="905" y="475"/>
                      </a:lnTo>
                      <a:lnTo>
                        <a:pt x="905" y="475"/>
                      </a:lnTo>
                      <a:lnTo>
                        <a:pt x="905" y="475"/>
                      </a:lnTo>
                      <a:lnTo>
                        <a:pt x="905" y="475"/>
                      </a:lnTo>
                      <a:lnTo>
                        <a:pt x="905" y="475"/>
                      </a:lnTo>
                      <a:lnTo>
                        <a:pt x="905" y="476"/>
                      </a:lnTo>
                      <a:lnTo>
                        <a:pt x="905" y="477"/>
                      </a:lnTo>
                      <a:lnTo>
                        <a:pt x="905" y="478"/>
                      </a:lnTo>
                      <a:lnTo>
                        <a:pt x="906" y="478"/>
                      </a:lnTo>
                      <a:lnTo>
                        <a:pt x="906" y="477"/>
                      </a:lnTo>
                      <a:lnTo>
                        <a:pt x="907" y="478"/>
                      </a:lnTo>
                      <a:lnTo>
                        <a:pt x="908" y="477"/>
                      </a:lnTo>
                      <a:lnTo>
                        <a:pt x="909" y="476"/>
                      </a:lnTo>
                      <a:lnTo>
                        <a:pt x="909" y="475"/>
                      </a:lnTo>
                      <a:lnTo>
                        <a:pt x="910" y="475"/>
                      </a:lnTo>
                      <a:lnTo>
                        <a:pt x="910" y="474"/>
                      </a:lnTo>
                      <a:lnTo>
                        <a:pt x="914" y="473"/>
                      </a:lnTo>
                      <a:lnTo>
                        <a:pt x="914" y="472"/>
                      </a:lnTo>
                      <a:lnTo>
                        <a:pt x="914" y="471"/>
                      </a:lnTo>
                      <a:lnTo>
                        <a:pt x="915" y="471"/>
                      </a:lnTo>
                      <a:lnTo>
                        <a:pt x="917" y="471"/>
                      </a:lnTo>
                      <a:lnTo>
                        <a:pt x="918" y="472"/>
                      </a:lnTo>
                      <a:lnTo>
                        <a:pt x="919" y="473"/>
                      </a:lnTo>
                      <a:lnTo>
                        <a:pt x="919" y="473"/>
                      </a:lnTo>
                      <a:lnTo>
                        <a:pt x="918" y="473"/>
                      </a:lnTo>
                      <a:lnTo>
                        <a:pt x="918" y="473"/>
                      </a:lnTo>
                      <a:lnTo>
                        <a:pt x="917" y="473"/>
                      </a:lnTo>
                      <a:lnTo>
                        <a:pt x="916" y="473"/>
                      </a:lnTo>
                      <a:lnTo>
                        <a:pt x="916" y="473"/>
                      </a:lnTo>
                      <a:lnTo>
                        <a:pt x="916" y="473"/>
                      </a:lnTo>
                      <a:lnTo>
                        <a:pt x="916" y="473"/>
                      </a:lnTo>
                      <a:lnTo>
                        <a:pt x="916" y="474"/>
                      </a:lnTo>
                      <a:lnTo>
                        <a:pt x="917" y="474"/>
                      </a:lnTo>
                      <a:lnTo>
                        <a:pt x="917" y="475"/>
                      </a:lnTo>
                      <a:lnTo>
                        <a:pt x="917" y="476"/>
                      </a:lnTo>
                      <a:lnTo>
                        <a:pt x="917" y="476"/>
                      </a:lnTo>
                      <a:lnTo>
                        <a:pt x="917" y="476"/>
                      </a:lnTo>
                      <a:lnTo>
                        <a:pt x="917" y="477"/>
                      </a:lnTo>
                      <a:lnTo>
                        <a:pt x="916" y="478"/>
                      </a:lnTo>
                      <a:lnTo>
                        <a:pt x="916" y="479"/>
                      </a:lnTo>
                      <a:lnTo>
                        <a:pt x="915" y="479"/>
                      </a:lnTo>
                      <a:lnTo>
                        <a:pt x="915" y="480"/>
                      </a:lnTo>
                      <a:lnTo>
                        <a:pt x="913" y="480"/>
                      </a:lnTo>
                      <a:lnTo>
                        <a:pt x="913" y="481"/>
                      </a:lnTo>
                      <a:lnTo>
                        <a:pt x="914" y="480"/>
                      </a:lnTo>
                      <a:lnTo>
                        <a:pt x="915" y="480"/>
                      </a:lnTo>
                      <a:lnTo>
                        <a:pt x="916" y="479"/>
                      </a:lnTo>
                      <a:lnTo>
                        <a:pt x="917" y="479"/>
                      </a:lnTo>
                      <a:lnTo>
                        <a:pt x="917" y="479"/>
                      </a:lnTo>
                      <a:lnTo>
                        <a:pt x="917" y="479"/>
                      </a:lnTo>
                      <a:lnTo>
                        <a:pt x="917" y="480"/>
                      </a:lnTo>
                      <a:lnTo>
                        <a:pt x="917" y="480"/>
                      </a:lnTo>
                      <a:lnTo>
                        <a:pt x="917" y="481"/>
                      </a:lnTo>
                      <a:lnTo>
                        <a:pt x="917" y="482"/>
                      </a:lnTo>
                      <a:lnTo>
                        <a:pt x="917" y="482"/>
                      </a:lnTo>
                      <a:lnTo>
                        <a:pt x="917" y="481"/>
                      </a:lnTo>
                      <a:lnTo>
                        <a:pt x="917" y="481"/>
                      </a:lnTo>
                      <a:lnTo>
                        <a:pt x="918" y="481"/>
                      </a:lnTo>
                      <a:lnTo>
                        <a:pt x="918" y="479"/>
                      </a:lnTo>
                      <a:lnTo>
                        <a:pt x="919" y="479"/>
                      </a:lnTo>
                      <a:lnTo>
                        <a:pt x="920" y="479"/>
                      </a:lnTo>
                      <a:lnTo>
                        <a:pt x="921" y="480"/>
                      </a:lnTo>
                      <a:lnTo>
                        <a:pt x="921" y="480"/>
                      </a:lnTo>
                      <a:lnTo>
                        <a:pt x="921" y="481"/>
                      </a:lnTo>
                      <a:lnTo>
                        <a:pt x="921" y="481"/>
                      </a:lnTo>
                      <a:lnTo>
                        <a:pt x="921" y="481"/>
                      </a:lnTo>
                      <a:lnTo>
                        <a:pt x="921" y="481"/>
                      </a:lnTo>
                      <a:lnTo>
                        <a:pt x="922" y="481"/>
                      </a:lnTo>
                      <a:lnTo>
                        <a:pt x="922" y="481"/>
                      </a:lnTo>
                      <a:lnTo>
                        <a:pt x="923" y="482"/>
                      </a:lnTo>
                      <a:lnTo>
                        <a:pt x="923" y="482"/>
                      </a:lnTo>
                      <a:lnTo>
                        <a:pt x="922" y="482"/>
                      </a:lnTo>
                      <a:lnTo>
                        <a:pt x="922" y="483"/>
                      </a:lnTo>
                      <a:lnTo>
                        <a:pt x="923" y="483"/>
                      </a:lnTo>
                      <a:lnTo>
                        <a:pt x="923" y="484"/>
                      </a:lnTo>
                      <a:lnTo>
                        <a:pt x="923" y="484"/>
                      </a:lnTo>
                      <a:lnTo>
                        <a:pt x="924" y="484"/>
                      </a:lnTo>
                      <a:lnTo>
                        <a:pt x="924" y="483"/>
                      </a:lnTo>
                      <a:lnTo>
                        <a:pt x="924" y="482"/>
                      </a:lnTo>
                      <a:lnTo>
                        <a:pt x="925" y="482"/>
                      </a:lnTo>
                      <a:lnTo>
                        <a:pt x="926" y="481"/>
                      </a:lnTo>
                      <a:lnTo>
                        <a:pt x="927" y="481"/>
                      </a:lnTo>
                      <a:lnTo>
                        <a:pt x="927" y="481"/>
                      </a:lnTo>
                      <a:lnTo>
                        <a:pt x="927" y="481"/>
                      </a:lnTo>
                      <a:lnTo>
                        <a:pt x="926" y="482"/>
                      </a:lnTo>
                      <a:lnTo>
                        <a:pt x="926" y="483"/>
                      </a:lnTo>
                      <a:lnTo>
                        <a:pt x="926" y="483"/>
                      </a:lnTo>
                      <a:lnTo>
                        <a:pt x="926" y="484"/>
                      </a:lnTo>
                      <a:lnTo>
                        <a:pt x="928" y="484"/>
                      </a:lnTo>
                      <a:lnTo>
                        <a:pt x="927" y="485"/>
                      </a:lnTo>
                      <a:lnTo>
                        <a:pt x="927" y="485"/>
                      </a:lnTo>
                      <a:lnTo>
                        <a:pt x="927" y="486"/>
                      </a:lnTo>
                      <a:lnTo>
                        <a:pt x="927" y="486"/>
                      </a:lnTo>
                      <a:lnTo>
                        <a:pt x="927" y="485"/>
                      </a:lnTo>
                      <a:lnTo>
                        <a:pt x="928" y="485"/>
                      </a:lnTo>
                      <a:lnTo>
                        <a:pt x="928" y="485"/>
                      </a:lnTo>
                      <a:lnTo>
                        <a:pt x="928" y="485"/>
                      </a:lnTo>
                      <a:lnTo>
                        <a:pt x="929" y="486"/>
                      </a:lnTo>
                      <a:lnTo>
                        <a:pt x="929" y="485"/>
                      </a:lnTo>
                      <a:lnTo>
                        <a:pt x="929" y="485"/>
                      </a:lnTo>
                      <a:lnTo>
                        <a:pt x="929" y="485"/>
                      </a:lnTo>
                      <a:lnTo>
                        <a:pt x="929" y="484"/>
                      </a:lnTo>
                      <a:lnTo>
                        <a:pt x="929" y="483"/>
                      </a:lnTo>
                      <a:lnTo>
                        <a:pt x="930" y="483"/>
                      </a:lnTo>
                      <a:lnTo>
                        <a:pt x="930" y="482"/>
                      </a:lnTo>
                      <a:lnTo>
                        <a:pt x="931" y="482"/>
                      </a:lnTo>
                      <a:lnTo>
                        <a:pt x="931" y="482"/>
                      </a:lnTo>
                      <a:lnTo>
                        <a:pt x="931" y="482"/>
                      </a:lnTo>
                      <a:lnTo>
                        <a:pt x="932" y="482"/>
                      </a:lnTo>
                      <a:lnTo>
                        <a:pt x="932" y="480"/>
                      </a:lnTo>
                      <a:lnTo>
                        <a:pt x="933" y="480"/>
                      </a:lnTo>
                      <a:lnTo>
                        <a:pt x="933" y="481"/>
                      </a:lnTo>
                      <a:lnTo>
                        <a:pt x="933" y="482"/>
                      </a:lnTo>
                      <a:lnTo>
                        <a:pt x="934" y="482"/>
                      </a:lnTo>
                      <a:lnTo>
                        <a:pt x="934" y="482"/>
                      </a:lnTo>
                      <a:lnTo>
                        <a:pt x="932" y="487"/>
                      </a:lnTo>
                      <a:lnTo>
                        <a:pt x="932" y="489"/>
                      </a:lnTo>
                      <a:lnTo>
                        <a:pt x="932" y="490"/>
                      </a:lnTo>
                      <a:lnTo>
                        <a:pt x="933" y="491"/>
                      </a:lnTo>
                      <a:lnTo>
                        <a:pt x="933" y="491"/>
                      </a:lnTo>
                      <a:lnTo>
                        <a:pt x="934" y="492"/>
                      </a:lnTo>
                      <a:lnTo>
                        <a:pt x="937" y="492"/>
                      </a:lnTo>
                      <a:lnTo>
                        <a:pt x="938" y="492"/>
                      </a:lnTo>
                      <a:lnTo>
                        <a:pt x="938" y="493"/>
                      </a:lnTo>
                      <a:lnTo>
                        <a:pt x="937" y="494"/>
                      </a:lnTo>
                      <a:lnTo>
                        <a:pt x="936" y="496"/>
                      </a:lnTo>
                      <a:lnTo>
                        <a:pt x="934" y="496"/>
                      </a:lnTo>
                      <a:lnTo>
                        <a:pt x="933" y="497"/>
                      </a:lnTo>
                      <a:lnTo>
                        <a:pt x="932" y="498"/>
                      </a:lnTo>
                      <a:lnTo>
                        <a:pt x="932" y="499"/>
                      </a:lnTo>
                      <a:lnTo>
                        <a:pt x="931" y="500"/>
                      </a:lnTo>
                      <a:lnTo>
                        <a:pt x="931" y="503"/>
                      </a:lnTo>
                      <a:lnTo>
                        <a:pt x="931" y="504"/>
                      </a:lnTo>
                      <a:lnTo>
                        <a:pt x="932" y="504"/>
                      </a:lnTo>
                      <a:lnTo>
                        <a:pt x="932" y="504"/>
                      </a:lnTo>
                      <a:lnTo>
                        <a:pt x="933" y="504"/>
                      </a:lnTo>
                      <a:lnTo>
                        <a:pt x="932" y="504"/>
                      </a:lnTo>
                      <a:lnTo>
                        <a:pt x="933" y="504"/>
                      </a:lnTo>
                      <a:lnTo>
                        <a:pt x="934" y="504"/>
                      </a:lnTo>
                      <a:lnTo>
                        <a:pt x="934" y="505"/>
                      </a:lnTo>
                      <a:lnTo>
                        <a:pt x="932" y="505"/>
                      </a:lnTo>
                      <a:lnTo>
                        <a:pt x="932" y="506"/>
                      </a:lnTo>
                      <a:lnTo>
                        <a:pt x="932" y="507"/>
                      </a:lnTo>
                      <a:lnTo>
                        <a:pt x="932" y="508"/>
                      </a:lnTo>
                      <a:lnTo>
                        <a:pt x="932" y="508"/>
                      </a:lnTo>
                      <a:lnTo>
                        <a:pt x="932" y="509"/>
                      </a:lnTo>
                      <a:lnTo>
                        <a:pt x="932" y="509"/>
                      </a:lnTo>
                      <a:lnTo>
                        <a:pt x="931" y="510"/>
                      </a:lnTo>
                      <a:lnTo>
                        <a:pt x="929" y="509"/>
                      </a:lnTo>
                      <a:lnTo>
                        <a:pt x="924" y="510"/>
                      </a:lnTo>
                      <a:lnTo>
                        <a:pt x="921" y="509"/>
                      </a:lnTo>
                      <a:lnTo>
                        <a:pt x="921" y="510"/>
                      </a:lnTo>
                      <a:lnTo>
                        <a:pt x="920" y="510"/>
                      </a:lnTo>
                      <a:lnTo>
                        <a:pt x="918" y="510"/>
                      </a:lnTo>
                      <a:lnTo>
                        <a:pt x="917" y="510"/>
                      </a:lnTo>
                      <a:lnTo>
                        <a:pt x="916" y="512"/>
                      </a:lnTo>
                      <a:lnTo>
                        <a:pt x="915" y="513"/>
                      </a:lnTo>
                      <a:lnTo>
                        <a:pt x="914" y="513"/>
                      </a:lnTo>
                      <a:lnTo>
                        <a:pt x="913" y="514"/>
                      </a:lnTo>
                      <a:lnTo>
                        <a:pt x="912" y="514"/>
                      </a:lnTo>
                      <a:lnTo>
                        <a:pt x="910" y="514"/>
                      </a:lnTo>
                      <a:lnTo>
                        <a:pt x="909" y="514"/>
                      </a:lnTo>
                      <a:lnTo>
                        <a:pt x="909" y="514"/>
                      </a:lnTo>
                      <a:lnTo>
                        <a:pt x="909" y="513"/>
                      </a:lnTo>
                      <a:lnTo>
                        <a:pt x="908" y="513"/>
                      </a:lnTo>
                      <a:lnTo>
                        <a:pt x="908" y="512"/>
                      </a:lnTo>
                      <a:lnTo>
                        <a:pt x="908" y="511"/>
                      </a:lnTo>
                      <a:lnTo>
                        <a:pt x="908" y="510"/>
                      </a:lnTo>
                      <a:lnTo>
                        <a:pt x="908" y="509"/>
                      </a:lnTo>
                      <a:lnTo>
                        <a:pt x="908" y="509"/>
                      </a:lnTo>
                      <a:lnTo>
                        <a:pt x="908" y="509"/>
                      </a:lnTo>
                      <a:lnTo>
                        <a:pt x="908" y="509"/>
                      </a:lnTo>
                      <a:lnTo>
                        <a:pt x="906" y="509"/>
                      </a:lnTo>
                      <a:lnTo>
                        <a:pt x="906" y="509"/>
                      </a:lnTo>
                      <a:lnTo>
                        <a:pt x="905" y="508"/>
                      </a:lnTo>
                      <a:lnTo>
                        <a:pt x="904" y="508"/>
                      </a:lnTo>
                      <a:lnTo>
                        <a:pt x="901" y="507"/>
                      </a:lnTo>
                      <a:lnTo>
                        <a:pt x="900" y="507"/>
                      </a:lnTo>
                      <a:lnTo>
                        <a:pt x="900" y="508"/>
                      </a:lnTo>
                      <a:lnTo>
                        <a:pt x="898" y="507"/>
                      </a:lnTo>
                      <a:lnTo>
                        <a:pt x="898" y="507"/>
                      </a:lnTo>
                      <a:lnTo>
                        <a:pt x="896" y="506"/>
                      </a:lnTo>
                      <a:lnTo>
                        <a:pt x="895" y="505"/>
                      </a:lnTo>
                      <a:lnTo>
                        <a:pt x="894" y="504"/>
                      </a:lnTo>
                      <a:lnTo>
                        <a:pt x="895" y="503"/>
                      </a:lnTo>
                      <a:lnTo>
                        <a:pt x="894" y="503"/>
                      </a:lnTo>
                      <a:lnTo>
                        <a:pt x="893" y="503"/>
                      </a:lnTo>
                      <a:lnTo>
                        <a:pt x="893" y="503"/>
                      </a:lnTo>
                      <a:lnTo>
                        <a:pt x="892" y="503"/>
                      </a:lnTo>
                      <a:lnTo>
                        <a:pt x="892" y="504"/>
                      </a:lnTo>
                      <a:lnTo>
                        <a:pt x="891" y="504"/>
                      </a:lnTo>
                      <a:lnTo>
                        <a:pt x="891" y="503"/>
                      </a:lnTo>
                      <a:lnTo>
                        <a:pt x="890" y="503"/>
                      </a:lnTo>
                      <a:lnTo>
                        <a:pt x="890" y="503"/>
                      </a:lnTo>
                      <a:lnTo>
                        <a:pt x="889" y="502"/>
                      </a:lnTo>
                      <a:lnTo>
                        <a:pt x="887" y="502"/>
                      </a:lnTo>
                      <a:lnTo>
                        <a:pt x="884" y="502"/>
                      </a:lnTo>
                      <a:lnTo>
                        <a:pt x="884" y="502"/>
                      </a:lnTo>
                      <a:lnTo>
                        <a:pt x="883" y="502"/>
                      </a:lnTo>
                      <a:lnTo>
                        <a:pt x="883" y="502"/>
                      </a:lnTo>
                      <a:lnTo>
                        <a:pt x="883" y="500"/>
                      </a:lnTo>
                      <a:lnTo>
                        <a:pt x="883" y="500"/>
                      </a:lnTo>
                      <a:lnTo>
                        <a:pt x="883" y="499"/>
                      </a:lnTo>
                      <a:lnTo>
                        <a:pt x="881" y="498"/>
                      </a:lnTo>
                      <a:lnTo>
                        <a:pt x="880" y="498"/>
                      </a:lnTo>
                      <a:lnTo>
                        <a:pt x="880" y="499"/>
                      </a:lnTo>
                      <a:lnTo>
                        <a:pt x="879" y="498"/>
                      </a:lnTo>
                      <a:lnTo>
                        <a:pt x="878" y="499"/>
                      </a:lnTo>
                      <a:lnTo>
                        <a:pt x="878" y="499"/>
                      </a:lnTo>
                      <a:lnTo>
                        <a:pt x="876" y="499"/>
                      </a:lnTo>
                      <a:lnTo>
                        <a:pt x="875" y="499"/>
                      </a:lnTo>
                      <a:lnTo>
                        <a:pt x="876" y="500"/>
                      </a:lnTo>
                      <a:lnTo>
                        <a:pt x="874" y="500"/>
                      </a:lnTo>
                      <a:lnTo>
                        <a:pt x="874" y="502"/>
                      </a:lnTo>
                      <a:lnTo>
                        <a:pt x="870" y="500"/>
                      </a:lnTo>
                      <a:lnTo>
                        <a:pt x="870" y="500"/>
                      </a:lnTo>
                      <a:lnTo>
                        <a:pt x="870" y="500"/>
                      </a:lnTo>
                      <a:lnTo>
                        <a:pt x="870" y="499"/>
                      </a:lnTo>
                      <a:lnTo>
                        <a:pt x="869" y="500"/>
                      </a:lnTo>
                      <a:lnTo>
                        <a:pt x="869" y="500"/>
                      </a:lnTo>
                      <a:lnTo>
                        <a:pt x="869" y="500"/>
                      </a:lnTo>
                      <a:lnTo>
                        <a:pt x="867" y="500"/>
                      </a:lnTo>
                      <a:lnTo>
                        <a:pt x="866" y="499"/>
                      </a:lnTo>
                      <a:lnTo>
                        <a:pt x="866" y="499"/>
                      </a:lnTo>
                      <a:lnTo>
                        <a:pt x="864" y="499"/>
                      </a:lnTo>
                      <a:lnTo>
                        <a:pt x="864" y="499"/>
                      </a:lnTo>
                      <a:lnTo>
                        <a:pt x="863" y="498"/>
                      </a:lnTo>
                      <a:lnTo>
                        <a:pt x="861" y="498"/>
                      </a:lnTo>
                      <a:lnTo>
                        <a:pt x="859" y="498"/>
                      </a:lnTo>
                      <a:lnTo>
                        <a:pt x="858" y="498"/>
                      </a:lnTo>
                      <a:lnTo>
                        <a:pt x="858" y="497"/>
                      </a:lnTo>
                      <a:lnTo>
                        <a:pt x="854" y="498"/>
                      </a:lnTo>
                      <a:lnTo>
                        <a:pt x="853" y="497"/>
                      </a:lnTo>
                      <a:lnTo>
                        <a:pt x="852" y="497"/>
                      </a:lnTo>
                      <a:lnTo>
                        <a:pt x="851" y="495"/>
                      </a:lnTo>
                      <a:lnTo>
                        <a:pt x="850" y="495"/>
                      </a:lnTo>
                      <a:lnTo>
                        <a:pt x="848" y="496"/>
                      </a:lnTo>
                      <a:lnTo>
                        <a:pt x="847" y="495"/>
                      </a:lnTo>
                      <a:lnTo>
                        <a:pt x="845" y="496"/>
                      </a:lnTo>
                      <a:lnTo>
                        <a:pt x="843" y="495"/>
                      </a:lnTo>
                      <a:lnTo>
                        <a:pt x="842" y="494"/>
                      </a:lnTo>
                      <a:lnTo>
                        <a:pt x="841" y="494"/>
                      </a:lnTo>
                      <a:lnTo>
                        <a:pt x="841" y="494"/>
                      </a:lnTo>
                      <a:lnTo>
                        <a:pt x="840" y="494"/>
                      </a:lnTo>
                      <a:lnTo>
                        <a:pt x="839" y="494"/>
                      </a:lnTo>
                      <a:lnTo>
                        <a:pt x="838" y="494"/>
                      </a:lnTo>
                      <a:lnTo>
                        <a:pt x="837" y="495"/>
                      </a:lnTo>
                      <a:lnTo>
                        <a:pt x="837" y="495"/>
                      </a:lnTo>
                      <a:lnTo>
                        <a:pt x="835" y="495"/>
                      </a:lnTo>
                      <a:lnTo>
                        <a:pt x="835" y="494"/>
                      </a:lnTo>
                      <a:lnTo>
                        <a:pt x="834" y="494"/>
                      </a:lnTo>
                      <a:lnTo>
                        <a:pt x="833" y="494"/>
                      </a:lnTo>
                      <a:lnTo>
                        <a:pt x="832" y="494"/>
                      </a:lnTo>
                      <a:lnTo>
                        <a:pt x="831" y="495"/>
                      </a:lnTo>
                      <a:lnTo>
                        <a:pt x="829" y="497"/>
                      </a:lnTo>
                      <a:lnTo>
                        <a:pt x="828" y="498"/>
                      </a:lnTo>
                      <a:lnTo>
                        <a:pt x="828" y="498"/>
                      </a:lnTo>
                      <a:lnTo>
                        <a:pt x="827" y="499"/>
                      </a:lnTo>
                      <a:lnTo>
                        <a:pt x="826" y="502"/>
                      </a:lnTo>
                      <a:lnTo>
                        <a:pt x="826" y="503"/>
                      </a:lnTo>
                      <a:lnTo>
                        <a:pt x="827" y="503"/>
                      </a:lnTo>
                      <a:lnTo>
                        <a:pt x="828" y="503"/>
                      </a:lnTo>
                      <a:lnTo>
                        <a:pt x="828" y="503"/>
                      </a:lnTo>
                      <a:lnTo>
                        <a:pt x="828" y="503"/>
                      </a:lnTo>
                      <a:lnTo>
                        <a:pt x="828" y="504"/>
                      </a:lnTo>
                      <a:lnTo>
                        <a:pt x="827" y="505"/>
                      </a:lnTo>
                      <a:lnTo>
                        <a:pt x="827" y="505"/>
                      </a:lnTo>
                      <a:lnTo>
                        <a:pt x="827" y="506"/>
                      </a:lnTo>
                      <a:lnTo>
                        <a:pt x="827" y="506"/>
                      </a:lnTo>
                      <a:lnTo>
                        <a:pt x="830" y="507"/>
                      </a:lnTo>
                      <a:lnTo>
                        <a:pt x="831" y="508"/>
                      </a:lnTo>
                      <a:lnTo>
                        <a:pt x="830" y="508"/>
                      </a:lnTo>
                      <a:lnTo>
                        <a:pt x="827" y="506"/>
                      </a:lnTo>
                      <a:lnTo>
                        <a:pt x="825" y="507"/>
                      </a:lnTo>
                      <a:lnTo>
                        <a:pt x="825" y="508"/>
                      </a:lnTo>
                      <a:lnTo>
                        <a:pt x="824" y="509"/>
                      </a:lnTo>
                      <a:lnTo>
                        <a:pt x="823" y="510"/>
                      </a:lnTo>
                      <a:lnTo>
                        <a:pt x="823" y="511"/>
                      </a:lnTo>
                      <a:lnTo>
                        <a:pt x="823" y="513"/>
                      </a:lnTo>
                      <a:lnTo>
                        <a:pt x="824" y="514"/>
                      </a:lnTo>
                      <a:lnTo>
                        <a:pt x="824" y="514"/>
                      </a:lnTo>
                      <a:lnTo>
                        <a:pt x="824" y="515"/>
                      </a:lnTo>
                      <a:lnTo>
                        <a:pt x="825" y="515"/>
                      </a:lnTo>
                      <a:lnTo>
                        <a:pt x="826" y="516"/>
                      </a:lnTo>
                      <a:lnTo>
                        <a:pt x="827" y="517"/>
                      </a:lnTo>
                      <a:lnTo>
                        <a:pt x="827" y="516"/>
                      </a:lnTo>
                      <a:lnTo>
                        <a:pt x="829" y="516"/>
                      </a:lnTo>
                      <a:lnTo>
                        <a:pt x="829" y="516"/>
                      </a:lnTo>
                      <a:lnTo>
                        <a:pt x="830" y="516"/>
                      </a:lnTo>
                      <a:lnTo>
                        <a:pt x="830" y="515"/>
                      </a:lnTo>
                      <a:lnTo>
                        <a:pt x="831" y="515"/>
                      </a:lnTo>
                      <a:lnTo>
                        <a:pt x="831" y="516"/>
                      </a:lnTo>
                      <a:lnTo>
                        <a:pt x="832" y="517"/>
                      </a:lnTo>
                      <a:lnTo>
                        <a:pt x="832" y="516"/>
                      </a:lnTo>
                      <a:lnTo>
                        <a:pt x="833" y="516"/>
                      </a:lnTo>
                      <a:lnTo>
                        <a:pt x="833" y="516"/>
                      </a:lnTo>
                      <a:lnTo>
                        <a:pt x="832" y="517"/>
                      </a:lnTo>
                      <a:lnTo>
                        <a:pt x="831" y="517"/>
                      </a:lnTo>
                      <a:lnTo>
                        <a:pt x="832" y="518"/>
                      </a:lnTo>
                      <a:lnTo>
                        <a:pt x="832" y="519"/>
                      </a:lnTo>
                      <a:lnTo>
                        <a:pt x="833" y="519"/>
                      </a:lnTo>
                      <a:lnTo>
                        <a:pt x="833" y="519"/>
                      </a:lnTo>
                      <a:lnTo>
                        <a:pt x="833" y="520"/>
                      </a:lnTo>
                      <a:lnTo>
                        <a:pt x="833" y="521"/>
                      </a:lnTo>
                      <a:lnTo>
                        <a:pt x="834" y="521"/>
                      </a:lnTo>
                      <a:lnTo>
                        <a:pt x="834" y="522"/>
                      </a:lnTo>
                      <a:lnTo>
                        <a:pt x="834" y="523"/>
                      </a:lnTo>
                      <a:lnTo>
                        <a:pt x="834" y="525"/>
                      </a:lnTo>
                      <a:lnTo>
                        <a:pt x="832" y="526"/>
                      </a:lnTo>
                      <a:lnTo>
                        <a:pt x="832" y="526"/>
                      </a:lnTo>
                      <a:lnTo>
                        <a:pt x="832" y="526"/>
                      </a:lnTo>
                      <a:lnTo>
                        <a:pt x="832" y="527"/>
                      </a:lnTo>
                      <a:lnTo>
                        <a:pt x="831" y="527"/>
                      </a:lnTo>
                      <a:lnTo>
                        <a:pt x="831" y="527"/>
                      </a:lnTo>
                      <a:lnTo>
                        <a:pt x="831" y="528"/>
                      </a:lnTo>
                      <a:lnTo>
                        <a:pt x="830" y="528"/>
                      </a:lnTo>
                      <a:lnTo>
                        <a:pt x="830" y="529"/>
                      </a:lnTo>
                      <a:lnTo>
                        <a:pt x="830" y="530"/>
                      </a:lnTo>
                      <a:lnTo>
                        <a:pt x="828" y="531"/>
                      </a:lnTo>
                      <a:lnTo>
                        <a:pt x="828" y="532"/>
                      </a:lnTo>
                      <a:lnTo>
                        <a:pt x="826" y="534"/>
                      </a:lnTo>
                      <a:lnTo>
                        <a:pt x="826" y="534"/>
                      </a:lnTo>
                      <a:lnTo>
                        <a:pt x="825" y="534"/>
                      </a:lnTo>
                      <a:lnTo>
                        <a:pt x="825" y="533"/>
                      </a:lnTo>
                      <a:lnTo>
                        <a:pt x="825" y="531"/>
                      </a:lnTo>
                      <a:lnTo>
                        <a:pt x="826" y="530"/>
                      </a:lnTo>
                      <a:lnTo>
                        <a:pt x="825" y="529"/>
                      </a:lnTo>
                      <a:lnTo>
                        <a:pt x="826" y="528"/>
                      </a:lnTo>
                      <a:lnTo>
                        <a:pt x="826" y="527"/>
                      </a:lnTo>
                      <a:lnTo>
                        <a:pt x="826" y="526"/>
                      </a:lnTo>
                      <a:lnTo>
                        <a:pt x="826" y="526"/>
                      </a:lnTo>
                      <a:lnTo>
                        <a:pt x="825" y="525"/>
                      </a:lnTo>
                      <a:lnTo>
                        <a:pt x="826" y="524"/>
                      </a:lnTo>
                      <a:lnTo>
                        <a:pt x="826" y="523"/>
                      </a:lnTo>
                      <a:lnTo>
                        <a:pt x="826" y="522"/>
                      </a:lnTo>
                      <a:lnTo>
                        <a:pt x="826" y="522"/>
                      </a:lnTo>
                      <a:lnTo>
                        <a:pt x="826" y="522"/>
                      </a:lnTo>
                      <a:lnTo>
                        <a:pt x="827" y="520"/>
                      </a:lnTo>
                      <a:lnTo>
                        <a:pt x="827" y="520"/>
                      </a:lnTo>
                      <a:lnTo>
                        <a:pt x="827" y="519"/>
                      </a:lnTo>
                      <a:lnTo>
                        <a:pt x="825" y="517"/>
                      </a:lnTo>
                      <a:lnTo>
                        <a:pt x="824" y="516"/>
                      </a:lnTo>
                      <a:lnTo>
                        <a:pt x="823" y="515"/>
                      </a:lnTo>
                      <a:lnTo>
                        <a:pt x="823" y="515"/>
                      </a:lnTo>
                      <a:lnTo>
                        <a:pt x="822" y="514"/>
                      </a:lnTo>
                      <a:lnTo>
                        <a:pt x="822" y="513"/>
                      </a:lnTo>
                      <a:lnTo>
                        <a:pt x="821" y="512"/>
                      </a:lnTo>
                      <a:lnTo>
                        <a:pt x="820" y="511"/>
                      </a:lnTo>
                      <a:lnTo>
                        <a:pt x="819" y="511"/>
                      </a:lnTo>
                      <a:lnTo>
                        <a:pt x="818" y="509"/>
                      </a:lnTo>
                      <a:lnTo>
                        <a:pt x="815" y="507"/>
                      </a:lnTo>
                      <a:lnTo>
                        <a:pt x="815" y="507"/>
                      </a:lnTo>
                      <a:lnTo>
                        <a:pt x="812" y="505"/>
                      </a:lnTo>
                      <a:lnTo>
                        <a:pt x="812" y="504"/>
                      </a:lnTo>
                      <a:lnTo>
                        <a:pt x="811" y="503"/>
                      </a:lnTo>
                      <a:lnTo>
                        <a:pt x="811" y="503"/>
                      </a:lnTo>
                      <a:lnTo>
                        <a:pt x="802" y="495"/>
                      </a:lnTo>
                      <a:lnTo>
                        <a:pt x="802" y="494"/>
                      </a:lnTo>
                      <a:lnTo>
                        <a:pt x="794" y="489"/>
                      </a:lnTo>
                      <a:lnTo>
                        <a:pt x="790" y="487"/>
                      </a:lnTo>
                      <a:lnTo>
                        <a:pt x="786" y="484"/>
                      </a:lnTo>
                      <a:lnTo>
                        <a:pt x="786" y="483"/>
                      </a:lnTo>
                      <a:lnTo>
                        <a:pt x="785" y="483"/>
                      </a:lnTo>
                      <a:lnTo>
                        <a:pt x="782" y="481"/>
                      </a:lnTo>
                      <a:lnTo>
                        <a:pt x="781" y="481"/>
                      </a:lnTo>
                      <a:lnTo>
                        <a:pt x="773" y="476"/>
                      </a:lnTo>
                      <a:lnTo>
                        <a:pt x="772" y="476"/>
                      </a:lnTo>
                      <a:lnTo>
                        <a:pt x="770" y="474"/>
                      </a:lnTo>
                      <a:lnTo>
                        <a:pt x="768" y="473"/>
                      </a:lnTo>
                      <a:lnTo>
                        <a:pt x="767" y="473"/>
                      </a:lnTo>
                      <a:lnTo>
                        <a:pt x="767" y="473"/>
                      </a:lnTo>
                      <a:lnTo>
                        <a:pt x="767" y="472"/>
                      </a:lnTo>
                      <a:lnTo>
                        <a:pt x="764" y="471"/>
                      </a:lnTo>
                      <a:lnTo>
                        <a:pt x="763" y="470"/>
                      </a:lnTo>
                      <a:lnTo>
                        <a:pt x="762" y="470"/>
                      </a:lnTo>
                      <a:lnTo>
                        <a:pt x="760" y="470"/>
                      </a:lnTo>
                      <a:lnTo>
                        <a:pt x="760" y="469"/>
                      </a:lnTo>
                      <a:lnTo>
                        <a:pt x="759" y="469"/>
                      </a:lnTo>
                      <a:lnTo>
                        <a:pt x="759" y="469"/>
                      </a:lnTo>
                      <a:lnTo>
                        <a:pt x="758" y="469"/>
                      </a:lnTo>
                      <a:lnTo>
                        <a:pt x="758" y="469"/>
                      </a:lnTo>
                      <a:lnTo>
                        <a:pt x="757" y="468"/>
                      </a:lnTo>
                      <a:lnTo>
                        <a:pt x="757" y="468"/>
                      </a:lnTo>
                      <a:lnTo>
                        <a:pt x="755" y="467"/>
                      </a:lnTo>
                      <a:lnTo>
                        <a:pt x="753" y="467"/>
                      </a:lnTo>
                      <a:lnTo>
                        <a:pt x="752" y="467"/>
                      </a:lnTo>
                      <a:lnTo>
                        <a:pt x="752" y="467"/>
                      </a:lnTo>
                      <a:lnTo>
                        <a:pt x="751" y="467"/>
                      </a:lnTo>
                      <a:lnTo>
                        <a:pt x="750" y="466"/>
                      </a:lnTo>
                      <a:lnTo>
                        <a:pt x="748" y="466"/>
                      </a:lnTo>
                      <a:lnTo>
                        <a:pt x="748" y="466"/>
                      </a:lnTo>
                      <a:lnTo>
                        <a:pt x="746" y="465"/>
                      </a:lnTo>
                      <a:lnTo>
                        <a:pt x="745" y="465"/>
                      </a:lnTo>
                      <a:lnTo>
                        <a:pt x="745" y="466"/>
                      </a:lnTo>
                      <a:lnTo>
                        <a:pt x="745" y="466"/>
                      </a:lnTo>
                      <a:lnTo>
                        <a:pt x="743" y="465"/>
                      </a:lnTo>
                      <a:lnTo>
                        <a:pt x="742" y="465"/>
                      </a:lnTo>
                      <a:lnTo>
                        <a:pt x="741" y="464"/>
                      </a:lnTo>
                      <a:lnTo>
                        <a:pt x="739" y="464"/>
                      </a:lnTo>
                      <a:lnTo>
                        <a:pt x="734" y="461"/>
                      </a:lnTo>
                      <a:lnTo>
                        <a:pt x="732" y="462"/>
                      </a:lnTo>
                      <a:lnTo>
                        <a:pt x="732" y="461"/>
                      </a:lnTo>
                      <a:lnTo>
                        <a:pt x="731" y="461"/>
                      </a:lnTo>
                      <a:lnTo>
                        <a:pt x="730" y="462"/>
                      </a:lnTo>
                      <a:lnTo>
                        <a:pt x="729" y="462"/>
                      </a:lnTo>
                      <a:lnTo>
                        <a:pt x="728" y="462"/>
                      </a:lnTo>
                      <a:lnTo>
                        <a:pt x="728" y="462"/>
                      </a:lnTo>
                      <a:lnTo>
                        <a:pt x="727" y="462"/>
                      </a:lnTo>
                      <a:lnTo>
                        <a:pt x="727" y="464"/>
                      </a:lnTo>
                      <a:lnTo>
                        <a:pt x="727" y="465"/>
                      </a:lnTo>
                      <a:lnTo>
                        <a:pt x="725" y="465"/>
                      </a:lnTo>
                      <a:lnTo>
                        <a:pt x="725" y="466"/>
                      </a:lnTo>
                      <a:lnTo>
                        <a:pt x="725" y="466"/>
                      </a:lnTo>
                      <a:lnTo>
                        <a:pt x="725" y="467"/>
                      </a:lnTo>
                      <a:lnTo>
                        <a:pt x="723" y="467"/>
                      </a:lnTo>
                      <a:lnTo>
                        <a:pt x="722" y="467"/>
                      </a:lnTo>
                      <a:lnTo>
                        <a:pt x="721" y="468"/>
                      </a:lnTo>
                      <a:lnTo>
                        <a:pt x="720" y="469"/>
                      </a:lnTo>
                      <a:lnTo>
                        <a:pt x="718" y="469"/>
                      </a:lnTo>
                      <a:lnTo>
                        <a:pt x="717" y="470"/>
                      </a:lnTo>
                      <a:lnTo>
                        <a:pt x="716" y="470"/>
                      </a:lnTo>
                      <a:lnTo>
                        <a:pt x="715" y="472"/>
                      </a:lnTo>
                      <a:lnTo>
                        <a:pt x="713" y="471"/>
                      </a:lnTo>
                      <a:lnTo>
                        <a:pt x="712" y="471"/>
                      </a:lnTo>
                      <a:lnTo>
                        <a:pt x="711" y="472"/>
                      </a:lnTo>
                      <a:lnTo>
                        <a:pt x="709" y="473"/>
                      </a:lnTo>
                      <a:lnTo>
                        <a:pt x="707" y="474"/>
                      </a:lnTo>
                      <a:lnTo>
                        <a:pt x="706" y="474"/>
                      </a:lnTo>
                      <a:lnTo>
                        <a:pt x="699" y="472"/>
                      </a:lnTo>
                      <a:lnTo>
                        <a:pt x="695" y="472"/>
                      </a:lnTo>
                      <a:lnTo>
                        <a:pt x="694" y="473"/>
                      </a:lnTo>
                      <a:lnTo>
                        <a:pt x="694" y="474"/>
                      </a:lnTo>
                      <a:lnTo>
                        <a:pt x="693" y="474"/>
                      </a:lnTo>
                      <a:lnTo>
                        <a:pt x="693" y="474"/>
                      </a:lnTo>
                      <a:lnTo>
                        <a:pt x="693" y="474"/>
                      </a:lnTo>
                      <a:lnTo>
                        <a:pt x="692" y="474"/>
                      </a:lnTo>
                      <a:lnTo>
                        <a:pt x="692" y="476"/>
                      </a:lnTo>
                      <a:lnTo>
                        <a:pt x="692" y="478"/>
                      </a:lnTo>
                      <a:lnTo>
                        <a:pt x="689" y="478"/>
                      </a:lnTo>
                      <a:lnTo>
                        <a:pt x="687" y="477"/>
                      </a:lnTo>
                      <a:lnTo>
                        <a:pt x="684" y="477"/>
                      </a:lnTo>
                      <a:lnTo>
                        <a:pt x="682" y="478"/>
                      </a:lnTo>
                      <a:lnTo>
                        <a:pt x="681" y="478"/>
                      </a:lnTo>
                      <a:lnTo>
                        <a:pt x="681" y="478"/>
                      </a:lnTo>
                      <a:lnTo>
                        <a:pt x="680" y="478"/>
                      </a:lnTo>
                      <a:lnTo>
                        <a:pt x="679" y="478"/>
                      </a:lnTo>
                      <a:lnTo>
                        <a:pt x="679" y="478"/>
                      </a:lnTo>
                      <a:lnTo>
                        <a:pt x="678" y="478"/>
                      </a:lnTo>
                      <a:lnTo>
                        <a:pt x="677" y="478"/>
                      </a:lnTo>
                      <a:lnTo>
                        <a:pt x="676" y="478"/>
                      </a:lnTo>
                      <a:lnTo>
                        <a:pt x="672" y="478"/>
                      </a:lnTo>
                      <a:lnTo>
                        <a:pt x="670" y="478"/>
                      </a:lnTo>
                      <a:lnTo>
                        <a:pt x="670" y="479"/>
                      </a:lnTo>
                      <a:lnTo>
                        <a:pt x="669" y="479"/>
                      </a:lnTo>
                      <a:lnTo>
                        <a:pt x="668" y="479"/>
                      </a:lnTo>
                      <a:lnTo>
                        <a:pt x="662" y="480"/>
                      </a:lnTo>
                      <a:lnTo>
                        <a:pt x="661" y="481"/>
                      </a:lnTo>
                      <a:lnTo>
                        <a:pt x="660" y="481"/>
                      </a:lnTo>
                      <a:lnTo>
                        <a:pt x="658" y="482"/>
                      </a:lnTo>
                      <a:lnTo>
                        <a:pt x="657" y="482"/>
                      </a:lnTo>
                      <a:lnTo>
                        <a:pt x="656" y="482"/>
                      </a:lnTo>
                      <a:lnTo>
                        <a:pt x="655" y="483"/>
                      </a:lnTo>
                      <a:lnTo>
                        <a:pt x="656" y="483"/>
                      </a:lnTo>
                      <a:lnTo>
                        <a:pt x="655" y="484"/>
                      </a:lnTo>
                      <a:lnTo>
                        <a:pt x="654" y="485"/>
                      </a:lnTo>
                      <a:lnTo>
                        <a:pt x="654" y="486"/>
                      </a:lnTo>
                      <a:lnTo>
                        <a:pt x="653" y="486"/>
                      </a:lnTo>
                      <a:lnTo>
                        <a:pt x="653" y="487"/>
                      </a:lnTo>
                      <a:lnTo>
                        <a:pt x="653" y="487"/>
                      </a:lnTo>
                      <a:lnTo>
                        <a:pt x="652" y="488"/>
                      </a:lnTo>
                      <a:lnTo>
                        <a:pt x="652" y="490"/>
                      </a:lnTo>
                      <a:lnTo>
                        <a:pt x="651" y="491"/>
                      </a:lnTo>
                      <a:lnTo>
                        <a:pt x="651" y="492"/>
                      </a:lnTo>
                      <a:lnTo>
                        <a:pt x="650" y="492"/>
                      </a:lnTo>
                      <a:lnTo>
                        <a:pt x="650" y="493"/>
                      </a:lnTo>
                      <a:lnTo>
                        <a:pt x="648" y="495"/>
                      </a:lnTo>
                      <a:lnTo>
                        <a:pt x="648" y="495"/>
                      </a:lnTo>
                      <a:lnTo>
                        <a:pt x="647" y="495"/>
                      </a:lnTo>
                      <a:lnTo>
                        <a:pt x="647" y="496"/>
                      </a:lnTo>
                      <a:lnTo>
                        <a:pt x="644" y="496"/>
                      </a:lnTo>
                      <a:lnTo>
                        <a:pt x="643" y="496"/>
                      </a:lnTo>
                      <a:lnTo>
                        <a:pt x="642" y="497"/>
                      </a:lnTo>
                      <a:lnTo>
                        <a:pt x="639" y="498"/>
                      </a:lnTo>
                      <a:lnTo>
                        <a:pt x="639" y="498"/>
                      </a:lnTo>
                      <a:lnTo>
                        <a:pt x="638" y="498"/>
                      </a:lnTo>
                      <a:lnTo>
                        <a:pt x="637" y="499"/>
                      </a:lnTo>
                      <a:lnTo>
                        <a:pt x="637" y="499"/>
                      </a:lnTo>
                      <a:lnTo>
                        <a:pt x="635" y="500"/>
                      </a:lnTo>
                      <a:lnTo>
                        <a:pt x="635" y="502"/>
                      </a:lnTo>
                      <a:lnTo>
                        <a:pt x="636" y="502"/>
                      </a:lnTo>
                      <a:lnTo>
                        <a:pt x="636" y="504"/>
                      </a:lnTo>
                      <a:lnTo>
                        <a:pt x="635" y="504"/>
                      </a:lnTo>
                      <a:lnTo>
                        <a:pt x="635" y="504"/>
                      </a:lnTo>
                      <a:lnTo>
                        <a:pt x="634" y="503"/>
                      </a:lnTo>
                      <a:lnTo>
                        <a:pt x="633" y="503"/>
                      </a:lnTo>
                      <a:lnTo>
                        <a:pt x="632" y="504"/>
                      </a:lnTo>
                      <a:lnTo>
                        <a:pt x="630" y="504"/>
                      </a:lnTo>
                      <a:lnTo>
                        <a:pt x="629" y="503"/>
                      </a:lnTo>
                      <a:lnTo>
                        <a:pt x="625" y="502"/>
                      </a:lnTo>
                      <a:lnTo>
                        <a:pt x="624" y="500"/>
                      </a:lnTo>
                      <a:lnTo>
                        <a:pt x="622" y="500"/>
                      </a:lnTo>
                      <a:lnTo>
                        <a:pt x="622" y="500"/>
                      </a:lnTo>
                      <a:lnTo>
                        <a:pt x="622" y="499"/>
                      </a:lnTo>
                      <a:lnTo>
                        <a:pt x="622" y="499"/>
                      </a:lnTo>
                      <a:lnTo>
                        <a:pt x="623" y="498"/>
                      </a:lnTo>
                      <a:lnTo>
                        <a:pt x="623" y="495"/>
                      </a:lnTo>
                      <a:lnTo>
                        <a:pt x="623" y="495"/>
                      </a:lnTo>
                      <a:lnTo>
                        <a:pt x="623" y="494"/>
                      </a:lnTo>
                      <a:lnTo>
                        <a:pt x="623" y="494"/>
                      </a:lnTo>
                      <a:lnTo>
                        <a:pt x="622" y="493"/>
                      </a:lnTo>
                      <a:lnTo>
                        <a:pt x="622" y="493"/>
                      </a:lnTo>
                      <a:lnTo>
                        <a:pt x="620" y="490"/>
                      </a:lnTo>
                      <a:lnTo>
                        <a:pt x="620" y="490"/>
                      </a:lnTo>
                      <a:lnTo>
                        <a:pt x="620" y="490"/>
                      </a:lnTo>
                      <a:lnTo>
                        <a:pt x="620" y="489"/>
                      </a:lnTo>
                      <a:lnTo>
                        <a:pt x="620" y="489"/>
                      </a:lnTo>
                      <a:lnTo>
                        <a:pt x="620" y="487"/>
                      </a:lnTo>
                      <a:lnTo>
                        <a:pt x="619" y="486"/>
                      </a:lnTo>
                      <a:lnTo>
                        <a:pt x="619" y="485"/>
                      </a:lnTo>
                      <a:lnTo>
                        <a:pt x="618" y="485"/>
                      </a:lnTo>
                      <a:lnTo>
                        <a:pt x="618" y="483"/>
                      </a:lnTo>
                      <a:lnTo>
                        <a:pt x="617" y="483"/>
                      </a:lnTo>
                      <a:lnTo>
                        <a:pt x="617" y="482"/>
                      </a:lnTo>
                      <a:lnTo>
                        <a:pt x="617" y="482"/>
                      </a:lnTo>
                      <a:lnTo>
                        <a:pt x="617" y="481"/>
                      </a:lnTo>
                      <a:lnTo>
                        <a:pt x="616" y="480"/>
                      </a:lnTo>
                      <a:lnTo>
                        <a:pt x="616" y="481"/>
                      </a:lnTo>
                      <a:lnTo>
                        <a:pt x="615" y="481"/>
                      </a:lnTo>
                      <a:lnTo>
                        <a:pt x="615" y="481"/>
                      </a:lnTo>
                      <a:lnTo>
                        <a:pt x="614" y="480"/>
                      </a:lnTo>
                      <a:lnTo>
                        <a:pt x="614" y="480"/>
                      </a:lnTo>
                      <a:lnTo>
                        <a:pt x="614" y="480"/>
                      </a:lnTo>
                      <a:lnTo>
                        <a:pt x="613" y="479"/>
                      </a:lnTo>
                      <a:lnTo>
                        <a:pt x="613" y="481"/>
                      </a:lnTo>
                      <a:lnTo>
                        <a:pt x="614" y="481"/>
                      </a:lnTo>
                      <a:lnTo>
                        <a:pt x="613" y="482"/>
                      </a:lnTo>
                      <a:lnTo>
                        <a:pt x="613" y="482"/>
                      </a:lnTo>
                      <a:lnTo>
                        <a:pt x="613" y="485"/>
                      </a:lnTo>
                      <a:lnTo>
                        <a:pt x="614" y="486"/>
                      </a:lnTo>
                      <a:lnTo>
                        <a:pt x="614" y="486"/>
                      </a:lnTo>
                      <a:lnTo>
                        <a:pt x="615" y="487"/>
                      </a:lnTo>
                      <a:lnTo>
                        <a:pt x="616" y="489"/>
                      </a:lnTo>
                      <a:lnTo>
                        <a:pt x="617" y="490"/>
                      </a:lnTo>
                      <a:lnTo>
                        <a:pt x="617" y="491"/>
                      </a:lnTo>
                      <a:lnTo>
                        <a:pt x="616" y="491"/>
                      </a:lnTo>
                      <a:lnTo>
                        <a:pt x="616" y="492"/>
                      </a:lnTo>
                      <a:lnTo>
                        <a:pt x="617" y="493"/>
                      </a:lnTo>
                      <a:lnTo>
                        <a:pt x="617" y="495"/>
                      </a:lnTo>
                      <a:lnTo>
                        <a:pt x="617" y="495"/>
                      </a:lnTo>
                      <a:lnTo>
                        <a:pt x="617" y="496"/>
                      </a:lnTo>
                      <a:lnTo>
                        <a:pt x="617" y="496"/>
                      </a:lnTo>
                      <a:lnTo>
                        <a:pt x="618" y="496"/>
                      </a:lnTo>
                      <a:lnTo>
                        <a:pt x="618" y="497"/>
                      </a:lnTo>
                      <a:lnTo>
                        <a:pt x="618" y="499"/>
                      </a:lnTo>
                      <a:lnTo>
                        <a:pt x="618" y="500"/>
                      </a:lnTo>
                      <a:lnTo>
                        <a:pt x="618" y="502"/>
                      </a:lnTo>
                      <a:lnTo>
                        <a:pt x="618" y="505"/>
                      </a:lnTo>
                      <a:lnTo>
                        <a:pt x="619" y="505"/>
                      </a:lnTo>
                      <a:lnTo>
                        <a:pt x="619" y="505"/>
                      </a:lnTo>
                      <a:lnTo>
                        <a:pt x="619" y="504"/>
                      </a:lnTo>
                      <a:lnTo>
                        <a:pt x="620" y="504"/>
                      </a:lnTo>
                      <a:lnTo>
                        <a:pt x="621" y="503"/>
                      </a:lnTo>
                      <a:lnTo>
                        <a:pt x="621" y="503"/>
                      </a:lnTo>
                      <a:lnTo>
                        <a:pt x="621" y="502"/>
                      </a:lnTo>
                      <a:lnTo>
                        <a:pt x="622" y="502"/>
                      </a:lnTo>
                      <a:lnTo>
                        <a:pt x="622" y="502"/>
                      </a:lnTo>
                      <a:lnTo>
                        <a:pt x="622" y="503"/>
                      </a:lnTo>
                      <a:lnTo>
                        <a:pt x="622" y="504"/>
                      </a:lnTo>
                      <a:lnTo>
                        <a:pt x="622" y="504"/>
                      </a:lnTo>
                      <a:lnTo>
                        <a:pt x="621" y="505"/>
                      </a:lnTo>
                      <a:lnTo>
                        <a:pt x="620" y="505"/>
                      </a:lnTo>
                      <a:lnTo>
                        <a:pt x="620" y="506"/>
                      </a:lnTo>
                      <a:lnTo>
                        <a:pt x="619" y="506"/>
                      </a:lnTo>
                      <a:lnTo>
                        <a:pt x="619" y="507"/>
                      </a:lnTo>
                      <a:lnTo>
                        <a:pt x="618" y="508"/>
                      </a:lnTo>
                      <a:lnTo>
                        <a:pt x="618" y="509"/>
                      </a:lnTo>
                      <a:lnTo>
                        <a:pt x="618" y="509"/>
                      </a:lnTo>
                      <a:lnTo>
                        <a:pt x="617" y="510"/>
                      </a:lnTo>
                      <a:lnTo>
                        <a:pt x="616" y="510"/>
                      </a:lnTo>
                      <a:lnTo>
                        <a:pt x="615" y="511"/>
                      </a:lnTo>
                      <a:lnTo>
                        <a:pt x="615" y="512"/>
                      </a:lnTo>
                      <a:lnTo>
                        <a:pt x="614" y="512"/>
                      </a:lnTo>
                      <a:lnTo>
                        <a:pt x="614" y="513"/>
                      </a:lnTo>
                      <a:lnTo>
                        <a:pt x="614" y="513"/>
                      </a:lnTo>
                      <a:lnTo>
                        <a:pt x="613" y="514"/>
                      </a:lnTo>
                      <a:lnTo>
                        <a:pt x="613" y="518"/>
                      </a:lnTo>
                      <a:lnTo>
                        <a:pt x="613" y="519"/>
                      </a:lnTo>
                      <a:lnTo>
                        <a:pt x="611" y="519"/>
                      </a:lnTo>
                      <a:lnTo>
                        <a:pt x="610" y="520"/>
                      </a:lnTo>
                      <a:lnTo>
                        <a:pt x="609" y="521"/>
                      </a:lnTo>
                      <a:lnTo>
                        <a:pt x="609" y="521"/>
                      </a:lnTo>
                      <a:lnTo>
                        <a:pt x="608" y="523"/>
                      </a:lnTo>
                      <a:lnTo>
                        <a:pt x="607" y="524"/>
                      </a:lnTo>
                      <a:lnTo>
                        <a:pt x="607" y="524"/>
                      </a:lnTo>
                      <a:lnTo>
                        <a:pt x="607" y="524"/>
                      </a:lnTo>
                      <a:lnTo>
                        <a:pt x="607" y="525"/>
                      </a:lnTo>
                      <a:lnTo>
                        <a:pt x="606" y="525"/>
                      </a:lnTo>
                      <a:lnTo>
                        <a:pt x="606" y="525"/>
                      </a:lnTo>
                      <a:lnTo>
                        <a:pt x="606" y="525"/>
                      </a:lnTo>
                      <a:lnTo>
                        <a:pt x="606" y="525"/>
                      </a:lnTo>
                      <a:lnTo>
                        <a:pt x="606" y="524"/>
                      </a:lnTo>
                      <a:lnTo>
                        <a:pt x="606" y="524"/>
                      </a:lnTo>
                      <a:lnTo>
                        <a:pt x="604" y="523"/>
                      </a:lnTo>
                      <a:lnTo>
                        <a:pt x="602" y="524"/>
                      </a:lnTo>
                      <a:lnTo>
                        <a:pt x="601" y="523"/>
                      </a:lnTo>
                      <a:lnTo>
                        <a:pt x="599" y="523"/>
                      </a:lnTo>
                      <a:lnTo>
                        <a:pt x="598" y="524"/>
                      </a:lnTo>
                      <a:lnTo>
                        <a:pt x="598" y="524"/>
                      </a:lnTo>
                      <a:lnTo>
                        <a:pt x="596" y="524"/>
                      </a:lnTo>
                      <a:lnTo>
                        <a:pt x="596" y="524"/>
                      </a:lnTo>
                      <a:lnTo>
                        <a:pt x="596" y="524"/>
                      </a:lnTo>
                      <a:lnTo>
                        <a:pt x="595" y="524"/>
                      </a:lnTo>
                      <a:lnTo>
                        <a:pt x="594" y="524"/>
                      </a:lnTo>
                      <a:lnTo>
                        <a:pt x="593" y="524"/>
                      </a:lnTo>
                      <a:lnTo>
                        <a:pt x="592" y="525"/>
                      </a:lnTo>
                      <a:lnTo>
                        <a:pt x="590" y="525"/>
                      </a:lnTo>
                      <a:lnTo>
                        <a:pt x="589" y="525"/>
                      </a:lnTo>
                      <a:lnTo>
                        <a:pt x="589" y="525"/>
                      </a:lnTo>
                      <a:lnTo>
                        <a:pt x="589" y="526"/>
                      </a:lnTo>
                      <a:lnTo>
                        <a:pt x="589" y="526"/>
                      </a:lnTo>
                      <a:lnTo>
                        <a:pt x="589" y="526"/>
                      </a:lnTo>
                      <a:lnTo>
                        <a:pt x="590" y="526"/>
                      </a:lnTo>
                      <a:lnTo>
                        <a:pt x="591" y="526"/>
                      </a:lnTo>
                      <a:lnTo>
                        <a:pt x="594" y="525"/>
                      </a:lnTo>
                      <a:lnTo>
                        <a:pt x="595" y="525"/>
                      </a:lnTo>
                      <a:lnTo>
                        <a:pt x="596" y="525"/>
                      </a:lnTo>
                      <a:lnTo>
                        <a:pt x="596" y="525"/>
                      </a:lnTo>
                      <a:lnTo>
                        <a:pt x="597" y="525"/>
                      </a:lnTo>
                      <a:lnTo>
                        <a:pt x="597" y="526"/>
                      </a:lnTo>
                      <a:lnTo>
                        <a:pt x="597" y="525"/>
                      </a:lnTo>
                      <a:lnTo>
                        <a:pt x="599" y="525"/>
                      </a:lnTo>
                      <a:lnTo>
                        <a:pt x="599" y="525"/>
                      </a:lnTo>
                      <a:lnTo>
                        <a:pt x="601" y="525"/>
                      </a:lnTo>
                      <a:lnTo>
                        <a:pt x="601" y="525"/>
                      </a:lnTo>
                      <a:lnTo>
                        <a:pt x="601" y="525"/>
                      </a:lnTo>
                      <a:lnTo>
                        <a:pt x="604" y="525"/>
                      </a:lnTo>
                      <a:lnTo>
                        <a:pt x="605" y="525"/>
                      </a:lnTo>
                      <a:lnTo>
                        <a:pt x="605" y="526"/>
                      </a:lnTo>
                      <a:lnTo>
                        <a:pt x="607" y="526"/>
                      </a:lnTo>
                      <a:lnTo>
                        <a:pt x="607" y="526"/>
                      </a:lnTo>
                      <a:lnTo>
                        <a:pt x="606" y="527"/>
                      </a:lnTo>
                      <a:lnTo>
                        <a:pt x="606" y="528"/>
                      </a:lnTo>
                      <a:lnTo>
                        <a:pt x="606" y="528"/>
                      </a:lnTo>
                      <a:lnTo>
                        <a:pt x="605" y="529"/>
                      </a:lnTo>
                      <a:lnTo>
                        <a:pt x="605" y="530"/>
                      </a:lnTo>
                      <a:lnTo>
                        <a:pt x="605" y="530"/>
                      </a:lnTo>
                      <a:lnTo>
                        <a:pt x="605" y="531"/>
                      </a:lnTo>
                      <a:lnTo>
                        <a:pt x="605" y="531"/>
                      </a:lnTo>
                      <a:lnTo>
                        <a:pt x="605" y="531"/>
                      </a:lnTo>
                      <a:lnTo>
                        <a:pt x="604" y="533"/>
                      </a:lnTo>
                      <a:lnTo>
                        <a:pt x="604" y="533"/>
                      </a:lnTo>
                      <a:lnTo>
                        <a:pt x="604" y="533"/>
                      </a:lnTo>
                      <a:lnTo>
                        <a:pt x="604" y="533"/>
                      </a:lnTo>
                      <a:lnTo>
                        <a:pt x="604" y="534"/>
                      </a:lnTo>
                      <a:lnTo>
                        <a:pt x="603" y="535"/>
                      </a:lnTo>
                      <a:lnTo>
                        <a:pt x="604" y="536"/>
                      </a:lnTo>
                      <a:lnTo>
                        <a:pt x="603" y="536"/>
                      </a:lnTo>
                      <a:lnTo>
                        <a:pt x="603" y="537"/>
                      </a:lnTo>
                      <a:lnTo>
                        <a:pt x="604" y="538"/>
                      </a:lnTo>
                      <a:lnTo>
                        <a:pt x="604" y="538"/>
                      </a:lnTo>
                      <a:lnTo>
                        <a:pt x="603" y="540"/>
                      </a:lnTo>
                      <a:lnTo>
                        <a:pt x="603" y="541"/>
                      </a:lnTo>
                      <a:lnTo>
                        <a:pt x="603" y="542"/>
                      </a:lnTo>
                      <a:lnTo>
                        <a:pt x="603" y="543"/>
                      </a:lnTo>
                      <a:lnTo>
                        <a:pt x="603" y="543"/>
                      </a:lnTo>
                      <a:lnTo>
                        <a:pt x="603" y="544"/>
                      </a:lnTo>
                      <a:lnTo>
                        <a:pt x="603" y="545"/>
                      </a:lnTo>
                      <a:lnTo>
                        <a:pt x="604" y="546"/>
                      </a:lnTo>
                      <a:lnTo>
                        <a:pt x="605" y="546"/>
                      </a:lnTo>
                      <a:lnTo>
                        <a:pt x="605" y="546"/>
                      </a:lnTo>
                      <a:lnTo>
                        <a:pt x="606" y="546"/>
                      </a:lnTo>
                      <a:lnTo>
                        <a:pt x="606" y="547"/>
                      </a:lnTo>
                      <a:lnTo>
                        <a:pt x="606" y="547"/>
                      </a:lnTo>
                      <a:lnTo>
                        <a:pt x="606" y="547"/>
                      </a:lnTo>
                      <a:lnTo>
                        <a:pt x="606" y="547"/>
                      </a:lnTo>
                      <a:lnTo>
                        <a:pt x="606" y="548"/>
                      </a:lnTo>
                      <a:lnTo>
                        <a:pt x="606" y="548"/>
                      </a:lnTo>
                      <a:lnTo>
                        <a:pt x="608" y="549"/>
                      </a:lnTo>
                      <a:lnTo>
                        <a:pt x="608" y="550"/>
                      </a:lnTo>
                      <a:lnTo>
                        <a:pt x="609" y="551"/>
                      </a:lnTo>
                      <a:lnTo>
                        <a:pt x="609" y="551"/>
                      </a:lnTo>
                      <a:lnTo>
                        <a:pt x="609" y="550"/>
                      </a:lnTo>
                      <a:lnTo>
                        <a:pt x="610" y="550"/>
                      </a:lnTo>
                      <a:lnTo>
                        <a:pt x="610" y="551"/>
                      </a:lnTo>
                      <a:lnTo>
                        <a:pt x="609" y="552"/>
                      </a:lnTo>
                      <a:lnTo>
                        <a:pt x="608" y="552"/>
                      </a:lnTo>
                      <a:lnTo>
                        <a:pt x="608" y="553"/>
                      </a:lnTo>
                      <a:lnTo>
                        <a:pt x="605" y="552"/>
                      </a:lnTo>
                      <a:lnTo>
                        <a:pt x="604" y="553"/>
                      </a:lnTo>
                      <a:lnTo>
                        <a:pt x="604" y="554"/>
                      </a:lnTo>
                      <a:lnTo>
                        <a:pt x="603" y="554"/>
                      </a:lnTo>
                      <a:lnTo>
                        <a:pt x="603" y="554"/>
                      </a:lnTo>
                      <a:lnTo>
                        <a:pt x="602" y="554"/>
                      </a:lnTo>
                      <a:lnTo>
                        <a:pt x="601" y="553"/>
                      </a:lnTo>
                      <a:lnTo>
                        <a:pt x="601" y="553"/>
                      </a:lnTo>
                      <a:lnTo>
                        <a:pt x="600" y="553"/>
                      </a:lnTo>
                      <a:lnTo>
                        <a:pt x="599" y="552"/>
                      </a:lnTo>
                      <a:lnTo>
                        <a:pt x="600" y="552"/>
                      </a:lnTo>
                      <a:lnTo>
                        <a:pt x="599" y="551"/>
                      </a:lnTo>
                      <a:lnTo>
                        <a:pt x="598" y="551"/>
                      </a:lnTo>
                      <a:lnTo>
                        <a:pt x="598" y="552"/>
                      </a:lnTo>
                      <a:lnTo>
                        <a:pt x="598" y="553"/>
                      </a:lnTo>
                      <a:lnTo>
                        <a:pt x="597" y="553"/>
                      </a:lnTo>
                      <a:lnTo>
                        <a:pt x="597" y="554"/>
                      </a:lnTo>
                      <a:lnTo>
                        <a:pt x="597" y="554"/>
                      </a:lnTo>
                      <a:lnTo>
                        <a:pt x="597" y="554"/>
                      </a:lnTo>
                      <a:lnTo>
                        <a:pt x="596" y="555"/>
                      </a:lnTo>
                      <a:lnTo>
                        <a:pt x="595" y="555"/>
                      </a:lnTo>
                      <a:lnTo>
                        <a:pt x="595" y="555"/>
                      </a:lnTo>
                      <a:lnTo>
                        <a:pt x="595" y="556"/>
                      </a:lnTo>
                      <a:lnTo>
                        <a:pt x="594" y="557"/>
                      </a:lnTo>
                      <a:lnTo>
                        <a:pt x="594" y="558"/>
                      </a:lnTo>
                      <a:lnTo>
                        <a:pt x="594" y="558"/>
                      </a:lnTo>
                      <a:lnTo>
                        <a:pt x="593" y="559"/>
                      </a:lnTo>
                      <a:lnTo>
                        <a:pt x="594" y="560"/>
                      </a:lnTo>
                      <a:lnTo>
                        <a:pt x="594" y="560"/>
                      </a:lnTo>
                      <a:lnTo>
                        <a:pt x="594" y="561"/>
                      </a:lnTo>
                      <a:lnTo>
                        <a:pt x="595" y="561"/>
                      </a:lnTo>
                      <a:lnTo>
                        <a:pt x="595" y="562"/>
                      </a:lnTo>
                      <a:lnTo>
                        <a:pt x="594" y="562"/>
                      </a:lnTo>
                      <a:lnTo>
                        <a:pt x="594" y="563"/>
                      </a:lnTo>
                      <a:lnTo>
                        <a:pt x="594" y="563"/>
                      </a:lnTo>
                      <a:lnTo>
                        <a:pt x="594" y="565"/>
                      </a:lnTo>
                      <a:lnTo>
                        <a:pt x="594" y="565"/>
                      </a:lnTo>
                      <a:lnTo>
                        <a:pt x="594" y="565"/>
                      </a:lnTo>
                      <a:lnTo>
                        <a:pt x="595" y="565"/>
                      </a:lnTo>
                      <a:lnTo>
                        <a:pt x="595" y="566"/>
                      </a:lnTo>
                      <a:lnTo>
                        <a:pt x="594" y="566"/>
                      </a:lnTo>
                      <a:lnTo>
                        <a:pt x="594" y="566"/>
                      </a:lnTo>
                      <a:lnTo>
                        <a:pt x="595" y="567"/>
                      </a:lnTo>
                      <a:lnTo>
                        <a:pt x="595" y="567"/>
                      </a:lnTo>
                      <a:lnTo>
                        <a:pt x="595" y="568"/>
                      </a:lnTo>
                      <a:lnTo>
                        <a:pt x="595" y="568"/>
                      </a:lnTo>
                      <a:lnTo>
                        <a:pt x="594" y="569"/>
                      </a:lnTo>
                      <a:lnTo>
                        <a:pt x="595" y="569"/>
                      </a:lnTo>
                      <a:lnTo>
                        <a:pt x="596" y="569"/>
                      </a:lnTo>
                      <a:lnTo>
                        <a:pt x="596" y="569"/>
                      </a:lnTo>
                      <a:lnTo>
                        <a:pt x="597" y="570"/>
                      </a:lnTo>
                      <a:lnTo>
                        <a:pt x="597" y="570"/>
                      </a:lnTo>
                      <a:lnTo>
                        <a:pt x="598" y="570"/>
                      </a:lnTo>
                      <a:lnTo>
                        <a:pt x="600" y="570"/>
                      </a:lnTo>
                      <a:lnTo>
                        <a:pt x="601" y="570"/>
                      </a:lnTo>
                      <a:lnTo>
                        <a:pt x="602" y="570"/>
                      </a:lnTo>
                      <a:lnTo>
                        <a:pt x="603" y="571"/>
                      </a:lnTo>
                      <a:lnTo>
                        <a:pt x="603" y="571"/>
                      </a:lnTo>
                      <a:lnTo>
                        <a:pt x="604" y="571"/>
                      </a:lnTo>
                      <a:lnTo>
                        <a:pt x="604" y="571"/>
                      </a:lnTo>
                      <a:lnTo>
                        <a:pt x="605" y="571"/>
                      </a:lnTo>
                      <a:lnTo>
                        <a:pt x="606" y="571"/>
                      </a:lnTo>
                      <a:lnTo>
                        <a:pt x="609" y="571"/>
                      </a:lnTo>
                      <a:lnTo>
                        <a:pt x="609" y="571"/>
                      </a:lnTo>
                      <a:lnTo>
                        <a:pt x="609" y="571"/>
                      </a:lnTo>
                      <a:lnTo>
                        <a:pt x="609" y="572"/>
                      </a:lnTo>
                      <a:lnTo>
                        <a:pt x="608" y="572"/>
                      </a:lnTo>
                      <a:lnTo>
                        <a:pt x="608" y="573"/>
                      </a:lnTo>
                      <a:lnTo>
                        <a:pt x="608" y="573"/>
                      </a:lnTo>
                      <a:lnTo>
                        <a:pt x="607" y="574"/>
                      </a:lnTo>
                      <a:lnTo>
                        <a:pt x="608" y="574"/>
                      </a:lnTo>
                      <a:lnTo>
                        <a:pt x="606" y="574"/>
                      </a:lnTo>
                      <a:lnTo>
                        <a:pt x="606" y="575"/>
                      </a:lnTo>
                      <a:lnTo>
                        <a:pt x="605" y="575"/>
                      </a:lnTo>
                      <a:lnTo>
                        <a:pt x="605" y="576"/>
                      </a:lnTo>
                      <a:lnTo>
                        <a:pt x="606" y="576"/>
                      </a:lnTo>
                      <a:lnTo>
                        <a:pt x="607" y="578"/>
                      </a:lnTo>
                      <a:lnTo>
                        <a:pt x="607" y="578"/>
                      </a:lnTo>
                      <a:lnTo>
                        <a:pt x="604" y="579"/>
                      </a:lnTo>
                      <a:lnTo>
                        <a:pt x="604" y="580"/>
                      </a:lnTo>
                      <a:lnTo>
                        <a:pt x="603" y="580"/>
                      </a:lnTo>
                      <a:lnTo>
                        <a:pt x="603" y="581"/>
                      </a:lnTo>
                      <a:lnTo>
                        <a:pt x="603" y="582"/>
                      </a:lnTo>
                      <a:lnTo>
                        <a:pt x="603" y="582"/>
                      </a:lnTo>
                      <a:lnTo>
                        <a:pt x="603" y="582"/>
                      </a:lnTo>
                      <a:lnTo>
                        <a:pt x="603" y="583"/>
                      </a:lnTo>
                      <a:lnTo>
                        <a:pt x="603" y="584"/>
                      </a:lnTo>
                      <a:lnTo>
                        <a:pt x="602" y="584"/>
                      </a:lnTo>
                      <a:lnTo>
                        <a:pt x="602" y="585"/>
                      </a:lnTo>
                      <a:lnTo>
                        <a:pt x="602" y="586"/>
                      </a:lnTo>
                      <a:lnTo>
                        <a:pt x="602" y="586"/>
                      </a:lnTo>
                      <a:lnTo>
                        <a:pt x="602" y="586"/>
                      </a:lnTo>
                      <a:lnTo>
                        <a:pt x="603" y="587"/>
                      </a:lnTo>
                      <a:lnTo>
                        <a:pt x="603" y="588"/>
                      </a:lnTo>
                      <a:lnTo>
                        <a:pt x="602" y="588"/>
                      </a:lnTo>
                      <a:lnTo>
                        <a:pt x="602" y="589"/>
                      </a:lnTo>
                      <a:lnTo>
                        <a:pt x="602" y="590"/>
                      </a:lnTo>
                      <a:lnTo>
                        <a:pt x="602" y="590"/>
                      </a:lnTo>
                      <a:lnTo>
                        <a:pt x="602" y="590"/>
                      </a:lnTo>
                      <a:lnTo>
                        <a:pt x="601" y="590"/>
                      </a:lnTo>
                      <a:lnTo>
                        <a:pt x="600" y="590"/>
                      </a:lnTo>
                      <a:lnTo>
                        <a:pt x="599" y="590"/>
                      </a:lnTo>
                      <a:lnTo>
                        <a:pt x="599" y="591"/>
                      </a:lnTo>
                      <a:lnTo>
                        <a:pt x="599" y="591"/>
                      </a:lnTo>
                      <a:lnTo>
                        <a:pt x="599" y="592"/>
                      </a:lnTo>
                      <a:lnTo>
                        <a:pt x="599" y="592"/>
                      </a:lnTo>
                      <a:lnTo>
                        <a:pt x="599" y="592"/>
                      </a:lnTo>
                      <a:lnTo>
                        <a:pt x="597" y="593"/>
                      </a:lnTo>
                      <a:lnTo>
                        <a:pt x="596" y="592"/>
                      </a:lnTo>
                      <a:lnTo>
                        <a:pt x="595" y="592"/>
                      </a:lnTo>
                      <a:lnTo>
                        <a:pt x="595" y="592"/>
                      </a:lnTo>
                      <a:lnTo>
                        <a:pt x="595" y="591"/>
                      </a:lnTo>
                      <a:lnTo>
                        <a:pt x="594" y="591"/>
                      </a:lnTo>
                      <a:lnTo>
                        <a:pt x="593" y="591"/>
                      </a:lnTo>
                      <a:lnTo>
                        <a:pt x="593" y="590"/>
                      </a:lnTo>
                      <a:lnTo>
                        <a:pt x="592" y="589"/>
                      </a:lnTo>
                      <a:lnTo>
                        <a:pt x="591" y="589"/>
                      </a:lnTo>
                      <a:lnTo>
                        <a:pt x="591" y="589"/>
                      </a:lnTo>
                      <a:lnTo>
                        <a:pt x="591" y="588"/>
                      </a:lnTo>
                      <a:lnTo>
                        <a:pt x="591" y="588"/>
                      </a:lnTo>
                      <a:lnTo>
                        <a:pt x="591" y="588"/>
                      </a:lnTo>
                      <a:lnTo>
                        <a:pt x="591" y="587"/>
                      </a:lnTo>
                      <a:lnTo>
                        <a:pt x="591" y="587"/>
                      </a:lnTo>
                      <a:lnTo>
                        <a:pt x="591" y="586"/>
                      </a:lnTo>
                      <a:lnTo>
                        <a:pt x="591" y="586"/>
                      </a:lnTo>
                      <a:lnTo>
                        <a:pt x="591" y="586"/>
                      </a:lnTo>
                      <a:lnTo>
                        <a:pt x="591" y="585"/>
                      </a:lnTo>
                      <a:lnTo>
                        <a:pt x="590" y="584"/>
                      </a:lnTo>
                      <a:lnTo>
                        <a:pt x="590" y="584"/>
                      </a:lnTo>
                      <a:lnTo>
                        <a:pt x="590" y="583"/>
                      </a:lnTo>
                      <a:lnTo>
                        <a:pt x="590" y="583"/>
                      </a:lnTo>
                      <a:lnTo>
                        <a:pt x="590" y="582"/>
                      </a:lnTo>
                      <a:lnTo>
                        <a:pt x="590" y="580"/>
                      </a:lnTo>
                      <a:lnTo>
                        <a:pt x="589" y="579"/>
                      </a:lnTo>
                      <a:lnTo>
                        <a:pt x="589" y="579"/>
                      </a:lnTo>
                      <a:lnTo>
                        <a:pt x="589" y="579"/>
                      </a:lnTo>
                      <a:lnTo>
                        <a:pt x="588" y="579"/>
                      </a:lnTo>
                      <a:lnTo>
                        <a:pt x="588" y="579"/>
                      </a:lnTo>
                      <a:lnTo>
                        <a:pt x="588" y="578"/>
                      </a:lnTo>
                      <a:lnTo>
                        <a:pt x="587" y="578"/>
                      </a:lnTo>
                      <a:lnTo>
                        <a:pt x="587" y="578"/>
                      </a:lnTo>
                      <a:lnTo>
                        <a:pt x="588" y="576"/>
                      </a:lnTo>
                      <a:lnTo>
                        <a:pt x="587" y="576"/>
                      </a:lnTo>
                      <a:lnTo>
                        <a:pt x="588" y="576"/>
                      </a:lnTo>
                      <a:lnTo>
                        <a:pt x="589" y="575"/>
                      </a:lnTo>
                      <a:lnTo>
                        <a:pt x="589" y="575"/>
                      </a:lnTo>
                      <a:lnTo>
                        <a:pt x="590" y="575"/>
                      </a:lnTo>
                      <a:lnTo>
                        <a:pt x="590" y="574"/>
                      </a:lnTo>
                      <a:lnTo>
                        <a:pt x="588" y="573"/>
                      </a:lnTo>
                      <a:lnTo>
                        <a:pt x="588" y="574"/>
                      </a:lnTo>
                      <a:lnTo>
                        <a:pt x="588" y="573"/>
                      </a:lnTo>
                      <a:lnTo>
                        <a:pt x="585" y="573"/>
                      </a:lnTo>
                      <a:lnTo>
                        <a:pt x="584" y="574"/>
                      </a:lnTo>
                      <a:lnTo>
                        <a:pt x="583" y="574"/>
                      </a:lnTo>
                      <a:lnTo>
                        <a:pt x="583" y="573"/>
                      </a:lnTo>
                      <a:lnTo>
                        <a:pt x="583" y="573"/>
                      </a:lnTo>
                      <a:lnTo>
                        <a:pt x="582" y="572"/>
                      </a:lnTo>
                      <a:lnTo>
                        <a:pt x="581" y="572"/>
                      </a:lnTo>
                      <a:lnTo>
                        <a:pt x="580" y="572"/>
                      </a:lnTo>
                      <a:lnTo>
                        <a:pt x="578" y="571"/>
                      </a:lnTo>
                      <a:lnTo>
                        <a:pt x="578" y="571"/>
                      </a:lnTo>
                      <a:lnTo>
                        <a:pt x="579" y="570"/>
                      </a:lnTo>
                      <a:lnTo>
                        <a:pt x="579" y="570"/>
                      </a:lnTo>
                      <a:lnTo>
                        <a:pt x="578" y="569"/>
                      </a:lnTo>
                      <a:lnTo>
                        <a:pt x="578" y="569"/>
                      </a:lnTo>
                      <a:lnTo>
                        <a:pt x="577" y="570"/>
                      </a:lnTo>
                      <a:lnTo>
                        <a:pt x="576" y="569"/>
                      </a:lnTo>
                      <a:lnTo>
                        <a:pt x="576" y="569"/>
                      </a:lnTo>
                      <a:lnTo>
                        <a:pt x="577" y="569"/>
                      </a:lnTo>
                      <a:lnTo>
                        <a:pt x="577" y="568"/>
                      </a:lnTo>
                      <a:lnTo>
                        <a:pt x="576" y="568"/>
                      </a:lnTo>
                      <a:lnTo>
                        <a:pt x="575" y="567"/>
                      </a:lnTo>
                      <a:lnTo>
                        <a:pt x="573" y="568"/>
                      </a:lnTo>
                      <a:lnTo>
                        <a:pt x="573" y="568"/>
                      </a:lnTo>
                      <a:lnTo>
                        <a:pt x="576" y="568"/>
                      </a:lnTo>
                      <a:lnTo>
                        <a:pt x="576" y="569"/>
                      </a:lnTo>
                      <a:lnTo>
                        <a:pt x="575" y="569"/>
                      </a:lnTo>
                      <a:lnTo>
                        <a:pt x="575" y="570"/>
                      </a:lnTo>
                      <a:lnTo>
                        <a:pt x="577" y="570"/>
                      </a:lnTo>
                      <a:lnTo>
                        <a:pt x="578" y="570"/>
                      </a:lnTo>
                      <a:lnTo>
                        <a:pt x="578" y="570"/>
                      </a:lnTo>
                      <a:lnTo>
                        <a:pt x="578" y="570"/>
                      </a:lnTo>
                      <a:lnTo>
                        <a:pt x="578" y="570"/>
                      </a:lnTo>
                      <a:lnTo>
                        <a:pt x="578" y="570"/>
                      </a:lnTo>
                      <a:lnTo>
                        <a:pt x="578" y="571"/>
                      </a:lnTo>
                      <a:lnTo>
                        <a:pt x="577" y="571"/>
                      </a:lnTo>
                      <a:lnTo>
                        <a:pt x="577" y="572"/>
                      </a:lnTo>
                      <a:lnTo>
                        <a:pt x="576" y="572"/>
                      </a:lnTo>
                      <a:lnTo>
                        <a:pt x="573" y="573"/>
                      </a:lnTo>
                      <a:lnTo>
                        <a:pt x="572" y="573"/>
                      </a:lnTo>
                      <a:lnTo>
                        <a:pt x="572" y="573"/>
                      </a:lnTo>
                      <a:lnTo>
                        <a:pt x="576" y="573"/>
                      </a:lnTo>
                      <a:lnTo>
                        <a:pt x="577" y="572"/>
                      </a:lnTo>
                      <a:lnTo>
                        <a:pt x="577" y="572"/>
                      </a:lnTo>
                      <a:lnTo>
                        <a:pt x="579" y="572"/>
                      </a:lnTo>
                      <a:lnTo>
                        <a:pt x="580" y="573"/>
                      </a:lnTo>
                      <a:lnTo>
                        <a:pt x="580" y="573"/>
                      </a:lnTo>
                      <a:lnTo>
                        <a:pt x="580" y="574"/>
                      </a:lnTo>
                      <a:lnTo>
                        <a:pt x="581" y="574"/>
                      </a:lnTo>
                      <a:lnTo>
                        <a:pt x="583" y="575"/>
                      </a:lnTo>
                      <a:lnTo>
                        <a:pt x="584" y="575"/>
                      </a:lnTo>
                      <a:lnTo>
                        <a:pt x="584" y="575"/>
                      </a:lnTo>
                      <a:lnTo>
                        <a:pt x="584" y="576"/>
                      </a:lnTo>
                      <a:lnTo>
                        <a:pt x="584" y="576"/>
                      </a:lnTo>
                      <a:lnTo>
                        <a:pt x="584" y="575"/>
                      </a:lnTo>
                      <a:lnTo>
                        <a:pt x="586" y="574"/>
                      </a:lnTo>
                      <a:lnTo>
                        <a:pt x="586" y="574"/>
                      </a:lnTo>
                      <a:lnTo>
                        <a:pt x="587" y="574"/>
                      </a:lnTo>
                      <a:lnTo>
                        <a:pt x="587" y="576"/>
                      </a:lnTo>
                      <a:lnTo>
                        <a:pt x="586" y="578"/>
                      </a:lnTo>
                      <a:lnTo>
                        <a:pt x="586" y="578"/>
                      </a:lnTo>
                      <a:lnTo>
                        <a:pt x="586" y="578"/>
                      </a:lnTo>
                      <a:lnTo>
                        <a:pt x="587" y="579"/>
                      </a:lnTo>
                      <a:lnTo>
                        <a:pt x="588" y="579"/>
                      </a:lnTo>
                      <a:lnTo>
                        <a:pt x="588" y="580"/>
                      </a:lnTo>
                      <a:lnTo>
                        <a:pt x="589" y="580"/>
                      </a:lnTo>
                      <a:lnTo>
                        <a:pt x="589" y="580"/>
                      </a:lnTo>
                      <a:lnTo>
                        <a:pt x="590" y="581"/>
                      </a:lnTo>
                      <a:lnTo>
                        <a:pt x="589" y="582"/>
                      </a:lnTo>
                      <a:lnTo>
                        <a:pt x="589" y="583"/>
                      </a:lnTo>
                      <a:lnTo>
                        <a:pt x="589" y="584"/>
                      </a:lnTo>
                      <a:lnTo>
                        <a:pt x="589" y="584"/>
                      </a:lnTo>
                      <a:lnTo>
                        <a:pt x="588" y="584"/>
                      </a:lnTo>
                      <a:lnTo>
                        <a:pt x="588" y="584"/>
                      </a:lnTo>
                      <a:lnTo>
                        <a:pt x="586" y="586"/>
                      </a:lnTo>
                      <a:lnTo>
                        <a:pt x="587" y="586"/>
                      </a:lnTo>
                      <a:lnTo>
                        <a:pt x="587" y="585"/>
                      </a:lnTo>
                      <a:lnTo>
                        <a:pt x="588" y="585"/>
                      </a:lnTo>
                      <a:lnTo>
                        <a:pt x="589" y="585"/>
                      </a:lnTo>
                      <a:lnTo>
                        <a:pt x="590" y="585"/>
                      </a:lnTo>
                      <a:lnTo>
                        <a:pt x="590" y="585"/>
                      </a:lnTo>
                      <a:lnTo>
                        <a:pt x="591" y="586"/>
                      </a:lnTo>
                      <a:lnTo>
                        <a:pt x="591" y="587"/>
                      </a:lnTo>
                      <a:lnTo>
                        <a:pt x="590" y="588"/>
                      </a:lnTo>
                      <a:lnTo>
                        <a:pt x="590" y="588"/>
                      </a:lnTo>
                      <a:lnTo>
                        <a:pt x="590" y="588"/>
                      </a:lnTo>
                      <a:lnTo>
                        <a:pt x="590" y="589"/>
                      </a:lnTo>
                      <a:lnTo>
                        <a:pt x="591" y="590"/>
                      </a:lnTo>
                      <a:lnTo>
                        <a:pt x="593" y="591"/>
                      </a:lnTo>
                      <a:lnTo>
                        <a:pt x="593" y="592"/>
                      </a:lnTo>
                      <a:lnTo>
                        <a:pt x="593" y="593"/>
                      </a:lnTo>
                      <a:lnTo>
                        <a:pt x="593" y="593"/>
                      </a:lnTo>
                      <a:lnTo>
                        <a:pt x="593" y="593"/>
                      </a:lnTo>
                      <a:lnTo>
                        <a:pt x="593" y="593"/>
                      </a:lnTo>
                      <a:lnTo>
                        <a:pt x="592" y="594"/>
                      </a:lnTo>
                      <a:lnTo>
                        <a:pt x="592" y="595"/>
                      </a:lnTo>
                      <a:lnTo>
                        <a:pt x="591" y="595"/>
                      </a:lnTo>
                      <a:lnTo>
                        <a:pt x="591" y="595"/>
                      </a:lnTo>
                      <a:lnTo>
                        <a:pt x="592" y="595"/>
                      </a:lnTo>
                      <a:lnTo>
                        <a:pt x="592" y="596"/>
                      </a:lnTo>
                      <a:lnTo>
                        <a:pt x="591" y="596"/>
                      </a:lnTo>
                      <a:lnTo>
                        <a:pt x="591" y="596"/>
                      </a:lnTo>
                      <a:lnTo>
                        <a:pt x="590" y="596"/>
                      </a:lnTo>
                      <a:lnTo>
                        <a:pt x="590" y="596"/>
                      </a:lnTo>
                      <a:lnTo>
                        <a:pt x="589" y="596"/>
                      </a:lnTo>
                      <a:lnTo>
                        <a:pt x="588" y="596"/>
                      </a:lnTo>
                      <a:lnTo>
                        <a:pt x="586" y="597"/>
                      </a:lnTo>
                      <a:lnTo>
                        <a:pt x="586" y="598"/>
                      </a:lnTo>
                      <a:lnTo>
                        <a:pt x="585" y="598"/>
                      </a:lnTo>
                      <a:lnTo>
                        <a:pt x="584" y="598"/>
                      </a:lnTo>
                      <a:lnTo>
                        <a:pt x="583" y="599"/>
                      </a:lnTo>
                      <a:lnTo>
                        <a:pt x="583" y="599"/>
                      </a:lnTo>
                      <a:lnTo>
                        <a:pt x="582" y="600"/>
                      </a:lnTo>
                      <a:lnTo>
                        <a:pt x="582" y="600"/>
                      </a:lnTo>
                      <a:lnTo>
                        <a:pt x="581" y="601"/>
                      </a:lnTo>
                      <a:lnTo>
                        <a:pt x="581" y="602"/>
                      </a:lnTo>
                      <a:lnTo>
                        <a:pt x="579" y="603"/>
                      </a:lnTo>
                      <a:lnTo>
                        <a:pt x="577" y="606"/>
                      </a:lnTo>
                      <a:lnTo>
                        <a:pt x="576" y="610"/>
                      </a:lnTo>
                      <a:lnTo>
                        <a:pt x="575" y="613"/>
                      </a:lnTo>
                      <a:lnTo>
                        <a:pt x="575" y="613"/>
                      </a:lnTo>
                      <a:lnTo>
                        <a:pt x="575" y="617"/>
                      </a:lnTo>
                      <a:lnTo>
                        <a:pt x="575" y="618"/>
                      </a:lnTo>
                      <a:lnTo>
                        <a:pt x="575" y="618"/>
                      </a:lnTo>
                      <a:lnTo>
                        <a:pt x="573" y="618"/>
                      </a:lnTo>
                      <a:lnTo>
                        <a:pt x="573" y="619"/>
                      </a:lnTo>
                      <a:lnTo>
                        <a:pt x="573" y="620"/>
                      </a:lnTo>
                      <a:lnTo>
                        <a:pt x="573" y="621"/>
                      </a:lnTo>
                      <a:lnTo>
                        <a:pt x="573" y="623"/>
                      </a:lnTo>
                      <a:lnTo>
                        <a:pt x="572" y="624"/>
                      </a:lnTo>
                      <a:lnTo>
                        <a:pt x="573" y="627"/>
                      </a:lnTo>
                      <a:lnTo>
                        <a:pt x="573" y="627"/>
                      </a:lnTo>
                      <a:lnTo>
                        <a:pt x="575" y="629"/>
                      </a:lnTo>
                      <a:lnTo>
                        <a:pt x="577" y="630"/>
                      </a:lnTo>
                      <a:lnTo>
                        <a:pt x="577" y="631"/>
                      </a:lnTo>
                      <a:lnTo>
                        <a:pt x="576" y="630"/>
                      </a:lnTo>
                      <a:lnTo>
                        <a:pt x="576" y="630"/>
                      </a:lnTo>
                      <a:lnTo>
                        <a:pt x="573" y="631"/>
                      </a:lnTo>
                      <a:lnTo>
                        <a:pt x="573" y="632"/>
                      </a:lnTo>
                      <a:lnTo>
                        <a:pt x="573" y="632"/>
                      </a:lnTo>
                      <a:lnTo>
                        <a:pt x="572" y="631"/>
                      </a:lnTo>
                      <a:lnTo>
                        <a:pt x="571" y="631"/>
                      </a:lnTo>
                      <a:lnTo>
                        <a:pt x="569" y="630"/>
                      </a:lnTo>
                      <a:lnTo>
                        <a:pt x="568" y="630"/>
                      </a:lnTo>
                      <a:lnTo>
                        <a:pt x="567" y="631"/>
                      </a:lnTo>
                      <a:lnTo>
                        <a:pt x="567" y="631"/>
                      </a:lnTo>
                      <a:lnTo>
                        <a:pt x="566" y="632"/>
                      </a:lnTo>
                      <a:lnTo>
                        <a:pt x="565" y="632"/>
                      </a:lnTo>
                      <a:lnTo>
                        <a:pt x="565" y="633"/>
                      </a:lnTo>
                      <a:lnTo>
                        <a:pt x="563" y="634"/>
                      </a:lnTo>
                      <a:lnTo>
                        <a:pt x="563" y="635"/>
                      </a:lnTo>
                      <a:lnTo>
                        <a:pt x="562" y="636"/>
                      </a:lnTo>
                      <a:lnTo>
                        <a:pt x="561" y="635"/>
                      </a:lnTo>
                      <a:lnTo>
                        <a:pt x="561" y="636"/>
                      </a:lnTo>
                      <a:lnTo>
                        <a:pt x="560" y="636"/>
                      </a:lnTo>
                      <a:lnTo>
                        <a:pt x="560" y="637"/>
                      </a:lnTo>
                      <a:lnTo>
                        <a:pt x="559" y="637"/>
                      </a:lnTo>
                      <a:lnTo>
                        <a:pt x="559" y="636"/>
                      </a:lnTo>
                      <a:lnTo>
                        <a:pt x="559" y="636"/>
                      </a:lnTo>
                      <a:lnTo>
                        <a:pt x="558" y="635"/>
                      </a:lnTo>
                      <a:lnTo>
                        <a:pt x="558" y="635"/>
                      </a:lnTo>
                      <a:lnTo>
                        <a:pt x="558" y="635"/>
                      </a:lnTo>
                      <a:lnTo>
                        <a:pt x="558" y="635"/>
                      </a:lnTo>
                      <a:lnTo>
                        <a:pt x="557" y="635"/>
                      </a:lnTo>
                      <a:lnTo>
                        <a:pt x="557" y="635"/>
                      </a:lnTo>
                      <a:lnTo>
                        <a:pt x="557" y="634"/>
                      </a:lnTo>
                      <a:lnTo>
                        <a:pt x="557" y="634"/>
                      </a:lnTo>
                      <a:lnTo>
                        <a:pt x="556" y="633"/>
                      </a:lnTo>
                      <a:lnTo>
                        <a:pt x="556" y="633"/>
                      </a:lnTo>
                      <a:lnTo>
                        <a:pt x="555" y="632"/>
                      </a:lnTo>
                      <a:lnTo>
                        <a:pt x="554" y="632"/>
                      </a:lnTo>
                      <a:lnTo>
                        <a:pt x="554" y="632"/>
                      </a:lnTo>
                      <a:lnTo>
                        <a:pt x="554" y="632"/>
                      </a:lnTo>
                      <a:lnTo>
                        <a:pt x="552" y="631"/>
                      </a:lnTo>
                      <a:lnTo>
                        <a:pt x="552" y="631"/>
                      </a:lnTo>
                      <a:lnTo>
                        <a:pt x="550" y="631"/>
                      </a:lnTo>
                      <a:lnTo>
                        <a:pt x="550" y="630"/>
                      </a:lnTo>
                      <a:lnTo>
                        <a:pt x="549" y="630"/>
                      </a:lnTo>
                      <a:lnTo>
                        <a:pt x="549" y="629"/>
                      </a:lnTo>
                      <a:lnTo>
                        <a:pt x="549" y="629"/>
                      </a:lnTo>
                      <a:lnTo>
                        <a:pt x="550" y="628"/>
                      </a:lnTo>
                      <a:lnTo>
                        <a:pt x="549" y="628"/>
                      </a:lnTo>
                      <a:lnTo>
                        <a:pt x="550" y="628"/>
                      </a:lnTo>
                      <a:lnTo>
                        <a:pt x="550" y="627"/>
                      </a:lnTo>
                      <a:lnTo>
                        <a:pt x="551" y="627"/>
                      </a:lnTo>
                      <a:lnTo>
                        <a:pt x="551" y="626"/>
                      </a:lnTo>
                      <a:lnTo>
                        <a:pt x="551" y="626"/>
                      </a:lnTo>
                      <a:lnTo>
                        <a:pt x="551" y="626"/>
                      </a:lnTo>
                      <a:lnTo>
                        <a:pt x="552" y="626"/>
                      </a:lnTo>
                      <a:lnTo>
                        <a:pt x="553" y="625"/>
                      </a:lnTo>
                      <a:lnTo>
                        <a:pt x="555" y="625"/>
                      </a:lnTo>
                      <a:lnTo>
                        <a:pt x="555" y="625"/>
                      </a:lnTo>
                      <a:lnTo>
                        <a:pt x="556" y="625"/>
                      </a:lnTo>
                      <a:lnTo>
                        <a:pt x="556" y="625"/>
                      </a:lnTo>
                      <a:lnTo>
                        <a:pt x="557" y="625"/>
                      </a:lnTo>
                      <a:lnTo>
                        <a:pt x="557" y="625"/>
                      </a:lnTo>
                      <a:lnTo>
                        <a:pt x="556" y="624"/>
                      </a:lnTo>
                      <a:lnTo>
                        <a:pt x="557" y="624"/>
                      </a:lnTo>
                      <a:lnTo>
                        <a:pt x="557" y="624"/>
                      </a:lnTo>
                      <a:lnTo>
                        <a:pt x="556" y="624"/>
                      </a:lnTo>
                      <a:lnTo>
                        <a:pt x="555" y="624"/>
                      </a:lnTo>
                      <a:lnTo>
                        <a:pt x="553" y="625"/>
                      </a:lnTo>
                      <a:lnTo>
                        <a:pt x="552" y="624"/>
                      </a:lnTo>
                      <a:lnTo>
                        <a:pt x="552" y="622"/>
                      </a:lnTo>
                      <a:lnTo>
                        <a:pt x="553" y="623"/>
                      </a:lnTo>
                      <a:lnTo>
                        <a:pt x="553" y="622"/>
                      </a:lnTo>
                      <a:lnTo>
                        <a:pt x="552" y="621"/>
                      </a:lnTo>
                      <a:lnTo>
                        <a:pt x="553" y="620"/>
                      </a:lnTo>
                      <a:lnTo>
                        <a:pt x="554" y="620"/>
                      </a:lnTo>
                      <a:lnTo>
                        <a:pt x="554" y="620"/>
                      </a:lnTo>
                      <a:lnTo>
                        <a:pt x="554" y="620"/>
                      </a:lnTo>
                      <a:lnTo>
                        <a:pt x="554" y="619"/>
                      </a:lnTo>
                      <a:lnTo>
                        <a:pt x="555" y="619"/>
                      </a:lnTo>
                      <a:lnTo>
                        <a:pt x="555" y="619"/>
                      </a:lnTo>
                      <a:lnTo>
                        <a:pt x="556" y="619"/>
                      </a:lnTo>
                      <a:lnTo>
                        <a:pt x="556" y="619"/>
                      </a:lnTo>
                      <a:lnTo>
                        <a:pt x="555" y="618"/>
                      </a:lnTo>
                      <a:lnTo>
                        <a:pt x="555" y="618"/>
                      </a:lnTo>
                      <a:lnTo>
                        <a:pt x="555" y="618"/>
                      </a:lnTo>
                      <a:lnTo>
                        <a:pt x="557" y="618"/>
                      </a:lnTo>
                      <a:lnTo>
                        <a:pt x="558" y="617"/>
                      </a:lnTo>
                      <a:lnTo>
                        <a:pt x="558" y="616"/>
                      </a:lnTo>
                      <a:lnTo>
                        <a:pt x="557" y="617"/>
                      </a:lnTo>
                      <a:lnTo>
                        <a:pt x="556" y="617"/>
                      </a:lnTo>
                      <a:lnTo>
                        <a:pt x="555" y="618"/>
                      </a:lnTo>
                      <a:lnTo>
                        <a:pt x="554" y="619"/>
                      </a:lnTo>
                      <a:lnTo>
                        <a:pt x="554" y="620"/>
                      </a:lnTo>
                      <a:lnTo>
                        <a:pt x="552" y="620"/>
                      </a:lnTo>
                      <a:lnTo>
                        <a:pt x="552" y="620"/>
                      </a:lnTo>
                      <a:lnTo>
                        <a:pt x="553" y="619"/>
                      </a:lnTo>
                      <a:lnTo>
                        <a:pt x="553" y="618"/>
                      </a:lnTo>
                      <a:lnTo>
                        <a:pt x="552" y="618"/>
                      </a:lnTo>
                      <a:lnTo>
                        <a:pt x="552" y="618"/>
                      </a:lnTo>
                      <a:lnTo>
                        <a:pt x="552" y="618"/>
                      </a:lnTo>
                      <a:lnTo>
                        <a:pt x="551" y="618"/>
                      </a:lnTo>
                      <a:lnTo>
                        <a:pt x="551" y="616"/>
                      </a:lnTo>
                      <a:lnTo>
                        <a:pt x="552" y="616"/>
                      </a:lnTo>
                      <a:lnTo>
                        <a:pt x="552" y="614"/>
                      </a:lnTo>
                      <a:lnTo>
                        <a:pt x="551" y="614"/>
                      </a:lnTo>
                      <a:lnTo>
                        <a:pt x="552" y="613"/>
                      </a:lnTo>
                      <a:lnTo>
                        <a:pt x="551" y="613"/>
                      </a:lnTo>
                      <a:lnTo>
                        <a:pt x="551" y="614"/>
                      </a:lnTo>
                      <a:lnTo>
                        <a:pt x="550" y="614"/>
                      </a:lnTo>
                      <a:lnTo>
                        <a:pt x="549" y="613"/>
                      </a:lnTo>
                      <a:lnTo>
                        <a:pt x="549" y="612"/>
                      </a:lnTo>
                      <a:lnTo>
                        <a:pt x="549" y="612"/>
                      </a:lnTo>
                      <a:lnTo>
                        <a:pt x="549" y="613"/>
                      </a:lnTo>
                      <a:lnTo>
                        <a:pt x="549" y="613"/>
                      </a:lnTo>
                      <a:lnTo>
                        <a:pt x="549" y="614"/>
                      </a:lnTo>
                      <a:lnTo>
                        <a:pt x="550" y="614"/>
                      </a:lnTo>
                      <a:lnTo>
                        <a:pt x="550" y="616"/>
                      </a:lnTo>
                      <a:lnTo>
                        <a:pt x="550" y="616"/>
                      </a:lnTo>
                      <a:lnTo>
                        <a:pt x="550" y="617"/>
                      </a:lnTo>
                      <a:lnTo>
                        <a:pt x="550" y="618"/>
                      </a:lnTo>
                      <a:lnTo>
                        <a:pt x="550" y="618"/>
                      </a:lnTo>
                      <a:lnTo>
                        <a:pt x="549" y="618"/>
                      </a:lnTo>
                      <a:lnTo>
                        <a:pt x="549" y="618"/>
                      </a:lnTo>
                      <a:lnTo>
                        <a:pt x="548" y="618"/>
                      </a:lnTo>
                      <a:lnTo>
                        <a:pt x="548" y="619"/>
                      </a:lnTo>
                      <a:lnTo>
                        <a:pt x="549" y="619"/>
                      </a:lnTo>
                      <a:lnTo>
                        <a:pt x="549" y="619"/>
                      </a:lnTo>
                      <a:lnTo>
                        <a:pt x="547" y="619"/>
                      </a:lnTo>
                      <a:lnTo>
                        <a:pt x="546" y="620"/>
                      </a:lnTo>
                      <a:lnTo>
                        <a:pt x="549" y="620"/>
                      </a:lnTo>
                      <a:lnTo>
                        <a:pt x="551" y="620"/>
                      </a:lnTo>
                      <a:lnTo>
                        <a:pt x="551" y="621"/>
                      </a:lnTo>
                      <a:lnTo>
                        <a:pt x="552" y="622"/>
                      </a:lnTo>
                      <a:lnTo>
                        <a:pt x="552" y="622"/>
                      </a:lnTo>
                      <a:lnTo>
                        <a:pt x="552" y="623"/>
                      </a:lnTo>
                      <a:lnTo>
                        <a:pt x="552" y="624"/>
                      </a:lnTo>
                      <a:lnTo>
                        <a:pt x="552" y="624"/>
                      </a:lnTo>
                      <a:lnTo>
                        <a:pt x="552" y="625"/>
                      </a:lnTo>
                      <a:lnTo>
                        <a:pt x="551" y="625"/>
                      </a:lnTo>
                      <a:lnTo>
                        <a:pt x="550" y="624"/>
                      </a:lnTo>
                      <a:lnTo>
                        <a:pt x="550" y="624"/>
                      </a:lnTo>
                      <a:lnTo>
                        <a:pt x="550" y="624"/>
                      </a:lnTo>
                      <a:lnTo>
                        <a:pt x="551" y="625"/>
                      </a:lnTo>
                      <a:lnTo>
                        <a:pt x="550" y="625"/>
                      </a:lnTo>
                      <a:lnTo>
                        <a:pt x="551" y="625"/>
                      </a:lnTo>
                      <a:lnTo>
                        <a:pt x="551" y="626"/>
                      </a:lnTo>
                      <a:lnTo>
                        <a:pt x="549" y="627"/>
                      </a:lnTo>
                      <a:lnTo>
                        <a:pt x="549" y="628"/>
                      </a:lnTo>
                      <a:lnTo>
                        <a:pt x="548" y="628"/>
                      </a:lnTo>
                      <a:lnTo>
                        <a:pt x="548" y="628"/>
                      </a:lnTo>
                      <a:lnTo>
                        <a:pt x="547" y="628"/>
                      </a:lnTo>
                      <a:lnTo>
                        <a:pt x="548" y="629"/>
                      </a:lnTo>
                      <a:lnTo>
                        <a:pt x="547" y="629"/>
                      </a:lnTo>
                      <a:lnTo>
                        <a:pt x="547" y="629"/>
                      </a:lnTo>
                      <a:lnTo>
                        <a:pt x="548" y="630"/>
                      </a:lnTo>
                      <a:lnTo>
                        <a:pt x="548" y="630"/>
                      </a:lnTo>
                      <a:lnTo>
                        <a:pt x="547" y="630"/>
                      </a:lnTo>
                      <a:lnTo>
                        <a:pt x="547" y="631"/>
                      </a:lnTo>
                      <a:lnTo>
                        <a:pt x="548" y="631"/>
                      </a:lnTo>
                      <a:lnTo>
                        <a:pt x="548" y="632"/>
                      </a:lnTo>
                      <a:lnTo>
                        <a:pt x="548" y="632"/>
                      </a:lnTo>
                      <a:lnTo>
                        <a:pt x="546" y="633"/>
                      </a:lnTo>
                      <a:lnTo>
                        <a:pt x="546" y="633"/>
                      </a:lnTo>
                      <a:lnTo>
                        <a:pt x="547" y="634"/>
                      </a:lnTo>
                      <a:lnTo>
                        <a:pt x="547" y="634"/>
                      </a:lnTo>
                      <a:lnTo>
                        <a:pt x="546" y="634"/>
                      </a:lnTo>
                      <a:lnTo>
                        <a:pt x="546" y="634"/>
                      </a:lnTo>
                      <a:lnTo>
                        <a:pt x="546" y="634"/>
                      </a:lnTo>
                      <a:lnTo>
                        <a:pt x="546" y="634"/>
                      </a:lnTo>
                      <a:lnTo>
                        <a:pt x="545" y="634"/>
                      </a:lnTo>
                      <a:lnTo>
                        <a:pt x="544" y="634"/>
                      </a:lnTo>
                      <a:lnTo>
                        <a:pt x="544" y="633"/>
                      </a:lnTo>
                      <a:lnTo>
                        <a:pt x="544" y="633"/>
                      </a:lnTo>
                      <a:lnTo>
                        <a:pt x="541" y="633"/>
                      </a:lnTo>
                      <a:lnTo>
                        <a:pt x="540" y="632"/>
                      </a:lnTo>
                      <a:lnTo>
                        <a:pt x="540" y="632"/>
                      </a:lnTo>
                      <a:lnTo>
                        <a:pt x="539" y="632"/>
                      </a:lnTo>
                      <a:lnTo>
                        <a:pt x="538" y="631"/>
                      </a:lnTo>
                      <a:lnTo>
                        <a:pt x="538" y="631"/>
                      </a:lnTo>
                      <a:lnTo>
                        <a:pt x="538" y="630"/>
                      </a:lnTo>
                      <a:lnTo>
                        <a:pt x="536" y="630"/>
                      </a:lnTo>
                      <a:lnTo>
                        <a:pt x="535" y="629"/>
                      </a:lnTo>
                      <a:lnTo>
                        <a:pt x="535" y="629"/>
                      </a:lnTo>
                      <a:lnTo>
                        <a:pt x="534" y="628"/>
                      </a:lnTo>
                      <a:lnTo>
                        <a:pt x="532" y="628"/>
                      </a:lnTo>
                      <a:lnTo>
                        <a:pt x="531" y="626"/>
                      </a:lnTo>
                      <a:lnTo>
                        <a:pt x="531" y="627"/>
                      </a:lnTo>
                      <a:lnTo>
                        <a:pt x="530" y="626"/>
                      </a:lnTo>
                      <a:lnTo>
                        <a:pt x="529" y="625"/>
                      </a:lnTo>
                      <a:lnTo>
                        <a:pt x="528" y="625"/>
                      </a:lnTo>
                      <a:lnTo>
                        <a:pt x="529" y="624"/>
                      </a:lnTo>
                      <a:lnTo>
                        <a:pt x="528" y="624"/>
                      </a:lnTo>
                      <a:lnTo>
                        <a:pt x="528" y="623"/>
                      </a:lnTo>
                      <a:lnTo>
                        <a:pt x="528" y="624"/>
                      </a:lnTo>
                      <a:lnTo>
                        <a:pt x="529" y="624"/>
                      </a:lnTo>
                      <a:lnTo>
                        <a:pt x="530" y="624"/>
                      </a:lnTo>
                      <a:lnTo>
                        <a:pt x="530" y="623"/>
                      </a:lnTo>
                      <a:lnTo>
                        <a:pt x="530" y="623"/>
                      </a:lnTo>
                      <a:lnTo>
                        <a:pt x="530" y="623"/>
                      </a:lnTo>
                      <a:lnTo>
                        <a:pt x="530" y="623"/>
                      </a:lnTo>
                      <a:lnTo>
                        <a:pt x="530" y="620"/>
                      </a:lnTo>
                      <a:lnTo>
                        <a:pt x="531" y="619"/>
                      </a:lnTo>
                      <a:lnTo>
                        <a:pt x="531" y="618"/>
                      </a:lnTo>
                      <a:lnTo>
                        <a:pt x="530" y="617"/>
                      </a:lnTo>
                      <a:lnTo>
                        <a:pt x="530" y="617"/>
                      </a:lnTo>
                      <a:lnTo>
                        <a:pt x="530" y="617"/>
                      </a:lnTo>
                      <a:lnTo>
                        <a:pt x="530" y="617"/>
                      </a:lnTo>
                      <a:lnTo>
                        <a:pt x="529" y="617"/>
                      </a:lnTo>
                      <a:lnTo>
                        <a:pt x="528" y="617"/>
                      </a:lnTo>
                      <a:lnTo>
                        <a:pt x="529" y="616"/>
                      </a:lnTo>
                      <a:lnTo>
                        <a:pt x="527" y="616"/>
                      </a:lnTo>
                      <a:lnTo>
                        <a:pt x="527" y="614"/>
                      </a:lnTo>
                      <a:lnTo>
                        <a:pt x="526" y="613"/>
                      </a:lnTo>
                      <a:lnTo>
                        <a:pt x="526" y="613"/>
                      </a:lnTo>
                      <a:lnTo>
                        <a:pt x="526" y="613"/>
                      </a:lnTo>
                      <a:lnTo>
                        <a:pt x="526" y="612"/>
                      </a:lnTo>
                      <a:lnTo>
                        <a:pt x="526" y="612"/>
                      </a:lnTo>
                      <a:lnTo>
                        <a:pt x="526" y="611"/>
                      </a:lnTo>
                      <a:lnTo>
                        <a:pt x="527" y="612"/>
                      </a:lnTo>
                      <a:lnTo>
                        <a:pt x="527" y="611"/>
                      </a:lnTo>
                      <a:lnTo>
                        <a:pt x="526" y="611"/>
                      </a:lnTo>
                      <a:lnTo>
                        <a:pt x="526" y="610"/>
                      </a:lnTo>
                      <a:lnTo>
                        <a:pt x="527" y="610"/>
                      </a:lnTo>
                      <a:lnTo>
                        <a:pt x="527" y="611"/>
                      </a:lnTo>
                      <a:lnTo>
                        <a:pt x="527" y="611"/>
                      </a:lnTo>
                      <a:lnTo>
                        <a:pt x="529" y="611"/>
                      </a:lnTo>
                      <a:lnTo>
                        <a:pt x="529" y="610"/>
                      </a:lnTo>
                      <a:lnTo>
                        <a:pt x="529" y="609"/>
                      </a:lnTo>
                      <a:lnTo>
                        <a:pt x="531" y="607"/>
                      </a:lnTo>
                      <a:lnTo>
                        <a:pt x="532" y="607"/>
                      </a:lnTo>
                      <a:lnTo>
                        <a:pt x="532" y="607"/>
                      </a:lnTo>
                      <a:lnTo>
                        <a:pt x="531" y="607"/>
                      </a:lnTo>
                      <a:lnTo>
                        <a:pt x="530" y="606"/>
                      </a:lnTo>
                      <a:lnTo>
                        <a:pt x="530" y="606"/>
                      </a:lnTo>
                      <a:lnTo>
                        <a:pt x="530" y="605"/>
                      </a:lnTo>
                      <a:lnTo>
                        <a:pt x="531" y="604"/>
                      </a:lnTo>
                      <a:lnTo>
                        <a:pt x="532" y="604"/>
                      </a:lnTo>
                      <a:lnTo>
                        <a:pt x="532" y="603"/>
                      </a:lnTo>
                      <a:lnTo>
                        <a:pt x="533" y="602"/>
                      </a:lnTo>
                      <a:lnTo>
                        <a:pt x="533" y="602"/>
                      </a:lnTo>
                      <a:lnTo>
                        <a:pt x="532" y="603"/>
                      </a:lnTo>
                      <a:lnTo>
                        <a:pt x="531" y="604"/>
                      </a:lnTo>
                      <a:lnTo>
                        <a:pt x="531" y="604"/>
                      </a:lnTo>
                      <a:lnTo>
                        <a:pt x="530" y="605"/>
                      </a:lnTo>
                      <a:lnTo>
                        <a:pt x="530" y="606"/>
                      </a:lnTo>
                      <a:lnTo>
                        <a:pt x="530" y="607"/>
                      </a:lnTo>
                      <a:lnTo>
                        <a:pt x="530" y="607"/>
                      </a:lnTo>
                      <a:lnTo>
                        <a:pt x="529" y="609"/>
                      </a:lnTo>
                      <a:lnTo>
                        <a:pt x="528" y="611"/>
                      </a:lnTo>
                      <a:lnTo>
                        <a:pt x="528" y="611"/>
                      </a:lnTo>
                      <a:lnTo>
                        <a:pt x="527" y="611"/>
                      </a:lnTo>
                      <a:lnTo>
                        <a:pt x="527" y="610"/>
                      </a:lnTo>
                      <a:lnTo>
                        <a:pt x="526" y="609"/>
                      </a:lnTo>
                      <a:lnTo>
                        <a:pt x="525" y="610"/>
                      </a:lnTo>
                      <a:lnTo>
                        <a:pt x="525" y="610"/>
                      </a:lnTo>
                      <a:lnTo>
                        <a:pt x="524" y="610"/>
                      </a:lnTo>
                      <a:lnTo>
                        <a:pt x="524" y="610"/>
                      </a:lnTo>
                      <a:lnTo>
                        <a:pt x="523" y="610"/>
                      </a:lnTo>
                      <a:lnTo>
                        <a:pt x="522" y="609"/>
                      </a:lnTo>
                      <a:lnTo>
                        <a:pt x="523" y="609"/>
                      </a:lnTo>
                      <a:lnTo>
                        <a:pt x="523" y="609"/>
                      </a:lnTo>
                      <a:lnTo>
                        <a:pt x="523" y="608"/>
                      </a:lnTo>
                      <a:lnTo>
                        <a:pt x="522" y="608"/>
                      </a:lnTo>
                      <a:lnTo>
                        <a:pt x="522" y="608"/>
                      </a:lnTo>
                      <a:lnTo>
                        <a:pt x="522" y="608"/>
                      </a:lnTo>
                      <a:lnTo>
                        <a:pt x="522" y="608"/>
                      </a:lnTo>
                      <a:lnTo>
                        <a:pt x="521" y="608"/>
                      </a:lnTo>
                      <a:lnTo>
                        <a:pt x="520" y="608"/>
                      </a:lnTo>
                      <a:lnTo>
                        <a:pt x="521" y="607"/>
                      </a:lnTo>
                      <a:lnTo>
                        <a:pt x="521" y="607"/>
                      </a:lnTo>
                      <a:lnTo>
                        <a:pt x="520" y="607"/>
                      </a:lnTo>
                      <a:lnTo>
                        <a:pt x="520" y="607"/>
                      </a:lnTo>
                      <a:lnTo>
                        <a:pt x="520" y="607"/>
                      </a:lnTo>
                      <a:lnTo>
                        <a:pt x="519" y="607"/>
                      </a:lnTo>
                      <a:lnTo>
                        <a:pt x="519" y="606"/>
                      </a:lnTo>
                      <a:lnTo>
                        <a:pt x="516" y="606"/>
                      </a:lnTo>
                      <a:lnTo>
                        <a:pt x="516" y="606"/>
                      </a:lnTo>
                      <a:lnTo>
                        <a:pt x="515" y="607"/>
                      </a:lnTo>
                      <a:lnTo>
                        <a:pt x="515" y="606"/>
                      </a:lnTo>
                      <a:lnTo>
                        <a:pt x="514" y="606"/>
                      </a:lnTo>
                      <a:lnTo>
                        <a:pt x="514" y="605"/>
                      </a:lnTo>
                      <a:lnTo>
                        <a:pt x="514" y="606"/>
                      </a:lnTo>
                      <a:lnTo>
                        <a:pt x="513" y="606"/>
                      </a:lnTo>
                      <a:lnTo>
                        <a:pt x="513" y="605"/>
                      </a:lnTo>
                      <a:lnTo>
                        <a:pt x="513" y="604"/>
                      </a:lnTo>
                      <a:lnTo>
                        <a:pt x="513" y="604"/>
                      </a:lnTo>
                      <a:lnTo>
                        <a:pt x="512" y="604"/>
                      </a:lnTo>
                      <a:lnTo>
                        <a:pt x="512" y="604"/>
                      </a:lnTo>
                      <a:lnTo>
                        <a:pt x="512" y="602"/>
                      </a:lnTo>
                      <a:lnTo>
                        <a:pt x="513" y="602"/>
                      </a:lnTo>
                      <a:lnTo>
                        <a:pt x="513" y="601"/>
                      </a:lnTo>
                      <a:lnTo>
                        <a:pt x="514" y="601"/>
                      </a:lnTo>
                      <a:lnTo>
                        <a:pt x="514" y="600"/>
                      </a:lnTo>
                      <a:lnTo>
                        <a:pt x="514" y="599"/>
                      </a:lnTo>
                      <a:lnTo>
                        <a:pt x="515" y="597"/>
                      </a:lnTo>
                      <a:lnTo>
                        <a:pt x="515" y="597"/>
                      </a:lnTo>
                      <a:lnTo>
                        <a:pt x="515" y="597"/>
                      </a:lnTo>
                      <a:lnTo>
                        <a:pt x="515" y="597"/>
                      </a:lnTo>
                      <a:lnTo>
                        <a:pt x="515" y="596"/>
                      </a:lnTo>
                      <a:lnTo>
                        <a:pt x="515" y="595"/>
                      </a:lnTo>
                      <a:lnTo>
                        <a:pt x="515" y="595"/>
                      </a:lnTo>
                      <a:lnTo>
                        <a:pt x="514" y="596"/>
                      </a:lnTo>
                      <a:lnTo>
                        <a:pt x="514" y="596"/>
                      </a:lnTo>
                      <a:lnTo>
                        <a:pt x="514" y="598"/>
                      </a:lnTo>
                      <a:lnTo>
                        <a:pt x="514" y="600"/>
                      </a:lnTo>
                      <a:lnTo>
                        <a:pt x="513" y="600"/>
                      </a:lnTo>
                      <a:lnTo>
                        <a:pt x="513" y="601"/>
                      </a:lnTo>
                      <a:lnTo>
                        <a:pt x="512" y="601"/>
                      </a:lnTo>
                      <a:lnTo>
                        <a:pt x="512" y="602"/>
                      </a:lnTo>
                      <a:lnTo>
                        <a:pt x="511" y="602"/>
                      </a:lnTo>
                      <a:lnTo>
                        <a:pt x="511" y="602"/>
                      </a:lnTo>
                      <a:lnTo>
                        <a:pt x="511" y="602"/>
                      </a:lnTo>
                      <a:lnTo>
                        <a:pt x="511" y="603"/>
                      </a:lnTo>
                      <a:lnTo>
                        <a:pt x="510" y="603"/>
                      </a:lnTo>
                      <a:lnTo>
                        <a:pt x="510" y="604"/>
                      </a:lnTo>
                      <a:lnTo>
                        <a:pt x="509" y="604"/>
                      </a:lnTo>
                      <a:lnTo>
                        <a:pt x="509" y="603"/>
                      </a:lnTo>
                      <a:lnTo>
                        <a:pt x="508" y="603"/>
                      </a:lnTo>
                      <a:lnTo>
                        <a:pt x="508" y="603"/>
                      </a:lnTo>
                      <a:lnTo>
                        <a:pt x="507" y="603"/>
                      </a:lnTo>
                      <a:lnTo>
                        <a:pt x="506" y="602"/>
                      </a:lnTo>
                      <a:lnTo>
                        <a:pt x="505" y="602"/>
                      </a:lnTo>
                      <a:lnTo>
                        <a:pt x="504" y="603"/>
                      </a:lnTo>
                      <a:lnTo>
                        <a:pt x="504" y="602"/>
                      </a:lnTo>
                      <a:lnTo>
                        <a:pt x="503" y="602"/>
                      </a:lnTo>
                      <a:lnTo>
                        <a:pt x="503" y="603"/>
                      </a:lnTo>
                      <a:lnTo>
                        <a:pt x="503" y="603"/>
                      </a:lnTo>
                      <a:lnTo>
                        <a:pt x="502" y="603"/>
                      </a:lnTo>
                      <a:lnTo>
                        <a:pt x="502" y="604"/>
                      </a:lnTo>
                      <a:lnTo>
                        <a:pt x="502" y="604"/>
                      </a:lnTo>
                      <a:lnTo>
                        <a:pt x="501" y="604"/>
                      </a:lnTo>
                      <a:lnTo>
                        <a:pt x="500" y="604"/>
                      </a:lnTo>
                      <a:lnTo>
                        <a:pt x="498" y="604"/>
                      </a:lnTo>
                      <a:lnTo>
                        <a:pt x="498" y="604"/>
                      </a:lnTo>
                      <a:lnTo>
                        <a:pt x="497" y="604"/>
                      </a:lnTo>
                      <a:lnTo>
                        <a:pt x="497" y="605"/>
                      </a:lnTo>
                      <a:lnTo>
                        <a:pt x="497" y="605"/>
                      </a:lnTo>
                      <a:lnTo>
                        <a:pt x="497" y="605"/>
                      </a:lnTo>
                      <a:lnTo>
                        <a:pt x="497" y="605"/>
                      </a:lnTo>
                      <a:lnTo>
                        <a:pt x="497" y="606"/>
                      </a:lnTo>
                      <a:lnTo>
                        <a:pt x="496" y="606"/>
                      </a:lnTo>
                      <a:lnTo>
                        <a:pt x="496" y="606"/>
                      </a:lnTo>
                      <a:lnTo>
                        <a:pt x="496" y="606"/>
                      </a:lnTo>
                      <a:lnTo>
                        <a:pt x="495" y="606"/>
                      </a:lnTo>
                      <a:lnTo>
                        <a:pt x="495" y="606"/>
                      </a:lnTo>
                      <a:lnTo>
                        <a:pt x="494" y="607"/>
                      </a:lnTo>
                      <a:lnTo>
                        <a:pt x="494" y="607"/>
                      </a:lnTo>
                      <a:lnTo>
                        <a:pt x="494" y="607"/>
                      </a:lnTo>
                      <a:lnTo>
                        <a:pt x="493" y="607"/>
                      </a:lnTo>
                      <a:lnTo>
                        <a:pt x="493" y="607"/>
                      </a:lnTo>
                      <a:lnTo>
                        <a:pt x="493" y="607"/>
                      </a:lnTo>
                      <a:lnTo>
                        <a:pt x="492" y="606"/>
                      </a:lnTo>
                      <a:lnTo>
                        <a:pt x="492" y="607"/>
                      </a:lnTo>
                      <a:lnTo>
                        <a:pt x="492" y="607"/>
                      </a:lnTo>
                      <a:lnTo>
                        <a:pt x="491" y="607"/>
                      </a:lnTo>
                      <a:lnTo>
                        <a:pt x="491" y="606"/>
                      </a:lnTo>
                      <a:lnTo>
                        <a:pt x="490" y="606"/>
                      </a:lnTo>
                      <a:lnTo>
                        <a:pt x="490" y="605"/>
                      </a:lnTo>
                      <a:lnTo>
                        <a:pt x="489" y="606"/>
                      </a:lnTo>
                      <a:lnTo>
                        <a:pt x="489" y="605"/>
                      </a:lnTo>
                      <a:lnTo>
                        <a:pt x="488" y="605"/>
                      </a:lnTo>
                      <a:lnTo>
                        <a:pt x="487" y="604"/>
                      </a:lnTo>
                      <a:lnTo>
                        <a:pt x="487" y="604"/>
                      </a:lnTo>
                      <a:lnTo>
                        <a:pt x="486" y="604"/>
                      </a:lnTo>
                      <a:lnTo>
                        <a:pt x="486" y="604"/>
                      </a:lnTo>
                      <a:lnTo>
                        <a:pt x="485" y="604"/>
                      </a:lnTo>
                      <a:lnTo>
                        <a:pt x="485" y="603"/>
                      </a:lnTo>
                      <a:lnTo>
                        <a:pt x="486" y="602"/>
                      </a:lnTo>
                      <a:lnTo>
                        <a:pt x="486" y="601"/>
                      </a:lnTo>
                      <a:lnTo>
                        <a:pt x="487" y="601"/>
                      </a:lnTo>
                      <a:lnTo>
                        <a:pt x="488" y="601"/>
                      </a:lnTo>
                      <a:lnTo>
                        <a:pt x="488" y="601"/>
                      </a:lnTo>
                      <a:lnTo>
                        <a:pt x="489" y="601"/>
                      </a:lnTo>
                      <a:lnTo>
                        <a:pt x="489" y="601"/>
                      </a:lnTo>
                      <a:lnTo>
                        <a:pt x="490" y="601"/>
                      </a:lnTo>
                      <a:lnTo>
                        <a:pt x="490" y="601"/>
                      </a:lnTo>
                      <a:lnTo>
                        <a:pt x="490" y="601"/>
                      </a:lnTo>
                      <a:lnTo>
                        <a:pt x="491" y="601"/>
                      </a:lnTo>
                      <a:lnTo>
                        <a:pt x="491" y="601"/>
                      </a:lnTo>
                      <a:lnTo>
                        <a:pt x="492" y="601"/>
                      </a:lnTo>
                      <a:lnTo>
                        <a:pt x="492" y="601"/>
                      </a:lnTo>
                      <a:lnTo>
                        <a:pt x="492" y="601"/>
                      </a:lnTo>
                      <a:lnTo>
                        <a:pt x="491" y="600"/>
                      </a:lnTo>
                      <a:lnTo>
                        <a:pt x="490" y="600"/>
                      </a:lnTo>
                      <a:lnTo>
                        <a:pt x="490" y="599"/>
                      </a:lnTo>
                      <a:lnTo>
                        <a:pt x="491" y="598"/>
                      </a:lnTo>
                      <a:lnTo>
                        <a:pt x="491" y="597"/>
                      </a:lnTo>
                      <a:lnTo>
                        <a:pt x="491" y="596"/>
                      </a:lnTo>
                      <a:lnTo>
                        <a:pt x="492" y="596"/>
                      </a:lnTo>
                      <a:lnTo>
                        <a:pt x="492" y="595"/>
                      </a:lnTo>
                      <a:lnTo>
                        <a:pt x="493" y="594"/>
                      </a:lnTo>
                      <a:lnTo>
                        <a:pt x="495" y="593"/>
                      </a:lnTo>
                      <a:lnTo>
                        <a:pt x="495" y="593"/>
                      </a:lnTo>
                      <a:lnTo>
                        <a:pt x="497" y="592"/>
                      </a:lnTo>
                      <a:lnTo>
                        <a:pt x="497" y="591"/>
                      </a:lnTo>
                      <a:lnTo>
                        <a:pt x="496" y="592"/>
                      </a:lnTo>
                      <a:lnTo>
                        <a:pt x="496" y="592"/>
                      </a:lnTo>
                      <a:lnTo>
                        <a:pt x="495" y="592"/>
                      </a:lnTo>
                      <a:lnTo>
                        <a:pt x="494" y="592"/>
                      </a:lnTo>
                      <a:lnTo>
                        <a:pt x="494" y="592"/>
                      </a:lnTo>
                      <a:lnTo>
                        <a:pt x="494" y="591"/>
                      </a:lnTo>
                      <a:lnTo>
                        <a:pt x="494" y="591"/>
                      </a:lnTo>
                      <a:lnTo>
                        <a:pt x="493" y="592"/>
                      </a:lnTo>
                      <a:lnTo>
                        <a:pt x="493" y="593"/>
                      </a:lnTo>
                      <a:lnTo>
                        <a:pt x="492" y="593"/>
                      </a:lnTo>
                      <a:lnTo>
                        <a:pt x="492" y="595"/>
                      </a:lnTo>
                      <a:lnTo>
                        <a:pt x="491" y="594"/>
                      </a:lnTo>
                      <a:lnTo>
                        <a:pt x="491" y="594"/>
                      </a:lnTo>
                      <a:lnTo>
                        <a:pt x="490" y="593"/>
                      </a:lnTo>
                      <a:lnTo>
                        <a:pt x="490" y="592"/>
                      </a:lnTo>
                      <a:lnTo>
                        <a:pt x="491" y="592"/>
                      </a:lnTo>
                      <a:lnTo>
                        <a:pt x="490" y="592"/>
                      </a:lnTo>
                      <a:lnTo>
                        <a:pt x="490" y="593"/>
                      </a:lnTo>
                      <a:lnTo>
                        <a:pt x="490" y="594"/>
                      </a:lnTo>
                      <a:lnTo>
                        <a:pt x="491" y="595"/>
                      </a:lnTo>
                      <a:lnTo>
                        <a:pt x="491" y="596"/>
                      </a:lnTo>
                      <a:lnTo>
                        <a:pt x="491" y="596"/>
                      </a:lnTo>
                      <a:lnTo>
                        <a:pt x="491" y="598"/>
                      </a:lnTo>
                      <a:lnTo>
                        <a:pt x="490" y="599"/>
                      </a:lnTo>
                      <a:lnTo>
                        <a:pt x="490" y="600"/>
                      </a:lnTo>
                      <a:lnTo>
                        <a:pt x="490" y="600"/>
                      </a:lnTo>
                      <a:lnTo>
                        <a:pt x="490" y="601"/>
                      </a:lnTo>
                      <a:lnTo>
                        <a:pt x="489" y="601"/>
                      </a:lnTo>
                      <a:lnTo>
                        <a:pt x="489" y="600"/>
                      </a:lnTo>
                      <a:lnTo>
                        <a:pt x="487" y="601"/>
                      </a:lnTo>
                      <a:lnTo>
                        <a:pt x="486" y="600"/>
                      </a:lnTo>
                      <a:lnTo>
                        <a:pt x="485" y="600"/>
                      </a:lnTo>
                      <a:lnTo>
                        <a:pt x="484" y="600"/>
                      </a:lnTo>
                      <a:lnTo>
                        <a:pt x="484" y="599"/>
                      </a:lnTo>
                      <a:lnTo>
                        <a:pt x="483" y="599"/>
                      </a:lnTo>
                      <a:lnTo>
                        <a:pt x="482" y="599"/>
                      </a:lnTo>
                      <a:lnTo>
                        <a:pt x="481" y="599"/>
                      </a:lnTo>
                      <a:lnTo>
                        <a:pt x="480" y="599"/>
                      </a:lnTo>
                      <a:lnTo>
                        <a:pt x="479" y="600"/>
                      </a:lnTo>
                      <a:lnTo>
                        <a:pt x="478" y="600"/>
                      </a:lnTo>
                      <a:lnTo>
                        <a:pt x="478" y="599"/>
                      </a:lnTo>
                      <a:lnTo>
                        <a:pt x="478" y="598"/>
                      </a:lnTo>
                      <a:lnTo>
                        <a:pt x="477" y="598"/>
                      </a:lnTo>
                      <a:lnTo>
                        <a:pt x="476" y="598"/>
                      </a:lnTo>
                      <a:lnTo>
                        <a:pt x="476" y="597"/>
                      </a:lnTo>
                      <a:lnTo>
                        <a:pt x="476" y="597"/>
                      </a:lnTo>
                      <a:lnTo>
                        <a:pt x="476" y="596"/>
                      </a:lnTo>
                      <a:lnTo>
                        <a:pt x="477" y="595"/>
                      </a:lnTo>
                      <a:lnTo>
                        <a:pt x="476" y="594"/>
                      </a:lnTo>
                      <a:lnTo>
                        <a:pt x="476" y="594"/>
                      </a:lnTo>
                      <a:lnTo>
                        <a:pt x="476" y="593"/>
                      </a:lnTo>
                      <a:lnTo>
                        <a:pt x="475" y="593"/>
                      </a:lnTo>
                      <a:lnTo>
                        <a:pt x="475" y="593"/>
                      </a:lnTo>
                      <a:lnTo>
                        <a:pt x="475" y="591"/>
                      </a:lnTo>
                      <a:lnTo>
                        <a:pt x="475" y="590"/>
                      </a:lnTo>
                      <a:lnTo>
                        <a:pt x="476" y="590"/>
                      </a:lnTo>
                      <a:lnTo>
                        <a:pt x="476" y="588"/>
                      </a:lnTo>
                      <a:lnTo>
                        <a:pt x="476" y="588"/>
                      </a:lnTo>
                      <a:lnTo>
                        <a:pt x="476" y="588"/>
                      </a:lnTo>
                      <a:lnTo>
                        <a:pt x="475" y="588"/>
                      </a:lnTo>
                      <a:lnTo>
                        <a:pt x="475" y="587"/>
                      </a:lnTo>
                      <a:lnTo>
                        <a:pt x="474" y="586"/>
                      </a:lnTo>
                      <a:lnTo>
                        <a:pt x="474" y="586"/>
                      </a:lnTo>
                      <a:lnTo>
                        <a:pt x="474" y="585"/>
                      </a:lnTo>
                      <a:lnTo>
                        <a:pt x="474" y="585"/>
                      </a:lnTo>
                      <a:lnTo>
                        <a:pt x="474" y="585"/>
                      </a:lnTo>
                      <a:lnTo>
                        <a:pt x="475" y="585"/>
                      </a:lnTo>
                      <a:lnTo>
                        <a:pt x="475" y="586"/>
                      </a:lnTo>
                      <a:lnTo>
                        <a:pt x="477" y="586"/>
                      </a:lnTo>
                      <a:lnTo>
                        <a:pt x="477" y="585"/>
                      </a:lnTo>
                      <a:lnTo>
                        <a:pt x="478" y="586"/>
                      </a:lnTo>
                      <a:lnTo>
                        <a:pt x="478" y="585"/>
                      </a:lnTo>
                      <a:lnTo>
                        <a:pt x="478" y="584"/>
                      </a:lnTo>
                      <a:lnTo>
                        <a:pt x="479" y="584"/>
                      </a:lnTo>
                      <a:lnTo>
                        <a:pt x="479" y="583"/>
                      </a:lnTo>
                      <a:lnTo>
                        <a:pt x="479" y="583"/>
                      </a:lnTo>
                      <a:lnTo>
                        <a:pt x="479" y="583"/>
                      </a:lnTo>
                      <a:lnTo>
                        <a:pt x="480" y="582"/>
                      </a:lnTo>
                      <a:lnTo>
                        <a:pt x="480" y="579"/>
                      </a:lnTo>
                      <a:lnTo>
                        <a:pt x="483" y="578"/>
                      </a:lnTo>
                      <a:lnTo>
                        <a:pt x="483" y="578"/>
                      </a:lnTo>
                      <a:lnTo>
                        <a:pt x="483" y="578"/>
                      </a:lnTo>
                      <a:lnTo>
                        <a:pt x="484" y="576"/>
                      </a:lnTo>
                      <a:lnTo>
                        <a:pt x="483" y="576"/>
                      </a:lnTo>
                      <a:lnTo>
                        <a:pt x="482" y="576"/>
                      </a:lnTo>
                      <a:lnTo>
                        <a:pt x="481" y="578"/>
                      </a:lnTo>
                      <a:lnTo>
                        <a:pt x="480" y="578"/>
                      </a:lnTo>
                      <a:lnTo>
                        <a:pt x="479" y="579"/>
                      </a:lnTo>
                      <a:lnTo>
                        <a:pt x="479" y="580"/>
                      </a:lnTo>
                      <a:lnTo>
                        <a:pt x="479" y="580"/>
                      </a:lnTo>
                      <a:lnTo>
                        <a:pt x="479" y="581"/>
                      </a:lnTo>
                      <a:lnTo>
                        <a:pt x="478" y="581"/>
                      </a:lnTo>
                      <a:lnTo>
                        <a:pt x="478" y="583"/>
                      </a:lnTo>
                      <a:lnTo>
                        <a:pt x="478" y="583"/>
                      </a:lnTo>
                      <a:lnTo>
                        <a:pt x="478" y="584"/>
                      </a:lnTo>
                      <a:lnTo>
                        <a:pt x="477" y="585"/>
                      </a:lnTo>
                      <a:lnTo>
                        <a:pt x="477" y="585"/>
                      </a:lnTo>
                      <a:lnTo>
                        <a:pt x="476" y="585"/>
                      </a:lnTo>
                      <a:lnTo>
                        <a:pt x="476" y="584"/>
                      </a:lnTo>
                      <a:lnTo>
                        <a:pt x="475" y="584"/>
                      </a:lnTo>
                      <a:lnTo>
                        <a:pt x="474" y="584"/>
                      </a:lnTo>
                      <a:lnTo>
                        <a:pt x="474" y="583"/>
                      </a:lnTo>
                      <a:lnTo>
                        <a:pt x="474" y="583"/>
                      </a:lnTo>
                      <a:lnTo>
                        <a:pt x="473" y="584"/>
                      </a:lnTo>
                      <a:lnTo>
                        <a:pt x="474" y="584"/>
                      </a:lnTo>
                      <a:lnTo>
                        <a:pt x="473" y="585"/>
                      </a:lnTo>
                      <a:lnTo>
                        <a:pt x="472" y="584"/>
                      </a:lnTo>
                      <a:lnTo>
                        <a:pt x="471" y="584"/>
                      </a:lnTo>
                      <a:lnTo>
                        <a:pt x="471" y="585"/>
                      </a:lnTo>
                      <a:lnTo>
                        <a:pt x="470" y="585"/>
                      </a:lnTo>
                      <a:lnTo>
                        <a:pt x="469" y="584"/>
                      </a:lnTo>
                      <a:lnTo>
                        <a:pt x="469" y="585"/>
                      </a:lnTo>
                      <a:lnTo>
                        <a:pt x="468" y="585"/>
                      </a:lnTo>
                      <a:lnTo>
                        <a:pt x="468" y="585"/>
                      </a:lnTo>
                      <a:lnTo>
                        <a:pt x="468" y="586"/>
                      </a:lnTo>
                      <a:lnTo>
                        <a:pt x="467" y="586"/>
                      </a:lnTo>
                      <a:lnTo>
                        <a:pt x="467" y="585"/>
                      </a:lnTo>
                      <a:lnTo>
                        <a:pt x="467" y="584"/>
                      </a:lnTo>
                      <a:lnTo>
                        <a:pt x="468" y="584"/>
                      </a:lnTo>
                      <a:lnTo>
                        <a:pt x="467" y="583"/>
                      </a:lnTo>
                      <a:lnTo>
                        <a:pt x="467" y="583"/>
                      </a:lnTo>
                      <a:lnTo>
                        <a:pt x="467" y="584"/>
                      </a:lnTo>
                      <a:lnTo>
                        <a:pt x="466" y="584"/>
                      </a:lnTo>
                      <a:lnTo>
                        <a:pt x="466" y="584"/>
                      </a:lnTo>
                      <a:lnTo>
                        <a:pt x="466" y="584"/>
                      </a:lnTo>
                      <a:lnTo>
                        <a:pt x="466" y="584"/>
                      </a:lnTo>
                      <a:lnTo>
                        <a:pt x="465" y="584"/>
                      </a:lnTo>
                      <a:lnTo>
                        <a:pt x="464" y="584"/>
                      </a:lnTo>
                      <a:lnTo>
                        <a:pt x="464" y="583"/>
                      </a:lnTo>
                      <a:lnTo>
                        <a:pt x="463" y="583"/>
                      </a:lnTo>
                      <a:lnTo>
                        <a:pt x="463" y="582"/>
                      </a:lnTo>
                      <a:lnTo>
                        <a:pt x="463" y="583"/>
                      </a:lnTo>
                      <a:lnTo>
                        <a:pt x="463" y="582"/>
                      </a:lnTo>
                      <a:lnTo>
                        <a:pt x="464" y="582"/>
                      </a:lnTo>
                      <a:lnTo>
                        <a:pt x="463" y="582"/>
                      </a:lnTo>
                      <a:lnTo>
                        <a:pt x="463" y="580"/>
                      </a:lnTo>
                      <a:lnTo>
                        <a:pt x="463" y="579"/>
                      </a:lnTo>
                      <a:lnTo>
                        <a:pt x="463" y="579"/>
                      </a:lnTo>
                      <a:lnTo>
                        <a:pt x="463" y="579"/>
                      </a:lnTo>
                      <a:lnTo>
                        <a:pt x="463" y="578"/>
                      </a:lnTo>
                      <a:lnTo>
                        <a:pt x="461" y="578"/>
                      </a:lnTo>
                      <a:lnTo>
                        <a:pt x="461" y="576"/>
                      </a:lnTo>
                      <a:lnTo>
                        <a:pt x="461" y="576"/>
                      </a:lnTo>
                      <a:lnTo>
                        <a:pt x="461" y="575"/>
                      </a:lnTo>
                      <a:lnTo>
                        <a:pt x="460" y="575"/>
                      </a:lnTo>
                      <a:lnTo>
                        <a:pt x="461" y="574"/>
                      </a:lnTo>
                      <a:lnTo>
                        <a:pt x="460" y="574"/>
                      </a:lnTo>
                      <a:lnTo>
                        <a:pt x="460" y="574"/>
                      </a:lnTo>
                      <a:lnTo>
                        <a:pt x="460" y="574"/>
                      </a:lnTo>
                      <a:lnTo>
                        <a:pt x="460" y="574"/>
                      </a:lnTo>
                      <a:lnTo>
                        <a:pt x="459" y="573"/>
                      </a:lnTo>
                      <a:lnTo>
                        <a:pt x="458" y="573"/>
                      </a:lnTo>
                      <a:lnTo>
                        <a:pt x="458" y="572"/>
                      </a:lnTo>
                      <a:lnTo>
                        <a:pt x="458" y="572"/>
                      </a:lnTo>
                      <a:lnTo>
                        <a:pt x="458" y="572"/>
                      </a:lnTo>
                      <a:lnTo>
                        <a:pt x="459" y="571"/>
                      </a:lnTo>
                      <a:lnTo>
                        <a:pt x="458" y="570"/>
                      </a:lnTo>
                      <a:lnTo>
                        <a:pt x="459" y="570"/>
                      </a:lnTo>
                      <a:lnTo>
                        <a:pt x="459" y="569"/>
                      </a:lnTo>
                      <a:lnTo>
                        <a:pt x="460" y="567"/>
                      </a:lnTo>
                      <a:lnTo>
                        <a:pt x="460" y="567"/>
                      </a:lnTo>
                      <a:lnTo>
                        <a:pt x="460" y="567"/>
                      </a:lnTo>
                      <a:lnTo>
                        <a:pt x="460" y="567"/>
                      </a:lnTo>
                      <a:lnTo>
                        <a:pt x="460" y="566"/>
                      </a:lnTo>
                      <a:lnTo>
                        <a:pt x="460" y="566"/>
                      </a:lnTo>
                      <a:lnTo>
                        <a:pt x="460" y="566"/>
                      </a:lnTo>
                      <a:lnTo>
                        <a:pt x="460" y="564"/>
                      </a:lnTo>
                      <a:lnTo>
                        <a:pt x="460" y="564"/>
                      </a:lnTo>
                      <a:lnTo>
                        <a:pt x="461" y="564"/>
                      </a:lnTo>
                      <a:lnTo>
                        <a:pt x="463" y="564"/>
                      </a:lnTo>
                      <a:lnTo>
                        <a:pt x="464" y="564"/>
                      </a:lnTo>
                      <a:lnTo>
                        <a:pt x="464" y="564"/>
                      </a:lnTo>
                      <a:lnTo>
                        <a:pt x="461" y="563"/>
                      </a:lnTo>
                      <a:lnTo>
                        <a:pt x="461" y="562"/>
                      </a:lnTo>
                      <a:lnTo>
                        <a:pt x="461" y="562"/>
                      </a:lnTo>
                      <a:lnTo>
                        <a:pt x="463" y="562"/>
                      </a:lnTo>
                      <a:lnTo>
                        <a:pt x="464" y="561"/>
                      </a:lnTo>
                      <a:lnTo>
                        <a:pt x="465" y="560"/>
                      </a:lnTo>
                      <a:lnTo>
                        <a:pt x="465" y="559"/>
                      </a:lnTo>
                      <a:lnTo>
                        <a:pt x="466" y="559"/>
                      </a:lnTo>
                      <a:lnTo>
                        <a:pt x="466" y="558"/>
                      </a:lnTo>
                      <a:lnTo>
                        <a:pt x="467" y="558"/>
                      </a:lnTo>
                      <a:lnTo>
                        <a:pt x="467" y="557"/>
                      </a:lnTo>
                      <a:lnTo>
                        <a:pt x="467" y="557"/>
                      </a:lnTo>
                      <a:lnTo>
                        <a:pt x="467" y="557"/>
                      </a:lnTo>
                      <a:lnTo>
                        <a:pt x="467" y="556"/>
                      </a:lnTo>
                      <a:lnTo>
                        <a:pt x="468" y="556"/>
                      </a:lnTo>
                      <a:lnTo>
                        <a:pt x="468" y="555"/>
                      </a:lnTo>
                      <a:lnTo>
                        <a:pt x="468" y="555"/>
                      </a:lnTo>
                      <a:lnTo>
                        <a:pt x="469" y="554"/>
                      </a:lnTo>
                      <a:lnTo>
                        <a:pt x="469" y="552"/>
                      </a:lnTo>
                      <a:lnTo>
                        <a:pt x="469" y="552"/>
                      </a:lnTo>
                      <a:lnTo>
                        <a:pt x="469" y="552"/>
                      </a:lnTo>
                      <a:lnTo>
                        <a:pt x="469" y="553"/>
                      </a:lnTo>
                      <a:lnTo>
                        <a:pt x="468" y="553"/>
                      </a:lnTo>
                      <a:lnTo>
                        <a:pt x="468" y="554"/>
                      </a:lnTo>
                      <a:lnTo>
                        <a:pt x="467" y="554"/>
                      </a:lnTo>
                      <a:lnTo>
                        <a:pt x="467" y="554"/>
                      </a:lnTo>
                      <a:lnTo>
                        <a:pt x="467" y="554"/>
                      </a:lnTo>
                      <a:lnTo>
                        <a:pt x="466" y="555"/>
                      </a:lnTo>
                      <a:lnTo>
                        <a:pt x="466" y="555"/>
                      </a:lnTo>
                      <a:lnTo>
                        <a:pt x="466" y="555"/>
                      </a:lnTo>
                      <a:lnTo>
                        <a:pt x="466" y="555"/>
                      </a:lnTo>
                      <a:lnTo>
                        <a:pt x="466" y="556"/>
                      </a:lnTo>
                      <a:lnTo>
                        <a:pt x="466" y="556"/>
                      </a:lnTo>
                      <a:lnTo>
                        <a:pt x="466" y="557"/>
                      </a:lnTo>
                      <a:lnTo>
                        <a:pt x="465" y="557"/>
                      </a:lnTo>
                      <a:lnTo>
                        <a:pt x="465" y="558"/>
                      </a:lnTo>
                      <a:lnTo>
                        <a:pt x="464" y="559"/>
                      </a:lnTo>
                      <a:lnTo>
                        <a:pt x="463" y="560"/>
                      </a:lnTo>
                      <a:lnTo>
                        <a:pt x="463" y="560"/>
                      </a:lnTo>
                      <a:lnTo>
                        <a:pt x="461" y="560"/>
                      </a:lnTo>
                      <a:lnTo>
                        <a:pt x="460" y="560"/>
                      </a:lnTo>
                      <a:lnTo>
                        <a:pt x="460" y="559"/>
                      </a:lnTo>
                      <a:lnTo>
                        <a:pt x="461" y="559"/>
                      </a:lnTo>
                      <a:lnTo>
                        <a:pt x="461" y="558"/>
                      </a:lnTo>
                      <a:lnTo>
                        <a:pt x="460" y="558"/>
                      </a:lnTo>
                      <a:lnTo>
                        <a:pt x="459" y="557"/>
                      </a:lnTo>
                      <a:lnTo>
                        <a:pt x="459" y="557"/>
                      </a:lnTo>
                      <a:lnTo>
                        <a:pt x="459" y="556"/>
                      </a:lnTo>
                      <a:lnTo>
                        <a:pt x="459" y="555"/>
                      </a:lnTo>
                      <a:lnTo>
                        <a:pt x="459" y="554"/>
                      </a:lnTo>
                      <a:lnTo>
                        <a:pt x="459" y="554"/>
                      </a:lnTo>
                      <a:lnTo>
                        <a:pt x="459" y="554"/>
                      </a:lnTo>
                      <a:lnTo>
                        <a:pt x="458" y="553"/>
                      </a:lnTo>
                      <a:lnTo>
                        <a:pt x="457" y="553"/>
                      </a:lnTo>
                      <a:lnTo>
                        <a:pt x="457" y="552"/>
                      </a:lnTo>
                      <a:lnTo>
                        <a:pt x="457" y="552"/>
                      </a:lnTo>
                      <a:lnTo>
                        <a:pt x="457" y="551"/>
                      </a:lnTo>
                      <a:lnTo>
                        <a:pt x="457" y="551"/>
                      </a:lnTo>
                      <a:lnTo>
                        <a:pt x="456" y="550"/>
                      </a:lnTo>
                      <a:lnTo>
                        <a:pt x="455" y="549"/>
                      </a:lnTo>
                      <a:lnTo>
                        <a:pt x="455" y="549"/>
                      </a:lnTo>
                      <a:lnTo>
                        <a:pt x="454" y="550"/>
                      </a:lnTo>
                      <a:lnTo>
                        <a:pt x="454" y="550"/>
                      </a:lnTo>
                      <a:lnTo>
                        <a:pt x="453" y="551"/>
                      </a:lnTo>
                      <a:lnTo>
                        <a:pt x="453" y="552"/>
                      </a:lnTo>
                      <a:lnTo>
                        <a:pt x="453" y="552"/>
                      </a:lnTo>
                      <a:lnTo>
                        <a:pt x="453" y="553"/>
                      </a:lnTo>
                      <a:lnTo>
                        <a:pt x="453" y="553"/>
                      </a:lnTo>
                      <a:lnTo>
                        <a:pt x="452" y="553"/>
                      </a:lnTo>
                      <a:lnTo>
                        <a:pt x="452" y="553"/>
                      </a:lnTo>
                      <a:lnTo>
                        <a:pt x="451" y="552"/>
                      </a:lnTo>
                      <a:lnTo>
                        <a:pt x="451" y="550"/>
                      </a:lnTo>
                      <a:lnTo>
                        <a:pt x="453" y="549"/>
                      </a:lnTo>
                      <a:lnTo>
                        <a:pt x="454" y="548"/>
                      </a:lnTo>
                      <a:lnTo>
                        <a:pt x="455" y="548"/>
                      </a:lnTo>
                      <a:lnTo>
                        <a:pt x="455" y="547"/>
                      </a:lnTo>
                      <a:lnTo>
                        <a:pt x="455" y="547"/>
                      </a:lnTo>
                      <a:lnTo>
                        <a:pt x="454" y="548"/>
                      </a:lnTo>
                      <a:lnTo>
                        <a:pt x="452" y="549"/>
                      </a:lnTo>
                      <a:lnTo>
                        <a:pt x="451" y="550"/>
                      </a:lnTo>
                      <a:lnTo>
                        <a:pt x="451" y="551"/>
                      </a:lnTo>
                      <a:lnTo>
                        <a:pt x="451" y="552"/>
                      </a:lnTo>
                      <a:lnTo>
                        <a:pt x="452" y="553"/>
                      </a:lnTo>
                      <a:lnTo>
                        <a:pt x="453" y="553"/>
                      </a:lnTo>
                      <a:lnTo>
                        <a:pt x="454" y="553"/>
                      </a:lnTo>
                      <a:lnTo>
                        <a:pt x="454" y="552"/>
                      </a:lnTo>
                      <a:lnTo>
                        <a:pt x="455" y="551"/>
                      </a:lnTo>
                      <a:lnTo>
                        <a:pt x="456" y="551"/>
                      </a:lnTo>
                      <a:lnTo>
                        <a:pt x="456" y="551"/>
                      </a:lnTo>
                      <a:lnTo>
                        <a:pt x="456" y="552"/>
                      </a:lnTo>
                      <a:lnTo>
                        <a:pt x="456" y="552"/>
                      </a:lnTo>
                      <a:lnTo>
                        <a:pt x="456" y="552"/>
                      </a:lnTo>
                      <a:lnTo>
                        <a:pt x="456" y="552"/>
                      </a:lnTo>
                      <a:lnTo>
                        <a:pt x="457" y="553"/>
                      </a:lnTo>
                      <a:lnTo>
                        <a:pt x="457" y="554"/>
                      </a:lnTo>
                      <a:lnTo>
                        <a:pt x="457" y="554"/>
                      </a:lnTo>
                      <a:lnTo>
                        <a:pt x="457" y="555"/>
                      </a:lnTo>
                      <a:lnTo>
                        <a:pt x="457" y="556"/>
                      </a:lnTo>
                      <a:lnTo>
                        <a:pt x="457" y="557"/>
                      </a:lnTo>
                      <a:lnTo>
                        <a:pt x="457" y="557"/>
                      </a:lnTo>
                      <a:lnTo>
                        <a:pt x="458" y="557"/>
                      </a:lnTo>
                      <a:lnTo>
                        <a:pt x="458" y="558"/>
                      </a:lnTo>
                      <a:lnTo>
                        <a:pt x="458" y="558"/>
                      </a:lnTo>
                      <a:lnTo>
                        <a:pt x="458" y="558"/>
                      </a:lnTo>
                      <a:lnTo>
                        <a:pt x="458" y="558"/>
                      </a:lnTo>
                      <a:lnTo>
                        <a:pt x="459" y="559"/>
                      </a:lnTo>
                      <a:lnTo>
                        <a:pt x="459" y="560"/>
                      </a:lnTo>
                      <a:lnTo>
                        <a:pt x="458" y="561"/>
                      </a:lnTo>
                      <a:lnTo>
                        <a:pt x="458" y="562"/>
                      </a:lnTo>
                      <a:lnTo>
                        <a:pt x="458" y="562"/>
                      </a:lnTo>
                      <a:lnTo>
                        <a:pt x="455" y="562"/>
                      </a:lnTo>
                      <a:lnTo>
                        <a:pt x="455" y="562"/>
                      </a:lnTo>
                      <a:lnTo>
                        <a:pt x="455" y="563"/>
                      </a:lnTo>
                      <a:lnTo>
                        <a:pt x="454" y="563"/>
                      </a:lnTo>
                      <a:lnTo>
                        <a:pt x="454" y="562"/>
                      </a:lnTo>
                      <a:lnTo>
                        <a:pt x="453" y="562"/>
                      </a:lnTo>
                      <a:lnTo>
                        <a:pt x="453" y="562"/>
                      </a:lnTo>
                      <a:lnTo>
                        <a:pt x="454" y="563"/>
                      </a:lnTo>
                      <a:lnTo>
                        <a:pt x="455" y="563"/>
                      </a:lnTo>
                      <a:lnTo>
                        <a:pt x="456" y="563"/>
                      </a:lnTo>
                      <a:lnTo>
                        <a:pt x="457" y="563"/>
                      </a:lnTo>
                      <a:lnTo>
                        <a:pt x="457" y="563"/>
                      </a:lnTo>
                      <a:lnTo>
                        <a:pt x="457" y="564"/>
                      </a:lnTo>
                      <a:lnTo>
                        <a:pt x="457" y="564"/>
                      </a:lnTo>
                      <a:lnTo>
                        <a:pt x="457" y="567"/>
                      </a:lnTo>
                      <a:lnTo>
                        <a:pt x="458" y="568"/>
                      </a:lnTo>
                      <a:lnTo>
                        <a:pt x="458" y="569"/>
                      </a:lnTo>
                      <a:lnTo>
                        <a:pt x="458" y="570"/>
                      </a:lnTo>
                      <a:lnTo>
                        <a:pt x="457" y="570"/>
                      </a:lnTo>
                      <a:lnTo>
                        <a:pt x="457" y="570"/>
                      </a:lnTo>
                      <a:lnTo>
                        <a:pt x="457" y="571"/>
                      </a:lnTo>
                      <a:lnTo>
                        <a:pt x="457" y="572"/>
                      </a:lnTo>
                      <a:lnTo>
                        <a:pt x="456" y="572"/>
                      </a:lnTo>
                      <a:lnTo>
                        <a:pt x="456" y="572"/>
                      </a:lnTo>
                      <a:lnTo>
                        <a:pt x="454" y="573"/>
                      </a:lnTo>
                      <a:lnTo>
                        <a:pt x="454" y="573"/>
                      </a:lnTo>
                      <a:lnTo>
                        <a:pt x="454" y="574"/>
                      </a:lnTo>
                      <a:lnTo>
                        <a:pt x="453" y="573"/>
                      </a:lnTo>
                      <a:lnTo>
                        <a:pt x="453" y="573"/>
                      </a:lnTo>
                      <a:lnTo>
                        <a:pt x="452" y="573"/>
                      </a:lnTo>
                      <a:lnTo>
                        <a:pt x="452" y="574"/>
                      </a:lnTo>
                      <a:lnTo>
                        <a:pt x="451" y="574"/>
                      </a:lnTo>
                      <a:lnTo>
                        <a:pt x="450" y="574"/>
                      </a:lnTo>
                      <a:lnTo>
                        <a:pt x="451" y="575"/>
                      </a:lnTo>
                      <a:lnTo>
                        <a:pt x="450" y="575"/>
                      </a:lnTo>
                      <a:lnTo>
                        <a:pt x="450" y="575"/>
                      </a:lnTo>
                      <a:lnTo>
                        <a:pt x="450" y="576"/>
                      </a:lnTo>
                      <a:lnTo>
                        <a:pt x="449" y="576"/>
                      </a:lnTo>
                      <a:lnTo>
                        <a:pt x="448" y="578"/>
                      </a:lnTo>
                      <a:lnTo>
                        <a:pt x="448" y="578"/>
                      </a:lnTo>
                      <a:lnTo>
                        <a:pt x="446" y="576"/>
                      </a:lnTo>
                      <a:lnTo>
                        <a:pt x="445" y="576"/>
                      </a:lnTo>
                      <a:lnTo>
                        <a:pt x="445" y="576"/>
                      </a:lnTo>
                      <a:lnTo>
                        <a:pt x="445" y="578"/>
                      </a:lnTo>
                      <a:lnTo>
                        <a:pt x="445" y="578"/>
                      </a:lnTo>
                      <a:lnTo>
                        <a:pt x="445" y="578"/>
                      </a:lnTo>
                      <a:lnTo>
                        <a:pt x="445" y="579"/>
                      </a:lnTo>
                      <a:lnTo>
                        <a:pt x="444" y="580"/>
                      </a:lnTo>
                      <a:lnTo>
                        <a:pt x="443" y="580"/>
                      </a:lnTo>
                      <a:lnTo>
                        <a:pt x="443" y="579"/>
                      </a:lnTo>
                      <a:lnTo>
                        <a:pt x="442" y="578"/>
                      </a:lnTo>
                      <a:lnTo>
                        <a:pt x="442" y="578"/>
                      </a:lnTo>
                      <a:lnTo>
                        <a:pt x="442" y="576"/>
                      </a:lnTo>
                      <a:lnTo>
                        <a:pt x="441" y="576"/>
                      </a:lnTo>
                      <a:lnTo>
                        <a:pt x="442" y="576"/>
                      </a:lnTo>
                      <a:lnTo>
                        <a:pt x="441" y="576"/>
                      </a:lnTo>
                      <a:lnTo>
                        <a:pt x="441" y="575"/>
                      </a:lnTo>
                      <a:lnTo>
                        <a:pt x="441" y="573"/>
                      </a:lnTo>
                      <a:lnTo>
                        <a:pt x="441" y="573"/>
                      </a:lnTo>
                      <a:lnTo>
                        <a:pt x="441" y="573"/>
                      </a:lnTo>
                      <a:lnTo>
                        <a:pt x="440" y="575"/>
                      </a:lnTo>
                      <a:lnTo>
                        <a:pt x="439" y="575"/>
                      </a:lnTo>
                      <a:lnTo>
                        <a:pt x="438" y="574"/>
                      </a:lnTo>
                      <a:lnTo>
                        <a:pt x="438" y="573"/>
                      </a:lnTo>
                      <a:lnTo>
                        <a:pt x="439" y="573"/>
                      </a:lnTo>
                      <a:lnTo>
                        <a:pt x="439" y="572"/>
                      </a:lnTo>
                      <a:lnTo>
                        <a:pt x="438" y="572"/>
                      </a:lnTo>
                      <a:lnTo>
                        <a:pt x="438" y="572"/>
                      </a:lnTo>
                      <a:lnTo>
                        <a:pt x="438" y="572"/>
                      </a:lnTo>
                      <a:lnTo>
                        <a:pt x="438" y="573"/>
                      </a:lnTo>
                      <a:lnTo>
                        <a:pt x="438" y="573"/>
                      </a:lnTo>
                      <a:lnTo>
                        <a:pt x="438" y="574"/>
                      </a:lnTo>
                      <a:lnTo>
                        <a:pt x="438" y="575"/>
                      </a:lnTo>
                      <a:lnTo>
                        <a:pt x="439" y="575"/>
                      </a:lnTo>
                      <a:lnTo>
                        <a:pt x="440" y="576"/>
                      </a:lnTo>
                      <a:lnTo>
                        <a:pt x="440" y="576"/>
                      </a:lnTo>
                      <a:lnTo>
                        <a:pt x="440" y="578"/>
                      </a:lnTo>
                      <a:lnTo>
                        <a:pt x="441" y="578"/>
                      </a:lnTo>
                      <a:lnTo>
                        <a:pt x="442" y="579"/>
                      </a:lnTo>
                      <a:lnTo>
                        <a:pt x="443" y="579"/>
                      </a:lnTo>
                      <a:lnTo>
                        <a:pt x="443" y="581"/>
                      </a:lnTo>
                      <a:lnTo>
                        <a:pt x="444" y="581"/>
                      </a:lnTo>
                      <a:lnTo>
                        <a:pt x="445" y="580"/>
                      </a:lnTo>
                      <a:lnTo>
                        <a:pt x="446" y="580"/>
                      </a:lnTo>
                      <a:lnTo>
                        <a:pt x="446" y="580"/>
                      </a:lnTo>
                      <a:lnTo>
                        <a:pt x="447" y="580"/>
                      </a:lnTo>
                      <a:lnTo>
                        <a:pt x="447" y="580"/>
                      </a:lnTo>
                      <a:lnTo>
                        <a:pt x="448" y="580"/>
                      </a:lnTo>
                      <a:lnTo>
                        <a:pt x="449" y="580"/>
                      </a:lnTo>
                      <a:lnTo>
                        <a:pt x="449" y="580"/>
                      </a:lnTo>
                      <a:lnTo>
                        <a:pt x="450" y="580"/>
                      </a:lnTo>
                      <a:lnTo>
                        <a:pt x="450" y="579"/>
                      </a:lnTo>
                      <a:lnTo>
                        <a:pt x="451" y="579"/>
                      </a:lnTo>
                      <a:lnTo>
                        <a:pt x="451" y="578"/>
                      </a:lnTo>
                      <a:lnTo>
                        <a:pt x="452" y="578"/>
                      </a:lnTo>
                      <a:lnTo>
                        <a:pt x="452" y="576"/>
                      </a:lnTo>
                      <a:lnTo>
                        <a:pt x="453" y="575"/>
                      </a:lnTo>
                      <a:lnTo>
                        <a:pt x="454" y="575"/>
                      </a:lnTo>
                      <a:lnTo>
                        <a:pt x="455" y="574"/>
                      </a:lnTo>
                      <a:lnTo>
                        <a:pt x="455" y="574"/>
                      </a:lnTo>
                      <a:lnTo>
                        <a:pt x="455" y="574"/>
                      </a:lnTo>
                      <a:lnTo>
                        <a:pt x="456" y="574"/>
                      </a:lnTo>
                      <a:lnTo>
                        <a:pt x="456" y="574"/>
                      </a:lnTo>
                      <a:lnTo>
                        <a:pt x="456" y="574"/>
                      </a:lnTo>
                      <a:lnTo>
                        <a:pt x="457" y="574"/>
                      </a:lnTo>
                      <a:lnTo>
                        <a:pt x="457" y="574"/>
                      </a:lnTo>
                      <a:lnTo>
                        <a:pt x="458" y="575"/>
                      </a:lnTo>
                      <a:lnTo>
                        <a:pt x="459" y="575"/>
                      </a:lnTo>
                      <a:lnTo>
                        <a:pt x="459" y="576"/>
                      </a:lnTo>
                      <a:lnTo>
                        <a:pt x="458" y="576"/>
                      </a:lnTo>
                      <a:lnTo>
                        <a:pt x="458" y="575"/>
                      </a:lnTo>
                      <a:lnTo>
                        <a:pt x="457" y="576"/>
                      </a:lnTo>
                      <a:lnTo>
                        <a:pt x="457" y="576"/>
                      </a:lnTo>
                      <a:lnTo>
                        <a:pt x="458" y="576"/>
                      </a:lnTo>
                      <a:lnTo>
                        <a:pt x="459" y="578"/>
                      </a:lnTo>
                      <a:lnTo>
                        <a:pt x="459" y="578"/>
                      </a:lnTo>
                      <a:lnTo>
                        <a:pt x="460" y="578"/>
                      </a:lnTo>
                      <a:lnTo>
                        <a:pt x="460" y="578"/>
                      </a:lnTo>
                      <a:lnTo>
                        <a:pt x="458" y="579"/>
                      </a:lnTo>
                      <a:lnTo>
                        <a:pt x="460" y="579"/>
                      </a:lnTo>
                      <a:lnTo>
                        <a:pt x="460" y="580"/>
                      </a:lnTo>
                      <a:lnTo>
                        <a:pt x="460" y="579"/>
                      </a:lnTo>
                      <a:lnTo>
                        <a:pt x="460" y="580"/>
                      </a:lnTo>
                      <a:lnTo>
                        <a:pt x="460" y="580"/>
                      </a:lnTo>
                      <a:lnTo>
                        <a:pt x="461" y="580"/>
                      </a:lnTo>
                      <a:lnTo>
                        <a:pt x="461" y="581"/>
                      </a:lnTo>
                      <a:lnTo>
                        <a:pt x="460" y="581"/>
                      </a:lnTo>
                      <a:lnTo>
                        <a:pt x="460" y="581"/>
                      </a:lnTo>
                      <a:lnTo>
                        <a:pt x="460" y="581"/>
                      </a:lnTo>
                      <a:lnTo>
                        <a:pt x="460" y="582"/>
                      </a:lnTo>
                      <a:lnTo>
                        <a:pt x="458" y="582"/>
                      </a:lnTo>
                      <a:lnTo>
                        <a:pt x="458" y="581"/>
                      </a:lnTo>
                      <a:lnTo>
                        <a:pt x="458" y="582"/>
                      </a:lnTo>
                      <a:lnTo>
                        <a:pt x="456" y="582"/>
                      </a:lnTo>
                      <a:lnTo>
                        <a:pt x="456" y="583"/>
                      </a:lnTo>
                      <a:lnTo>
                        <a:pt x="456" y="583"/>
                      </a:lnTo>
                      <a:lnTo>
                        <a:pt x="456" y="583"/>
                      </a:lnTo>
                      <a:lnTo>
                        <a:pt x="455" y="583"/>
                      </a:lnTo>
                      <a:lnTo>
                        <a:pt x="455" y="583"/>
                      </a:lnTo>
                      <a:lnTo>
                        <a:pt x="455" y="583"/>
                      </a:lnTo>
                      <a:lnTo>
                        <a:pt x="454" y="583"/>
                      </a:lnTo>
                      <a:lnTo>
                        <a:pt x="453" y="584"/>
                      </a:lnTo>
                      <a:lnTo>
                        <a:pt x="452" y="584"/>
                      </a:lnTo>
                      <a:lnTo>
                        <a:pt x="452" y="584"/>
                      </a:lnTo>
                      <a:lnTo>
                        <a:pt x="454" y="584"/>
                      </a:lnTo>
                      <a:lnTo>
                        <a:pt x="454" y="584"/>
                      </a:lnTo>
                      <a:lnTo>
                        <a:pt x="455" y="584"/>
                      </a:lnTo>
                      <a:lnTo>
                        <a:pt x="455" y="584"/>
                      </a:lnTo>
                      <a:lnTo>
                        <a:pt x="456" y="584"/>
                      </a:lnTo>
                      <a:lnTo>
                        <a:pt x="456" y="585"/>
                      </a:lnTo>
                      <a:lnTo>
                        <a:pt x="455" y="585"/>
                      </a:lnTo>
                      <a:lnTo>
                        <a:pt x="456" y="585"/>
                      </a:lnTo>
                      <a:lnTo>
                        <a:pt x="456" y="587"/>
                      </a:lnTo>
                      <a:lnTo>
                        <a:pt x="457" y="586"/>
                      </a:lnTo>
                      <a:lnTo>
                        <a:pt x="457" y="585"/>
                      </a:lnTo>
                      <a:lnTo>
                        <a:pt x="457" y="585"/>
                      </a:lnTo>
                      <a:lnTo>
                        <a:pt x="458" y="585"/>
                      </a:lnTo>
                      <a:lnTo>
                        <a:pt x="460" y="585"/>
                      </a:lnTo>
                      <a:lnTo>
                        <a:pt x="460" y="586"/>
                      </a:lnTo>
                      <a:lnTo>
                        <a:pt x="460" y="586"/>
                      </a:lnTo>
                      <a:lnTo>
                        <a:pt x="460" y="587"/>
                      </a:lnTo>
                      <a:lnTo>
                        <a:pt x="460" y="588"/>
                      </a:lnTo>
                      <a:lnTo>
                        <a:pt x="459" y="588"/>
                      </a:lnTo>
                      <a:lnTo>
                        <a:pt x="459" y="589"/>
                      </a:lnTo>
                      <a:lnTo>
                        <a:pt x="458" y="589"/>
                      </a:lnTo>
                      <a:lnTo>
                        <a:pt x="458" y="589"/>
                      </a:lnTo>
                      <a:lnTo>
                        <a:pt x="458" y="589"/>
                      </a:lnTo>
                      <a:lnTo>
                        <a:pt x="457" y="588"/>
                      </a:lnTo>
                      <a:lnTo>
                        <a:pt x="458" y="589"/>
                      </a:lnTo>
                      <a:lnTo>
                        <a:pt x="458" y="589"/>
                      </a:lnTo>
                      <a:lnTo>
                        <a:pt x="458" y="589"/>
                      </a:lnTo>
                      <a:lnTo>
                        <a:pt x="458" y="589"/>
                      </a:lnTo>
                      <a:lnTo>
                        <a:pt x="459" y="589"/>
                      </a:lnTo>
                      <a:lnTo>
                        <a:pt x="461" y="588"/>
                      </a:lnTo>
                      <a:lnTo>
                        <a:pt x="461" y="588"/>
                      </a:lnTo>
                      <a:lnTo>
                        <a:pt x="460" y="588"/>
                      </a:lnTo>
                      <a:lnTo>
                        <a:pt x="460" y="588"/>
                      </a:lnTo>
                      <a:lnTo>
                        <a:pt x="461" y="587"/>
                      </a:lnTo>
                      <a:lnTo>
                        <a:pt x="461" y="587"/>
                      </a:lnTo>
                      <a:lnTo>
                        <a:pt x="463" y="586"/>
                      </a:lnTo>
                      <a:lnTo>
                        <a:pt x="463" y="586"/>
                      </a:lnTo>
                      <a:lnTo>
                        <a:pt x="464" y="585"/>
                      </a:lnTo>
                      <a:lnTo>
                        <a:pt x="464" y="585"/>
                      </a:lnTo>
                      <a:lnTo>
                        <a:pt x="465" y="585"/>
                      </a:lnTo>
                      <a:lnTo>
                        <a:pt x="465" y="585"/>
                      </a:lnTo>
                      <a:lnTo>
                        <a:pt x="465" y="586"/>
                      </a:lnTo>
                      <a:lnTo>
                        <a:pt x="466" y="586"/>
                      </a:lnTo>
                      <a:lnTo>
                        <a:pt x="466" y="587"/>
                      </a:lnTo>
                      <a:lnTo>
                        <a:pt x="467" y="588"/>
                      </a:lnTo>
                      <a:lnTo>
                        <a:pt x="467" y="588"/>
                      </a:lnTo>
                      <a:lnTo>
                        <a:pt x="467" y="590"/>
                      </a:lnTo>
                      <a:lnTo>
                        <a:pt x="466" y="591"/>
                      </a:lnTo>
                      <a:lnTo>
                        <a:pt x="466" y="591"/>
                      </a:lnTo>
                      <a:lnTo>
                        <a:pt x="465" y="591"/>
                      </a:lnTo>
                      <a:lnTo>
                        <a:pt x="465" y="591"/>
                      </a:lnTo>
                      <a:lnTo>
                        <a:pt x="465" y="591"/>
                      </a:lnTo>
                      <a:lnTo>
                        <a:pt x="464" y="591"/>
                      </a:lnTo>
                      <a:lnTo>
                        <a:pt x="463" y="591"/>
                      </a:lnTo>
                      <a:lnTo>
                        <a:pt x="463" y="592"/>
                      </a:lnTo>
                      <a:lnTo>
                        <a:pt x="461" y="592"/>
                      </a:lnTo>
                      <a:lnTo>
                        <a:pt x="459" y="594"/>
                      </a:lnTo>
                      <a:lnTo>
                        <a:pt x="459" y="595"/>
                      </a:lnTo>
                      <a:lnTo>
                        <a:pt x="459" y="595"/>
                      </a:lnTo>
                      <a:lnTo>
                        <a:pt x="459" y="595"/>
                      </a:lnTo>
                      <a:lnTo>
                        <a:pt x="460" y="595"/>
                      </a:lnTo>
                      <a:lnTo>
                        <a:pt x="461" y="597"/>
                      </a:lnTo>
                      <a:lnTo>
                        <a:pt x="461" y="597"/>
                      </a:lnTo>
                      <a:lnTo>
                        <a:pt x="461" y="599"/>
                      </a:lnTo>
                      <a:lnTo>
                        <a:pt x="460" y="599"/>
                      </a:lnTo>
                      <a:lnTo>
                        <a:pt x="460" y="599"/>
                      </a:lnTo>
                      <a:lnTo>
                        <a:pt x="458" y="599"/>
                      </a:lnTo>
                      <a:lnTo>
                        <a:pt x="457" y="599"/>
                      </a:lnTo>
                      <a:lnTo>
                        <a:pt x="457" y="599"/>
                      </a:lnTo>
                      <a:lnTo>
                        <a:pt x="456" y="599"/>
                      </a:lnTo>
                      <a:lnTo>
                        <a:pt x="456" y="600"/>
                      </a:lnTo>
                      <a:lnTo>
                        <a:pt x="456" y="600"/>
                      </a:lnTo>
                      <a:lnTo>
                        <a:pt x="455" y="601"/>
                      </a:lnTo>
                      <a:lnTo>
                        <a:pt x="454" y="601"/>
                      </a:lnTo>
                      <a:lnTo>
                        <a:pt x="454" y="600"/>
                      </a:lnTo>
                      <a:lnTo>
                        <a:pt x="454" y="600"/>
                      </a:lnTo>
                      <a:lnTo>
                        <a:pt x="454" y="600"/>
                      </a:lnTo>
                      <a:lnTo>
                        <a:pt x="454" y="598"/>
                      </a:lnTo>
                      <a:lnTo>
                        <a:pt x="455" y="598"/>
                      </a:lnTo>
                      <a:lnTo>
                        <a:pt x="455" y="597"/>
                      </a:lnTo>
                      <a:lnTo>
                        <a:pt x="454" y="594"/>
                      </a:lnTo>
                      <a:lnTo>
                        <a:pt x="451" y="593"/>
                      </a:lnTo>
                      <a:lnTo>
                        <a:pt x="450" y="591"/>
                      </a:lnTo>
                      <a:lnTo>
                        <a:pt x="448" y="590"/>
                      </a:lnTo>
                      <a:lnTo>
                        <a:pt x="447" y="590"/>
                      </a:lnTo>
                      <a:lnTo>
                        <a:pt x="447" y="589"/>
                      </a:lnTo>
                      <a:lnTo>
                        <a:pt x="446" y="589"/>
                      </a:lnTo>
                      <a:lnTo>
                        <a:pt x="444" y="588"/>
                      </a:lnTo>
                      <a:lnTo>
                        <a:pt x="444" y="588"/>
                      </a:lnTo>
                      <a:lnTo>
                        <a:pt x="444" y="587"/>
                      </a:lnTo>
                      <a:lnTo>
                        <a:pt x="443" y="587"/>
                      </a:lnTo>
                      <a:lnTo>
                        <a:pt x="443" y="587"/>
                      </a:lnTo>
                      <a:lnTo>
                        <a:pt x="442" y="587"/>
                      </a:lnTo>
                      <a:lnTo>
                        <a:pt x="442" y="587"/>
                      </a:lnTo>
                      <a:lnTo>
                        <a:pt x="441" y="586"/>
                      </a:lnTo>
                      <a:lnTo>
                        <a:pt x="440" y="586"/>
                      </a:lnTo>
                      <a:lnTo>
                        <a:pt x="439" y="586"/>
                      </a:lnTo>
                      <a:lnTo>
                        <a:pt x="439" y="586"/>
                      </a:lnTo>
                      <a:lnTo>
                        <a:pt x="437" y="585"/>
                      </a:lnTo>
                      <a:lnTo>
                        <a:pt x="437" y="585"/>
                      </a:lnTo>
                      <a:lnTo>
                        <a:pt x="437" y="585"/>
                      </a:lnTo>
                      <a:lnTo>
                        <a:pt x="437" y="585"/>
                      </a:lnTo>
                      <a:lnTo>
                        <a:pt x="436" y="585"/>
                      </a:lnTo>
                      <a:lnTo>
                        <a:pt x="436" y="585"/>
                      </a:lnTo>
                      <a:lnTo>
                        <a:pt x="435" y="585"/>
                      </a:lnTo>
                      <a:lnTo>
                        <a:pt x="435" y="585"/>
                      </a:lnTo>
                      <a:lnTo>
                        <a:pt x="435" y="585"/>
                      </a:lnTo>
                      <a:lnTo>
                        <a:pt x="434" y="585"/>
                      </a:lnTo>
                      <a:lnTo>
                        <a:pt x="434" y="585"/>
                      </a:lnTo>
                      <a:lnTo>
                        <a:pt x="434" y="585"/>
                      </a:lnTo>
                      <a:lnTo>
                        <a:pt x="433" y="585"/>
                      </a:lnTo>
                      <a:lnTo>
                        <a:pt x="432" y="585"/>
                      </a:lnTo>
                      <a:lnTo>
                        <a:pt x="432" y="585"/>
                      </a:lnTo>
                      <a:lnTo>
                        <a:pt x="432" y="585"/>
                      </a:lnTo>
                      <a:lnTo>
                        <a:pt x="431" y="585"/>
                      </a:lnTo>
                      <a:lnTo>
                        <a:pt x="431" y="586"/>
                      </a:lnTo>
                      <a:lnTo>
                        <a:pt x="428" y="585"/>
                      </a:lnTo>
                      <a:lnTo>
                        <a:pt x="427" y="585"/>
                      </a:lnTo>
                      <a:lnTo>
                        <a:pt x="426" y="585"/>
                      </a:lnTo>
                      <a:lnTo>
                        <a:pt x="424" y="585"/>
                      </a:lnTo>
                      <a:lnTo>
                        <a:pt x="421" y="585"/>
                      </a:lnTo>
                      <a:lnTo>
                        <a:pt x="420" y="584"/>
                      </a:lnTo>
                      <a:lnTo>
                        <a:pt x="418" y="584"/>
                      </a:lnTo>
                      <a:lnTo>
                        <a:pt x="415" y="584"/>
                      </a:lnTo>
                      <a:lnTo>
                        <a:pt x="414" y="584"/>
                      </a:lnTo>
                      <a:lnTo>
                        <a:pt x="414" y="585"/>
                      </a:lnTo>
                      <a:lnTo>
                        <a:pt x="411" y="585"/>
                      </a:lnTo>
                      <a:lnTo>
                        <a:pt x="410" y="585"/>
                      </a:lnTo>
                      <a:lnTo>
                        <a:pt x="410" y="585"/>
                      </a:lnTo>
                      <a:lnTo>
                        <a:pt x="409" y="585"/>
                      </a:lnTo>
                      <a:lnTo>
                        <a:pt x="409" y="586"/>
                      </a:lnTo>
                      <a:lnTo>
                        <a:pt x="408" y="586"/>
                      </a:lnTo>
                      <a:lnTo>
                        <a:pt x="408" y="586"/>
                      </a:lnTo>
                      <a:lnTo>
                        <a:pt x="408" y="586"/>
                      </a:lnTo>
                      <a:lnTo>
                        <a:pt x="408" y="586"/>
                      </a:lnTo>
                      <a:lnTo>
                        <a:pt x="408" y="587"/>
                      </a:lnTo>
                      <a:lnTo>
                        <a:pt x="407" y="587"/>
                      </a:lnTo>
                      <a:lnTo>
                        <a:pt x="407" y="588"/>
                      </a:lnTo>
                      <a:lnTo>
                        <a:pt x="406" y="588"/>
                      </a:lnTo>
                      <a:lnTo>
                        <a:pt x="407" y="588"/>
                      </a:lnTo>
                      <a:lnTo>
                        <a:pt x="407" y="589"/>
                      </a:lnTo>
                      <a:lnTo>
                        <a:pt x="406" y="590"/>
                      </a:lnTo>
                      <a:lnTo>
                        <a:pt x="406" y="590"/>
                      </a:lnTo>
                      <a:lnTo>
                        <a:pt x="407" y="590"/>
                      </a:lnTo>
                      <a:lnTo>
                        <a:pt x="407" y="591"/>
                      </a:lnTo>
                      <a:lnTo>
                        <a:pt x="406" y="591"/>
                      </a:lnTo>
                      <a:lnTo>
                        <a:pt x="405" y="591"/>
                      </a:lnTo>
                      <a:lnTo>
                        <a:pt x="402" y="592"/>
                      </a:lnTo>
                      <a:lnTo>
                        <a:pt x="403" y="593"/>
                      </a:lnTo>
                      <a:lnTo>
                        <a:pt x="402" y="593"/>
                      </a:lnTo>
                      <a:lnTo>
                        <a:pt x="402" y="594"/>
                      </a:lnTo>
                      <a:lnTo>
                        <a:pt x="402" y="594"/>
                      </a:lnTo>
                      <a:lnTo>
                        <a:pt x="400" y="594"/>
                      </a:lnTo>
                      <a:lnTo>
                        <a:pt x="399" y="593"/>
                      </a:lnTo>
                      <a:lnTo>
                        <a:pt x="399" y="594"/>
                      </a:lnTo>
                      <a:lnTo>
                        <a:pt x="398" y="593"/>
                      </a:lnTo>
                      <a:lnTo>
                        <a:pt x="397" y="593"/>
                      </a:lnTo>
                      <a:lnTo>
                        <a:pt x="397" y="594"/>
                      </a:lnTo>
                      <a:lnTo>
                        <a:pt x="397" y="594"/>
                      </a:lnTo>
                      <a:lnTo>
                        <a:pt x="396" y="595"/>
                      </a:lnTo>
                      <a:lnTo>
                        <a:pt x="395" y="595"/>
                      </a:lnTo>
                      <a:lnTo>
                        <a:pt x="394" y="595"/>
                      </a:lnTo>
                      <a:lnTo>
                        <a:pt x="393" y="595"/>
                      </a:lnTo>
                      <a:lnTo>
                        <a:pt x="393" y="595"/>
                      </a:lnTo>
                      <a:lnTo>
                        <a:pt x="393" y="596"/>
                      </a:lnTo>
                      <a:lnTo>
                        <a:pt x="392" y="596"/>
                      </a:lnTo>
                      <a:lnTo>
                        <a:pt x="392" y="596"/>
                      </a:lnTo>
                      <a:lnTo>
                        <a:pt x="391" y="596"/>
                      </a:lnTo>
                      <a:lnTo>
                        <a:pt x="391" y="597"/>
                      </a:lnTo>
                      <a:lnTo>
                        <a:pt x="390" y="597"/>
                      </a:lnTo>
                      <a:lnTo>
                        <a:pt x="389" y="597"/>
                      </a:lnTo>
                      <a:lnTo>
                        <a:pt x="389" y="597"/>
                      </a:lnTo>
                      <a:lnTo>
                        <a:pt x="389" y="597"/>
                      </a:lnTo>
                      <a:lnTo>
                        <a:pt x="389" y="597"/>
                      </a:lnTo>
                      <a:lnTo>
                        <a:pt x="388" y="597"/>
                      </a:lnTo>
                      <a:lnTo>
                        <a:pt x="386" y="597"/>
                      </a:lnTo>
                      <a:lnTo>
                        <a:pt x="385" y="597"/>
                      </a:lnTo>
                      <a:lnTo>
                        <a:pt x="385" y="597"/>
                      </a:lnTo>
                      <a:lnTo>
                        <a:pt x="385" y="596"/>
                      </a:lnTo>
                      <a:lnTo>
                        <a:pt x="384" y="597"/>
                      </a:lnTo>
                      <a:lnTo>
                        <a:pt x="384" y="596"/>
                      </a:lnTo>
                      <a:lnTo>
                        <a:pt x="383" y="596"/>
                      </a:lnTo>
                      <a:lnTo>
                        <a:pt x="382" y="596"/>
                      </a:lnTo>
                      <a:lnTo>
                        <a:pt x="380" y="594"/>
                      </a:lnTo>
                      <a:lnTo>
                        <a:pt x="379" y="595"/>
                      </a:lnTo>
                      <a:lnTo>
                        <a:pt x="378" y="594"/>
                      </a:lnTo>
                      <a:lnTo>
                        <a:pt x="377" y="595"/>
                      </a:lnTo>
                      <a:lnTo>
                        <a:pt x="377" y="596"/>
                      </a:lnTo>
                      <a:lnTo>
                        <a:pt x="376" y="596"/>
                      </a:lnTo>
                      <a:lnTo>
                        <a:pt x="376" y="596"/>
                      </a:lnTo>
                      <a:lnTo>
                        <a:pt x="376" y="596"/>
                      </a:lnTo>
                      <a:lnTo>
                        <a:pt x="376" y="597"/>
                      </a:lnTo>
                      <a:lnTo>
                        <a:pt x="375" y="597"/>
                      </a:lnTo>
                      <a:lnTo>
                        <a:pt x="375" y="597"/>
                      </a:lnTo>
                      <a:lnTo>
                        <a:pt x="374" y="596"/>
                      </a:lnTo>
                      <a:lnTo>
                        <a:pt x="375" y="596"/>
                      </a:lnTo>
                      <a:lnTo>
                        <a:pt x="375" y="596"/>
                      </a:lnTo>
                      <a:lnTo>
                        <a:pt x="374" y="596"/>
                      </a:lnTo>
                      <a:lnTo>
                        <a:pt x="372" y="596"/>
                      </a:lnTo>
                      <a:lnTo>
                        <a:pt x="372" y="597"/>
                      </a:lnTo>
                      <a:lnTo>
                        <a:pt x="372" y="597"/>
                      </a:lnTo>
                      <a:lnTo>
                        <a:pt x="369" y="597"/>
                      </a:lnTo>
                      <a:lnTo>
                        <a:pt x="369" y="597"/>
                      </a:lnTo>
                      <a:lnTo>
                        <a:pt x="369" y="597"/>
                      </a:lnTo>
                      <a:lnTo>
                        <a:pt x="367" y="596"/>
                      </a:lnTo>
                      <a:lnTo>
                        <a:pt x="367" y="596"/>
                      </a:lnTo>
                      <a:lnTo>
                        <a:pt x="367" y="595"/>
                      </a:lnTo>
                      <a:lnTo>
                        <a:pt x="368" y="595"/>
                      </a:lnTo>
                      <a:lnTo>
                        <a:pt x="368" y="595"/>
                      </a:lnTo>
                      <a:lnTo>
                        <a:pt x="369" y="594"/>
                      </a:lnTo>
                      <a:lnTo>
                        <a:pt x="369" y="594"/>
                      </a:lnTo>
                      <a:lnTo>
                        <a:pt x="370" y="594"/>
                      </a:lnTo>
                      <a:lnTo>
                        <a:pt x="370" y="594"/>
                      </a:lnTo>
                      <a:lnTo>
                        <a:pt x="370" y="593"/>
                      </a:lnTo>
                      <a:lnTo>
                        <a:pt x="372" y="593"/>
                      </a:lnTo>
                      <a:lnTo>
                        <a:pt x="372" y="593"/>
                      </a:lnTo>
                      <a:lnTo>
                        <a:pt x="370" y="593"/>
                      </a:lnTo>
                      <a:lnTo>
                        <a:pt x="370" y="593"/>
                      </a:lnTo>
                      <a:lnTo>
                        <a:pt x="370" y="594"/>
                      </a:lnTo>
                      <a:lnTo>
                        <a:pt x="369" y="593"/>
                      </a:lnTo>
                      <a:lnTo>
                        <a:pt x="369" y="592"/>
                      </a:lnTo>
                      <a:lnTo>
                        <a:pt x="369" y="591"/>
                      </a:lnTo>
                      <a:lnTo>
                        <a:pt x="369" y="591"/>
                      </a:lnTo>
                      <a:lnTo>
                        <a:pt x="369" y="590"/>
                      </a:lnTo>
                      <a:lnTo>
                        <a:pt x="369" y="589"/>
                      </a:lnTo>
                      <a:lnTo>
                        <a:pt x="368" y="590"/>
                      </a:lnTo>
                      <a:lnTo>
                        <a:pt x="368" y="589"/>
                      </a:lnTo>
                      <a:lnTo>
                        <a:pt x="368" y="588"/>
                      </a:lnTo>
                      <a:lnTo>
                        <a:pt x="368" y="588"/>
                      </a:lnTo>
                      <a:lnTo>
                        <a:pt x="368" y="586"/>
                      </a:lnTo>
                      <a:lnTo>
                        <a:pt x="368" y="586"/>
                      </a:lnTo>
                      <a:lnTo>
                        <a:pt x="370" y="586"/>
                      </a:lnTo>
                      <a:lnTo>
                        <a:pt x="370" y="586"/>
                      </a:lnTo>
                      <a:lnTo>
                        <a:pt x="369" y="586"/>
                      </a:lnTo>
                      <a:lnTo>
                        <a:pt x="368" y="585"/>
                      </a:lnTo>
                      <a:lnTo>
                        <a:pt x="368" y="584"/>
                      </a:lnTo>
                      <a:lnTo>
                        <a:pt x="368" y="584"/>
                      </a:lnTo>
                      <a:lnTo>
                        <a:pt x="368" y="583"/>
                      </a:lnTo>
                      <a:lnTo>
                        <a:pt x="368" y="582"/>
                      </a:lnTo>
                      <a:lnTo>
                        <a:pt x="368" y="581"/>
                      </a:lnTo>
                      <a:lnTo>
                        <a:pt x="368" y="581"/>
                      </a:lnTo>
                      <a:lnTo>
                        <a:pt x="368" y="581"/>
                      </a:lnTo>
                      <a:lnTo>
                        <a:pt x="368" y="579"/>
                      </a:lnTo>
                      <a:lnTo>
                        <a:pt x="368" y="579"/>
                      </a:lnTo>
                      <a:lnTo>
                        <a:pt x="368" y="581"/>
                      </a:lnTo>
                      <a:lnTo>
                        <a:pt x="368" y="581"/>
                      </a:lnTo>
                      <a:lnTo>
                        <a:pt x="367" y="581"/>
                      </a:lnTo>
                      <a:lnTo>
                        <a:pt x="366" y="580"/>
                      </a:lnTo>
                      <a:lnTo>
                        <a:pt x="366" y="579"/>
                      </a:lnTo>
                      <a:lnTo>
                        <a:pt x="365" y="579"/>
                      </a:lnTo>
                      <a:lnTo>
                        <a:pt x="365" y="578"/>
                      </a:lnTo>
                      <a:lnTo>
                        <a:pt x="364" y="578"/>
                      </a:lnTo>
                      <a:lnTo>
                        <a:pt x="364" y="578"/>
                      </a:lnTo>
                      <a:lnTo>
                        <a:pt x="363" y="576"/>
                      </a:lnTo>
                      <a:lnTo>
                        <a:pt x="363" y="575"/>
                      </a:lnTo>
                      <a:lnTo>
                        <a:pt x="363" y="575"/>
                      </a:lnTo>
                      <a:lnTo>
                        <a:pt x="364" y="578"/>
                      </a:lnTo>
                      <a:lnTo>
                        <a:pt x="364" y="579"/>
                      </a:lnTo>
                      <a:lnTo>
                        <a:pt x="365" y="580"/>
                      </a:lnTo>
                      <a:lnTo>
                        <a:pt x="366" y="581"/>
                      </a:lnTo>
                      <a:lnTo>
                        <a:pt x="366" y="581"/>
                      </a:lnTo>
                      <a:lnTo>
                        <a:pt x="367" y="582"/>
                      </a:lnTo>
                      <a:lnTo>
                        <a:pt x="367" y="583"/>
                      </a:lnTo>
                      <a:lnTo>
                        <a:pt x="367" y="585"/>
                      </a:lnTo>
                      <a:lnTo>
                        <a:pt x="367" y="585"/>
                      </a:lnTo>
                      <a:lnTo>
                        <a:pt x="367" y="587"/>
                      </a:lnTo>
                      <a:lnTo>
                        <a:pt x="368" y="588"/>
                      </a:lnTo>
                      <a:lnTo>
                        <a:pt x="367" y="590"/>
                      </a:lnTo>
                      <a:lnTo>
                        <a:pt x="368" y="590"/>
                      </a:lnTo>
                      <a:lnTo>
                        <a:pt x="368" y="590"/>
                      </a:lnTo>
                      <a:lnTo>
                        <a:pt x="369" y="591"/>
                      </a:lnTo>
                      <a:lnTo>
                        <a:pt x="368" y="591"/>
                      </a:lnTo>
                      <a:lnTo>
                        <a:pt x="369" y="592"/>
                      </a:lnTo>
                      <a:lnTo>
                        <a:pt x="368" y="593"/>
                      </a:lnTo>
                      <a:lnTo>
                        <a:pt x="368" y="593"/>
                      </a:lnTo>
                      <a:lnTo>
                        <a:pt x="367" y="595"/>
                      </a:lnTo>
                      <a:lnTo>
                        <a:pt x="366" y="596"/>
                      </a:lnTo>
                      <a:lnTo>
                        <a:pt x="365" y="596"/>
                      </a:lnTo>
                      <a:lnTo>
                        <a:pt x="365" y="596"/>
                      </a:lnTo>
                      <a:lnTo>
                        <a:pt x="364" y="596"/>
                      </a:lnTo>
                      <a:lnTo>
                        <a:pt x="364" y="597"/>
                      </a:lnTo>
                      <a:lnTo>
                        <a:pt x="363" y="597"/>
                      </a:lnTo>
                      <a:lnTo>
                        <a:pt x="362" y="598"/>
                      </a:lnTo>
                      <a:lnTo>
                        <a:pt x="361" y="597"/>
                      </a:lnTo>
                      <a:lnTo>
                        <a:pt x="361" y="598"/>
                      </a:lnTo>
                      <a:lnTo>
                        <a:pt x="361" y="598"/>
                      </a:lnTo>
                      <a:lnTo>
                        <a:pt x="361" y="600"/>
                      </a:lnTo>
                      <a:lnTo>
                        <a:pt x="360" y="600"/>
                      </a:lnTo>
                      <a:lnTo>
                        <a:pt x="360" y="600"/>
                      </a:lnTo>
                      <a:lnTo>
                        <a:pt x="359" y="599"/>
                      </a:lnTo>
                      <a:lnTo>
                        <a:pt x="358" y="599"/>
                      </a:lnTo>
                      <a:lnTo>
                        <a:pt x="358" y="598"/>
                      </a:lnTo>
                      <a:lnTo>
                        <a:pt x="358" y="598"/>
                      </a:lnTo>
                      <a:lnTo>
                        <a:pt x="358" y="598"/>
                      </a:lnTo>
                      <a:lnTo>
                        <a:pt x="358" y="597"/>
                      </a:lnTo>
                      <a:lnTo>
                        <a:pt x="358" y="595"/>
                      </a:lnTo>
                      <a:lnTo>
                        <a:pt x="358" y="592"/>
                      </a:lnTo>
                      <a:lnTo>
                        <a:pt x="357" y="592"/>
                      </a:lnTo>
                      <a:lnTo>
                        <a:pt x="357" y="591"/>
                      </a:lnTo>
                      <a:lnTo>
                        <a:pt x="357" y="591"/>
                      </a:lnTo>
                      <a:lnTo>
                        <a:pt x="357" y="591"/>
                      </a:lnTo>
                      <a:lnTo>
                        <a:pt x="356" y="590"/>
                      </a:lnTo>
                      <a:lnTo>
                        <a:pt x="357" y="590"/>
                      </a:lnTo>
                      <a:lnTo>
                        <a:pt x="356" y="590"/>
                      </a:lnTo>
                      <a:lnTo>
                        <a:pt x="355" y="589"/>
                      </a:lnTo>
                      <a:lnTo>
                        <a:pt x="355" y="590"/>
                      </a:lnTo>
                      <a:lnTo>
                        <a:pt x="354" y="590"/>
                      </a:lnTo>
                      <a:lnTo>
                        <a:pt x="355" y="591"/>
                      </a:lnTo>
                      <a:lnTo>
                        <a:pt x="354" y="591"/>
                      </a:lnTo>
                      <a:lnTo>
                        <a:pt x="354" y="591"/>
                      </a:lnTo>
                      <a:lnTo>
                        <a:pt x="353" y="592"/>
                      </a:lnTo>
                      <a:lnTo>
                        <a:pt x="352" y="592"/>
                      </a:lnTo>
                      <a:lnTo>
                        <a:pt x="351" y="592"/>
                      </a:lnTo>
                      <a:lnTo>
                        <a:pt x="347" y="592"/>
                      </a:lnTo>
                      <a:lnTo>
                        <a:pt x="347" y="593"/>
                      </a:lnTo>
                      <a:lnTo>
                        <a:pt x="346" y="593"/>
                      </a:lnTo>
                      <a:lnTo>
                        <a:pt x="346" y="593"/>
                      </a:lnTo>
                      <a:lnTo>
                        <a:pt x="345" y="593"/>
                      </a:lnTo>
                      <a:lnTo>
                        <a:pt x="344" y="594"/>
                      </a:lnTo>
                      <a:lnTo>
                        <a:pt x="343" y="594"/>
                      </a:lnTo>
                      <a:lnTo>
                        <a:pt x="342" y="595"/>
                      </a:lnTo>
                      <a:lnTo>
                        <a:pt x="341" y="595"/>
                      </a:lnTo>
                      <a:lnTo>
                        <a:pt x="341" y="596"/>
                      </a:lnTo>
                      <a:lnTo>
                        <a:pt x="341" y="597"/>
                      </a:lnTo>
                      <a:lnTo>
                        <a:pt x="340" y="597"/>
                      </a:lnTo>
                      <a:lnTo>
                        <a:pt x="340" y="597"/>
                      </a:lnTo>
                      <a:lnTo>
                        <a:pt x="340" y="598"/>
                      </a:lnTo>
                      <a:lnTo>
                        <a:pt x="340" y="598"/>
                      </a:lnTo>
                      <a:lnTo>
                        <a:pt x="340" y="598"/>
                      </a:lnTo>
                      <a:lnTo>
                        <a:pt x="340" y="599"/>
                      </a:lnTo>
                      <a:lnTo>
                        <a:pt x="340" y="599"/>
                      </a:lnTo>
                      <a:lnTo>
                        <a:pt x="341" y="599"/>
                      </a:lnTo>
                      <a:lnTo>
                        <a:pt x="340" y="600"/>
                      </a:lnTo>
                      <a:lnTo>
                        <a:pt x="341" y="601"/>
                      </a:lnTo>
                      <a:lnTo>
                        <a:pt x="341" y="601"/>
                      </a:lnTo>
                      <a:lnTo>
                        <a:pt x="341" y="602"/>
                      </a:lnTo>
                      <a:lnTo>
                        <a:pt x="342" y="602"/>
                      </a:lnTo>
                      <a:lnTo>
                        <a:pt x="342" y="602"/>
                      </a:lnTo>
                      <a:lnTo>
                        <a:pt x="343" y="603"/>
                      </a:lnTo>
                      <a:lnTo>
                        <a:pt x="342" y="603"/>
                      </a:lnTo>
                      <a:lnTo>
                        <a:pt x="342" y="604"/>
                      </a:lnTo>
                      <a:lnTo>
                        <a:pt x="342" y="604"/>
                      </a:lnTo>
                      <a:lnTo>
                        <a:pt x="343" y="605"/>
                      </a:lnTo>
                      <a:lnTo>
                        <a:pt x="342" y="605"/>
                      </a:lnTo>
                      <a:lnTo>
                        <a:pt x="342" y="605"/>
                      </a:lnTo>
                      <a:lnTo>
                        <a:pt x="342" y="605"/>
                      </a:lnTo>
                      <a:lnTo>
                        <a:pt x="341" y="605"/>
                      </a:lnTo>
                      <a:lnTo>
                        <a:pt x="341" y="605"/>
                      </a:lnTo>
                      <a:lnTo>
                        <a:pt x="340" y="605"/>
                      </a:lnTo>
                      <a:lnTo>
                        <a:pt x="340" y="605"/>
                      </a:lnTo>
                      <a:lnTo>
                        <a:pt x="340" y="606"/>
                      </a:lnTo>
                      <a:lnTo>
                        <a:pt x="339" y="606"/>
                      </a:lnTo>
                      <a:lnTo>
                        <a:pt x="339" y="606"/>
                      </a:lnTo>
                      <a:lnTo>
                        <a:pt x="338" y="606"/>
                      </a:lnTo>
                      <a:lnTo>
                        <a:pt x="339" y="607"/>
                      </a:lnTo>
                      <a:lnTo>
                        <a:pt x="338" y="607"/>
                      </a:lnTo>
                      <a:lnTo>
                        <a:pt x="337" y="608"/>
                      </a:lnTo>
                      <a:lnTo>
                        <a:pt x="336" y="609"/>
                      </a:lnTo>
                      <a:lnTo>
                        <a:pt x="337" y="610"/>
                      </a:lnTo>
                      <a:lnTo>
                        <a:pt x="336" y="610"/>
                      </a:lnTo>
                      <a:lnTo>
                        <a:pt x="337" y="610"/>
                      </a:lnTo>
                      <a:lnTo>
                        <a:pt x="337" y="611"/>
                      </a:lnTo>
                      <a:lnTo>
                        <a:pt x="338" y="611"/>
                      </a:lnTo>
                      <a:lnTo>
                        <a:pt x="337" y="612"/>
                      </a:lnTo>
                      <a:lnTo>
                        <a:pt x="337" y="612"/>
                      </a:lnTo>
                      <a:lnTo>
                        <a:pt x="337" y="612"/>
                      </a:lnTo>
                      <a:lnTo>
                        <a:pt x="337" y="612"/>
                      </a:lnTo>
                      <a:lnTo>
                        <a:pt x="336" y="613"/>
                      </a:lnTo>
                      <a:lnTo>
                        <a:pt x="336" y="613"/>
                      </a:lnTo>
                      <a:lnTo>
                        <a:pt x="337" y="614"/>
                      </a:lnTo>
                      <a:lnTo>
                        <a:pt x="336" y="614"/>
                      </a:lnTo>
                      <a:lnTo>
                        <a:pt x="337" y="614"/>
                      </a:lnTo>
                      <a:lnTo>
                        <a:pt x="336" y="614"/>
                      </a:lnTo>
                      <a:lnTo>
                        <a:pt x="336" y="616"/>
                      </a:lnTo>
                      <a:lnTo>
                        <a:pt x="337" y="616"/>
                      </a:lnTo>
                      <a:lnTo>
                        <a:pt x="337" y="616"/>
                      </a:lnTo>
                      <a:lnTo>
                        <a:pt x="337" y="616"/>
                      </a:lnTo>
                      <a:lnTo>
                        <a:pt x="337" y="617"/>
                      </a:lnTo>
                      <a:lnTo>
                        <a:pt x="337" y="618"/>
                      </a:lnTo>
                      <a:lnTo>
                        <a:pt x="336" y="618"/>
                      </a:lnTo>
                      <a:lnTo>
                        <a:pt x="337" y="618"/>
                      </a:lnTo>
                      <a:lnTo>
                        <a:pt x="337" y="618"/>
                      </a:lnTo>
                      <a:lnTo>
                        <a:pt x="339" y="619"/>
                      </a:lnTo>
                      <a:lnTo>
                        <a:pt x="339" y="619"/>
                      </a:lnTo>
                      <a:lnTo>
                        <a:pt x="340" y="619"/>
                      </a:lnTo>
                      <a:lnTo>
                        <a:pt x="340" y="619"/>
                      </a:lnTo>
                      <a:lnTo>
                        <a:pt x="339" y="620"/>
                      </a:lnTo>
                      <a:lnTo>
                        <a:pt x="340" y="620"/>
                      </a:lnTo>
                      <a:lnTo>
                        <a:pt x="340" y="621"/>
                      </a:lnTo>
                      <a:lnTo>
                        <a:pt x="339" y="621"/>
                      </a:lnTo>
                      <a:lnTo>
                        <a:pt x="338" y="621"/>
                      </a:lnTo>
                      <a:lnTo>
                        <a:pt x="336" y="623"/>
                      </a:lnTo>
                      <a:lnTo>
                        <a:pt x="336" y="623"/>
                      </a:lnTo>
                      <a:lnTo>
                        <a:pt x="336" y="624"/>
                      </a:lnTo>
                      <a:lnTo>
                        <a:pt x="336" y="625"/>
                      </a:lnTo>
                      <a:lnTo>
                        <a:pt x="336" y="625"/>
                      </a:lnTo>
                      <a:lnTo>
                        <a:pt x="336" y="625"/>
                      </a:lnTo>
                      <a:lnTo>
                        <a:pt x="337" y="625"/>
                      </a:lnTo>
                      <a:lnTo>
                        <a:pt x="337" y="626"/>
                      </a:lnTo>
                      <a:lnTo>
                        <a:pt x="337" y="626"/>
                      </a:lnTo>
                      <a:lnTo>
                        <a:pt x="337" y="626"/>
                      </a:lnTo>
                      <a:lnTo>
                        <a:pt x="336" y="626"/>
                      </a:lnTo>
                      <a:lnTo>
                        <a:pt x="336" y="626"/>
                      </a:lnTo>
                      <a:lnTo>
                        <a:pt x="335" y="627"/>
                      </a:lnTo>
                      <a:lnTo>
                        <a:pt x="334" y="628"/>
                      </a:lnTo>
                      <a:lnTo>
                        <a:pt x="333" y="629"/>
                      </a:lnTo>
                      <a:lnTo>
                        <a:pt x="334" y="629"/>
                      </a:lnTo>
                      <a:lnTo>
                        <a:pt x="334" y="630"/>
                      </a:lnTo>
                      <a:lnTo>
                        <a:pt x="334" y="631"/>
                      </a:lnTo>
                      <a:lnTo>
                        <a:pt x="332" y="632"/>
                      </a:lnTo>
                      <a:lnTo>
                        <a:pt x="332" y="631"/>
                      </a:lnTo>
                      <a:lnTo>
                        <a:pt x="332" y="631"/>
                      </a:lnTo>
                      <a:lnTo>
                        <a:pt x="332" y="631"/>
                      </a:lnTo>
                      <a:lnTo>
                        <a:pt x="331" y="630"/>
                      </a:lnTo>
                      <a:lnTo>
                        <a:pt x="331" y="630"/>
                      </a:lnTo>
                      <a:lnTo>
                        <a:pt x="331" y="630"/>
                      </a:lnTo>
                      <a:lnTo>
                        <a:pt x="331" y="630"/>
                      </a:lnTo>
                      <a:lnTo>
                        <a:pt x="330" y="628"/>
                      </a:lnTo>
                      <a:lnTo>
                        <a:pt x="330" y="628"/>
                      </a:lnTo>
                      <a:lnTo>
                        <a:pt x="329" y="627"/>
                      </a:lnTo>
                      <a:lnTo>
                        <a:pt x="327" y="628"/>
                      </a:lnTo>
                      <a:lnTo>
                        <a:pt x="327" y="628"/>
                      </a:lnTo>
                      <a:lnTo>
                        <a:pt x="327" y="627"/>
                      </a:lnTo>
                      <a:lnTo>
                        <a:pt x="325" y="627"/>
                      </a:lnTo>
                      <a:lnTo>
                        <a:pt x="325" y="627"/>
                      </a:lnTo>
                      <a:lnTo>
                        <a:pt x="325" y="626"/>
                      </a:lnTo>
                      <a:lnTo>
                        <a:pt x="325" y="626"/>
                      </a:lnTo>
                      <a:lnTo>
                        <a:pt x="324" y="626"/>
                      </a:lnTo>
                      <a:lnTo>
                        <a:pt x="324" y="626"/>
                      </a:lnTo>
                      <a:lnTo>
                        <a:pt x="323" y="626"/>
                      </a:lnTo>
                      <a:lnTo>
                        <a:pt x="322" y="626"/>
                      </a:lnTo>
                      <a:lnTo>
                        <a:pt x="322" y="626"/>
                      </a:lnTo>
                      <a:lnTo>
                        <a:pt x="322" y="627"/>
                      </a:lnTo>
                      <a:lnTo>
                        <a:pt x="320" y="626"/>
                      </a:lnTo>
                      <a:lnTo>
                        <a:pt x="320" y="627"/>
                      </a:lnTo>
                      <a:lnTo>
                        <a:pt x="319" y="627"/>
                      </a:lnTo>
                      <a:lnTo>
                        <a:pt x="319" y="628"/>
                      </a:lnTo>
                      <a:lnTo>
                        <a:pt x="318" y="628"/>
                      </a:lnTo>
                      <a:lnTo>
                        <a:pt x="318" y="628"/>
                      </a:lnTo>
                      <a:lnTo>
                        <a:pt x="318" y="629"/>
                      </a:lnTo>
                      <a:lnTo>
                        <a:pt x="318" y="630"/>
                      </a:lnTo>
                      <a:lnTo>
                        <a:pt x="317" y="630"/>
                      </a:lnTo>
                      <a:lnTo>
                        <a:pt x="317" y="630"/>
                      </a:lnTo>
                      <a:lnTo>
                        <a:pt x="316" y="630"/>
                      </a:lnTo>
                      <a:lnTo>
                        <a:pt x="316" y="630"/>
                      </a:lnTo>
                      <a:lnTo>
                        <a:pt x="316" y="631"/>
                      </a:lnTo>
                      <a:lnTo>
                        <a:pt x="315" y="631"/>
                      </a:lnTo>
                      <a:lnTo>
                        <a:pt x="315" y="632"/>
                      </a:lnTo>
                      <a:lnTo>
                        <a:pt x="315" y="632"/>
                      </a:lnTo>
                      <a:lnTo>
                        <a:pt x="314" y="632"/>
                      </a:lnTo>
                      <a:lnTo>
                        <a:pt x="314" y="633"/>
                      </a:lnTo>
                      <a:lnTo>
                        <a:pt x="314" y="633"/>
                      </a:lnTo>
                      <a:lnTo>
                        <a:pt x="313" y="633"/>
                      </a:lnTo>
                      <a:lnTo>
                        <a:pt x="313" y="633"/>
                      </a:lnTo>
                      <a:lnTo>
                        <a:pt x="313" y="633"/>
                      </a:lnTo>
                      <a:lnTo>
                        <a:pt x="311" y="634"/>
                      </a:lnTo>
                      <a:lnTo>
                        <a:pt x="313" y="635"/>
                      </a:lnTo>
                      <a:lnTo>
                        <a:pt x="311" y="636"/>
                      </a:lnTo>
                      <a:lnTo>
                        <a:pt x="310" y="636"/>
                      </a:lnTo>
                      <a:lnTo>
                        <a:pt x="310" y="636"/>
                      </a:lnTo>
                      <a:lnTo>
                        <a:pt x="310" y="638"/>
                      </a:lnTo>
                      <a:lnTo>
                        <a:pt x="309" y="638"/>
                      </a:lnTo>
                      <a:lnTo>
                        <a:pt x="309" y="638"/>
                      </a:lnTo>
                      <a:lnTo>
                        <a:pt x="308" y="639"/>
                      </a:lnTo>
                      <a:lnTo>
                        <a:pt x="308" y="639"/>
                      </a:lnTo>
                      <a:lnTo>
                        <a:pt x="307" y="639"/>
                      </a:lnTo>
                      <a:lnTo>
                        <a:pt x="307" y="638"/>
                      </a:lnTo>
                      <a:lnTo>
                        <a:pt x="307" y="638"/>
                      </a:lnTo>
                      <a:lnTo>
                        <a:pt x="307" y="637"/>
                      </a:lnTo>
                      <a:lnTo>
                        <a:pt x="307" y="637"/>
                      </a:lnTo>
                      <a:lnTo>
                        <a:pt x="307" y="637"/>
                      </a:lnTo>
                      <a:lnTo>
                        <a:pt x="306" y="636"/>
                      </a:lnTo>
                      <a:lnTo>
                        <a:pt x="305" y="635"/>
                      </a:lnTo>
                      <a:lnTo>
                        <a:pt x="302" y="636"/>
                      </a:lnTo>
                      <a:lnTo>
                        <a:pt x="302" y="636"/>
                      </a:lnTo>
                      <a:lnTo>
                        <a:pt x="300" y="637"/>
                      </a:lnTo>
                      <a:lnTo>
                        <a:pt x="300" y="638"/>
                      </a:lnTo>
                      <a:lnTo>
                        <a:pt x="299" y="638"/>
                      </a:lnTo>
                      <a:lnTo>
                        <a:pt x="299" y="639"/>
                      </a:lnTo>
                      <a:lnTo>
                        <a:pt x="298" y="639"/>
                      </a:lnTo>
                      <a:lnTo>
                        <a:pt x="298" y="640"/>
                      </a:lnTo>
                      <a:lnTo>
                        <a:pt x="298" y="641"/>
                      </a:lnTo>
                      <a:lnTo>
                        <a:pt x="298" y="641"/>
                      </a:lnTo>
                      <a:lnTo>
                        <a:pt x="298" y="642"/>
                      </a:lnTo>
                      <a:lnTo>
                        <a:pt x="298" y="642"/>
                      </a:lnTo>
                      <a:lnTo>
                        <a:pt x="297" y="642"/>
                      </a:lnTo>
                      <a:lnTo>
                        <a:pt x="297" y="642"/>
                      </a:lnTo>
                      <a:lnTo>
                        <a:pt x="297" y="643"/>
                      </a:lnTo>
                      <a:lnTo>
                        <a:pt x="297" y="644"/>
                      </a:lnTo>
                      <a:lnTo>
                        <a:pt x="297" y="644"/>
                      </a:lnTo>
                      <a:lnTo>
                        <a:pt x="297" y="646"/>
                      </a:lnTo>
                      <a:lnTo>
                        <a:pt x="297" y="649"/>
                      </a:lnTo>
                      <a:lnTo>
                        <a:pt x="296" y="649"/>
                      </a:lnTo>
                      <a:lnTo>
                        <a:pt x="296" y="650"/>
                      </a:lnTo>
                      <a:lnTo>
                        <a:pt x="296" y="650"/>
                      </a:lnTo>
                      <a:lnTo>
                        <a:pt x="296" y="650"/>
                      </a:lnTo>
                      <a:lnTo>
                        <a:pt x="295" y="650"/>
                      </a:lnTo>
                      <a:lnTo>
                        <a:pt x="295" y="651"/>
                      </a:lnTo>
                      <a:lnTo>
                        <a:pt x="295" y="652"/>
                      </a:lnTo>
                      <a:lnTo>
                        <a:pt x="295" y="652"/>
                      </a:lnTo>
                      <a:lnTo>
                        <a:pt x="295" y="654"/>
                      </a:lnTo>
                      <a:lnTo>
                        <a:pt x="295" y="654"/>
                      </a:lnTo>
                      <a:lnTo>
                        <a:pt x="295" y="655"/>
                      </a:lnTo>
                      <a:lnTo>
                        <a:pt x="293" y="655"/>
                      </a:lnTo>
                      <a:lnTo>
                        <a:pt x="292" y="655"/>
                      </a:lnTo>
                      <a:lnTo>
                        <a:pt x="292" y="656"/>
                      </a:lnTo>
                      <a:lnTo>
                        <a:pt x="291" y="657"/>
                      </a:lnTo>
                      <a:lnTo>
                        <a:pt x="291" y="657"/>
                      </a:lnTo>
                      <a:lnTo>
                        <a:pt x="290" y="657"/>
                      </a:lnTo>
                      <a:lnTo>
                        <a:pt x="290" y="658"/>
                      </a:lnTo>
                      <a:lnTo>
                        <a:pt x="290" y="658"/>
                      </a:lnTo>
                      <a:lnTo>
                        <a:pt x="290" y="658"/>
                      </a:lnTo>
                      <a:lnTo>
                        <a:pt x="289" y="658"/>
                      </a:lnTo>
                      <a:lnTo>
                        <a:pt x="289" y="658"/>
                      </a:lnTo>
                      <a:lnTo>
                        <a:pt x="288" y="658"/>
                      </a:lnTo>
                      <a:lnTo>
                        <a:pt x="288" y="656"/>
                      </a:lnTo>
                      <a:lnTo>
                        <a:pt x="288" y="656"/>
                      </a:lnTo>
                      <a:lnTo>
                        <a:pt x="288" y="655"/>
                      </a:lnTo>
                      <a:lnTo>
                        <a:pt x="289" y="652"/>
                      </a:lnTo>
                      <a:lnTo>
                        <a:pt x="289" y="652"/>
                      </a:lnTo>
                      <a:lnTo>
                        <a:pt x="290" y="652"/>
                      </a:lnTo>
                      <a:lnTo>
                        <a:pt x="290" y="654"/>
                      </a:lnTo>
                      <a:lnTo>
                        <a:pt x="290" y="654"/>
                      </a:lnTo>
                      <a:lnTo>
                        <a:pt x="290" y="654"/>
                      </a:lnTo>
                      <a:lnTo>
                        <a:pt x="292" y="651"/>
                      </a:lnTo>
                      <a:lnTo>
                        <a:pt x="292" y="650"/>
                      </a:lnTo>
                      <a:lnTo>
                        <a:pt x="292" y="650"/>
                      </a:lnTo>
                      <a:lnTo>
                        <a:pt x="292" y="650"/>
                      </a:lnTo>
                      <a:lnTo>
                        <a:pt x="293" y="650"/>
                      </a:lnTo>
                      <a:lnTo>
                        <a:pt x="292" y="649"/>
                      </a:lnTo>
                      <a:lnTo>
                        <a:pt x="292" y="648"/>
                      </a:lnTo>
                      <a:lnTo>
                        <a:pt x="291" y="648"/>
                      </a:lnTo>
                      <a:lnTo>
                        <a:pt x="291" y="648"/>
                      </a:lnTo>
                      <a:lnTo>
                        <a:pt x="291" y="647"/>
                      </a:lnTo>
                      <a:lnTo>
                        <a:pt x="292" y="647"/>
                      </a:lnTo>
                      <a:lnTo>
                        <a:pt x="292" y="647"/>
                      </a:lnTo>
                      <a:lnTo>
                        <a:pt x="292" y="647"/>
                      </a:lnTo>
                      <a:lnTo>
                        <a:pt x="293" y="646"/>
                      </a:lnTo>
                      <a:lnTo>
                        <a:pt x="293" y="645"/>
                      </a:lnTo>
                      <a:lnTo>
                        <a:pt x="293" y="645"/>
                      </a:lnTo>
                      <a:lnTo>
                        <a:pt x="292" y="646"/>
                      </a:lnTo>
                      <a:lnTo>
                        <a:pt x="292" y="645"/>
                      </a:lnTo>
                      <a:lnTo>
                        <a:pt x="292" y="645"/>
                      </a:lnTo>
                      <a:lnTo>
                        <a:pt x="292" y="646"/>
                      </a:lnTo>
                      <a:lnTo>
                        <a:pt x="292" y="646"/>
                      </a:lnTo>
                      <a:lnTo>
                        <a:pt x="292" y="647"/>
                      </a:lnTo>
                      <a:lnTo>
                        <a:pt x="292" y="647"/>
                      </a:lnTo>
                      <a:lnTo>
                        <a:pt x="290" y="647"/>
                      </a:lnTo>
                      <a:lnTo>
                        <a:pt x="290" y="647"/>
                      </a:lnTo>
                      <a:lnTo>
                        <a:pt x="291" y="647"/>
                      </a:lnTo>
                      <a:lnTo>
                        <a:pt x="291" y="648"/>
                      </a:lnTo>
                      <a:lnTo>
                        <a:pt x="291" y="648"/>
                      </a:lnTo>
                      <a:lnTo>
                        <a:pt x="291" y="649"/>
                      </a:lnTo>
                      <a:lnTo>
                        <a:pt x="290" y="650"/>
                      </a:lnTo>
                      <a:lnTo>
                        <a:pt x="291" y="651"/>
                      </a:lnTo>
                      <a:lnTo>
                        <a:pt x="290" y="652"/>
                      </a:lnTo>
                      <a:lnTo>
                        <a:pt x="290" y="652"/>
                      </a:lnTo>
                      <a:lnTo>
                        <a:pt x="289" y="651"/>
                      </a:lnTo>
                      <a:lnTo>
                        <a:pt x="289" y="651"/>
                      </a:lnTo>
                      <a:lnTo>
                        <a:pt x="289" y="651"/>
                      </a:lnTo>
                      <a:lnTo>
                        <a:pt x="288" y="651"/>
                      </a:lnTo>
                      <a:lnTo>
                        <a:pt x="287" y="651"/>
                      </a:lnTo>
                      <a:lnTo>
                        <a:pt x="287" y="652"/>
                      </a:lnTo>
                      <a:lnTo>
                        <a:pt x="286" y="652"/>
                      </a:lnTo>
                      <a:lnTo>
                        <a:pt x="286" y="651"/>
                      </a:lnTo>
                      <a:lnTo>
                        <a:pt x="286" y="651"/>
                      </a:lnTo>
                      <a:lnTo>
                        <a:pt x="286" y="650"/>
                      </a:lnTo>
                      <a:lnTo>
                        <a:pt x="287" y="649"/>
                      </a:lnTo>
                      <a:lnTo>
                        <a:pt x="287" y="648"/>
                      </a:lnTo>
                      <a:lnTo>
                        <a:pt x="287" y="647"/>
                      </a:lnTo>
                      <a:lnTo>
                        <a:pt x="287" y="647"/>
                      </a:lnTo>
                      <a:lnTo>
                        <a:pt x="287" y="646"/>
                      </a:lnTo>
                      <a:lnTo>
                        <a:pt x="287" y="645"/>
                      </a:lnTo>
                      <a:lnTo>
                        <a:pt x="287" y="643"/>
                      </a:lnTo>
                      <a:lnTo>
                        <a:pt x="288" y="643"/>
                      </a:lnTo>
                      <a:lnTo>
                        <a:pt x="288" y="643"/>
                      </a:lnTo>
                      <a:lnTo>
                        <a:pt x="287" y="643"/>
                      </a:lnTo>
                      <a:lnTo>
                        <a:pt x="287" y="643"/>
                      </a:lnTo>
                      <a:lnTo>
                        <a:pt x="286" y="643"/>
                      </a:lnTo>
                      <a:lnTo>
                        <a:pt x="286" y="642"/>
                      </a:lnTo>
                      <a:lnTo>
                        <a:pt x="285" y="639"/>
                      </a:lnTo>
                      <a:lnTo>
                        <a:pt x="285" y="637"/>
                      </a:lnTo>
                      <a:lnTo>
                        <a:pt x="284" y="637"/>
                      </a:lnTo>
                      <a:lnTo>
                        <a:pt x="283" y="637"/>
                      </a:lnTo>
                      <a:lnTo>
                        <a:pt x="283" y="636"/>
                      </a:lnTo>
                      <a:lnTo>
                        <a:pt x="283" y="637"/>
                      </a:lnTo>
                      <a:lnTo>
                        <a:pt x="282" y="637"/>
                      </a:lnTo>
                      <a:lnTo>
                        <a:pt x="281" y="638"/>
                      </a:lnTo>
                      <a:lnTo>
                        <a:pt x="281" y="638"/>
                      </a:lnTo>
                      <a:lnTo>
                        <a:pt x="280" y="638"/>
                      </a:lnTo>
                      <a:lnTo>
                        <a:pt x="280" y="639"/>
                      </a:lnTo>
                      <a:lnTo>
                        <a:pt x="280" y="640"/>
                      </a:lnTo>
                      <a:lnTo>
                        <a:pt x="279" y="640"/>
                      </a:lnTo>
                      <a:lnTo>
                        <a:pt x="279" y="639"/>
                      </a:lnTo>
                      <a:lnTo>
                        <a:pt x="280" y="639"/>
                      </a:lnTo>
                      <a:lnTo>
                        <a:pt x="280" y="638"/>
                      </a:lnTo>
                      <a:lnTo>
                        <a:pt x="279" y="637"/>
                      </a:lnTo>
                      <a:lnTo>
                        <a:pt x="279" y="637"/>
                      </a:lnTo>
                      <a:lnTo>
                        <a:pt x="278" y="637"/>
                      </a:lnTo>
                      <a:lnTo>
                        <a:pt x="278" y="636"/>
                      </a:lnTo>
                      <a:lnTo>
                        <a:pt x="278" y="635"/>
                      </a:lnTo>
                      <a:lnTo>
                        <a:pt x="278" y="635"/>
                      </a:lnTo>
                      <a:lnTo>
                        <a:pt x="278" y="635"/>
                      </a:lnTo>
                      <a:lnTo>
                        <a:pt x="278" y="636"/>
                      </a:lnTo>
                      <a:lnTo>
                        <a:pt x="277" y="636"/>
                      </a:lnTo>
                      <a:lnTo>
                        <a:pt x="276" y="635"/>
                      </a:lnTo>
                      <a:lnTo>
                        <a:pt x="274" y="635"/>
                      </a:lnTo>
                      <a:lnTo>
                        <a:pt x="274" y="634"/>
                      </a:lnTo>
                      <a:lnTo>
                        <a:pt x="273" y="635"/>
                      </a:lnTo>
                      <a:lnTo>
                        <a:pt x="273" y="635"/>
                      </a:lnTo>
                      <a:lnTo>
                        <a:pt x="273" y="635"/>
                      </a:lnTo>
                      <a:lnTo>
                        <a:pt x="272" y="635"/>
                      </a:lnTo>
                      <a:lnTo>
                        <a:pt x="272" y="635"/>
                      </a:lnTo>
                      <a:lnTo>
                        <a:pt x="273" y="635"/>
                      </a:lnTo>
                      <a:lnTo>
                        <a:pt x="273" y="635"/>
                      </a:lnTo>
                      <a:lnTo>
                        <a:pt x="274" y="635"/>
                      </a:lnTo>
                      <a:lnTo>
                        <a:pt x="274" y="635"/>
                      </a:lnTo>
                      <a:lnTo>
                        <a:pt x="276" y="635"/>
                      </a:lnTo>
                      <a:lnTo>
                        <a:pt x="276" y="636"/>
                      </a:lnTo>
                      <a:lnTo>
                        <a:pt x="276" y="637"/>
                      </a:lnTo>
                      <a:lnTo>
                        <a:pt x="277" y="638"/>
                      </a:lnTo>
                      <a:lnTo>
                        <a:pt x="278" y="638"/>
                      </a:lnTo>
                      <a:lnTo>
                        <a:pt x="278" y="638"/>
                      </a:lnTo>
                      <a:lnTo>
                        <a:pt x="279" y="639"/>
                      </a:lnTo>
                      <a:lnTo>
                        <a:pt x="279" y="640"/>
                      </a:lnTo>
                      <a:lnTo>
                        <a:pt x="280" y="641"/>
                      </a:lnTo>
                      <a:lnTo>
                        <a:pt x="281" y="643"/>
                      </a:lnTo>
                      <a:lnTo>
                        <a:pt x="280" y="644"/>
                      </a:lnTo>
                      <a:lnTo>
                        <a:pt x="279" y="644"/>
                      </a:lnTo>
                      <a:lnTo>
                        <a:pt x="278" y="644"/>
                      </a:lnTo>
                      <a:lnTo>
                        <a:pt x="277" y="643"/>
                      </a:lnTo>
                      <a:lnTo>
                        <a:pt x="277" y="643"/>
                      </a:lnTo>
                      <a:lnTo>
                        <a:pt x="277" y="644"/>
                      </a:lnTo>
                      <a:lnTo>
                        <a:pt x="277" y="644"/>
                      </a:lnTo>
                      <a:lnTo>
                        <a:pt x="277" y="644"/>
                      </a:lnTo>
                      <a:lnTo>
                        <a:pt x="278" y="645"/>
                      </a:lnTo>
                      <a:lnTo>
                        <a:pt x="279" y="645"/>
                      </a:lnTo>
                      <a:lnTo>
                        <a:pt x="280" y="645"/>
                      </a:lnTo>
                      <a:lnTo>
                        <a:pt x="281" y="645"/>
                      </a:lnTo>
                      <a:lnTo>
                        <a:pt x="281" y="645"/>
                      </a:lnTo>
                      <a:lnTo>
                        <a:pt x="282" y="645"/>
                      </a:lnTo>
                      <a:lnTo>
                        <a:pt x="282" y="645"/>
                      </a:lnTo>
                      <a:lnTo>
                        <a:pt x="282" y="647"/>
                      </a:lnTo>
                      <a:lnTo>
                        <a:pt x="282" y="647"/>
                      </a:lnTo>
                      <a:lnTo>
                        <a:pt x="281" y="649"/>
                      </a:lnTo>
                      <a:lnTo>
                        <a:pt x="281" y="650"/>
                      </a:lnTo>
                      <a:lnTo>
                        <a:pt x="280" y="650"/>
                      </a:lnTo>
                      <a:lnTo>
                        <a:pt x="279" y="650"/>
                      </a:lnTo>
                      <a:lnTo>
                        <a:pt x="277" y="650"/>
                      </a:lnTo>
                      <a:lnTo>
                        <a:pt x="277" y="649"/>
                      </a:lnTo>
                      <a:lnTo>
                        <a:pt x="276" y="648"/>
                      </a:lnTo>
                      <a:lnTo>
                        <a:pt x="276" y="648"/>
                      </a:lnTo>
                      <a:lnTo>
                        <a:pt x="276" y="649"/>
                      </a:lnTo>
                      <a:lnTo>
                        <a:pt x="274" y="649"/>
                      </a:lnTo>
                      <a:lnTo>
                        <a:pt x="274" y="648"/>
                      </a:lnTo>
                      <a:lnTo>
                        <a:pt x="274" y="648"/>
                      </a:lnTo>
                      <a:lnTo>
                        <a:pt x="273" y="648"/>
                      </a:lnTo>
                      <a:lnTo>
                        <a:pt x="272" y="648"/>
                      </a:lnTo>
                      <a:lnTo>
                        <a:pt x="272" y="648"/>
                      </a:lnTo>
                      <a:lnTo>
                        <a:pt x="271" y="648"/>
                      </a:lnTo>
                      <a:lnTo>
                        <a:pt x="272" y="648"/>
                      </a:lnTo>
                      <a:lnTo>
                        <a:pt x="273" y="649"/>
                      </a:lnTo>
                      <a:lnTo>
                        <a:pt x="273" y="649"/>
                      </a:lnTo>
                      <a:lnTo>
                        <a:pt x="273" y="649"/>
                      </a:lnTo>
                      <a:lnTo>
                        <a:pt x="274" y="649"/>
                      </a:lnTo>
                      <a:lnTo>
                        <a:pt x="274" y="649"/>
                      </a:lnTo>
                      <a:lnTo>
                        <a:pt x="276" y="649"/>
                      </a:lnTo>
                      <a:lnTo>
                        <a:pt x="276" y="650"/>
                      </a:lnTo>
                      <a:lnTo>
                        <a:pt x="277" y="651"/>
                      </a:lnTo>
                      <a:lnTo>
                        <a:pt x="278" y="652"/>
                      </a:lnTo>
                      <a:lnTo>
                        <a:pt x="278" y="654"/>
                      </a:lnTo>
                      <a:lnTo>
                        <a:pt x="279" y="654"/>
                      </a:lnTo>
                      <a:lnTo>
                        <a:pt x="279" y="652"/>
                      </a:lnTo>
                      <a:lnTo>
                        <a:pt x="280" y="652"/>
                      </a:lnTo>
                      <a:lnTo>
                        <a:pt x="280" y="652"/>
                      </a:lnTo>
                      <a:lnTo>
                        <a:pt x="280" y="652"/>
                      </a:lnTo>
                      <a:lnTo>
                        <a:pt x="281" y="654"/>
                      </a:lnTo>
                      <a:lnTo>
                        <a:pt x="281" y="652"/>
                      </a:lnTo>
                      <a:lnTo>
                        <a:pt x="281" y="652"/>
                      </a:lnTo>
                      <a:lnTo>
                        <a:pt x="281" y="654"/>
                      </a:lnTo>
                      <a:lnTo>
                        <a:pt x="282" y="654"/>
                      </a:lnTo>
                      <a:lnTo>
                        <a:pt x="283" y="656"/>
                      </a:lnTo>
                      <a:lnTo>
                        <a:pt x="283" y="656"/>
                      </a:lnTo>
                      <a:lnTo>
                        <a:pt x="283" y="657"/>
                      </a:lnTo>
                      <a:lnTo>
                        <a:pt x="282" y="657"/>
                      </a:lnTo>
                      <a:lnTo>
                        <a:pt x="281" y="656"/>
                      </a:lnTo>
                      <a:lnTo>
                        <a:pt x="281" y="656"/>
                      </a:lnTo>
                      <a:lnTo>
                        <a:pt x="280" y="655"/>
                      </a:lnTo>
                      <a:lnTo>
                        <a:pt x="280" y="656"/>
                      </a:lnTo>
                      <a:lnTo>
                        <a:pt x="279" y="656"/>
                      </a:lnTo>
                      <a:lnTo>
                        <a:pt x="278" y="656"/>
                      </a:lnTo>
                      <a:lnTo>
                        <a:pt x="277" y="657"/>
                      </a:lnTo>
                      <a:lnTo>
                        <a:pt x="278" y="657"/>
                      </a:lnTo>
                      <a:lnTo>
                        <a:pt x="277" y="658"/>
                      </a:lnTo>
                      <a:lnTo>
                        <a:pt x="277" y="657"/>
                      </a:lnTo>
                      <a:lnTo>
                        <a:pt x="276" y="658"/>
                      </a:lnTo>
                      <a:lnTo>
                        <a:pt x="276" y="658"/>
                      </a:lnTo>
                      <a:lnTo>
                        <a:pt x="276" y="657"/>
                      </a:lnTo>
                      <a:lnTo>
                        <a:pt x="274" y="657"/>
                      </a:lnTo>
                      <a:lnTo>
                        <a:pt x="274" y="658"/>
                      </a:lnTo>
                      <a:lnTo>
                        <a:pt x="276" y="658"/>
                      </a:lnTo>
                      <a:lnTo>
                        <a:pt x="276" y="659"/>
                      </a:lnTo>
                      <a:lnTo>
                        <a:pt x="276" y="659"/>
                      </a:lnTo>
                      <a:lnTo>
                        <a:pt x="277" y="659"/>
                      </a:lnTo>
                      <a:lnTo>
                        <a:pt x="277" y="660"/>
                      </a:lnTo>
                      <a:lnTo>
                        <a:pt x="274" y="661"/>
                      </a:lnTo>
                      <a:lnTo>
                        <a:pt x="274" y="662"/>
                      </a:lnTo>
                      <a:lnTo>
                        <a:pt x="273" y="662"/>
                      </a:lnTo>
                      <a:lnTo>
                        <a:pt x="272" y="662"/>
                      </a:lnTo>
                      <a:lnTo>
                        <a:pt x="271" y="663"/>
                      </a:lnTo>
                      <a:lnTo>
                        <a:pt x="271" y="663"/>
                      </a:lnTo>
                      <a:lnTo>
                        <a:pt x="272" y="663"/>
                      </a:lnTo>
                      <a:lnTo>
                        <a:pt x="272" y="664"/>
                      </a:lnTo>
                      <a:lnTo>
                        <a:pt x="272" y="665"/>
                      </a:lnTo>
                      <a:lnTo>
                        <a:pt x="272" y="666"/>
                      </a:lnTo>
                      <a:lnTo>
                        <a:pt x="272" y="667"/>
                      </a:lnTo>
                      <a:lnTo>
                        <a:pt x="273" y="667"/>
                      </a:lnTo>
                      <a:lnTo>
                        <a:pt x="274" y="667"/>
                      </a:lnTo>
                      <a:lnTo>
                        <a:pt x="274" y="668"/>
                      </a:lnTo>
                      <a:lnTo>
                        <a:pt x="273" y="668"/>
                      </a:lnTo>
                      <a:lnTo>
                        <a:pt x="273" y="669"/>
                      </a:lnTo>
                      <a:lnTo>
                        <a:pt x="273" y="669"/>
                      </a:lnTo>
                      <a:lnTo>
                        <a:pt x="273" y="669"/>
                      </a:lnTo>
                      <a:lnTo>
                        <a:pt x="272" y="670"/>
                      </a:lnTo>
                      <a:lnTo>
                        <a:pt x="271" y="670"/>
                      </a:lnTo>
                      <a:lnTo>
                        <a:pt x="271" y="670"/>
                      </a:lnTo>
                      <a:lnTo>
                        <a:pt x="270" y="671"/>
                      </a:lnTo>
                      <a:lnTo>
                        <a:pt x="269" y="671"/>
                      </a:lnTo>
                      <a:lnTo>
                        <a:pt x="269" y="670"/>
                      </a:lnTo>
                      <a:lnTo>
                        <a:pt x="269" y="670"/>
                      </a:lnTo>
                      <a:lnTo>
                        <a:pt x="269" y="670"/>
                      </a:lnTo>
                      <a:lnTo>
                        <a:pt x="269" y="670"/>
                      </a:lnTo>
                      <a:lnTo>
                        <a:pt x="269" y="670"/>
                      </a:lnTo>
                      <a:lnTo>
                        <a:pt x="268" y="670"/>
                      </a:lnTo>
                      <a:lnTo>
                        <a:pt x="267" y="670"/>
                      </a:lnTo>
                      <a:lnTo>
                        <a:pt x="267" y="670"/>
                      </a:lnTo>
                      <a:lnTo>
                        <a:pt x="267" y="670"/>
                      </a:lnTo>
                      <a:lnTo>
                        <a:pt x="266" y="670"/>
                      </a:lnTo>
                      <a:lnTo>
                        <a:pt x="266" y="671"/>
                      </a:lnTo>
                      <a:lnTo>
                        <a:pt x="265" y="671"/>
                      </a:lnTo>
                      <a:lnTo>
                        <a:pt x="265" y="671"/>
                      </a:lnTo>
                      <a:lnTo>
                        <a:pt x="264" y="671"/>
                      </a:lnTo>
                      <a:lnTo>
                        <a:pt x="263" y="671"/>
                      </a:lnTo>
                      <a:lnTo>
                        <a:pt x="263" y="671"/>
                      </a:lnTo>
                      <a:lnTo>
                        <a:pt x="262" y="671"/>
                      </a:lnTo>
                      <a:lnTo>
                        <a:pt x="262" y="670"/>
                      </a:lnTo>
                      <a:lnTo>
                        <a:pt x="262" y="670"/>
                      </a:lnTo>
                      <a:lnTo>
                        <a:pt x="262" y="670"/>
                      </a:lnTo>
                      <a:lnTo>
                        <a:pt x="262" y="669"/>
                      </a:lnTo>
                      <a:lnTo>
                        <a:pt x="263" y="668"/>
                      </a:lnTo>
                      <a:lnTo>
                        <a:pt x="263" y="668"/>
                      </a:lnTo>
                      <a:lnTo>
                        <a:pt x="263" y="668"/>
                      </a:lnTo>
                      <a:lnTo>
                        <a:pt x="263" y="668"/>
                      </a:lnTo>
                      <a:lnTo>
                        <a:pt x="262" y="669"/>
                      </a:lnTo>
                      <a:lnTo>
                        <a:pt x="262" y="670"/>
                      </a:lnTo>
                      <a:lnTo>
                        <a:pt x="262" y="670"/>
                      </a:lnTo>
                      <a:lnTo>
                        <a:pt x="261" y="672"/>
                      </a:lnTo>
                      <a:lnTo>
                        <a:pt x="260" y="672"/>
                      </a:lnTo>
                      <a:lnTo>
                        <a:pt x="260" y="671"/>
                      </a:lnTo>
                      <a:lnTo>
                        <a:pt x="259" y="671"/>
                      </a:lnTo>
                      <a:lnTo>
                        <a:pt x="259" y="672"/>
                      </a:lnTo>
                      <a:lnTo>
                        <a:pt x="259" y="672"/>
                      </a:lnTo>
                      <a:lnTo>
                        <a:pt x="257" y="672"/>
                      </a:lnTo>
                      <a:lnTo>
                        <a:pt x="257" y="671"/>
                      </a:lnTo>
                      <a:lnTo>
                        <a:pt x="257" y="671"/>
                      </a:lnTo>
                      <a:lnTo>
                        <a:pt x="257" y="671"/>
                      </a:lnTo>
                      <a:lnTo>
                        <a:pt x="257" y="670"/>
                      </a:lnTo>
                      <a:lnTo>
                        <a:pt x="257" y="670"/>
                      </a:lnTo>
                      <a:lnTo>
                        <a:pt x="257" y="670"/>
                      </a:lnTo>
                      <a:lnTo>
                        <a:pt x="257" y="671"/>
                      </a:lnTo>
                      <a:lnTo>
                        <a:pt x="257" y="672"/>
                      </a:lnTo>
                      <a:lnTo>
                        <a:pt x="257" y="672"/>
                      </a:lnTo>
                      <a:lnTo>
                        <a:pt x="258" y="672"/>
                      </a:lnTo>
                      <a:lnTo>
                        <a:pt x="258" y="673"/>
                      </a:lnTo>
                      <a:lnTo>
                        <a:pt x="257" y="673"/>
                      </a:lnTo>
                      <a:lnTo>
                        <a:pt x="257" y="673"/>
                      </a:lnTo>
                      <a:lnTo>
                        <a:pt x="257" y="673"/>
                      </a:lnTo>
                      <a:lnTo>
                        <a:pt x="255" y="674"/>
                      </a:lnTo>
                      <a:lnTo>
                        <a:pt x="254" y="674"/>
                      </a:lnTo>
                      <a:lnTo>
                        <a:pt x="253" y="674"/>
                      </a:lnTo>
                      <a:lnTo>
                        <a:pt x="252" y="674"/>
                      </a:lnTo>
                      <a:lnTo>
                        <a:pt x="251" y="674"/>
                      </a:lnTo>
                      <a:lnTo>
                        <a:pt x="251" y="674"/>
                      </a:lnTo>
                      <a:lnTo>
                        <a:pt x="251" y="674"/>
                      </a:lnTo>
                      <a:lnTo>
                        <a:pt x="252" y="675"/>
                      </a:lnTo>
                      <a:lnTo>
                        <a:pt x="251" y="676"/>
                      </a:lnTo>
                      <a:lnTo>
                        <a:pt x="252" y="676"/>
                      </a:lnTo>
                      <a:lnTo>
                        <a:pt x="253" y="675"/>
                      </a:lnTo>
                      <a:lnTo>
                        <a:pt x="254" y="674"/>
                      </a:lnTo>
                      <a:lnTo>
                        <a:pt x="254" y="674"/>
                      </a:lnTo>
                      <a:lnTo>
                        <a:pt x="255" y="674"/>
                      </a:lnTo>
                      <a:lnTo>
                        <a:pt x="256" y="674"/>
                      </a:lnTo>
                      <a:lnTo>
                        <a:pt x="257" y="674"/>
                      </a:lnTo>
                      <a:lnTo>
                        <a:pt x="257" y="673"/>
                      </a:lnTo>
                      <a:lnTo>
                        <a:pt x="259" y="673"/>
                      </a:lnTo>
                      <a:lnTo>
                        <a:pt x="259" y="673"/>
                      </a:lnTo>
                      <a:lnTo>
                        <a:pt x="260" y="673"/>
                      </a:lnTo>
                      <a:lnTo>
                        <a:pt x="260" y="673"/>
                      </a:lnTo>
                      <a:lnTo>
                        <a:pt x="262" y="672"/>
                      </a:lnTo>
                      <a:lnTo>
                        <a:pt x="262" y="672"/>
                      </a:lnTo>
                      <a:lnTo>
                        <a:pt x="263" y="672"/>
                      </a:lnTo>
                      <a:lnTo>
                        <a:pt x="263" y="672"/>
                      </a:lnTo>
                      <a:lnTo>
                        <a:pt x="264" y="672"/>
                      </a:lnTo>
                      <a:lnTo>
                        <a:pt x="263" y="673"/>
                      </a:lnTo>
                      <a:lnTo>
                        <a:pt x="263" y="673"/>
                      </a:lnTo>
                      <a:lnTo>
                        <a:pt x="265" y="672"/>
                      </a:lnTo>
                      <a:lnTo>
                        <a:pt x="267" y="672"/>
                      </a:lnTo>
                      <a:lnTo>
                        <a:pt x="268" y="673"/>
                      </a:lnTo>
                      <a:lnTo>
                        <a:pt x="269" y="672"/>
                      </a:lnTo>
                      <a:lnTo>
                        <a:pt x="270" y="673"/>
                      </a:lnTo>
                      <a:lnTo>
                        <a:pt x="271" y="674"/>
                      </a:lnTo>
                      <a:lnTo>
                        <a:pt x="272" y="674"/>
                      </a:lnTo>
                      <a:lnTo>
                        <a:pt x="272" y="675"/>
                      </a:lnTo>
                      <a:lnTo>
                        <a:pt x="271" y="675"/>
                      </a:lnTo>
                      <a:lnTo>
                        <a:pt x="270" y="674"/>
                      </a:lnTo>
                      <a:lnTo>
                        <a:pt x="270" y="675"/>
                      </a:lnTo>
                      <a:lnTo>
                        <a:pt x="269" y="675"/>
                      </a:lnTo>
                      <a:lnTo>
                        <a:pt x="268" y="676"/>
                      </a:lnTo>
                      <a:lnTo>
                        <a:pt x="269" y="675"/>
                      </a:lnTo>
                      <a:lnTo>
                        <a:pt x="270" y="675"/>
                      </a:lnTo>
                      <a:lnTo>
                        <a:pt x="270" y="675"/>
                      </a:lnTo>
                      <a:lnTo>
                        <a:pt x="271" y="675"/>
                      </a:lnTo>
                      <a:lnTo>
                        <a:pt x="273" y="675"/>
                      </a:lnTo>
                      <a:lnTo>
                        <a:pt x="273" y="676"/>
                      </a:lnTo>
                      <a:lnTo>
                        <a:pt x="274" y="676"/>
                      </a:lnTo>
                      <a:lnTo>
                        <a:pt x="274" y="676"/>
                      </a:lnTo>
                      <a:lnTo>
                        <a:pt x="274" y="676"/>
                      </a:lnTo>
                      <a:lnTo>
                        <a:pt x="276" y="675"/>
                      </a:lnTo>
                      <a:lnTo>
                        <a:pt x="276" y="675"/>
                      </a:lnTo>
                      <a:lnTo>
                        <a:pt x="276" y="676"/>
                      </a:lnTo>
                      <a:lnTo>
                        <a:pt x="276" y="676"/>
                      </a:lnTo>
                      <a:lnTo>
                        <a:pt x="276" y="677"/>
                      </a:lnTo>
                      <a:lnTo>
                        <a:pt x="276" y="677"/>
                      </a:lnTo>
                      <a:lnTo>
                        <a:pt x="276" y="678"/>
                      </a:lnTo>
                      <a:lnTo>
                        <a:pt x="276" y="678"/>
                      </a:lnTo>
                      <a:lnTo>
                        <a:pt x="276" y="679"/>
                      </a:lnTo>
                      <a:lnTo>
                        <a:pt x="276" y="680"/>
                      </a:lnTo>
                      <a:lnTo>
                        <a:pt x="276" y="680"/>
                      </a:lnTo>
                      <a:lnTo>
                        <a:pt x="276" y="681"/>
                      </a:lnTo>
                      <a:lnTo>
                        <a:pt x="278" y="681"/>
                      </a:lnTo>
                      <a:lnTo>
                        <a:pt x="278" y="682"/>
                      </a:lnTo>
                      <a:lnTo>
                        <a:pt x="278" y="682"/>
                      </a:lnTo>
                      <a:lnTo>
                        <a:pt x="279" y="683"/>
                      </a:lnTo>
                      <a:lnTo>
                        <a:pt x="279" y="683"/>
                      </a:lnTo>
                      <a:lnTo>
                        <a:pt x="279" y="684"/>
                      </a:lnTo>
                      <a:lnTo>
                        <a:pt x="279" y="684"/>
                      </a:lnTo>
                      <a:lnTo>
                        <a:pt x="279" y="685"/>
                      </a:lnTo>
                      <a:lnTo>
                        <a:pt x="279" y="685"/>
                      </a:lnTo>
                      <a:lnTo>
                        <a:pt x="280" y="685"/>
                      </a:lnTo>
                      <a:lnTo>
                        <a:pt x="281" y="686"/>
                      </a:lnTo>
                      <a:lnTo>
                        <a:pt x="280" y="686"/>
                      </a:lnTo>
                      <a:lnTo>
                        <a:pt x="280" y="686"/>
                      </a:lnTo>
                      <a:lnTo>
                        <a:pt x="279" y="687"/>
                      </a:lnTo>
                      <a:lnTo>
                        <a:pt x="279" y="687"/>
                      </a:lnTo>
                      <a:lnTo>
                        <a:pt x="278" y="687"/>
                      </a:lnTo>
                      <a:lnTo>
                        <a:pt x="278" y="690"/>
                      </a:lnTo>
                      <a:lnTo>
                        <a:pt x="278" y="690"/>
                      </a:lnTo>
                      <a:lnTo>
                        <a:pt x="278" y="692"/>
                      </a:lnTo>
                      <a:lnTo>
                        <a:pt x="278" y="692"/>
                      </a:lnTo>
                      <a:lnTo>
                        <a:pt x="278" y="692"/>
                      </a:lnTo>
                      <a:lnTo>
                        <a:pt x="278" y="693"/>
                      </a:lnTo>
                      <a:lnTo>
                        <a:pt x="276" y="693"/>
                      </a:lnTo>
                      <a:lnTo>
                        <a:pt x="276" y="693"/>
                      </a:lnTo>
                      <a:lnTo>
                        <a:pt x="274" y="694"/>
                      </a:lnTo>
                      <a:lnTo>
                        <a:pt x="273" y="694"/>
                      </a:lnTo>
                      <a:lnTo>
                        <a:pt x="272" y="694"/>
                      </a:lnTo>
                      <a:lnTo>
                        <a:pt x="272" y="694"/>
                      </a:lnTo>
                      <a:lnTo>
                        <a:pt x="272" y="694"/>
                      </a:lnTo>
                      <a:lnTo>
                        <a:pt x="271" y="695"/>
                      </a:lnTo>
                      <a:lnTo>
                        <a:pt x="271" y="696"/>
                      </a:lnTo>
                      <a:lnTo>
                        <a:pt x="272" y="696"/>
                      </a:lnTo>
                      <a:lnTo>
                        <a:pt x="272" y="697"/>
                      </a:lnTo>
                      <a:lnTo>
                        <a:pt x="271" y="697"/>
                      </a:lnTo>
                      <a:lnTo>
                        <a:pt x="271" y="697"/>
                      </a:lnTo>
                      <a:lnTo>
                        <a:pt x="272" y="698"/>
                      </a:lnTo>
                      <a:lnTo>
                        <a:pt x="272" y="698"/>
                      </a:lnTo>
                      <a:lnTo>
                        <a:pt x="272" y="699"/>
                      </a:lnTo>
                      <a:lnTo>
                        <a:pt x="272" y="699"/>
                      </a:lnTo>
                      <a:lnTo>
                        <a:pt x="271" y="699"/>
                      </a:lnTo>
                      <a:lnTo>
                        <a:pt x="271" y="699"/>
                      </a:lnTo>
                      <a:lnTo>
                        <a:pt x="271" y="699"/>
                      </a:lnTo>
                      <a:lnTo>
                        <a:pt x="271" y="700"/>
                      </a:lnTo>
                      <a:lnTo>
                        <a:pt x="271" y="700"/>
                      </a:lnTo>
                      <a:lnTo>
                        <a:pt x="271" y="700"/>
                      </a:lnTo>
                      <a:lnTo>
                        <a:pt x="271" y="701"/>
                      </a:lnTo>
                      <a:lnTo>
                        <a:pt x="271" y="701"/>
                      </a:lnTo>
                      <a:lnTo>
                        <a:pt x="271" y="701"/>
                      </a:lnTo>
                      <a:lnTo>
                        <a:pt x="271" y="701"/>
                      </a:lnTo>
                      <a:lnTo>
                        <a:pt x="271" y="702"/>
                      </a:lnTo>
                      <a:lnTo>
                        <a:pt x="270" y="702"/>
                      </a:lnTo>
                      <a:lnTo>
                        <a:pt x="269" y="702"/>
                      </a:lnTo>
                      <a:lnTo>
                        <a:pt x="268" y="703"/>
                      </a:lnTo>
                      <a:lnTo>
                        <a:pt x="268" y="703"/>
                      </a:lnTo>
                      <a:lnTo>
                        <a:pt x="267" y="702"/>
                      </a:lnTo>
                      <a:lnTo>
                        <a:pt x="266" y="702"/>
                      </a:lnTo>
                      <a:lnTo>
                        <a:pt x="266" y="701"/>
                      </a:lnTo>
                      <a:lnTo>
                        <a:pt x="266" y="701"/>
                      </a:lnTo>
                      <a:lnTo>
                        <a:pt x="265" y="701"/>
                      </a:lnTo>
                      <a:lnTo>
                        <a:pt x="265" y="701"/>
                      </a:lnTo>
                      <a:lnTo>
                        <a:pt x="265" y="701"/>
                      </a:lnTo>
                      <a:lnTo>
                        <a:pt x="264" y="701"/>
                      </a:lnTo>
                      <a:lnTo>
                        <a:pt x="264" y="702"/>
                      </a:lnTo>
                      <a:lnTo>
                        <a:pt x="263" y="702"/>
                      </a:lnTo>
                      <a:lnTo>
                        <a:pt x="263" y="701"/>
                      </a:lnTo>
                      <a:lnTo>
                        <a:pt x="261" y="701"/>
                      </a:lnTo>
                      <a:lnTo>
                        <a:pt x="260" y="702"/>
                      </a:lnTo>
                      <a:lnTo>
                        <a:pt x="259" y="702"/>
                      </a:lnTo>
                      <a:lnTo>
                        <a:pt x="259" y="701"/>
                      </a:lnTo>
                      <a:lnTo>
                        <a:pt x="258" y="702"/>
                      </a:lnTo>
                      <a:lnTo>
                        <a:pt x="259" y="702"/>
                      </a:lnTo>
                      <a:lnTo>
                        <a:pt x="259" y="702"/>
                      </a:lnTo>
                      <a:lnTo>
                        <a:pt x="259" y="702"/>
                      </a:lnTo>
                      <a:lnTo>
                        <a:pt x="258" y="702"/>
                      </a:lnTo>
                      <a:lnTo>
                        <a:pt x="258" y="702"/>
                      </a:lnTo>
                      <a:lnTo>
                        <a:pt x="258" y="702"/>
                      </a:lnTo>
                      <a:lnTo>
                        <a:pt x="258" y="702"/>
                      </a:lnTo>
                      <a:lnTo>
                        <a:pt x="258" y="702"/>
                      </a:lnTo>
                      <a:lnTo>
                        <a:pt x="257" y="703"/>
                      </a:lnTo>
                      <a:lnTo>
                        <a:pt x="257" y="703"/>
                      </a:lnTo>
                      <a:lnTo>
                        <a:pt x="256" y="703"/>
                      </a:lnTo>
                      <a:lnTo>
                        <a:pt x="257" y="704"/>
                      </a:lnTo>
                      <a:lnTo>
                        <a:pt x="256" y="704"/>
                      </a:lnTo>
                      <a:lnTo>
                        <a:pt x="256" y="704"/>
                      </a:lnTo>
                      <a:lnTo>
                        <a:pt x="256" y="707"/>
                      </a:lnTo>
                      <a:lnTo>
                        <a:pt x="255" y="708"/>
                      </a:lnTo>
                      <a:lnTo>
                        <a:pt x="254" y="708"/>
                      </a:lnTo>
                      <a:lnTo>
                        <a:pt x="254" y="710"/>
                      </a:lnTo>
                      <a:lnTo>
                        <a:pt x="254" y="710"/>
                      </a:lnTo>
                      <a:lnTo>
                        <a:pt x="253" y="710"/>
                      </a:lnTo>
                      <a:lnTo>
                        <a:pt x="253" y="712"/>
                      </a:lnTo>
                      <a:lnTo>
                        <a:pt x="253" y="712"/>
                      </a:lnTo>
                      <a:lnTo>
                        <a:pt x="253" y="713"/>
                      </a:lnTo>
                      <a:lnTo>
                        <a:pt x="253" y="713"/>
                      </a:lnTo>
                      <a:lnTo>
                        <a:pt x="253" y="714"/>
                      </a:lnTo>
                      <a:lnTo>
                        <a:pt x="254" y="714"/>
                      </a:lnTo>
                      <a:lnTo>
                        <a:pt x="253" y="715"/>
                      </a:lnTo>
                      <a:lnTo>
                        <a:pt x="253" y="716"/>
                      </a:lnTo>
                      <a:lnTo>
                        <a:pt x="252" y="716"/>
                      </a:lnTo>
                      <a:lnTo>
                        <a:pt x="252" y="716"/>
                      </a:lnTo>
                      <a:lnTo>
                        <a:pt x="251" y="715"/>
                      </a:lnTo>
                      <a:lnTo>
                        <a:pt x="251" y="715"/>
                      </a:lnTo>
                      <a:lnTo>
                        <a:pt x="250" y="716"/>
                      </a:lnTo>
                      <a:lnTo>
                        <a:pt x="251" y="717"/>
                      </a:lnTo>
                      <a:lnTo>
                        <a:pt x="250" y="717"/>
                      </a:lnTo>
                      <a:lnTo>
                        <a:pt x="249" y="717"/>
                      </a:lnTo>
                      <a:lnTo>
                        <a:pt x="249" y="717"/>
                      </a:lnTo>
                      <a:lnTo>
                        <a:pt x="249" y="717"/>
                      </a:lnTo>
                      <a:lnTo>
                        <a:pt x="248" y="717"/>
                      </a:lnTo>
                      <a:lnTo>
                        <a:pt x="248" y="717"/>
                      </a:lnTo>
                      <a:lnTo>
                        <a:pt x="247" y="717"/>
                      </a:lnTo>
                      <a:lnTo>
                        <a:pt x="247" y="717"/>
                      </a:lnTo>
                      <a:lnTo>
                        <a:pt x="247" y="717"/>
                      </a:lnTo>
                      <a:lnTo>
                        <a:pt x="247" y="717"/>
                      </a:lnTo>
                      <a:lnTo>
                        <a:pt x="247" y="718"/>
                      </a:lnTo>
                      <a:lnTo>
                        <a:pt x="247" y="718"/>
                      </a:lnTo>
                      <a:lnTo>
                        <a:pt x="246" y="718"/>
                      </a:lnTo>
                      <a:lnTo>
                        <a:pt x="246" y="717"/>
                      </a:lnTo>
                      <a:lnTo>
                        <a:pt x="247" y="717"/>
                      </a:lnTo>
                      <a:lnTo>
                        <a:pt x="246" y="715"/>
                      </a:lnTo>
                      <a:lnTo>
                        <a:pt x="247" y="715"/>
                      </a:lnTo>
                      <a:lnTo>
                        <a:pt x="246" y="715"/>
                      </a:lnTo>
                      <a:lnTo>
                        <a:pt x="246" y="714"/>
                      </a:lnTo>
                      <a:lnTo>
                        <a:pt x="246" y="714"/>
                      </a:lnTo>
                      <a:lnTo>
                        <a:pt x="246" y="713"/>
                      </a:lnTo>
                      <a:lnTo>
                        <a:pt x="246" y="713"/>
                      </a:lnTo>
                      <a:lnTo>
                        <a:pt x="244" y="713"/>
                      </a:lnTo>
                      <a:lnTo>
                        <a:pt x="244" y="713"/>
                      </a:lnTo>
                      <a:lnTo>
                        <a:pt x="244" y="713"/>
                      </a:lnTo>
                      <a:lnTo>
                        <a:pt x="244" y="712"/>
                      </a:lnTo>
                      <a:lnTo>
                        <a:pt x="244" y="713"/>
                      </a:lnTo>
                      <a:lnTo>
                        <a:pt x="243" y="713"/>
                      </a:lnTo>
                      <a:lnTo>
                        <a:pt x="243" y="713"/>
                      </a:lnTo>
                      <a:lnTo>
                        <a:pt x="243" y="712"/>
                      </a:lnTo>
                      <a:lnTo>
                        <a:pt x="243" y="712"/>
                      </a:lnTo>
                      <a:lnTo>
                        <a:pt x="243" y="712"/>
                      </a:lnTo>
                      <a:lnTo>
                        <a:pt x="242" y="712"/>
                      </a:lnTo>
                      <a:lnTo>
                        <a:pt x="242" y="712"/>
                      </a:lnTo>
                      <a:lnTo>
                        <a:pt x="241" y="712"/>
                      </a:lnTo>
                      <a:lnTo>
                        <a:pt x="240" y="712"/>
                      </a:lnTo>
                      <a:lnTo>
                        <a:pt x="240" y="711"/>
                      </a:lnTo>
                      <a:lnTo>
                        <a:pt x="240" y="711"/>
                      </a:lnTo>
                      <a:lnTo>
                        <a:pt x="240" y="710"/>
                      </a:lnTo>
                      <a:lnTo>
                        <a:pt x="240" y="710"/>
                      </a:lnTo>
                      <a:lnTo>
                        <a:pt x="240" y="709"/>
                      </a:lnTo>
                      <a:lnTo>
                        <a:pt x="240" y="709"/>
                      </a:lnTo>
                      <a:lnTo>
                        <a:pt x="240" y="709"/>
                      </a:lnTo>
                      <a:lnTo>
                        <a:pt x="239" y="708"/>
                      </a:lnTo>
                      <a:lnTo>
                        <a:pt x="237" y="708"/>
                      </a:lnTo>
                      <a:lnTo>
                        <a:pt x="237" y="707"/>
                      </a:lnTo>
                      <a:lnTo>
                        <a:pt x="239" y="707"/>
                      </a:lnTo>
                      <a:lnTo>
                        <a:pt x="237" y="705"/>
                      </a:lnTo>
                      <a:lnTo>
                        <a:pt x="237" y="705"/>
                      </a:lnTo>
                      <a:lnTo>
                        <a:pt x="235" y="704"/>
                      </a:lnTo>
                      <a:lnTo>
                        <a:pt x="235" y="703"/>
                      </a:lnTo>
                      <a:lnTo>
                        <a:pt x="235" y="703"/>
                      </a:lnTo>
                      <a:lnTo>
                        <a:pt x="235" y="702"/>
                      </a:lnTo>
                      <a:lnTo>
                        <a:pt x="236" y="702"/>
                      </a:lnTo>
                      <a:lnTo>
                        <a:pt x="236" y="701"/>
                      </a:lnTo>
                      <a:lnTo>
                        <a:pt x="236" y="700"/>
                      </a:lnTo>
                      <a:lnTo>
                        <a:pt x="237" y="700"/>
                      </a:lnTo>
                      <a:lnTo>
                        <a:pt x="237" y="699"/>
                      </a:lnTo>
                      <a:lnTo>
                        <a:pt x="237" y="699"/>
                      </a:lnTo>
                      <a:lnTo>
                        <a:pt x="236" y="699"/>
                      </a:lnTo>
                      <a:lnTo>
                        <a:pt x="237" y="699"/>
                      </a:lnTo>
                      <a:lnTo>
                        <a:pt x="237" y="698"/>
                      </a:lnTo>
                      <a:lnTo>
                        <a:pt x="237" y="698"/>
                      </a:lnTo>
                      <a:lnTo>
                        <a:pt x="237" y="698"/>
                      </a:lnTo>
                      <a:lnTo>
                        <a:pt x="237" y="697"/>
                      </a:lnTo>
                      <a:lnTo>
                        <a:pt x="237" y="697"/>
                      </a:lnTo>
                      <a:lnTo>
                        <a:pt x="237" y="697"/>
                      </a:lnTo>
                      <a:lnTo>
                        <a:pt x="236" y="696"/>
                      </a:lnTo>
                      <a:lnTo>
                        <a:pt x="236" y="695"/>
                      </a:lnTo>
                      <a:lnTo>
                        <a:pt x="236" y="695"/>
                      </a:lnTo>
                      <a:lnTo>
                        <a:pt x="236" y="695"/>
                      </a:lnTo>
                      <a:lnTo>
                        <a:pt x="235" y="694"/>
                      </a:lnTo>
                      <a:lnTo>
                        <a:pt x="236" y="694"/>
                      </a:lnTo>
                      <a:lnTo>
                        <a:pt x="236" y="693"/>
                      </a:lnTo>
                      <a:lnTo>
                        <a:pt x="235" y="693"/>
                      </a:lnTo>
                      <a:lnTo>
                        <a:pt x="235" y="692"/>
                      </a:lnTo>
                      <a:lnTo>
                        <a:pt x="234" y="692"/>
                      </a:lnTo>
                      <a:lnTo>
                        <a:pt x="234" y="690"/>
                      </a:lnTo>
                      <a:lnTo>
                        <a:pt x="232" y="690"/>
                      </a:lnTo>
                      <a:lnTo>
                        <a:pt x="232" y="689"/>
                      </a:lnTo>
                      <a:lnTo>
                        <a:pt x="232" y="689"/>
                      </a:lnTo>
                      <a:lnTo>
                        <a:pt x="232" y="689"/>
                      </a:lnTo>
                      <a:lnTo>
                        <a:pt x="233" y="687"/>
                      </a:lnTo>
                      <a:lnTo>
                        <a:pt x="233" y="687"/>
                      </a:lnTo>
                      <a:lnTo>
                        <a:pt x="233" y="686"/>
                      </a:lnTo>
                      <a:lnTo>
                        <a:pt x="233" y="686"/>
                      </a:lnTo>
                      <a:lnTo>
                        <a:pt x="233" y="685"/>
                      </a:lnTo>
                      <a:lnTo>
                        <a:pt x="232" y="685"/>
                      </a:lnTo>
                      <a:lnTo>
                        <a:pt x="232" y="684"/>
                      </a:lnTo>
                      <a:lnTo>
                        <a:pt x="230" y="682"/>
                      </a:lnTo>
                      <a:lnTo>
                        <a:pt x="230" y="681"/>
                      </a:lnTo>
                      <a:lnTo>
                        <a:pt x="232" y="681"/>
                      </a:lnTo>
                      <a:lnTo>
                        <a:pt x="232" y="680"/>
                      </a:lnTo>
                      <a:lnTo>
                        <a:pt x="232" y="680"/>
                      </a:lnTo>
                      <a:lnTo>
                        <a:pt x="231" y="680"/>
                      </a:lnTo>
                      <a:lnTo>
                        <a:pt x="230" y="680"/>
                      </a:lnTo>
                      <a:lnTo>
                        <a:pt x="230" y="679"/>
                      </a:lnTo>
                      <a:lnTo>
                        <a:pt x="231" y="679"/>
                      </a:lnTo>
                      <a:lnTo>
                        <a:pt x="231" y="677"/>
                      </a:lnTo>
                      <a:lnTo>
                        <a:pt x="231" y="677"/>
                      </a:lnTo>
                      <a:lnTo>
                        <a:pt x="232" y="676"/>
                      </a:lnTo>
                      <a:lnTo>
                        <a:pt x="231" y="676"/>
                      </a:lnTo>
                      <a:lnTo>
                        <a:pt x="230" y="676"/>
                      </a:lnTo>
                      <a:lnTo>
                        <a:pt x="230" y="677"/>
                      </a:lnTo>
                      <a:lnTo>
                        <a:pt x="230" y="679"/>
                      </a:lnTo>
                      <a:lnTo>
                        <a:pt x="230" y="679"/>
                      </a:lnTo>
                      <a:lnTo>
                        <a:pt x="230" y="680"/>
                      </a:lnTo>
                      <a:lnTo>
                        <a:pt x="229" y="680"/>
                      </a:lnTo>
                      <a:lnTo>
                        <a:pt x="227" y="679"/>
                      </a:lnTo>
                      <a:lnTo>
                        <a:pt x="227" y="679"/>
                      </a:lnTo>
                      <a:lnTo>
                        <a:pt x="226" y="678"/>
                      </a:lnTo>
                      <a:lnTo>
                        <a:pt x="226" y="678"/>
                      </a:lnTo>
                      <a:lnTo>
                        <a:pt x="225" y="677"/>
                      </a:lnTo>
                      <a:lnTo>
                        <a:pt x="225" y="677"/>
                      </a:lnTo>
                      <a:lnTo>
                        <a:pt x="224" y="677"/>
                      </a:lnTo>
                      <a:lnTo>
                        <a:pt x="223" y="676"/>
                      </a:lnTo>
                      <a:lnTo>
                        <a:pt x="223" y="676"/>
                      </a:lnTo>
                      <a:lnTo>
                        <a:pt x="223" y="675"/>
                      </a:lnTo>
                      <a:lnTo>
                        <a:pt x="221" y="674"/>
                      </a:lnTo>
                      <a:lnTo>
                        <a:pt x="218" y="674"/>
                      </a:lnTo>
                      <a:lnTo>
                        <a:pt x="218" y="674"/>
                      </a:lnTo>
                      <a:lnTo>
                        <a:pt x="217" y="674"/>
                      </a:lnTo>
                      <a:lnTo>
                        <a:pt x="216" y="675"/>
                      </a:lnTo>
                      <a:lnTo>
                        <a:pt x="215" y="675"/>
                      </a:lnTo>
                      <a:lnTo>
                        <a:pt x="215" y="673"/>
                      </a:lnTo>
                      <a:lnTo>
                        <a:pt x="214" y="673"/>
                      </a:lnTo>
                      <a:lnTo>
                        <a:pt x="213" y="673"/>
                      </a:lnTo>
                      <a:lnTo>
                        <a:pt x="214" y="673"/>
                      </a:lnTo>
                      <a:lnTo>
                        <a:pt x="213" y="673"/>
                      </a:lnTo>
                      <a:lnTo>
                        <a:pt x="213" y="673"/>
                      </a:lnTo>
                      <a:lnTo>
                        <a:pt x="213" y="672"/>
                      </a:lnTo>
                      <a:lnTo>
                        <a:pt x="213" y="672"/>
                      </a:lnTo>
                      <a:lnTo>
                        <a:pt x="213" y="672"/>
                      </a:lnTo>
                      <a:lnTo>
                        <a:pt x="212" y="671"/>
                      </a:lnTo>
                      <a:lnTo>
                        <a:pt x="210" y="670"/>
                      </a:lnTo>
                      <a:lnTo>
                        <a:pt x="209" y="670"/>
                      </a:lnTo>
                      <a:lnTo>
                        <a:pt x="209" y="670"/>
                      </a:lnTo>
                      <a:lnTo>
                        <a:pt x="208" y="671"/>
                      </a:lnTo>
                      <a:lnTo>
                        <a:pt x="208" y="671"/>
                      </a:lnTo>
                      <a:lnTo>
                        <a:pt x="208" y="671"/>
                      </a:lnTo>
                      <a:lnTo>
                        <a:pt x="207" y="670"/>
                      </a:lnTo>
                      <a:lnTo>
                        <a:pt x="206" y="670"/>
                      </a:lnTo>
                      <a:lnTo>
                        <a:pt x="205" y="670"/>
                      </a:lnTo>
                      <a:lnTo>
                        <a:pt x="205" y="671"/>
                      </a:lnTo>
                      <a:lnTo>
                        <a:pt x="204" y="671"/>
                      </a:lnTo>
                      <a:lnTo>
                        <a:pt x="204" y="671"/>
                      </a:lnTo>
                      <a:lnTo>
                        <a:pt x="203" y="671"/>
                      </a:lnTo>
                      <a:lnTo>
                        <a:pt x="203" y="672"/>
                      </a:lnTo>
                      <a:lnTo>
                        <a:pt x="203" y="672"/>
                      </a:lnTo>
                      <a:lnTo>
                        <a:pt x="202" y="672"/>
                      </a:lnTo>
                      <a:lnTo>
                        <a:pt x="202" y="672"/>
                      </a:lnTo>
                      <a:lnTo>
                        <a:pt x="202" y="672"/>
                      </a:lnTo>
                      <a:lnTo>
                        <a:pt x="202" y="671"/>
                      </a:lnTo>
                      <a:lnTo>
                        <a:pt x="202" y="671"/>
                      </a:lnTo>
                      <a:lnTo>
                        <a:pt x="202" y="670"/>
                      </a:lnTo>
                      <a:lnTo>
                        <a:pt x="202" y="670"/>
                      </a:lnTo>
                      <a:lnTo>
                        <a:pt x="202" y="670"/>
                      </a:lnTo>
                      <a:lnTo>
                        <a:pt x="201" y="669"/>
                      </a:lnTo>
                      <a:lnTo>
                        <a:pt x="201" y="668"/>
                      </a:lnTo>
                      <a:lnTo>
                        <a:pt x="199" y="668"/>
                      </a:lnTo>
                      <a:lnTo>
                        <a:pt x="198" y="667"/>
                      </a:lnTo>
                      <a:lnTo>
                        <a:pt x="198" y="667"/>
                      </a:lnTo>
                      <a:lnTo>
                        <a:pt x="197" y="668"/>
                      </a:lnTo>
                      <a:lnTo>
                        <a:pt x="197" y="667"/>
                      </a:lnTo>
                      <a:lnTo>
                        <a:pt x="196" y="667"/>
                      </a:lnTo>
                      <a:lnTo>
                        <a:pt x="196" y="667"/>
                      </a:lnTo>
                      <a:lnTo>
                        <a:pt x="196" y="667"/>
                      </a:lnTo>
                      <a:lnTo>
                        <a:pt x="196" y="665"/>
                      </a:lnTo>
                      <a:lnTo>
                        <a:pt x="195" y="665"/>
                      </a:lnTo>
                      <a:lnTo>
                        <a:pt x="194" y="664"/>
                      </a:lnTo>
                      <a:lnTo>
                        <a:pt x="194" y="664"/>
                      </a:lnTo>
                      <a:lnTo>
                        <a:pt x="194" y="664"/>
                      </a:lnTo>
                      <a:lnTo>
                        <a:pt x="193" y="664"/>
                      </a:lnTo>
                      <a:lnTo>
                        <a:pt x="192" y="664"/>
                      </a:lnTo>
                      <a:lnTo>
                        <a:pt x="192" y="664"/>
                      </a:lnTo>
                      <a:lnTo>
                        <a:pt x="191" y="664"/>
                      </a:lnTo>
                      <a:lnTo>
                        <a:pt x="191" y="663"/>
                      </a:lnTo>
                      <a:lnTo>
                        <a:pt x="190" y="663"/>
                      </a:lnTo>
                      <a:lnTo>
                        <a:pt x="188" y="662"/>
                      </a:lnTo>
                      <a:lnTo>
                        <a:pt x="186" y="662"/>
                      </a:lnTo>
                      <a:lnTo>
                        <a:pt x="181" y="663"/>
                      </a:lnTo>
                      <a:lnTo>
                        <a:pt x="180" y="663"/>
                      </a:lnTo>
                      <a:lnTo>
                        <a:pt x="180" y="663"/>
                      </a:lnTo>
                      <a:lnTo>
                        <a:pt x="180" y="666"/>
                      </a:lnTo>
                      <a:lnTo>
                        <a:pt x="180" y="666"/>
                      </a:lnTo>
                      <a:lnTo>
                        <a:pt x="180" y="666"/>
                      </a:lnTo>
                      <a:lnTo>
                        <a:pt x="179" y="666"/>
                      </a:lnTo>
                      <a:lnTo>
                        <a:pt x="179" y="667"/>
                      </a:lnTo>
                      <a:lnTo>
                        <a:pt x="178" y="667"/>
                      </a:lnTo>
                      <a:lnTo>
                        <a:pt x="178" y="667"/>
                      </a:lnTo>
                      <a:lnTo>
                        <a:pt x="177" y="668"/>
                      </a:lnTo>
                      <a:lnTo>
                        <a:pt x="177" y="669"/>
                      </a:lnTo>
                      <a:lnTo>
                        <a:pt x="177" y="669"/>
                      </a:lnTo>
                      <a:lnTo>
                        <a:pt x="177" y="669"/>
                      </a:lnTo>
                      <a:lnTo>
                        <a:pt x="178" y="670"/>
                      </a:lnTo>
                      <a:lnTo>
                        <a:pt x="178" y="671"/>
                      </a:lnTo>
                      <a:lnTo>
                        <a:pt x="177" y="671"/>
                      </a:lnTo>
                      <a:lnTo>
                        <a:pt x="177" y="671"/>
                      </a:lnTo>
                      <a:lnTo>
                        <a:pt x="178" y="672"/>
                      </a:lnTo>
                      <a:lnTo>
                        <a:pt x="178" y="672"/>
                      </a:lnTo>
                      <a:lnTo>
                        <a:pt x="179" y="674"/>
                      </a:lnTo>
                      <a:lnTo>
                        <a:pt x="180" y="675"/>
                      </a:lnTo>
                      <a:lnTo>
                        <a:pt x="179" y="676"/>
                      </a:lnTo>
                      <a:lnTo>
                        <a:pt x="179" y="676"/>
                      </a:lnTo>
                      <a:lnTo>
                        <a:pt x="179" y="677"/>
                      </a:lnTo>
                      <a:lnTo>
                        <a:pt x="179" y="678"/>
                      </a:lnTo>
                      <a:lnTo>
                        <a:pt x="178" y="678"/>
                      </a:lnTo>
                      <a:lnTo>
                        <a:pt x="178" y="680"/>
                      </a:lnTo>
                      <a:lnTo>
                        <a:pt x="177" y="681"/>
                      </a:lnTo>
                      <a:lnTo>
                        <a:pt x="176" y="682"/>
                      </a:lnTo>
                      <a:lnTo>
                        <a:pt x="176" y="683"/>
                      </a:lnTo>
                      <a:lnTo>
                        <a:pt x="176" y="684"/>
                      </a:lnTo>
                      <a:lnTo>
                        <a:pt x="175" y="684"/>
                      </a:lnTo>
                      <a:lnTo>
                        <a:pt x="175" y="684"/>
                      </a:lnTo>
                      <a:lnTo>
                        <a:pt x="175" y="684"/>
                      </a:lnTo>
                      <a:lnTo>
                        <a:pt x="175" y="684"/>
                      </a:lnTo>
                      <a:lnTo>
                        <a:pt x="173" y="683"/>
                      </a:lnTo>
                      <a:lnTo>
                        <a:pt x="173" y="685"/>
                      </a:lnTo>
                      <a:lnTo>
                        <a:pt x="171" y="687"/>
                      </a:lnTo>
                      <a:lnTo>
                        <a:pt x="170" y="686"/>
                      </a:lnTo>
                      <a:lnTo>
                        <a:pt x="170" y="687"/>
                      </a:lnTo>
                      <a:lnTo>
                        <a:pt x="169" y="686"/>
                      </a:lnTo>
                      <a:lnTo>
                        <a:pt x="169" y="687"/>
                      </a:lnTo>
                      <a:lnTo>
                        <a:pt x="168" y="687"/>
                      </a:lnTo>
                      <a:lnTo>
                        <a:pt x="168" y="687"/>
                      </a:lnTo>
                      <a:lnTo>
                        <a:pt x="168" y="687"/>
                      </a:lnTo>
                      <a:lnTo>
                        <a:pt x="167" y="686"/>
                      </a:lnTo>
                      <a:lnTo>
                        <a:pt x="166" y="686"/>
                      </a:lnTo>
                      <a:lnTo>
                        <a:pt x="166" y="687"/>
                      </a:lnTo>
                      <a:lnTo>
                        <a:pt x="166" y="686"/>
                      </a:lnTo>
                      <a:lnTo>
                        <a:pt x="166" y="686"/>
                      </a:lnTo>
                      <a:lnTo>
                        <a:pt x="165" y="687"/>
                      </a:lnTo>
                      <a:lnTo>
                        <a:pt x="165" y="688"/>
                      </a:lnTo>
                      <a:lnTo>
                        <a:pt x="164" y="688"/>
                      </a:lnTo>
                      <a:lnTo>
                        <a:pt x="162" y="687"/>
                      </a:lnTo>
                      <a:lnTo>
                        <a:pt x="162" y="688"/>
                      </a:lnTo>
                      <a:lnTo>
                        <a:pt x="161" y="687"/>
                      </a:lnTo>
                      <a:lnTo>
                        <a:pt x="161" y="687"/>
                      </a:lnTo>
                      <a:lnTo>
                        <a:pt x="160" y="687"/>
                      </a:lnTo>
                      <a:lnTo>
                        <a:pt x="160" y="688"/>
                      </a:lnTo>
                      <a:lnTo>
                        <a:pt x="160" y="688"/>
                      </a:lnTo>
                      <a:lnTo>
                        <a:pt x="159" y="688"/>
                      </a:lnTo>
                      <a:lnTo>
                        <a:pt x="159" y="689"/>
                      </a:lnTo>
                      <a:lnTo>
                        <a:pt x="159" y="689"/>
                      </a:lnTo>
                      <a:lnTo>
                        <a:pt x="159" y="689"/>
                      </a:lnTo>
                      <a:lnTo>
                        <a:pt x="159" y="689"/>
                      </a:lnTo>
                      <a:lnTo>
                        <a:pt x="159" y="690"/>
                      </a:lnTo>
                      <a:lnTo>
                        <a:pt x="158" y="689"/>
                      </a:lnTo>
                      <a:lnTo>
                        <a:pt x="158" y="690"/>
                      </a:lnTo>
                      <a:lnTo>
                        <a:pt x="157" y="692"/>
                      </a:lnTo>
                      <a:lnTo>
                        <a:pt x="157" y="692"/>
                      </a:lnTo>
                      <a:lnTo>
                        <a:pt x="157" y="690"/>
                      </a:lnTo>
                      <a:lnTo>
                        <a:pt x="157" y="689"/>
                      </a:lnTo>
                      <a:lnTo>
                        <a:pt x="156" y="689"/>
                      </a:lnTo>
                      <a:lnTo>
                        <a:pt x="156" y="690"/>
                      </a:lnTo>
                      <a:lnTo>
                        <a:pt x="155" y="689"/>
                      </a:lnTo>
                      <a:lnTo>
                        <a:pt x="154" y="689"/>
                      </a:lnTo>
                      <a:lnTo>
                        <a:pt x="154" y="690"/>
                      </a:lnTo>
                      <a:lnTo>
                        <a:pt x="155" y="690"/>
                      </a:lnTo>
                      <a:lnTo>
                        <a:pt x="155" y="690"/>
                      </a:lnTo>
                      <a:lnTo>
                        <a:pt x="154" y="692"/>
                      </a:lnTo>
                      <a:lnTo>
                        <a:pt x="154" y="692"/>
                      </a:lnTo>
                      <a:lnTo>
                        <a:pt x="153" y="692"/>
                      </a:lnTo>
                      <a:lnTo>
                        <a:pt x="153" y="692"/>
                      </a:lnTo>
                      <a:lnTo>
                        <a:pt x="153" y="692"/>
                      </a:lnTo>
                      <a:lnTo>
                        <a:pt x="152" y="692"/>
                      </a:lnTo>
                      <a:lnTo>
                        <a:pt x="152" y="692"/>
                      </a:lnTo>
                      <a:lnTo>
                        <a:pt x="150" y="693"/>
                      </a:lnTo>
                      <a:lnTo>
                        <a:pt x="149" y="693"/>
                      </a:lnTo>
                      <a:lnTo>
                        <a:pt x="148" y="693"/>
                      </a:lnTo>
                      <a:lnTo>
                        <a:pt x="148" y="692"/>
                      </a:lnTo>
                      <a:lnTo>
                        <a:pt x="147" y="692"/>
                      </a:lnTo>
                      <a:lnTo>
                        <a:pt x="147" y="692"/>
                      </a:lnTo>
                      <a:lnTo>
                        <a:pt x="147" y="692"/>
                      </a:lnTo>
                      <a:lnTo>
                        <a:pt x="148" y="692"/>
                      </a:lnTo>
                      <a:lnTo>
                        <a:pt x="148" y="692"/>
                      </a:lnTo>
                      <a:lnTo>
                        <a:pt x="146" y="689"/>
                      </a:lnTo>
                      <a:lnTo>
                        <a:pt x="146" y="688"/>
                      </a:lnTo>
                      <a:lnTo>
                        <a:pt x="146" y="688"/>
                      </a:lnTo>
                      <a:lnTo>
                        <a:pt x="147" y="688"/>
                      </a:lnTo>
                      <a:lnTo>
                        <a:pt x="146" y="687"/>
                      </a:lnTo>
                      <a:lnTo>
                        <a:pt x="145" y="687"/>
                      </a:lnTo>
                      <a:lnTo>
                        <a:pt x="145" y="686"/>
                      </a:lnTo>
                      <a:lnTo>
                        <a:pt x="145" y="686"/>
                      </a:lnTo>
                      <a:lnTo>
                        <a:pt x="144" y="685"/>
                      </a:lnTo>
                      <a:lnTo>
                        <a:pt x="144" y="686"/>
                      </a:lnTo>
                      <a:lnTo>
                        <a:pt x="144" y="686"/>
                      </a:lnTo>
                      <a:lnTo>
                        <a:pt x="143" y="686"/>
                      </a:lnTo>
                      <a:lnTo>
                        <a:pt x="143" y="685"/>
                      </a:lnTo>
                      <a:lnTo>
                        <a:pt x="143" y="685"/>
                      </a:lnTo>
                      <a:lnTo>
                        <a:pt x="142" y="685"/>
                      </a:lnTo>
                      <a:lnTo>
                        <a:pt x="142" y="684"/>
                      </a:lnTo>
                      <a:lnTo>
                        <a:pt x="142" y="684"/>
                      </a:lnTo>
                      <a:lnTo>
                        <a:pt x="142" y="683"/>
                      </a:lnTo>
                      <a:lnTo>
                        <a:pt x="141" y="683"/>
                      </a:lnTo>
                      <a:lnTo>
                        <a:pt x="141" y="682"/>
                      </a:lnTo>
                      <a:lnTo>
                        <a:pt x="141" y="681"/>
                      </a:lnTo>
                      <a:lnTo>
                        <a:pt x="141" y="681"/>
                      </a:lnTo>
                      <a:lnTo>
                        <a:pt x="141" y="681"/>
                      </a:lnTo>
                      <a:lnTo>
                        <a:pt x="142" y="680"/>
                      </a:lnTo>
                      <a:lnTo>
                        <a:pt x="143" y="680"/>
                      </a:lnTo>
                      <a:lnTo>
                        <a:pt x="142" y="679"/>
                      </a:lnTo>
                      <a:lnTo>
                        <a:pt x="143" y="678"/>
                      </a:lnTo>
                      <a:lnTo>
                        <a:pt x="143" y="678"/>
                      </a:lnTo>
                      <a:lnTo>
                        <a:pt x="144" y="678"/>
                      </a:lnTo>
                      <a:lnTo>
                        <a:pt x="145" y="677"/>
                      </a:lnTo>
                      <a:lnTo>
                        <a:pt x="146" y="677"/>
                      </a:lnTo>
                      <a:lnTo>
                        <a:pt x="146" y="676"/>
                      </a:lnTo>
                      <a:lnTo>
                        <a:pt x="146" y="675"/>
                      </a:lnTo>
                      <a:lnTo>
                        <a:pt x="146" y="675"/>
                      </a:lnTo>
                      <a:lnTo>
                        <a:pt x="147" y="675"/>
                      </a:lnTo>
                      <a:lnTo>
                        <a:pt x="147" y="674"/>
                      </a:lnTo>
                      <a:lnTo>
                        <a:pt x="146" y="674"/>
                      </a:lnTo>
                      <a:lnTo>
                        <a:pt x="146" y="674"/>
                      </a:lnTo>
                      <a:lnTo>
                        <a:pt x="146" y="673"/>
                      </a:lnTo>
                      <a:lnTo>
                        <a:pt x="145" y="673"/>
                      </a:lnTo>
                      <a:lnTo>
                        <a:pt x="145" y="672"/>
                      </a:lnTo>
                      <a:lnTo>
                        <a:pt x="145" y="672"/>
                      </a:lnTo>
                      <a:lnTo>
                        <a:pt x="145" y="671"/>
                      </a:lnTo>
                      <a:lnTo>
                        <a:pt x="145" y="671"/>
                      </a:lnTo>
                      <a:lnTo>
                        <a:pt x="145" y="671"/>
                      </a:lnTo>
                      <a:lnTo>
                        <a:pt x="145" y="670"/>
                      </a:lnTo>
                      <a:lnTo>
                        <a:pt x="144" y="669"/>
                      </a:lnTo>
                      <a:lnTo>
                        <a:pt x="145" y="668"/>
                      </a:lnTo>
                      <a:lnTo>
                        <a:pt x="144" y="667"/>
                      </a:lnTo>
                      <a:lnTo>
                        <a:pt x="144" y="667"/>
                      </a:lnTo>
                      <a:lnTo>
                        <a:pt x="144" y="667"/>
                      </a:lnTo>
                      <a:lnTo>
                        <a:pt x="144" y="666"/>
                      </a:lnTo>
                      <a:lnTo>
                        <a:pt x="144" y="665"/>
                      </a:lnTo>
                      <a:lnTo>
                        <a:pt x="144" y="665"/>
                      </a:lnTo>
                      <a:lnTo>
                        <a:pt x="144" y="665"/>
                      </a:lnTo>
                      <a:lnTo>
                        <a:pt x="144" y="665"/>
                      </a:lnTo>
                      <a:lnTo>
                        <a:pt x="144" y="664"/>
                      </a:lnTo>
                      <a:lnTo>
                        <a:pt x="143" y="664"/>
                      </a:lnTo>
                      <a:lnTo>
                        <a:pt x="143" y="664"/>
                      </a:lnTo>
                      <a:lnTo>
                        <a:pt x="143" y="664"/>
                      </a:lnTo>
                      <a:lnTo>
                        <a:pt x="143" y="663"/>
                      </a:lnTo>
                      <a:lnTo>
                        <a:pt x="142" y="663"/>
                      </a:lnTo>
                      <a:lnTo>
                        <a:pt x="142" y="662"/>
                      </a:lnTo>
                      <a:lnTo>
                        <a:pt x="143" y="662"/>
                      </a:lnTo>
                      <a:lnTo>
                        <a:pt x="143" y="662"/>
                      </a:lnTo>
                      <a:lnTo>
                        <a:pt x="144" y="662"/>
                      </a:lnTo>
                      <a:lnTo>
                        <a:pt x="144" y="661"/>
                      </a:lnTo>
                      <a:lnTo>
                        <a:pt x="143" y="660"/>
                      </a:lnTo>
                      <a:lnTo>
                        <a:pt x="144" y="660"/>
                      </a:lnTo>
                      <a:lnTo>
                        <a:pt x="144" y="660"/>
                      </a:lnTo>
                      <a:lnTo>
                        <a:pt x="144" y="659"/>
                      </a:lnTo>
                      <a:lnTo>
                        <a:pt x="145" y="660"/>
                      </a:lnTo>
                      <a:lnTo>
                        <a:pt x="146" y="659"/>
                      </a:lnTo>
                      <a:lnTo>
                        <a:pt x="146" y="658"/>
                      </a:lnTo>
                      <a:lnTo>
                        <a:pt x="146" y="658"/>
                      </a:lnTo>
                      <a:lnTo>
                        <a:pt x="146" y="657"/>
                      </a:lnTo>
                      <a:lnTo>
                        <a:pt x="146" y="656"/>
                      </a:lnTo>
                      <a:lnTo>
                        <a:pt x="146" y="656"/>
                      </a:lnTo>
                      <a:lnTo>
                        <a:pt x="146" y="655"/>
                      </a:lnTo>
                      <a:lnTo>
                        <a:pt x="147" y="655"/>
                      </a:lnTo>
                      <a:lnTo>
                        <a:pt x="147" y="655"/>
                      </a:lnTo>
                      <a:lnTo>
                        <a:pt x="147" y="654"/>
                      </a:lnTo>
                      <a:lnTo>
                        <a:pt x="147" y="654"/>
                      </a:lnTo>
                      <a:lnTo>
                        <a:pt x="148" y="652"/>
                      </a:lnTo>
                      <a:lnTo>
                        <a:pt x="148" y="652"/>
                      </a:lnTo>
                      <a:lnTo>
                        <a:pt x="149" y="651"/>
                      </a:lnTo>
                      <a:lnTo>
                        <a:pt x="149" y="651"/>
                      </a:lnTo>
                      <a:lnTo>
                        <a:pt x="150" y="650"/>
                      </a:lnTo>
                      <a:lnTo>
                        <a:pt x="150" y="650"/>
                      </a:lnTo>
                      <a:lnTo>
                        <a:pt x="150" y="649"/>
                      </a:lnTo>
                      <a:lnTo>
                        <a:pt x="150" y="649"/>
                      </a:lnTo>
                      <a:lnTo>
                        <a:pt x="150" y="649"/>
                      </a:lnTo>
                      <a:lnTo>
                        <a:pt x="153" y="650"/>
                      </a:lnTo>
                      <a:lnTo>
                        <a:pt x="153" y="649"/>
                      </a:lnTo>
                      <a:lnTo>
                        <a:pt x="154" y="649"/>
                      </a:lnTo>
                      <a:lnTo>
                        <a:pt x="154" y="649"/>
                      </a:lnTo>
                      <a:lnTo>
                        <a:pt x="155" y="648"/>
                      </a:lnTo>
                      <a:lnTo>
                        <a:pt x="155" y="648"/>
                      </a:lnTo>
                      <a:lnTo>
                        <a:pt x="156" y="649"/>
                      </a:lnTo>
                      <a:lnTo>
                        <a:pt x="157" y="648"/>
                      </a:lnTo>
                      <a:lnTo>
                        <a:pt x="157" y="649"/>
                      </a:lnTo>
                      <a:lnTo>
                        <a:pt x="158" y="648"/>
                      </a:lnTo>
                      <a:lnTo>
                        <a:pt x="158" y="649"/>
                      </a:lnTo>
                      <a:lnTo>
                        <a:pt x="158" y="649"/>
                      </a:lnTo>
                      <a:lnTo>
                        <a:pt x="159" y="648"/>
                      </a:lnTo>
                      <a:lnTo>
                        <a:pt x="159" y="648"/>
                      </a:lnTo>
                      <a:lnTo>
                        <a:pt x="160" y="648"/>
                      </a:lnTo>
                      <a:lnTo>
                        <a:pt x="159" y="648"/>
                      </a:lnTo>
                      <a:lnTo>
                        <a:pt x="160" y="647"/>
                      </a:lnTo>
                      <a:lnTo>
                        <a:pt x="160" y="646"/>
                      </a:lnTo>
                      <a:lnTo>
                        <a:pt x="161" y="647"/>
                      </a:lnTo>
                      <a:lnTo>
                        <a:pt x="160" y="646"/>
                      </a:lnTo>
                      <a:lnTo>
                        <a:pt x="161" y="645"/>
                      </a:lnTo>
                      <a:lnTo>
                        <a:pt x="161" y="645"/>
                      </a:lnTo>
                      <a:lnTo>
                        <a:pt x="161" y="645"/>
                      </a:lnTo>
                      <a:lnTo>
                        <a:pt x="161" y="645"/>
                      </a:lnTo>
                      <a:lnTo>
                        <a:pt x="162" y="645"/>
                      </a:lnTo>
                      <a:lnTo>
                        <a:pt x="162" y="644"/>
                      </a:lnTo>
                      <a:lnTo>
                        <a:pt x="164" y="644"/>
                      </a:lnTo>
                      <a:lnTo>
                        <a:pt x="164" y="644"/>
                      </a:lnTo>
                      <a:lnTo>
                        <a:pt x="164" y="643"/>
                      </a:lnTo>
                      <a:lnTo>
                        <a:pt x="164" y="643"/>
                      </a:lnTo>
                      <a:lnTo>
                        <a:pt x="165" y="643"/>
                      </a:lnTo>
                      <a:lnTo>
                        <a:pt x="165" y="642"/>
                      </a:lnTo>
                      <a:lnTo>
                        <a:pt x="165" y="641"/>
                      </a:lnTo>
                      <a:lnTo>
                        <a:pt x="166" y="641"/>
                      </a:lnTo>
                      <a:lnTo>
                        <a:pt x="166" y="641"/>
                      </a:lnTo>
                      <a:lnTo>
                        <a:pt x="166" y="640"/>
                      </a:lnTo>
                      <a:lnTo>
                        <a:pt x="166" y="641"/>
                      </a:lnTo>
                      <a:lnTo>
                        <a:pt x="166" y="641"/>
                      </a:lnTo>
                      <a:lnTo>
                        <a:pt x="167" y="642"/>
                      </a:lnTo>
                      <a:lnTo>
                        <a:pt x="168" y="642"/>
                      </a:lnTo>
                      <a:lnTo>
                        <a:pt x="168" y="641"/>
                      </a:lnTo>
                      <a:lnTo>
                        <a:pt x="168" y="641"/>
                      </a:lnTo>
                      <a:lnTo>
                        <a:pt x="169" y="641"/>
                      </a:lnTo>
                      <a:lnTo>
                        <a:pt x="169" y="640"/>
                      </a:lnTo>
                      <a:lnTo>
                        <a:pt x="169" y="640"/>
                      </a:lnTo>
                      <a:lnTo>
                        <a:pt x="170" y="640"/>
                      </a:lnTo>
                      <a:lnTo>
                        <a:pt x="170" y="640"/>
                      </a:lnTo>
                      <a:lnTo>
                        <a:pt x="170" y="639"/>
                      </a:lnTo>
                      <a:lnTo>
                        <a:pt x="171" y="638"/>
                      </a:lnTo>
                      <a:lnTo>
                        <a:pt x="171" y="638"/>
                      </a:lnTo>
                      <a:lnTo>
                        <a:pt x="172" y="639"/>
                      </a:lnTo>
                      <a:lnTo>
                        <a:pt x="173" y="638"/>
                      </a:lnTo>
                      <a:lnTo>
                        <a:pt x="173" y="638"/>
                      </a:lnTo>
                      <a:lnTo>
                        <a:pt x="173" y="638"/>
                      </a:lnTo>
                      <a:lnTo>
                        <a:pt x="173" y="637"/>
                      </a:lnTo>
                      <a:lnTo>
                        <a:pt x="174" y="637"/>
                      </a:lnTo>
                      <a:lnTo>
                        <a:pt x="174" y="637"/>
                      </a:lnTo>
                      <a:lnTo>
                        <a:pt x="175" y="637"/>
                      </a:lnTo>
                      <a:lnTo>
                        <a:pt x="175" y="636"/>
                      </a:lnTo>
                      <a:lnTo>
                        <a:pt x="175" y="636"/>
                      </a:lnTo>
                      <a:lnTo>
                        <a:pt x="175" y="636"/>
                      </a:lnTo>
                      <a:lnTo>
                        <a:pt x="175" y="635"/>
                      </a:lnTo>
                      <a:lnTo>
                        <a:pt x="176" y="635"/>
                      </a:lnTo>
                      <a:lnTo>
                        <a:pt x="176" y="635"/>
                      </a:lnTo>
                      <a:lnTo>
                        <a:pt x="177" y="634"/>
                      </a:lnTo>
                      <a:lnTo>
                        <a:pt x="178" y="634"/>
                      </a:lnTo>
                      <a:lnTo>
                        <a:pt x="178" y="634"/>
                      </a:lnTo>
                      <a:lnTo>
                        <a:pt x="178" y="633"/>
                      </a:lnTo>
                      <a:lnTo>
                        <a:pt x="179" y="634"/>
                      </a:lnTo>
                      <a:lnTo>
                        <a:pt x="181" y="634"/>
                      </a:lnTo>
                      <a:lnTo>
                        <a:pt x="182" y="633"/>
                      </a:lnTo>
                      <a:lnTo>
                        <a:pt x="182" y="633"/>
                      </a:lnTo>
                      <a:lnTo>
                        <a:pt x="183" y="633"/>
                      </a:lnTo>
                      <a:lnTo>
                        <a:pt x="183" y="633"/>
                      </a:lnTo>
                      <a:lnTo>
                        <a:pt x="184" y="633"/>
                      </a:lnTo>
                      <a:lnTo>
                        <a:pt x="184" y="633"/>
                      </a:lnTo>
                      <a:lnTo>
                        <a:pt x="184" y="633"/>
                      </a:lnTo>
                      <a:lnTo>
                        <a:pt x="184" y="632"/>
                      </a:lnTo>
                      <a:lnTo>
                        <a:pt x="185" y="632"/>
                      </a:lnTo>
                      <a:lnTo>
                        <a:pt x="185" y="633"/>
                      </a:lnTo>
                      <a:lnTo>
                        <a:pt x="185" y="633"/>
                      </a:lnTo>
                      <a:lnTo>
                        <a:pt x="186" y="632"/>
                      </a:lnTo>
                      <a:lnTo>
                        <a:pt x="186" y="632"/>
                      </a:lnTo>
                      <a:lnTo>
                        <a:pt x="186" y="632"/>
                      </a:lnTo>
                      <a:lnTo>
                        <a:pt x="187" y="632"/>
                      </a:lnTo>
                      <a:lnTo>
                        <a:pt x="188" y="633"/>
                      </a:lnTo>
                      <a:lnTo>
                        <a:pt x="188" y="633"/>
                      </a:lnTo>
                      <a:lnTo>
                        <a:pt x="189" y="633"/>
                      </a:lnTo>
                      <a:lnTo>
                        <a:pt x="190" y="633"/>
                      </a:lnTo>
                      <a:lnTo>
                        <a:pt x="190" y="633"/>
                      </a:lnTo>
                      <a:lnTo>
                        <a:pt x="190" y="632"/>
                      </a:lnTo>
                      <a:lnTo>
                        <a:pt x="191" y="632"/>
                      </a:lnTo>
                      <a:lnTo>
                        <a:pt x="192" y="633"/>
                      </a:lnTo>
                      <a:lnTo>
                        <a:pt x="191" y="633"/>
                      </a:lnTo>
                      <a:lnTo>
                        <a:pt x="191" y="633"/>
                      </a:lnTo>
                      <a:lnTo>
                        <a:pt x="190" y="634"/>
                      </a:lnTo>
                      <a:lnTo>
                        <a:pt x="190" y="634"/>
                      </a:lnTo>
                      <a:lnTo>
                        <a:pt x="191" y="635"/>
                      </a:lnTo>
                      <a:lnTo>
                        <a:pt x="191" y="635"/>
                      </a:lnTo>
                      <a:lnTo>
                        <a:pt x="191" y="635"/>
                      </a:lnTo>
                      <a:lnTo>
                        <a:pt x="191" y="636"/>
                      </a:lnTo>
                      <a:lnTo>
                        <a:pt x="192" y="636"/>
                      </a:lnTo>
                      <a:lnTo>
                        <a:pt x="192" y="636"/>
                      </a:lnTo>
                      <a:lnTo>
                        <a:pt x="193" y="636"/>
                      </a:lnTo>
                      <a:lnTo>
                        <a:pt x="193" y="637"/>
                      </a:lnTo>
                      <a:lnTo>
                        <a:pt x="192" y="636"/>
                      </a:lnTo>
                      <a:lnTo>
                        <a:pt x="193" y="638"/>
                      </a:lnTo>
                      <a:lnTo>
                        <a:pt x="194" y="639"/>
                      </a:lnTo>
                      <a:lnTo>
                        <a:pt x="195" y="639"/>
                      </a:lnTo>
                      <a:lnTo>
                        <a:pt x="195" y="639"/>
                      </a:lnTo>
                      <a:lnTo>
                        <a:pt x="196" y="640"/>
                      </a:lnTo>
                      <a:lnTo>
                        <a:pt x="196" y="640"/>
                      </a:lnTo>
                      <a:lnTo>
                        <a:pt x="199" y="640"/>
                      </a:lnTo>
                      <a:lnTo>
                        <a:pt x="199" y="640"/>
                      </a:lnTo>
                      <a:lnTo>
                        <a:pt x="199" y="641"/>
                      </a:lnTo>
                      <a:lnTo>
                        <a:pt x="199" y="641"/>
                      </a:lnTo>
                      <a:lnTo>
                        <a:pt x="201" y="642"/>
                      </a:lnTo>
                      <a:lnTo>
                        <a:pt x="201" y="642"/>
                      </a:lnTo>
                      <a:lnTo>
                        <a:pt x="201" y="643"/>
                      </a:lnTo>
                      <a:lnTo>
                        <a:pt x="199" y="643"/>
                      </a:lnTo>
                      <a:lnTo>
                        <a:pt x="199" y="644"/>
                      </a:lnTo>
                      <a:lnTo>
                        <a:pt x="199" y="645"/>
                      </a:lnTo>
                      <a:lnTo>
                        <a:pt x="199" y="646"/>
                      </a:lnTo>
                      <a:lnTo>
                        <a:pt x="201" y="646"/>
                      </a:lnTo>
                      <a:lnTo>
                        <a:pt x="201" y="645"/>
                      </a:lnTo>
                      <a:lnTo>
                        <a:pt x="201" y="644"/>
                      </a:lnTo>
                      <a:lnTo>
                        <a:pt x="201" y="644"/>
                      </a:lnTo>
                      <a:lnTo>
                        <a:pt x="202" y="643"/>
                      </a:lnTo>
                      <a:lnTo>
                        <a:pt x="202" y="643"/>
                      </a:lnTo>
                      <a:lnTo>
                        <a:pt x="202" y="643"/>
                      </a:lnTo>
                      <a:lnTo>
                        <a:pt x="202" y="642"/>
                      </a:lnTo>
                      <a:lnTo>
                        <a:pt x="201" y="641"/>
                      </a:lnTo>
                      <a:lnTo>
                        <a:pt x="201" y="641"/>
                      </a:lnTo>
                      <a:lnTo>
                        <a:pt x="201" y="640"/>
                      </a:lnTo>
                      <a:lnTo>
                        <a:pt x="201" y="639"/>
                      </a:lnTo>
                      <a:lnTo>
                        <a:pt x="205" y="636"/>
                      </a:lnTo>
                      <a:lnTo>
                        <a:pt x="205" y="636"/>
                      </a:lnTo>
                      <a:lnTo>
                        <a:pt x="207" y="633"/>
                      </a:lnTo>
                      <a:lnTo>
                        <a:pt x="208" y="631"/>
                      </a:lnTo>
                      <a:lnTo>
                        <a:pt x="208" y="631"/>
                      </a:lnTo>
                      <a:lnTo>
                        <a:pt x="208" y="631"/>
                      </a:lnTo>
                      <a:lnTo>
                        <a:pt x="209" y="630"/>
                      </a:lnTo>
                      <a:lnTo>
                        <a:pt x="209" y="630"/>
                      </a:lnTo>
                      <a:lnTo>
                        <a:pt x="209" y="630"/>
                      </a:lnTo>
                      <a:lnTo>
                        <a:pt x="209" y="629"/>
                      </a:lnTo>
                      <a:lnTo>
                        <a:pt x="209" y="629"/>
                      </a:lnTo>
                      <a:lnTo>
                        <a:pt x="209" y="628"/>
                      </a:lnTo>
                      <a:lnTo>
                        <a:pt x="209" y="627"/>
                      </a:lnTo>
                      <a:lnTo>
                        <a:pt x="209" y="627"/>
                      </a:lnTo>
                      <a:lnTo>
                        <a:pt x="208" y="625"/>
                      </a:lnTo>
                      <a:lnTo>
                        <a:pt x="209" y="625"/>
                      </a:lnTo>
                      <a:lnTo>
                        <a:pt x="209" y="625"/>
                      </a:lnTo>
                      <a:lnTo>
                        <a:pt x="209" y="625"/>
                      </a:lnTo>
                      <a:lnTo>
                        <a:pt x="210" y="625"/>
                      </a:lnTo>
                      <a:lnTo>
                        <a:pt x="211" y="625"/>
                      </a:lnTo>
                      <a:lnTo>
                        <a:pt x="211" y="624"/>
                      </a:lnTo>
                      <a:lnTo>
                        <a:pt x="212" y="624"/>
                      </a:lnTo>
                      <a:lnTo>
                        <a:pt x="212" y="625"/>
                      </a:lnTo>
                      <a:lnTo>
                        <a:pt x="213" y="625"/>
                      </a:lnTo>
                      <a:lnTo>
                        <a:pt x="213" y="625"/>
                      </a:lnTo>
                      <a:lnTo>
                        <a:pt x="213" y="626"/>
                      </a:lnTo>
                      <a:lnTo>
                        <a:pt x="213" y="626"/>
                      </a:lnTo>
                      <a:lnTo>
                        <a:pt x="214" y="627"/>
                      </a:lnTo>
                      <a:lnTo>
                        <a:pt x="214" y="626"/>
                      </a:lnTo>
                      <a:lnTo>
                        <a:pt x="215" y="626"/>
                      </a:lnTo>
                      <a:lnTo>
                        <a:pt x="215" y="626"/>
                      </a:lnTo>
                      <a:lnTo>
                        <a:pt x="216" y="626"/>
                      </a:lnTo>
                      <a:lnTo>
                        <a:pt x="216" y="625"/>
                      </a:lnTo>
                      <a:lnTo>
                        <a:pt x="217" y="625"/>
                      </a:lnTo>
                      <a:lnTo>
                        <a:pt x="218" y="626"/>
                      </a:lnTo>
                      <a:lnTo>
                        <a:pt x="219" y="626"/>
                      </a:lnTo>
                      <a:lnTo>
                        <a:pt x="219" y="626"/>
                      </a:lnTo>
                      <a:lnTo>
                        <a:pt x="220" y="626"/>
                      </a:lnTo>
                      <a:lnTo>
                        <a:pt x="221" y="626"/>
                      </a:lnTo>
                      <a:lnTo>
                        <a:pt x="222" y="625"/>
                      </a:lnTo>
                      <a:lnTo>
                        <a:pt x="222" y="625"/>
                      </a:lnTo>
                      <a:lnTo>
                        <a:pt x="222" y="624"/>
                      </a:lnTo>
                      <a:lnTo>
                        <a:pt x="223" y="624"/>
                      </a:lnTo>
                      <a:lnTo>
                        <a:pt x="223" y="623"/>
                      </a:lnTo>
                      <a:lnTo>
                        <a:pt x="224" y="623"/>
                      </a:lnTo>
                      <a:lnTo>
                        <a:pt x="224" y="623"/>
                      </a:lnTo>
                      <a:lnTo>
                        <a:pt x="224" y="623"/>
                      </a:lnTo>
                      <a:lnTo>
                        <a:pt x="225" y="623"/>
                      </a:lnTo>
                      <a:lnTo>
                        <a:pt x="225" y="622"/>
                      </a:lnTo>
                      <a:lnTo>
                        <a:pt x="225" y="621"/>
                      </a:lnTo>
                      <a:lnTo>
                        <a:pt x="225" y="621"/>
                      </a:lnTo>
                      <a:lnTo>
                        <a:pt x="225" y="621"/>
                      </a:lnTo>
                      <a:lnTo>
                        <a:pt x="225" y="621"/>
                      </a:lnTo>
                      <a:lnTo>
                        <a:pt x="226" y="620"/>
                      </a:lnTo>
                      <a:lnTo>
                        <a:pt x="226" y="620"/>
                      </a:lnTo>
                      <a:lnTo>
                        <a:pt x="226" y="619"/>
                      </a:lnTo>
                      <a:lnTo>
                        <a:pt x="226" y="619"/>
                      </a:lnTo>
                      <a:lnTo>
                        <a:pt x="227" y="619"/>
                      </a:lnTo>
                      <a:lnTo>
                        <a:pt x="227" y="619"/>
                      </a:lnTo>
                      <a:lnTo>
                        <a:pt x="227" y="619"/>
                      </a:lnTo>
                      <a:lnTo>
                        <a:pt x="227" y="618"/>
                      </a:lnTo>
                      <a:lnTo>
                        <a:pt x="228" y="618"/>
                      </a:lnTo>
                      <a:lnTo>
                        <a:pt x="228" y="618"/>
                      </a:lnTo>
                      <a:lnTo>
                        <a:pt x="229" y="618"/>
                      </a:lnTo>
                      <a:lnTo>
                        <a:pt x="229" y="619"/>
                      </a:lnTo>
                      <a:lnTo>
                        <a:pt x="229" y="618"/>
                      </a:lnTo>
                      <a:lnTo>
                        <a:pt x="230" y="618"/>
                      </a:lnTo>
                      <a:lnTo>
                        <a:pt x="230" y="618"/>
                      </a:lnTo>
                      <a:lnTo>
                        <a:pt x="231" y="618"/>
                      </a:lnTo>
                      <a:lnTo>
                        <a:pt x="231" y="617"/>
                      </a:lnTo>
                      <a:lnTo>
                        <a:pt x="231" y="617"/>
                      </a:lnTo>
                      <a:lnTo>
                        <a:pt x="230" y="616"/>
                      </a:lnTo>
                      <a:lnTo>
                        <a:pt x="231" y="616"/>
                      </a:lnTo>
                      <a:lnTo>
                        <a:pt x="232" y="614"/>
                      </a:lnTo>
                      <a:lnTo>
                        <a:pt x="233" y="613"/>
                      </a:lnTo>
                      <a:lnTo>
                        <a:pt x="235" y="613"/>
                      </a:lnTo>
                      <a:lnTo>
                        <a:pt x="235" y="613"/>
                      </a:lnTo>
                      <a:lnTo>
                        <a:pt x="235" y="613"/>
                      </a:lnTo>
                      <a:lnTo>
                        <a:pt x="236" y="613"/>
                      </a:lnTo>
                      <a:lnTo>
                        <a:pt x="236" y="612"/>
                      </a:lnTo>
                      <a:lnTo>
                        <a:pt x="236" y="612"/>
                      </a:lnTo>
                      <a:lnTo>
                        <a:pt x="237" y="611"/>
                      </a:lnTo>
                      <a:lnTo>
                        <a:pt x="239" y="611"/>
                      </a:lnTo>
                      <a:lnTo>
                        <a:pt x="239" y="611"/>
                      </a:lnTo>
                      <a:lnTo>
                        <a:pt x="240" y="610"/>
                      </a:lnTo>
                      <a:lnTo>
                        <a:pt x="240" y="610"/>
                      </a:lnTo>
                      <a:lnTo>
                        <a:pt x="241" y="609"/>
                      </a:lnTo>
                      <a:lnTo>
                        <a:pt x="240" y="609"/>
                      </a:lnTo>
                      <a:lnTo>
                        <a:pt x="241" y="609"/>
                      </a:lnTo>
                      <a:lnTo>
                        <a:pt x="241" y="609"/>
                      </a:lnTo>
                      <a:lnTo>
                        <a:pt x="241" y="608"/>
                      </a:lnTo>
                      <a:lnTo>
                        <a:pt x="241" y="608"/>
                      </a:lnTo>
                      <a:lnTo>
                        <a:pt x="241" y="607"/>
                      </a:lnTo>
                      <a:lnTo>
                        <a:pt x="242" y="605"/>
                      </a:lnTo>
                      <a:lnTo>
                        <a:pt x="242" y="605"/>
                      </a:lnTo>
                      <a:lnTo>
                        <a:pt x="242" y="605"/>
                      </a:lnTo>
                      <a:lnTo>
                        <a:pt x="242" y="605"/>
                      </a:lnTo>
                      <a:lnTo>
                        <a:pt x="242" y="605"/>
                      </a:lnTo>
                      <a:lnTo>
                        <a:pt x="242" y="604"/>
                      </a:lnTo>
                      <a:lnTo>
                        <a:pt x="242" y="604"/>
                      </a:lnTo>
                      <a:lnTo>
                        <a:pt x="242" y="602"/>
                      </a:lnTo>
                      <a:lnTo>
                        <a:pt x="242" y="601"/>
                      </a:lnTo>
                      <a:lnTo>
                        <a:pt x="242" y="599"/>
                      </a:lnTo>
                      <a:lnTo>
                        <a:pt x="243" y="599"/>
                      </a:lnTo>
                      <a:lnTo>
                        <a:pt x="244" y="599"/>
                      </a:lnTo>
                      <a:lnTo>
                        <a:pt x="244" y="599"/>
                      </a:lnTo>
                      <a:lnTo>
                        <a:pt x="245" y="598"/>
                      </a:lnTo>
                      <a:lnTo>
                        <a:pt x="248" y="599"/>
                      </a:lnTo>
                      <a:lnTo>
                        <a:pt x="249" y="598"/>
                      </a:lnTo>
                      <a:lnTo>
                        <a:pt x="249" y="598"/>
                      </a:lnTo>
                      <a:lnTo>
                        <a:pt x="249" y="599"/>
                      </a:lnTo>
                      <a:lnTo>
                        <a:pt x="249" y="599"/>
                      </a:lnTo>
                      <a:lnTo>
                        <a:pt x="250" y="598"/>
                      </a:lnTo>
                      <a:lnTo>
                        <a:pt x="250" y="598"/>
                      </a:lnTo>
                      <a:lnTo>
                        <a:pt x="250" y="598"/>
                      </a:lnTo>
                      <a:lnTo>
                        <a:pt x="250" y="597"/>
                      </a:lnTo>
                      <a:lnTo>
                        <a:pt x="251" y="597"/>
                      </a:lnTo>
                      <a:lnTo>
                        <a:pt x="251" y="596"/>
                      </a:lnTo>
                      <a:lnTo>
                        <a:pt x="251" y="596"/>
                      </a:lnTo>
                      <a:lnTo>
                        <a:pt x="252" y="596"/>
                      </a:lnTo>
                      <a:lnTo>
                        <a:pt x="252" y="595"/>
                      </a:lnTo>
                      <a:lnTo>
                        <a:pt x="252" y="595"/>
                      </a:lnTo>
                      <a:lnTo>
                        <a:pt x="253" y="595"/>
                      </a:lnTo>
                      <a:lnTo>
                        <a:pt x="253" y="594"/>
                      </a:lnTo>
                      <a:lnTo>
                        <a:pt x="253" y="594"/>
                      </a:lnTo>
                      <a:lnTo>
                        <a:pt x="253" y="593"/>
                      </a:lnTo>
                      <a:lnTo>
                        <a:pt x="253" y="593"/>
                      </a:lnTo>
                      <a:lnTo>
                        <a:pt x="253" y="592"/>
                      </a:lnTo>
                      <a:lnTo>
                        <a:pt x="254" y="592"/>
                      </a:lnTo>
                      <a:lnTo>
                        <a:pt x="255" y="592"/>
                      </a:lnTo>
                      <a:lnTo>
                        <a:pt x="255" y="592"/>
                      </a:lnTo>
                      <a:lnTo>
                        <a:pt x="256" y="591"/>
                      </a:lnTo>
                      <a:lnTo>
                        <a:pt x="257" y="591"/>
                      </a:lnTo>
                      <a:lnTo>
                        <a:pt x="257" y="590"/>
                      </a:lnTo>
                      <a:lnTo>
                        <a:pt x="257" y="590"/>
                      </a:lnTo>
                      <a:lnTo>
                        <a:pt x="257" y="590"/>
                      </a:lnTo>
                      <a:lnTo>
                        <a:pt x="258" y="590"/>
                      </a:lnTo>
                      <a:lnTo>
                        <a:pt x="258" y="589"/>
                      </a:lnTo>
                      <a:lnTo>
                        <a:pt x="259" y="590"/>
                      </a:lnTo>
                      <a:lnTo>
                        <a:pt x="259" y="589"/>
                      </a:lnTo>
                      <a:lnTo>
                        <a:pt x="259" y="588"/>
                      </a:lnTo>
                      <a:lnTo>
                        <a:pt x="259" y="587"/>
                      </a:lnTo>
                      <a:lnTo>
                        <a:pt x="259" y="587"/>
                      </a:lnTo>
                      <a:lnTo>
                        <a:pt x="259" y="586"/>
                      </a:lnTo>
                      <a:lnTo>
                        <a:pt x="260" y="585"/>
                      </a:lnTo>
                      <a:lnTo>
                        <a:pt x="260" y="583"/>
                      </a:lnTo>
                      <a:lnTo>
                        <a:pt x="260" y="583"/>
                      </a:lnTo>
                      <a:lnTo>
                        <a:pt x="260" y="581"/>
                      </a:lnTo>
                      <a:lnTo>
                        <a:pt x="260" y="581"/>
                      </a:lnTo>
                      <a:lnTo>
                        <a:pt x="260" y="580"/>
                      </a:lnTo>
                      <a:lnTo>
                        <a:pt x="259" y="580"/>
                      </a:lnTo>
                      <a:lnTo>
                        <a:pt x="258" y="580"/>
                      </a:lnTo>
                      <a:lnTo>
                        <a:pt x="258" y="579"/>
                      </a:lnTo>
                      <a:lnTo>
                        <a:pt x="259" y="579"/>
                      </a:lnTo>
                      <a:lnTo>
                        <a:pt x="259" y="579"/>
                      </a:lnTo>
                      <a:lnTo>
                        <a:pt x="259" y="578"/>
                      </a:lnTo>
                      <a:lnTo>
                        <a:pt x="259" y="578"/>
                      </a:lnTo>
                      <a:lnTo>
                        <a:pt x="259" y="576"/>
                      </a:lnTo>
                      <a:lnTo>
                        <a:pt x="258" y="576"/>
                      </a:lnTo>
                      <a:lnTo>
                        <a:pt x="258" y="575"/>
                      </a:lnTo>
                      <a:lnTo>
                        <a:pt x="258" y="575"/>
                      </a:lnTo>
                      <a:lnTo>
                        <a:pt x="258" y="575"/>
                      </a:lnTo>
                      <a:lnTo>
                        <a:pt x="259" y="575"/>
                      </a:lnTo>
                      <a:lnTo>
                        <a:pt x="260" y="575"/>
                      </a:lnTo>
                      <a:lnTo>
                        <a:pt x="261" y="574"/>
                      </a:lnTo>
                      <a:lnTo>
                        <a:pt x="261" y="574"/>
                      </a:lnTo>
                      <a:lnTo>
                        <a:pt x="260" y="572"/>
                      </a:lnTo>
                      <a:lnTo>
                        <a:pt x="260" y="570"/>
                      </a:lnTo>
                      <a:lnTo>
                        <a:pt x="261" y="570"/>
                      </a:lnTo>
                      <a:lnTo>
                        <a:pt x="261" y="571"/>
                      </a:lnTo>
                      <a:lnTo>
                        <a:pt x="262" y="571"/>
                      </a:lnTo>
                      <a:lnTo>
                        <a:pt x="262" y="570"/>
                      </a:lnTo>
                      <a:lnTo>
                        <a:pt x="262" y="569"/>
                      </a:lnTo>
                      <a:lnTo>
                        <a:pt x="263" y="569"/>
                      </a:lnTo>
                      <a:lnTo>
                        <a:pt x="263" y="569"/>
                      </a:lnTo>
                      <a:lnTo>
                        <a:pt x="263" y="569"/>
                      </a:lnTo>
                      <a:lnTo>
                        <a:pt x="264" y="570"/>
                      </a:lnTo>
                      <a:lnTo>
                        <a:pt x="265" y="570"/>
                      </a:lnTo>
                      <a:lnTo>
                        <a:pt x="266" y="570"/>
                      </a:lnTo>
                      <a:lnTo>
                        <a:pt x="267" y="569"/>
                      </a:lnTo>
                      <a:lnTo>
                        <a:pt x="265" y="569"/>
                      </a:lnTo>
                      <a:lnTo>
                        <a:pt x="265" y="569"/>
                      </a:lnTo>
                      <a:lnTo>
                        <a:pt x="265" y="569"/>
                      </a:lnTo>
                      <a:lnTo>
                        <a:pt x="265" y="568"/>
                      </a:lnTo>
                      <a:lnTo>
                        <a:pt x="266" y="568"/>
                      </a:lnTo>
                      <a:lnTo>
                        <a:pt x="267" y="568"/>
                      </a:lnTo>
                      <a:lnTo>
                        <a:pt x="268" y="567"/>
                      </a:lnTo>
                      <a:lnTo>
                        <a:pt x="269" y="568"/>
                      </a:lnTo>
                      <a:lnTo>
                        <a:pt x="270" y="568"/>
                      </a:lnTo>
                      <a:lnTo>
                        <a:pt x="270" y="567"/>
                      </a:lnTo>
                      <a:lnTo>
                        <a:pt x="270" y="566"/>
                      </a:lnTo>
                      <a:lnTo>
                        <a:pt x="270" y="565"/>
                      </a:lnTo>
                      <a:lnTo>
                        <a:pt x="270" y="565"/>
                      </a:lnTo>
                      <a:lnTo>
                        <a:pt x="270" y="564"/>
                      </a:lnTo>
                      <a:lnTo>
                        <a:pt x="270" y="564"/>
                      </a:lnTo>
                      <a:lnTo>
                        <a:pt x="270" y="564"/>
                      </a:lnTo>
                      <a:lnTo>
                        <a:pt x="271" y="565"/>
                      </a:lnTo>
                      <a:lnTo>
                        <a:pt x="271" y="565"/>
                      </a:lnTo>
                      <a:lnTo>
                        <a:pt x="271" y="565"/>
                      </a:lnTo>
                      <a:lnTo>
                        <a:pt x="272" y="565"/>
                      </a:lnTo>
                      <a:lnTo>
                        <a:pt x="273" y="565"/>
                      </a:lnTo>
                      <a:lnTo>
                        <a:pt x="273" y="566"/>
                      </a:lnTo>
                      <a:lnTo>
                        <a:pt x="273" y="567"/>
                      </a:lnTo>
                      <a:lnTo>
                        <a:pt x="274" y="566"/>
                      </a:lnTo>
                      <a:lnTo>
                        <a:pt x="274" y="566"/>
                      </a:lnTo>
                      <a:lnTo>
                        <a:pt x="276" y="566"/>
                      </a:lnTo>
                      <a:lnTo>
                        <a:pt x="276" y="566"/>
                      </a:lnTo>
                      <a:lnTo>
                        <a:pt x="277" y="565"/>
                      </a:lnTo>
                      <a:lnTo>
                        <a:pt x="277" y="565"/>
                      </a:lnTo>
                      <a:lnTo>
                        <a:pt x="277" y="565"/>
                      </a:lnTo>
                      <a:lnTo>
                        <a:pt x="278" y="564"/>
                      </a:lnTo>
                      <a:lnTo>
                        <a:pt x="278" y="563"/>
                      </a:lnTo>
                      <a:lnTo>
                        <a:pt x="278" y="563"/>
                      </a:lnTo>
                      <a:lnTo>
                        <a:pt x="279" y="563"/>
                      </a:lnTo>
                      <a:lnTo>
                        <a:pt x="280" y="563"/>
                      </a:lnTo>
                      <a:lnTo>
                        <a:pt x="279" y="563"/>
                      </a:lnTo>
                      <a:lnTo>
                        <a:pt x="280" y="563"/>
                      </a:lnTo>
                      <a:lnTo>
                        <a:pt x="280" y="562"/>
                      </a:lnTo>
                      <a:lnTo>
                        <a:pt x="280" y="562"/>
                      </a:lnTo>
                      <a:lnTo>
                        <a:pt x="280" y="562"/>
                      </a:lnTo>
                      <a:lnTo>
                        <a:pt x="280" y="562"/>
                      </a:lnTo>
                      <a:lnTo>
                        <a:pt x="280" y="561"/>
                      </a:lnTo>
                      <a:lnTo>
                        <a:pt x="281" y="561"/>
                      </a:lnTo>
                      <a:lnTo>
                        <a:pt x="281" y="561"/>
                      </a:lnTo>
                      <a:lnTo>
                        <a:pt x="281" y="561"/>
                      </a:lnTo>
                      <a:lnTo>
                        <a:pt x="281" y="560"/>
                      </a:lnTo>
                      <a:lnTo>
                        <a:pt x="281" y="560"/>
                      </a:lnTo>
                      <a:lnTo>
                        <a:pt x="282" y="560"/>
                      </a:lnTo>
                      <a:lnTo>
                        <a:pt x="281" y="560"/>
                      </a:lnTo>
                      <a:lnTo>
                        <a:pt x="282" y="560"/>
                      </a:lnTo>
                      <a:lnTo>
                        <a:pt x="282" y="559"/>
                      </a:lnTo>
                      <a:lnTo>
                        <a:pt x="282" y="559"/>
                      </a:lnTo>
                      <a:lnTo>
                        <a:pt x="283" y="558"/>
                      </a:lnTo>
                      <a:lnTo>
                        <a:pt x="283" y="557"/>
                      </a:lnTo>
                      <a:lnTo>
                        <a:pt x="283" y="556"/>
                      </a:lnTo>
                      <a:lnTo>
                        <a:pt x="283" y="555"/>
                      </a:lnTo>
                      <a:lnTo>
                        <a:pt x="283" y="554"/>
                      </a:lnTo>
                      <a:lnTo>
                        <a:pt x="283" y="554"/>
                      </a:lnTo>
                      <a:lnTo>
                        <a:pt x="283" y="554"/>
                      </a:lnTo>
                      <a:lnTo>
                        <a:pt x="283" y="553"/>
                      </a:lnTo>
                      <a:lnTo>
                        <a:pt x="284" y="553"/>
                      </a:lnTo>
                      <a:lnTo>
                        <a:pt x="284" y="553"/>
                      </a:lnTo>
                      <a:lnTo>
                        <a:pt x="283" y="552"/>
                      </a:lnTo>
                      <a:lnTo>
                        <a:pt x="283" y="552"/>
                      </a:lnTo>
                      <a:lnTo>
                        <a:pt x="283" y="551"/>
                      </a:lnTo>
                      <a:lnTo>
                        <a:pt x="284" y="551"/>
                      </a:lnTo>
                      <a:lnTo>
                        <a:pt x="284" y="551"/>
                      </a:lnTo>
                      <a:lnTo>
                        <a:pt x="285" y="551"/>
                      </a:lnTo>
                      <a:lnTo>
                        <a:pt x="285" y="550"/>
                      </a:lnTo>
                      <a:lnTo>
                        <a:pt x="285" y="549"/>
                      </a:lnTo>
                      <a:lnTo>
                        <a:pt x="283" y="548"/>
                      </a:lnTo>
                      <a:lnTo>
                        <a:pt x="284" y="548"/>
                      </a:lnTo>
                      <a:lnTo>
                        <a:pt x="284" y="548"/>
                      </a:lnTo>
                      <a:lnTo>
                        <a:pt x="284" y="548"/>
                      </a:lnTo>
                      <a:lnTo>
                        <a:pt x="284" y="547"/>
                      </a:lnTo>
                      <a:lnTo>
                        <a:pt x="284" y="547"/>
                      </a:lnTo>
                      <a:lnTo>
                        <a:pt x="284" y="547"/>
                      </a:lnTo>
                      <a:lnTo>
                        <a:pt x="284" y="546"/>
                      </a:lnTo>
                      <a:lnTo>
                        <a:pt x="284" y="546"/>
                      </a:lnTo>
                      <a:lnTo>
                        <a:pt x="284" y="546"/>
                      </a:lnTo>
                      <a:lnTo>
                        <a:pt x="284" y="546"/>
                      </a:lnTo>
                      <a:lnTo>
                        <a:pt x="284" y="546"/>
                      </a:lnTo>
                      <a:lnTo>
                        <a:pt x="284" y="545"/>
                      </a:lnTo>
                      <a:lnTo>
                        <a:pt x="284" y="545"/>
                      </a:lnTo>
                      <a:lnTo>
                        <a:pt x="284" y="545"/>
                      </a:lnTo>
                      <a:lnTo>
                        <a:pt x="285" y="544"/>
                      </a:lnTo>
                      <a:lnTo>
                        <a:pt x="285" y="543"/>
                      </a:lnTo>
                      <a:lnTo>
                        <a:pt x="284" y="543"/>
                      </a:lnTo>
                      <a:lnTo>
                        <a:pt x="284" y="542"/>
                      </a:lnTo>
                      <a:lnTo>
                        <a:pt x="283" y="541"/>
                      </a:lnTo>
                      <a:lnTo>
                        <a:pt x="283" y="541"/>
                      </a:lnTo>
                      <a:lnTo>
                        <a:pt x="283" y="541"/>
                      </a:lnTo>
                      <a:lnTo>
                        <a:pt x="282" y="541"/>
                      </a:lnTo>
                      <a:lnTo>
                        <a:pt x="282" y="541"/>
                      </a:lnTo>
                      <a:lnTo>
                        <a:pt x="283" y="540"/>
                      </a:lnTo>
                      <a:lnTo>
                        <a:pt x="283" y="538"/>
                      </a:lnTo>
                      <a:lnTo>
                        <a:pt x="283" y="538"/>
                      </a:lnTo>
                      <a:lnTo>
                        <a:pt x="283" y="538"/>
                      </a:lnTo>
                      <a:lnTo>
                        <a:pt x="284" y="538"/>
                      </a:lnTo>
                      <a:lnTo>
                        <a:pt x="284" y="537"/>
                      </a:lnTo>
                      <a:lnTo>
                        <a:pt x="284" y="537"/>
                      </a:lnTo>
                      <a:lnTo>
                        <a:pt x="284" y="536"/>
                      </a:lnTo>
                      <a:lnTo>
                        <a:pt x="285" y="536"/>
                      </a:lnTo>
                      <a:lnTo>
                        <a:pt x="286" y="536"/>
                      </a:lnTo>
                      <a:lnTo>
                        <a:pt x="286" y="535"/>
                      </a:lnTo>
                      <a:lnTo>
                        <a:pt x="285" y="535"/>
                      </a:lnTo>
                      <a:lnTo>
                        <a:pt x="286" y="535"/>
                      </a:lnTo>
                      <a:lnTo>
                        <a:pt x="285" y="534"/>
                      </a:lnTo>
                      <a:lnTo>
                        <a:pt x="286" y="533"/>
                      </a:lnTo>
                      <a:lnTo>
                        <a:pt x="285" y="532"/>
                      </a:lnTo>
                      <a:lnTo>
                        <a:pt x="286" y="531"/>
                      </a:lnTo>
                      <a:lnTo>
                        <a:pt x="286" y="530"/>
                      </a:lnTo>
                      <a:lnTo>
                        <a:pt x="286" y="530"/>
                      </a:lnTo>
                      <a:lnTo>
                        <a:pt x="286" y="530"/>
                      </a:lnTo>
                      <a:lnTo>
                        <a:pt x="286" y="529"/>
                      </a:lnTo>
                      <a:lnTo>
                        <a:pt x="286" y="528"/>
                      </a:lnTo>
                      <a:lnTo>
                        <a:pt x="286" y="528"/>
                      </a:lnTo>
                      <a:lnTo>
                        <a:pt x="286" y="526"/>
                      </a:lnTo>
                      <a:lnTo>
                        <a:pt x="286" y="526"/>
                      </a:lnTo>
                      <a:lnTo>
                        <a:pt x="286" y="526"/>
                      </a:lnTo>
                      <a:lnTo>
                        <a:pt x="285" y="525"/>
                      </a:lnTo>
                      <a:lnTo>
                        <a:pt x="284" y="525"/>
                      </a:lnTo>
                      <a:lnTo>
                        <a:pt x="284" y="525"/>
                      </a:lnTo>
                      <a:lnTo>
                        <a:pt x="283" y="525"/>
                      </a:lnTo>
                      <a:lnTo>
                        <a:pt x="283" y="524"/>
                      </a:lnTo>
                      <a:lnTo>
                        <a:pt x="284" y="524"/>
                      </a:lnTo>
                      <a:lnTo>
                        <a:pt x="284" y="523"/>
                      </a:lnTo>
                      <a:lnTo>
                        <a:pt x="286" y="522"/>
                      </a:lnTo>
                      <a:lnTo>
                        <a:pt x="287" y="523"/>
                      </a:lnTo>
                      <a:lnTo>
                        <a:pt x="288" y="523"/>
                      </a:lnTo>
                      <a:lnTo>
                        <a:pt x="287" y="523"/>
                      </a:lnTo>
                      <a:lnTo>
                        <a:pt x="287" y="524"/>
                      </a:lnTo>
                      <a:lnTo>
                        <a:pt x="288" y="525"/>
                      </a:lnTo>
                      <a:lnTo>
                        <a:pt x="289" y="525"/>
                      </a:lnTo>
                      <a:lnTo>
                        <a:pt x="289" y="524"/>
                      </a:lnTo>
                      <a:lnTo>
                        <a:pt x="291" y="524"/>
                      </a:lnTo>
                      <a:lnTo>
                        <a:pt x="291" y="524"/>
                      </a:lnTo>
                      <a:lnTo>
                        <a:pt x="291" y="525"/>
                      </a:lnTo>
                      <a:lnTo>
                        <a:pt x="291" y="525"/>
                      </a:lnTo>
                      <a:lnTo>
                        <a:pt x="291" y="526"/>
                      </a:lnTo>
                      <a:lnTo>
                        <a:pt x="291" y="526"/>
                      </a:lnTo>
                      <a:lnTo>
                        <a:pt x="292" y="526"/>
                      </a:lnTo>
                      <a:lnTo>
                        <a:pt x="292" y="526"/>
                      </a:lnTo>
                      <a:lnTo>
                        <a:pt x="293" y="525"/>
                      </a:lnTo>
                      <a:lnTo>
                        <a:pt x="293" y="525"/>
                      </a:lnTo>
                      <a:lnTo>
                        <a:pt x="295" y="525"/>
                      </a:lnTo>
                      <a:lnTo>
                        <a:pt x="295" y="525"/>
                      </a:lnTo>
                      <a:lnTo>
                        <a:pt x="295" y="525"/>
                      </a:lnTo>
                      <a:lnTo>
                        <a:pt x="295" y="525"/>
                      </a:lnTo>
                      <a:lnTo>
                        <a:pt x="296" y="524"/>
                      </a:lnTo>
                      <a:lnTo>
                        <a:pt x="296" y="524"/>
                      </a:lnTo>
                      <a:lnTo>
                        <a:pt x="295" y="524"/>
                      </a:lnTo>
                      <a:lnTo>
                        <a:pt x="295" y="524"/>
                      </a:lnTo>
                      <a:lnTo>
                        <a:pt x="296" y="523"/>
                      </a:lnTo>
                      <a:lnTo>
                        <a:pt x="296" y="523"/>
                      </a:lnTo>
                      <a:lnTo>
                        <a:pt x="296" y="522"/>
                      </a:lnTo>
                      <a:lnTo>
                        <a:pt x="297" y="522"/>
                      </a:lnTo>
                      <a:lnTo>
                        <a:pt x="296" y="522"/>
                      </a:lnTo>
                      <a:lnTo>
                        <a:pt x="297" y="522"/>
                      </a:lnTo>
                      <a:lnTo>
                        <a:pt x="297" y="521"/>
                      </a:lnTo>
                      <a:lnTo>
                        <a:pt x="297" y="521"/>
                      </a:lnTo>
                      <a:lnTo>
                        <a:pt x="297" y="520"/>
                      </a:lnTo>
                      <a:lnTo>
                        <a:pt x="298" y="520"/>
                      </a:lnTo>
                      <a:lnTo>
                        <a:pt x="299" y="520"/>
                      </a:lnTo>
                      <a:lnTo>
                        <a:pt x="300" y="519"/>
                      </a:lnTo>
                      <a:lnTo>
                        <a:pt x="300" y="519"/>
                      </a:lnTo>
                      <a:lnTo>
                        <a:pt x="300" y="519"/>
                      </a:lnTo>
                      <a:lnTo>
                        <a:pt x="300" y="519"/>
                      </a:lnTo>
                      <a:lnTo>
                        <a:pt x="300" y="517"/>
                      </a:lnTo>
                      <a:lnTo>
                        <a:pt x="301" y="517"/>
                      </a:lnTo>
                      <a:lnTo>
                        <a:pt x="303" y="517"/>
                      </a:lnTo>
                      <a:lnTo>
                        <a:pt x="302" y="518"/>
                      </a:lnTo>
                      <a:lnTo>
                        <a:pt x="302" y="520"/>
                      </a:lnTo>
                      <a:lnTo>
                        <a:pt x="302" y="520"/>
                      </a:lnTo>
                      <a:lnTo>
                        <a:pt x="302" y="521"/>
                      </a:lnTo>
                      <a:lnTo>
                        <a:pt x="304" y="522"/>
                      </a:lnTo>
                      <a:lnTo>
                        <a:pt x="304" y="522"/>
                      </a:lnTo>
                      <a:lnTo>
                        <a:pt x="304" y="523"/>
                      </a:lnTo>
                      <a:lnTo>
                        <a:pt x="305" y="523"/>
                      </a:lnTo>
                      <a:lnTo>
                        <a:pt x="305" y="524"/>
                      </a:lnTo>
                      <a:lnTo>
                        <a:pt x="305" y="525"/>
                      </a:lnTo>
                      <a:lnTo>
                        <a:pt x="305" y="525"/>
                      </a:lnTo>
                      <a:lnTo>
                        <a:pt x="304" y="526"/>
                      </a:lnTo>
                      <a:lnTo>
                        <a:pt x="305" y="526"/>
                      </a:lnTo>
                      <a:lnTo>
                        <a:pt x="304" y="526"/>
                      </a:lnTo>
                      <a:lnTo>
                        <a:pt x="305" y="527"/>
                      </a:lnTo>
                      <a:lnTo>
                        <a:pt x="305" y="528"/>
                      </a:lnTo>
                      <a:lnTo>
                        <a:pt x="305" y="529"/>
                      </a:lnTo>
                      <a:lnTo>
                        <a:pt x="305" y="529"/>
                      </a:lnTo>
                      <a:lnTo>
                        <a:pt x="306" y="529"/>
                      </a:lnTo>
                      <a:lnTo>
                        <a:pt x="305" y="530"/>
                      </a:lnTo>
                      <a:lnTo>
                        <a:pt x="304" y="530"/>
                      </a:lnTo>
                      <a:lnTo>
                        <a:pt x="304" y="531"/>
                      </a:lnTo>
                      <a:lnTo>
                        <a:pt x="305" y="531"/>
                      </a:lnTo>
                      <a:lnTo>
                        <a:pt x="306" y="531"/>
                      </a:lnTo>
                      <a:lnTo>
                        <a:pt x="306" y="530"/>
                      </a:lnTo>
                      <a:lnTo>
                        <a:pt x="306" y="529"/>
                      </a:lnTo>
                      <a:lnTo>
                        <a:pt x="307" y="529"/>
                      </a:lnTo>
                      <a:lnTo>
                        <a:pt x="310" y="529"/>
                      </a:lnTo>
                      <a:lnTo>
                        <a:pt x="310" y="530"/>
                      </a:lnTo>
                      <a:lnTo>
                        <a:pt x="313" y="531"/>
                      </a:lnTo>
                      <a:lnTo>
                        <a:pt x="314" y="531"/>
                      </a:lnTo>
                      <a:lnTo>
                        <a:pt x="315" y="530"/>
                      </a:lnTo>
                      <a:lnTo>
                        <a:pt x="317" y="529"/>
                      </a:lnTo>
                      <a:lnTo>
                        <a:pt x="318" y="530"/>
                      </a:lnTo>
                      <a:lnTo>
                        <a:pt x="319" y="530"/>
                      </a:lnTo>
                      <a:lnTo>
                        <a:pt x="320" y="530"/>
                      </a:lnTo>
                      <a:lnTo>
                        <a:pt x="321" y="530"/>
                      </a:lnTo>
                      <a:lnTo>
                        <a:pt x="322" y="530"/>
                      </a:lnTo>
                      <a:lnTo>
                        <a:pt x="323" y="531"/>
                      </a:lnTo>
                      <a:lnTo>
                        <a:pt x="323" y="530"/>
                      </a:lnTo>
                      <a:lnTo>
                        <a:pt x="323" y="530"/>
                      </a:lnTo>
                      <a:lnTo>
                        <a:pt x="323" y="529"/>
                      </a:lnTo>
                      <a:lnTo>
                        <a:pt x="323" y="529"/>
                      </a:lnTo>
                      <a:lnTo>
                        <a:pt x="322" y="529"/>
                      </a:lnTo>
                      <a:lnTo>
                        <a:pt x="322" y="528"/>
                      </a:lnTo>
                      <a:lnTo>
                        <a:pt x="321" y="528"/>
                      </a:lnTo>
                      <a:lnTo>
                        <a:pt x="321" y="528"/>
                      </a:lnTo>
                      <a:lnTo>
                        <a:pt x="321" y="528"/>
                      </a:lnTo>
                      <a:lnTo>
                        <a:pt x="321" y="528"/>
                      </a:lnTo>
                      <a:lnTo>
                        <a:pt x="320" y="528"/>
                      </a:lnTo>
                      <a:lnTo>
                        <a:pt x="318" y="528"/>
                      </a:lnTo>
                      <a:lnTo>
                        <a:pt x="316" y="528"/>
                      </a:lnTo>
                      <a:lnTo>
                        <a:pt x="316" y="528"/>
                      </a:lnTo>
                      <a:lnTo>
                        <a:pt x="315" y="528"/>
                      </a:lnTo>
                      <a:lnTo>
                        <a:pt x="314" y="528"/>
                      </a:lnTo>
                      <a:lnTo>
                        <a:pt x="314" y="528"/>
                      </a:lnTo>
                      <a:lnTo>
                        <a:pt x="314" y="529"/>
                      </a:lnTo>
                      <a:lnTo>
                        <a:pt x="313" y="530"/>
                      </a:lnTo>
                      <a:lnTo>
                        <a:pt x="310" y="529"/>
                      </a:lnTo>
                      <a:lnTo>
                        <a:pt x="310" y="528"/>
                      </a:lnTo>
                      <a:lnTo>
                        <a:pt x="309" y="528"/>
                      </a:lnTo>
                      <a:lnTo>
                        <a:pt x="309" y="528"/>
                      </a:lnTo>
                      <a:lnTo>
                        <a:pt x="308" y="527"/>
                      </a:lnTo>
                      <a:lnTo>
                        <a:pt x="308" y="526"/>
                      </a:lnTo>
                      <a:lnTo>
                        <a:pt x="308" y="526"/>
                      </a:lnTo>
                      <a:lnTo>
                        <a:pt x="307" y="526"/>
                      </a:lnTo>
                      <a:lnTo>
                        <a:pt x="307" y="525"/>
                      </a:lnTo>
                      <a:lnTo>
                        <a:pt x="307" y="525"/>
                      </a:lnTo>
                      <a:lnTo>
                        <a:pt x="307" y="525"/>
                      </a:lnTo>
                      <a:lnTo>
                        <a:pt x="306" y="525"/>
                      </a:lnTo>
                      <a:lnTo>
                        <a:pt x="305" y="524"/>
                      </a:lnTo>
                      <a:lnTo>
                        <a:pt x="305" y="524"/>
                      </a:lnTo>
                      <a:lnTo>
                        <a:pt x="305" y="523"/>
                      </a:lnTo>
                      <a:lnTo>
                        <a:pt x="305" y="522"/>
                      </a:lnTo>
                      <a:lnTo>
                        <a:pt x="305" y="522"/>
                      </a:lnTo>
                      <a:lnTo>
                        <a:pt x="305" y="521"/>
                      </a:lnTo>
                      <a:lnTo>
                        <a:pt x="306" y="520"/>
                      </a:lnTo>
                      <a:lnTo>
                        <a:pt x="306" y="520"/>
                      </a:lnTo>
                      <a:lnTo>
                        <a:pt x="305" y="519"/>
                      </a:lnTo>
                      <a:lnTo>
                        <a:pt x="305" y="519"/>
                      </a:lnTo>
                      <a:lnTo>
                        <a:pt x="305" y="518"/>
                      </a:lnTo>
                      <a:lnTo>
                        <a:pt x="305" y="517"/>
                      </a:lnTo>
                      <a:lnTo>
                        <a:pt x="305" y="517"/>
                      </a:lnTo>
                      <a:lnTo>
                        <a:pt x="306" y="517"/>
                      </a:lnTo>
                      <a:lnTo>
                        <a:pt x="306" y="516"/>
                      </a:lnTo>
                      <a:lnTo>
                        <a:pt x="307" y="515"/>
                      </a:lnTo>
                      <a:lnTo>
                        <a:pt x="308" y="515"/>
                      </a:lnTo>
                      <a:lnTo>
                        <a:pt x="308" y="515"/>
                      </a:lnTo>
                      <a:lnTo>
                        <a:pt x="307" y="514"/>
                      </a:lnTo>
                      <a:lnTo>
                        <a:pt x="307" y="514"/>
                      </a:lnTo>
                      <a:lnTo>
                        <a:pt x="306" y="514"/>
                      </a:lnTo>
                      <a:lnTo>
                        <a:pt x="306" y="512"/>
                      </a:lnTo>
                      <a:lnTo>
                        <a:pt x="305" y="512"/>
                      </a:lnTo>
                      <a:lnTo>
                        <a:pt x="305" y="512"/>
                      </a:lnTo>
                      <a:lnTo>
                        <a:pt x="304" y="512"/>
                      </a:lnTo>
                      <a:lnTo>
                        <a:pt x="304" y="511"/>
                      </a:lnTo>
                      <a:lnTo>
                        <a:pt x="304" y="511"/>
                      </a:lnTo>
                      <a:lnTo>
                        <a:pt x="304" y="511"/>
                      </a:lnTo>
                      <a:lnTo>
                        <a:pt x="305" y="511"/>
                      </a:lnTo>
                      <a:lnTo>
                        <a:pt x="306" y="510"/>
                      </a:lnTo>
                      <a:lnTo>
                        <a:pt x="306" y="510"/>
                      </a:lnTo>
                      <a:lnTo>
                        <a:pt x="306" y="510"/>
                      </a:lnTo>
                      <a:lnTo>
                        <a:pt x="306" y="509"/>
                      </a:lnTo>
                      <a:lnTo>
                        <a:pt x="306" y="509"/>
                      </a:lnTo>
                      <a:lnTo>
                        <a:pt x="307" y="509"/>
                      </a:lnTo>
                      <a:lnTo>
                        <a:pt x="307" y="509"/>
                      </a:lnTo>
                      <a:lnTo>
                        <a:pt x="307" y="510"/>
                      </a:lnTo>
                      <a:lnTo>
                        <a:pt x="308" y="510"/>
                      </a:lnTo>
                      <a:lnTo>
                        <a:pt x="308" y="511"/>
                      </a:lnTo>
                      <a:lnTo>
                        <a:pt x="309" y="511"/>
                      </a:lnTo>
                      <a:lnTo>
                        <a:pt x="309" y="512"/>
                      </a:lnTo>
                      <a:lnTo>
                        <a:pt x="310" y="512"/>
                      </a:lnTo>
                      <a:lnTo>
                        <a:pt x="311" y="512"/>
                      </a:lnTo>
                      <a:lnTo>
                        <a:pt x="313" y="512"/>
                      </a:lnTo>
                      <a:lnTo>
                        <a:pt x="314" y="512"/>
                      </a:lnTo>
                      <a:lnTo>
                        <a:pt x="314" y="513"/>
                      </a:lnTo>
                      <a:lnTo>
                        <a:pt x="315" y="513"/>
                      </a:lnTo>
                      <a:lnTo>
                        <a:pt x="315" y="512"/>
                      </a:lnTo>
                      <a:lnTo>
                        <a:pt x="316" y="512"/>
                      </a:lnTo>
                      <a:lnTo>
                        <a:pt x="316" y="512"/>
                      </a:lnTo>
                      <a:lnTo>
                        <a:pt x="316" y="511"/>
                      </a:lnTo>
                      <a:lnTo>
                        <a:pt x="317" y="511"/>
                      </a:lnTo>
                      <a:lnTo>
                        <a:pt x="317" y="510"/>
                      </a:lnTo>
                      <a:lnTo>
                        <a:pt x="318" y="510"/>
                      </a:lnTo>
                      <a:lnTo>
                        <a:pt x="318" y="510"/>
                      </a:lnTo>
                      <a:lnTo>
                        <a:pt x="318" y="509"/>
                      </a:lnTo>
                      <a:lnTo>
                        <a:pt x="318" y="509"/>
                      </a:lnTo>
                      <a:lnTo>
                        <a:pt x="320" y="509"/>
                      </a:lnTo>
                      <a:lnTo>
                        <a:pt x="320" y="509"/>
                      </a:lnTo>
                      <a:lnTo>
                        <a:pt x="321" y="508"/>
                      </a:lnTo>
                      <a:lnTo>
                        <a:pt x="321" y="508"/>
                      </a:lnTo>
                      <a:lnTo>
                        <a:pt x="322" y="508"/>
                      </a:lnTo>
                      <a:lnTo>
                        <a:pt x="322" y="507"/>
                      </a:lnTo>
                      <a:lnTo>
                        <a:pt x="322" y="507"/>
                      </a:lnTo>
                      <a:lnTo>
                        <a:pt x="323" y="508"/>
                      </a:lnTo>
                      <a:lnTo>
                        <a:pt x="323" y="508"/>
                      </a:lnTo>
                      <a:lnTo>
                        <a:pt x="323" y="508"/>
                      </a:lnTo>
                      <a:lnTo>
                        <a:pt x="323" y="509"/>
                      </a:lnTo>
                      <a:lnTo>
                        <a:pt x="324" y="509"/>
                      </a:lnTo>
                      <a:lnTo>
                        <a:pt x="324" y="509"/>
                      </a:lnTo>
                      <a:lnTo>
                        <a:pt x="325" y="508"/>
                      </a:lnTo>
                      <a:lnTo>
                        <a:pt x="325" y="508"/>
                      </a:lnTo>
                      <a:lnTo>
                        <a:pt x="325" y="509"/>
                      </a:lnTo>
                      <a:lnTo>
                        <a:pt x="326" y="509"/>
                      </a:lnTo>
                      <a:lnTo>
                        <a:pt x="326" y="509"/>
                      </a:lnTo>
                      <a:lnTo>
                        <a:pt x="326" y="508"/>
                      </a:lnTo>
                      <a:lnTo>
                        <a:pt x="327" y="508"/>
                      </a:lnTo>
                      <a:lnTo>
                        <a:pt x="327" y="509"/>
                      </a:lnTo>
                      <a:lnTo>
                        <a:pt x="327" y="509"/>
                      </a:lnTo>
                      <a:lnTo>
                        <a:pt x="327" y="509"/>
                      </a:lnTo>
                      <a:lnTo>
                        <a:pt x="328" y="508"/>
                      </a:lnTo>
                      <a:lnTo>
                        <a:pt x="328" y="509"/>
                      </a:lnTo>
                      <a:lnTo>
                        <a:pt x="328" y="509"/>
                      </a:lnTo>
                      <a:lnTo>
                        <a:pt x="329" y="508"/>
                      </a:lnTo>
                      <a:lnTo>
                        <a:pt x="331" y="508"/>
                      </a:lnTo>
                      <a:lnTo>
                        <a:pt x="333" y="507"/>
                      </a:lnTo>
                      <a:lnTo>
                        <a:pt x="334" y="507"/>
                      </a:lnTo>
                      <a:lnTo>
                        <a:pt x="334" y="506"/>
                      </a:lnTo>
                      <a:lnTo>
                        <a:pt x="334" y="506"/>
                      </a:lnTo>
                      <a:lnTo>
                        <a:pt x="335" y="505"/>
                      </a:lnTo>
                      <a:lnTo>
                        <a:pt x="335" y="505"/>
                      </a:lnTo>
                      <a:lnTo>
                        <a:pt x="335" y="504"/>
                      </a:lnTo>
                      <a:lnTo>
                        <a:pt x="336" y="504"/>
                      </a:lnTo>
                      <a:lnTo>
                        <a:pt x="336" y="503"/>
                      </a:lnTo>
                      <a:lnTo>
                        <a:pt x="337" y="503"/>
                      </a:lnTo>
                      <a:lnTo>
                        <a:pt x="337" y="500"/>
                      </a:lnTo>
                      <a:lnTo>
                        <a:pt x="338" y="499"/>
                      </a:lnTo>
                      <a:lnTo>
                        <a:pt x="338" y="498"/>
                      </a:lnTo>
                      <a:lnTo>
                        <a:pt x="338" y="498"/>
                      </a:lnTo>
                      <a:lnTo>
                        <a:pt x="338" y="497"/>
                      </a:lnTo>
                      <a:lnTo>
                        <a:pt x="338" y="497"/>
                      </a:lnTo>
                      <a:lnTo>
                        <a:pt x="338" y="495"/>
                      </a:lnTo>
                      <a:lnTo>
                        <a:pt x="339" y="495"/>
                      </a:lnTo>
                      <a:lnTo>
                        <a:pt x="339" y="494"/>
                      </a:lnTo>
                      <a:lnTo>
                        <a:pt x="339" y="493"/>
                      </a:lnTo>
                      <a:lnTo>
                        <a:pt x="339" y="492"/>
                      </a:lnTo>
                      <a:lnTo>
                        <a:pt x="340" y="492"/>
                      </a:lnTo>
                      <a:lnTo>
                        <a:pt x="340" y="492"/>
                      </a:lnTo>
                      <a:lnTo>
                        <a:pt x="340" y="489"/>
                      </a:lnTo>
                      <a:lnTo>
                        <a:pt x="340" y="489"/>
                      </a:lnTo>
                      <a:lnTo>
                        <a:pt x="339" y="489"/>
                      </a:lnTo>
                      <a:lnTo>
                        <a:pt x="339" y="488"/>
                      </a:lnTo>
                      <a:lnTo>
                        <a:pt x="339" y="488"/>
                      </a:lnTo>
                      <a:lnTo>
                        <a:pt x="339" y="487"/>
                      </a:lnTo>
                      <a:lnTo>
                        <a:pt x="339" y="487"/>
                      </a:lnTo>
                      <a:lnTo>
                        <a:pt x="340" y="485"/>
                      </a:lnTo>
                      <a:lnTo>
                        <a:pt x="340" y="485"/>
                      </a:lnTo>
                      <a:lnTo>
                        <a:pt x="340" y="485"/>
                      </a:lnTo>
                      <a:lnTo>
                        <a:pt x="339" y="484"/>
                      </a:lnTo>
                      <a:lnTo>
                        <a:pt x="340" y="483"/>
                      </a:lnTo>
                      <a:lnTo>
                        <a:pt x="340" y="483"/>
                      </a:lnTo>
                      <a:lnTo>
                        <a:pt x="341" y="484"/>
                      </a:lnTo>
                      <a:lnTo>
                        <a:pt x="341" y="483"/>
                      </a:lnTo>
                      <a:lnTo>
                        <a:pt x="341" y="483"/>
                      </a:lnTo>
                      <a:lnTo>
                        <a:pt x="342" y="483"/>
                      </a:lnTo>
                      <a:lnTo>
                        <a:pt x="343" y="483"/>
                      </a:lnTo>
                      <a:lnTo>
                        <a:pt x="343" y="483"/>
                      </a:lnTo>
                      <a:lnTo>
                        <a:pt x="344" y="483"/>
                      </a:lnTo>
                      <a:lnTo>
                        <a:pt x="343" y="482"/>
                      </a:lnTo>
                      <a:lnTo>
                        <a:pt x="344" y="482"/>
                      </a:lnTo>
                      <a:lnTo>
                        <a:pt x="344" y="482"/>
                      </a:lnTo>
                      <a:lnTo>
                        <a:pt x="344" y="481"/>
                      </a:lnTo>
                      <a:lnTo>
                        <a:pt x="345" y="482"/>
                      </a:lnTo>
                      <a:lnTo>
                        <a:pt x="344" y="482"/>
                      </a:lnTo>
                      <a:lnTo>
                        <a:pt x="345" y="482"/>
                      </a:lnTo>
                      <a:lnTo>
                        <a:pt x="345" y="483"/>
                      </a:lnTo>
                      <a:lnTo>
                        <a:pt x="346" y="483"/>
                      </a:lnTo>
                      <a:lnTo>
                        <a:pt x="347" y="482"/>
                      </a:lnTo>
                      <a:lnTo>
                        <a:pt x="347" y="481"/>
                      </a:lnTo>
                      <a:lnTo>
                        <a:pt x="347" y="480"/>
                      </a:lnTo>
                      <a:lnTo>
                        <a:pt x="347" y="480"/>
                      </a:lnTo>
                      <a:lnTo>
                        <a:pt x="348" y="479"/>
                      </a:lnTo>
                      <a:lnTo>
                        <a:pt x="348" y="479"/>
                      </a:lnTo>
                      <a:lnTo>
                        <a:pt x="351" y="479"/>
                      </a:lnTo>
                      <a:lnTo>
                        <a:pt x="351" y="479"/>
                      </a:lnTo>
                      <a:lnTo>
                        <a:pt x="352" y="478"/>
                      </a:lnTo>
                      <a:lnTo>
                        <a:pt x="353" y="478"/>
                      </a:lnTo>
                      <a:lnTo>
                        <a:pt x="352" y="477"/>
                      </a:lnTo>
                      <a:lnTo>
                        <a:pt x="353" y="477"/>
                      </a:lnTo>
                      <a:lnTo>
                        <a:pt x="353" y="477"/>
                      </a:lnTo>
                      <a:lnTo>
                        <a:pt x="354" y="477"/>
                      </a:lnTo>
                      <a:lnTo>
                        <a:pt x="353" y="477"/>
                      </a:lnTo>
                      <a:lnTo>
                        <a:pt x="354" y="476"/>
                      </a:lnTo>
                      <a:lnTo>
                        <a:pt x="356" y="476"/>
                      </a:lnTo>
                      <a:lnTo>
                        <a:pt x="356" y="475"/>
                      </a:lnTo>
                      <a:lnTo>
                        <a:pt x="357" y="475"/>
                      </a:lnTo>
                      <a:lnTo>
                        <a:pt x="357" y="475"/>
                      </a:lnTo>
                      <a:lnTo>
                        <a:pt x="357" y="475"/>
                      </a:lnTo>
                      <a:lnTo>
                        <a:pt x="357" y="475"/>
                      </a:lnTo>
                      <a:lnTo>
                        <a:pt x="357" y="474"/>
                      </a:lnTo>
                      <a:lnTo>
                        <a:pt x="357" y="473"/>
                      </a:lnTo>
                      <a:lnTo>
                        <a:pt x="357" y="473"/>
                      </a:lnTo>
                      <a:lnTo>
                        <a:pt x="357" y="472"/>
                      </a:lnTo>
                      <a:lnTo>
                        <a:pt x="359" y="472"/>
                      </a:lnTo>
                      <a:lnTo>
                        <a:pt x="360" y="472"/>
                      </a:lnTo>
                      <a:lnTo>
                        <a:pt x="361" y="471"/>
                      </a:lnTo>
                      <a:lnTo>
                        <a:pt x="361" y="470"/>
                      </a:lnTo>
                      <a:lnTo>
                        <a:pt x="362" y="470"/>
                      </a:lnTo>
                      <a:lnTo>
                        <a:pt x="362" y="469"/>
                      </a:lnTo>
                      <a:lnTo>
                        <a:pt x="363" y="469"/>
                      </a:lnTo>
                      <a:lnTo>
                        <a:pt x="363" y="469"/>
                      </a:lnTo>
                      <a:lnTo>
                        <a:pt x="363" y="468"/>
                      </a:lnTo>
                      <a:lnTo>
                        <a:pt x="363" y="467"/>
                      </a:lnTo>
                      <a:lnTo>
                        <a:pt x="363" y="466"/>
                      </a:lnTo>
                      <a:lnTo>
                        <a:pt x="364" y="466"/>
                      </a:lnTo>
                      <a:lnTo>
                        <a:pt x="364" y="464"/>
                      </a:lnTo>
                      <a:lnTo>
                        <a:pt x="364" y="462"/>
                      </a:lnTo>
                      <a:lnTo>
                        <a:pt x="364" y="461"/>
                      </a:lnTo>
                      <a:lnTo>
                        <a:pt x="364" y="461"/>
                      </a:lnTo>
                      <a:lnTo>
                        <a:pt x="363" y="461"/>
                      </a:lnTo>
                      <a:lnTo>
                        <a:pt x="363" y="460"/>
                      </a:lnTo>
                      <a:lnTo>
                        <a:pt x="365" y="460"/>
                      </a:lnTo>
                      <a:lnTo>
                        <a:pt x="365" y="460"/>
                      </a:lnTo>
                      <a:lnTo>
                        <a:pt x="366" y="461"/>
                      </a:lnTo>
                      <a:lnTo>
                        <a:pt x="366" y="460"/>
                      </a:lnTo>
                      <a:lnTo>
                        <a:pt x="366" y="460"/>
                      </a:lnTo>
                      <a:lnTo>
                        <a:pt x="367" y="460"/>
                      </a:lnTo>
                      <a:lnTo>
                        <a:pt x="367" y="459"/>
                      </a:lnTo>
                      <a:lnTo>
                        <a:pt x="366" y="459"/>
                      </a:lnTo>
                      <a:lnTo>
                        <a:pt x="366" y="459"/>
                      </a:lnTo>
                      <a:lnTo>
                        <a:pt x="366" y="458"/>
                      </a:lnTo>
                      <a:lnTo>
                        <a:pt x="367" y="458"/>
                      </a:lnTo>
                      <a:lnTo>
                        <a:pt x="367" y="457"/>
                      </a:lnTo>
                      <a:lnTo>
                        <a:pt x="368" y="457"/>
                      </a:lnTo>
                      <a:lnTo>
                        <a:pt x="368" y="457"/>
                      </a:lnTo>
                      <a:lnTo>
                        <a:pt x="369" y="457"/>
                      </a:lnTo>
                      <a:lnTo>
                        <a:pt x="370" y="456"/>
                      </a:lnTo>
                      <a:lnTo>
                        <a:pt x="370" y="456"/>
                      </a:lnTo>
                      <a:lnTo>
                        <a:pt x="371" y="456"/>
                      </a:lnTo>
                      <a:lnTo>
                        <a:pt x="370" y="455"/>
                      </a:lnTo>
                      <a:lnTo>
                        <a:pt x="371" y="455"/>
                      </a:lnTo>
                      <a:lnTo>
                        <a:pt x="370" y="455"/>
                      </a:lnTo>
                      <a:lnTo>
                        <a:pt x="371" y="455"/>
                      </a:lnTo>
                      <a:lnTo>
                        <a:pt x="371" y="454"/>
                      </a:lnTo>
                      <a:lnTo>
                        <a:pt x="372" y="453"/>
                      </a:lnTo>
                      <a:lnTo>
                        <a:pt x="374" y="452"/>
                      </a:lnTo>
                      <a:lnTo>
                        <a:pt x="375" y="452"/>
                      </a:lnTo>
                      <a:lnTo>
                        <a:pt x="376" y="452"/>
                      </a:lnTo>
                      <a:lnTo>
                        <a:pt x="376" y="452"/>
                      </a:lnTo>
                      <a:lnTo>
                        <a:pt x="377" y="451"/>
                      </a:lnTo>
                      <a:lnTo>
                        <a:pt x="377" y="450"/>
                      </a:lnTo>
                      <a:lnTo>
                        <a:pt x="378" y="450"/>
                      </a:lnTo>
                      <a:lnTo>
                        <a:pt x="379" y="450"/>
                      </a:lnTo>
                      <a:lnTo>
                        <a:pt x="380" y="449"/>
                      </a:lnTo>
                      <a:lnTo>
                        <a:pt x="380" y="448"/>
                      </a:lnTo>
                      <a:lnTo>
                        <a:pt x="380" y="448"/>
                      </a:lnTo>
                      <a:lnTo>
                        <a:pt x="381" y="448"/>
                      </a:lnTo>
                      <a:lnTo>
                        <a:pt x="381" y="447"/>
                      </a:lnTo>
                      <a:lnTo>
                        <a:pt x="382" y="447"/>
                      </a:lnTo>
                      <a:lnTo>
                        <a:pt x="382" y="446"/>
                      </a:lnTo>
                      <a:lnTo>
                        <a:pt x="382" y="446"/>
                      </a:lnTo>
                      <a:lnTo>
                        <a:pt x="383" y="446"/>
                      </a:lnTo>
                      <a:lnTo>
                        <a:pt x="382" y="445"/>
                      </a:lnTo>
                      <a:lnTo>
                        <a:pt x="383" y="445"/>
                      </a:lnTo>
                      <a:lnTo>
                        <a:pt x="383" y="444"/>
                      </a:lnTo>
                      <a:lnTo>
                        <a:pt x="383" y="444"/>
                      </a:lnTo>
                      <a:lnTo>
                        <a:pt x="383" y="444"/>
                      </a:lnTo>
                      <a:lnTo>
                        <a:pt x="383" y="443"/>
                      </a:lnTo>
                      <a:lnTo>
                        <a:pt x="383" y="443"/>
                      </a:lnTo>
                      <a:lnTo>
                        <a:pt x="383" y="441"/>
                      </a:lnTo>
                      <a:lnTo>
                        <a:pt x="382" y="441"/>
                      </a:lnTo>
                      <a:lnTo>
                        <a:pt x="382" y="441"/>
                      </a:lnTo>
                      <a:lnTo>
                        <a:pt x="383" y="440"/>
                      </a:lnTo>
                      <a:lnTo>
                        <a:pt x="383" y="439"/>
                      </a:lnTo>
                      <a:lnTo>
                        <a:pt x="383" y="438"/>
                      </a:lnTo>
                      <a:lnTo>
                        <a:pt x="383" y="438"/>
                      </a:lnTo>
                      <a:lnTo>
                        <a:pt x="383" y="437"/>
                      </a:lnTo>
                      <a:lnTo>
                        <a:pt x="383" y="437"/>
                      </a:lnTo>
                      <a:lnTo>
                        <a:pt x="383" y="436"/>
                      </a:lnTo>
                      <a:lnTo>
                        <a:pt x="383" y="436"/>
                      </a:lnTo>
                      <a:lnTo>
                        <a:pt x="383" y="435"/>
                      </a:lnTo>
                      <a:lnTo>
                        <a:pt x="383" y="435"/>
                      </a:lnTo>
                      <a:lnTo>
                        <a:pt x="383" y="435"/>
                      </a:lnTo>
                      <a:lnTo>
                        <a:pt x="383" y="434"/>
                      </a:lnTo>
                      <a:lnTo>
                        <a:pt x="383" y="434"/>
                      </a:lnTo>
                      <a:lnTo>
                        <a:pt x="383" y="433"/>
                      </a:lnTo>
                      <a:lnTo>
                        <a:pt x="383" y="432"/>
                      </a:lnTo>
                      <a:lnTo>
                        <a:pt x="383" y="432"/>
                      </a:lnTo>
                      <a:lnTo>
                        <a:pt x="383" y="431"/>
                      </a:lnTo>
                      <a:lnTo>
                        <a:pt x="384" y="431"/>
                      </a:lnTo>
                      <a:lnTo>
                        <a:pt x="384" y="431"/>
                      </a:lnTo>
                      <a:lnTo>
                        <a:pt x="384" y="431"/>
                      </a:lnTo>
                      <a:lnTo>
                        <a:pt x="384" y="429"/>
                      </a:lnTo>
                      <a:lnTo>
                        <a:pt x="383" y="429"/>
                      </a:lnTo>
                      <a:lnTo>
                        <a:pt x="383" y="428"/>
                      </a:lnTo>
                      <a:lnTo>
                        <a:pt x="383" y="427"/>
                      </a:lnTo>
                      <a:lnTo>
                        <a:pt x="383" y="427"/>
                      </a:lnTo>
                      <a:lnTo>
                        <a:pt x="383" y="426"/>
                      </a:lnTo>
                      <a:lnTo>
                        <a:pt x="383" y="426"/>
                      </a:lnTo>
                      <a:lnTo>
                        <a:pt x="383" y="426"/>
                      </a:lnTo>
                      <a:lnTo>
                        <a:pt x="384" y="426"/>
                      </a:lnTo>
                      <a:lnTo>
                        <a:pt x="383" y="424"/>
                      </a:lnTo>
                      <a:lnTo>
                        <a:pt x="383" y="424"/>
                      </a:lnTo>
                      <a:lnTo>
                        <a:pt x="383" y="423"/>
                      </a:lnTo>
                      <a:lnTo>
                        <a:pt x="383" y="421"/>
                      </a:lnTo>
                      <a:lnTo>
                        <a:pt x="383" y="420"/>
                      </a:lnTo>
                      <a:lnTo>
                        <a:pt x="383" y="418"/>
                      </a:lnTo>
                      <a:lnTo>
                        <a:pt x="383" y="417"/>
                      </a:lnTo>
                      <a:lnTo>
                        <a:pt x="383" y="416"/>
                      </a:lnTo>
                      <a:lnTo>
                        <a:pt x="382" y="416"/>
                      </a:lnTo>
                      <a:lnTo>
                        <a:pt x="382" y="415"/>
                      </a:lnTo>
                      <a:lnTo>
                        <a:pt x="383" y="414"/>
                      </a:lnTo>
                      <a:lnTo>
                        <a:pt x="382" y="414"/>
                      </a:lnTo>
                      <a:lnTo>
                        <a:pt x="382" y="414"/>
                      </a:lnTo>
                      <a:lnTo>
                        <a:pt x="382" y="413"/>
                      </a:lnTo>
                      <a:lnTo>
                        <a:pt x="382" y="413"/>
                      </a:lnTo>
                      <a:lnTo>
                        <a:pt x="382" y="413"/>
                      </a:lnTo>
                      <a:lnTo>
                        <a:pt x="381" y="412"/>
                      </a:lnTo>
                      <a:lnTo>
                        <a:pt x="381" y="412"/>
                      </a:lnTo>
                      <a:lnTo>
                        <a:pt x="381" y="412"/>
                      </a:lnTo>
                      <a:lnTo>
                        <a:pt x="382" y="412"/>
                      </a:lnTo>
                      <a:lnTo>
                        <a:pt x="382" y="412"/>
                      </a:lnTo>
                      <a:lnTo>
                        <a:pt x="382" y="410"/>
                      </a:lnTo>
                      <a:lnTo>
                        <a:pt x="382" y="410"/>
                      </a:lnTo>
                      <a:lnTo>
                        <a:pt x="382" y="409"/>
                      </a:lnTo>
                      <a:lnTo>
                        <a:pt x="382" y="409"/>
                      </a:lnTo>
                      <a:lnTo>
                        <a:pt x="381" y="408"/>
                      </a:lnTo>
                      <a:lnTo>
                        <a:pt x="382" y="407"/>
                      </a:lnTo>
                      <a:lnTo>
                        <a:pt x="381" y="406"/>
                      </a:lnTo>
                      <a:lnTo>
                        <a:pt x="381" y="406"/>
                      </a:lnTo>
                      <a:lnTo>
                        <a:pt x="381" y="406"/>
                      </a:lnTo>
                      <a:lnTo>
                        <a:pt x="381" y="405"/>
                      </a:lnTo>
                      <a:lnTo>
                        <a:pt x="382" y="405"/>
                      </a:lnTo>
                      <a:lnTo>
                        <a:pt x="381" y="404"/>
                      </a:lnTo>
                      <a:lnTo>
                        <a:pt x="382" y="404"/>
                      </a:lnTo>
                      <a:lnTo>
                        <a:pt x="382" y="404"/>
                      </a:lnTo>
                      <a:lnTo>
                        <a:pt x="382" y="403"/>
                      </a:lnTo>
                      <a:lnTo>
                        <a:pt x="382" y="403"/>
                      </a:lnTo>
                      <a:lnTo>
                        <a:pt x="382" y="402"/>
                      </a:lnTo>
                      <a:lnTo>
                        <a:pt x="383" y="402"/>
                      </a:lnTo>
                      <a:lnTo>
                        <a:pt x="383" y="401"/>
                      </a:lnTo>
                      <a:lnTo>
                        <a:pt x="383" y="401"/>
                      </a:lnTo>
                      <a:lnTo>
                        <a:pt x="383" y="401"/>
                      </a:lnTo>
                      <a:lnTo>
                        <a:pt x="383" y="401"/>
                      </a:lnTo>
                      <a:lnTo>
                        <a:pt x="384" y="400"/>
                      </a:lnTo>
                      <a:lnTo>
                        <a:pt x="384" y="399"/>
                      </a:lnTo>
                      <a:lnTo>
                        <a:pt x="384" y="399"/>
                      </a:lnTo>
                      <a:lnTo>
                        <a:pt x="386" y="398"/>
                      </a:lnTo>
                      <a:lnTo>
                        <a:pt x="385" y="397"/>
                      </a:lnTo>
                      <a:lnTo>
                        <a:pt x="386" y="397"/>
                      </a:lnTo>
                      <a:lnTo>
                        <a:pt x="385" y="397"/>
                      </a:lnTo>
                      <a:lnTo>
                        <a:pt x="386" y="397"/>
                      </a:lnTo>
                      <a:lnTo>
                        <a:pt x="385" y="397"/>
                      </a:lnTo>
                      <a:lnTo>
                        <a:pt x="385" y="396"/>
                      </a:lnTo>
                      <a:lnTo>
                        <a:pt x="385" y="396"/>
                      </a:lnTo>
                      <a:lnTo>
                        <a:pt x="385" y="396"/>
                      </a:lnTo>
                      <a:lnTo>
                        <a:pt x="385" y="395"/>
                      </a:lnTo>
                      <a:lnTo>
                        <a:pt x="385" y="394"/>
                      </a:lnTo>
                      <a:lnTo>
                        <a:pt x="385" y="394"/>
                      </a:lnTo>
                      <a:lnTo>
                        <a:pt x="386" y="393"/>
                      </a:lnTo>
                      <a:lnTo>
                        <a:pt x="386" y="393"/>
                      </a:lnTo>
                      <a:lnTo>
                        <a:pt x="388" y="392"/>
                      </a:lnTo>
                      <a:lnTo>
                        <a:pt x="386" y="391"/>
                      </a:lnTo>
                      <a:lnTo>
                        <a:pt x="386" y="391"/>
                      </a:lnTo>
                      <a:lnTo>
                        <a:pt x="386" y="391"/>
                      </a:lnTo>
                      <a:lnTo>
                        <a:pt x="388" y="389"/>
                      </a:lnTo>
                      <a:lnTo>
                        <a:pt x="389" y="386"/>
                      </a:lnTo>
                      <a:lnTo>
                        <a:pt x="389" y="385"/>
                      </a:lnTo>
                      <a:lnTo>
                        <a:pt x="389" y="385"/>
                      </a:lnTo>
                      <a:lnTo>
                        <a:pt x="389" y="384"/>
                      </a:lnTo>
                      <a:lnTo>
                        <a:pt x="389" y="384"/>
                      </a:lnTo>
                      <a:lnTo>
                        <a:pt x="389" y="383"/>
                      </a:lnTo>
                      <a:lnTo>
                        <a:pt x="389" y="383"/>
                      </a:lnTo>
                      <a:lnTo>
                        <a:pt x="389" y="383"/>
                      </a:lnTo>
                      <a:lnTo>
                        <a:pt x="389" y="383"/>
                      </a:lnTo>
                      <a:lnTo>
                        <a:pt x="389" y="382"/>
                      </a:lnTo>
                      <a:lnTo>
                        <a:pt x="389" y="382"/>
                      </a:lnTo>
                      <a:lnTo>
                        <a:pt x="389" y="381"/>
                      </a:lnTo>
                      <a:lnTo>
                        <a:pt x="390" y="380"/>
                      </a:lnTo>
                      <a:lnTo>
                        <a:pt x="389" y="380"/>
                      </a:lnTo>
                      <a:lnTo>
                        <a:pt x="390" y="379"/>
                      </a:lnTo>
                      <a:lnTo>
                        <a:pt x="390" y="378"/>
                      </a:lnTo>
                      <a:lnTo>
                        <a:pt x="389" y="378"/>
                      </a:lnTo>
                      <a:lnTo>
                        <a:pt x="389" y="377"/>
                      </a:lnTo>
                      <a:lnTo>
                        <a:pt x="389" y="377"/>
                      </a:lnTo>
                      <a:lnTo>
                        <a:pt x="389" y="377"/>
                      </a:lnTo>
                      <a:lnTo>
                        <a:pt x="389" y="376"/>
                      </a:lnTo>
                      <a:lnTo>
                        <a:pt x="389" y="376"/>
                      </a:lnTo>
                      <a:lnTo>
                        <a:pt x="389" y="376"/>
                      </a:lnTo>
                      <a:lnTo>
                        <a:pt x="390" y="376"/>
                      </a:lnTo>
                      <a:lnTo>
                        <a:pt x="389" y="374"/>
                      </a:lnTo>
                      <a:lnTo>
                        <a:pt x="389" y="373"/>
                      </a:lnTo>
                      <a:lnTo>
                        <a:pt x="390" y="372"/>
                      </a:lnTo>
                      <a:lnTo>
                        <a:pt x="390" y="372"/>
                      </a:lnTo>
                      <a:lnTo>
                        <a:pt x="389" y="372"/>
                      </a:lnTo>
                      <a:lnTo>
                        <a:pt x="389" y="371"/>
                      </a:lnTo>
                      <a:lnTo>
                        <a:pt x="390" y="371"/>
                      </a:lnTo>
                      <a:lnTo>
                        <a:pt x="391" y="371"/>
                      </a:lnTo>
                      <a:lnTo>
                        <a:pt x="390" y="370"/>
                      </a:lnTo>
                      <a:lnTo>
                        <a:pt x="391" y="370"/>
                      </a:lnTo>
                      <a:lnTo>
                        <a:pt x="390" y="369"/>
                      </a:lnTo>
                      <a:lnTo>
                        <a:pt x="390" y="369"/>
                      </a:lnTo>
                      <a:lnTo>
                        <a:pt x="391" y="368"/>
                      </a:lnTo>
                      <a:lnTo>
                        <a:pt x="391" y="368"/>
                      </a:lnTo>
                      <a:lnTo>
                        <a:pt x="391" y="367"/>
                      </a:lnTo>
                      <a:lnTo>
                        <a:pt x="391" y="367"/>
                      </a:lnTo>
                      <a:lnTo>
                        <a:pt x="391" y="367"/>
                      </a:lnTo>
                      <a:lnTo>
                        <a:pt x="392" y="367"/>
                      </a:lnTo>
                      <a:lnTo>
                        <a:pt x="393" y="367"/>
                      </a:lnTo>
                      <a:lnTo>
                        <a:pt x="393" y="367"/>
                      </a:lnTo>
                      <a:lnTo>
                        <a:pt x="394" y="367"/>
                      </a:lnTo>
                      <a:lnTo>
                        <a:pt x="394" y="367"/>
                      </a:lnTo>
                      <a:lnTo>
                        <a:pt x="395" y="368"/>
                      </a:lnTo>
                      <a:lnTo>
                        <a:pt x="395" y="368"/>
                      </a:lnTo>
                      <a:lnTo>
                        <a:pt x="396" y="368"/>
                      </a:lnTo>
                      <a:lnTo>
                        <a:pt x="396" y="367"/>
                      </a:lnTo>
                      <a:lnTo>
                        <a:pt x="402" y="367"/>
                      </a:lnTo>
                      <a:lnTo>
                        <a:pt x="404" y="368"/>
                      </a:lnTo>
                      <a:lnTo>
                        <a:pt x="407" y="370"/>
                      </a:lnTo>
                      <a:lnTo>
                        <a:pt x="408" y="369"/>
                      </a:lnTo>
                      <a:lnTo>
                        <a:pt x="409" y="370"/>
                      </a:lnTo>
                      <a:lnTo>
                        <a:pt x="410" y="370"/>
                      </a:lnTo>
                      <a:lnTo>
                        <a:pt x="411" y="370"/>
                      </a:lnTo>
                      <a:lnTo>
                        <a:pt x="412" y="371"/>
                      </a:lnTo>
                      <a:lnTo>
                        <a:pt x="414" y="371"/>
                      </a:lnTo>
                      <a:lnTo>
                        <a:pt x="414" y="371"/>
                      </a:lnTo>
                      <a:lnTo>
                        <a:pt x="416" y="373"/>
                      </a:lnTo>
                      <a:lnTo>
                        <a:pt x="416" y="373"/>
                      </a:lnTo>
                      <a:lnTo>
                        <a:pt x="417" y="374"/>
                      </a:lnTo>
                      <a:lnTo>
                        <a:pt x="418" y="375"/>
                      </a:lnTo>
                      <a:lnTo>
                        <a:pt x="419" y="376"/>
                      </a:lnTo>
                      <a:lnTo>
                        <a:pt x="420" y="376"/>
                      </a:lnTo>
                      <a:lnTo>
                        <a:pt x="422" y="377"/>
                      </a:lnTo>
                      <a:lnTo>
                        <a:pt x="427" y="377"/>
                      </a:lnTo>
                      <a:lnTo>
                        <a:pt x="428" y="378"/>
                      </a:lnTo>
                      <a:lnTo>
                        <a:pt x="429" y="378"/>
                      </a:lnTo>
                      <a:lnTo>
                        <a:pt x="431" y="377"/>
                      </a:lnTo>
                      <a:lnTo>
                        <a:pt x="431" y="377"/>
                      </a:lnTo>
                      <a:lnTo>
                        <a:pt x="434" y="377"/>
                      </a:lnTo>
                      <a:lnTo>
                        <a:pt x="435" y="376"/>
                      </a:lnTo>
                      <a:lnTo>
                        <a:pt x="435" y="376"/>
                      </a:lnTo>
                      <a:lnTo>
                        <a:pt x="436" y="376"/>
                      </a:lnTo>
                      <a:lnTo>
                        <a:pt x="438" y="374"/>
                      </a:lnTo>
                      <a:lnTo>
                        <a:pt x="438" y="374"/>
                      </a:lnTo>
                      <a:lnTo>
                        <a:pt x="441" y="371"/>
                      </a:lnTo>
                      <a:lnTo>
                        <a:pt x="441" y="369"/>
                      </a:lnTo>
                      <a:lnTo>
                        <a:pt x="443" y="369"/>
                      </a:lnTo>
                      <a:lnTo>
                        <a:pt x="443" y="368"/>
                      </a:lnTo>
                      <a:lnTo>
                        <a:pt x="443" y="368"/>
                      </a:lnTo>
                      <a:lnTo>
                        <a:pt x="443" y="367"/>
                      </a:lnTo>
                      <a:lnTo>
                        <a:pt x="445" y="365"/>
                      </a:lnTo>
                      <a:lnTo>
                        <a:pt x="447" y="362"/>
                      </a:lnTo>
                      <a:lnTo>
                        <a:pt x="448" y="361"/>
                      </a:lnTo>
                      <a:lnTo>
                        <a:pt x="450" y="361"/>
                      </a:lnTo>
                      <a:lnTo>
                        <a:pt x="451" y="360"/>
                      </a:lnTo>
                      <a:lnTo>
                        <a:pt x="452" y="359"/>
                      </a:lnTo>
                      <a:lnTo>
                        <a:pt x="452" y="358"/>
                      </a:lnTo>
                      <a:lnTo>
                        <a:pt x="452" y="357"/>
                      </a:lnTo>
                      <a:lnTo>
                        <a:pt x="453" y="355"/>
                      </a:lnTo>
                      <a:lnTo>
                        <a:pt x="453" y="354"/>
                      </a:lnTo>
                      <a:lnTo>
                        <a:pt x="454" y="353"/>
                      </a:lnTo>
                      <a:lnTo>
                        <a:pt x="456" y="353"/>
                      </a:lnTo>
                      <a:lnTo>
                        <a:pt x="457" y="354"/>
                      </a:lnTo>
                      <a:lnTo>
                        <a:pt x="457" y="355"/>
                      </a:lnTo>
                      <a:lnTo>
                        <a:pt x="456" y="355"/>
                      </a:lnTo>
                      <a:lnTo>
                        <a:pt x="457" y="356"/>
                      </a:lnTo>
                      <a:lnTo>
                        <a:pt x="457" y="356"/>
                      </a:lnTo>
                      <a:lnTo>
                        <a:pt x="457" y="356"/>
                      </a:lnTo>
                      <a:lnTo>
                        <a:pt x="457" y="356"/>
                      </a:lnTo>
                      <a:lnTo>
                        <a:pt x="457" y="357"/>
                      </a:lnTo>
                      <a:lnTo>
                        <a:pt x="458" y="356"/>
                      </a:lnTo>
                      <a:lnTo>
                        <a:pt x="458" y="356"/>
                      </a:lnTo>
                      <a:lnTo>
                        <a:pt x="459" y="355"/>
                      </a:lnTo>
                      <a:lnTo>
                        <a:pt x="460" y="355"/>
                      </a:lnTo>
                      <a:lnTo>
                        <a:pt x="460" y="356"/>
                      </a:lnTo>
                      <a:lnTo>
                        <a:pt x="461" y="357"/>
                      </a:lnTo>
                      <a:lnTo>
                        <a:pt x="461" y="358"/>
                      </a:lnTo>
                      <a:lnTo>
                        <a:pt x="461" y="360"/>
                      </a:lnTo>
                      <a:lnTo>
                        <a:pt x="461" y="360"/>
                      </a:lnTo>
                      <a:lnTo>
                        <a:pt x="460" y="361"/>
                      </a:lnTo>
                      <a:lnTo>
                        <a:pt x="460" y="361"/>
                      </a:lnTo>
                      <a:lnTo>
                        <a:pt x="460" y="362"/>
                      </a:lnTo>
                      <a:lnTo>
                        <a:pt x="459" y="362"/>
                      </a:lnTo>
                      <a:lnTo>
                        <a:pt x="459" y="363"/>
                      </a:lnTo>
                      <a:lnTo>
                        <a:pt x="458" y="363"/>
                      </a:lnTo>
                      <a:lnTo>
                        <a:pt x="459" y="366"/>
                      </a:lnTo>
                      <a:lnTo>
                        <a:pt x="458" y="367"/>
                      </a:lnTo>
                      <a:lnTo>
                        <a:pt x="458" y="368"/>
                      </a:lnTo>
                      <a:lnTo>
                        <a:pt x="458" y="368"/>
                      </a:lnTo>
                      <a:lnTo>
                        <a:pt x="459" y="368"/>
                      </a:lnTo>
                      <a:lnTo>
                        <a:pt x="459" y="368"/>
                      </a:lnTo>
                      <a:lnTo>
                        <a:pt x="459" y="367"/>
                      </a:lnTo>
                      <a:lnTo>
                        <a:pt x="459" y="364"/>
                      </a:lnTo>
                      <a:lnTo>
                        <a:pt x="459" y="363"/>
                      </a:lnTo>
                      <a:lnTo>
                        <a:pt x="460" y="363"/>
                      </a:lnTo>
                      <a:lnTo>
                        <a:pt x="461" y="362"/>
                      </a:lnTo>
                      <a:lnTo>
                        <a:pt x="463" y="362"/>
                      </a:lnTo>
                      <a:lnTo>
                        <a:pt x="463" y="360"/>
                      </a:lnTo>
                      <a:lnTo>
                        <a:pt x="463" y="360"/>
                      </a:lnTo>
                      <a:lnTo>
                        <a:pt x="464" y="359"/>
                      </a:lnTo>
                      <a:lnTo>
                        <a:pt x="464" y="358"/>
                      </a:lnTo>
                      <a:lnTo>
                        <a:pt x="463" y="358"/>
                      </a:lnTo>
                      <a:lnTo>
                        <a:pt x="463" y="358"/>
                      </a:lnTo>
                      <a:lnTo>
                        <a:pt x="464" y="357"/>
                      </a:lnTo>
                      <a:lnTo>
                        <a:pt x="464" y="356"/>
                      </a:lnTo>
                      <a:lnTo>
                        <a:pt x="464" y="355"/>
                      </a:lnTo>
                      <a:lnTo>
                        <a:pt x="464" y="354"/>
                      </a:lnTo>
                      <a:lnTo>
                        <a:pt x="464" y="353"/>
                      </a:lnTo>
                      <a:lnTo>
                        <a:pt x="465" y="352"/>
                      </a:lnTo>
                      <a:lnTo>
                        <a:pt x="465" y="352"/>
                      </a:lnTo>
                      <a:lnTo>
                        <a:pt x="466" y="351"/>
                      </a:lnTo>
                      <a:lnTo>
                        <a:pt x="466" y="351"/>
                      </a:lnTo>
                      <a:lnTo>
                        <a:pt x="467" y="350"/>
                      </a:lnTo>
                      <a:lnTo>
                        <a:pt x="468" y="350"/>
                      </a:lnTo>
                      <a:lnTo>
                        <a:pt x="469" y="348"/>
                      </a:lnTo>
                      <a:lnTo>
                        <a:pt x="469" y="348"/>
                      </a:lnTo>
                      <a:lnTo>
                        <a:pt x="469" y="347"/>
                      </a:lnTo>
                      <a:lnTo>
                        <a:pt x="472" y="348"/>
                      </a:lnTo>
                      <a:lnTo>
                        <a:pt x="473" y="348"/>
                      </a:lnTo>
                      <a:lnTo>
                        <a:pt x="473" y="348"/>
                      </a:lnTo>
                      <a:lnTo>
                        <a:pt x="475" y="348"/>
                      </a:lnTo>
                      <a:lnTo>
                        <a:pt x="476" y="348"/>
                      </a:lnTo>
                      <a:lnTo>
                        <a:pt x="477" y="347"/>
                      </a:lnTo>
                      <a:lnTo>
                        <a:pt x="477" y="345"/>
                      </a:lnTo>
                      <a:lnTo>
                        <a:pt x="477" y="344"/>
                      </a:lnTo>
                      <a:lnTo>
                        <a:pt x="479" y="345"/>
                      </a:lnTo>
                      <a:lnTo>
                        <a:pt x="479" y="346"/>
                      </a:lnTo>
                      <a:lnTo>
                        <a:pt x="480" y="346"/>
                      </a:lnTo>
                      <a:lnTo>
                        <a:pt x="480" y="346"/>
                      </a:lnTo>
                      <a:lnTo>
                        <a:pt x="482" y="347"/>
                      </a:lnTo>
                      <a:lnTo>
                        <a:pt x="483" y="348"/>
                      </a:lnTo>
                      <a:lnTo>
                        <a:pt x="484" y="348"/>
                      </a:lnTo>
                      <a:lnTo>
                        <a:pt x="485" y="350"/>
                      </a:lnTo>
                      <a:lnTo>
                        <a:pt x="486" y="350"/>
                      </a:lnTo>
                      <a:lnTo>
                        <a:pt x="487" y="348"/>
                      </a:lnTo>
                      <a:lnTo>
                        <a:pt x="488" y="348"/>
                      </a:lnTo>
                      <a:lnTo>
                        <a:pt x="487" y="347"/>
                      </a:lnTo>
                      <a:lnTo>
                        <a:pt x="486" y="348"/>
                      </a:lnTo>
                      <a:lnTo>
                        <a:pt x="485" y="348"/>
                      </a:lnTo>
                      <a:lnTo>
                        <a:pt x="485" y="348"/>
                      </a:lnTo>
                      <a:lnTo>
                        <a:pt x="485" y="347"/>
                      </a:lnTo>
                      <a:lnTo>
                        <a:pt x="484" y="347"/>
                      </a:lnTo>
                      <a:lnTo>
                        <a:pt x="484" y="347"/>
                      </a:lnTo>
                      <a:lnTo>
                        <a:pt x="483" y="346"/>
                      </a:lnTo>
                      <a:lnTo>
                        <a:pt x="482" y="346"/>
                      </a:lnTo>
                      <a:lnTo>
                        <a:pt x="481" y="345"/>
                      </a:lnTo>
                      <a:lnTo>
                        <a:pt x="481" y="345"/>
                      </a:lnTo>
                      <a:lnTo>
                        <a:pt x="480" y="345"/>
                      </a:lnTo>
                      <a:lnTo>
                        <a:pt x="480" y="345"/>
                      </a:lnTo>
                      <a:lnTo>
                        <a:pt x="480" y="345"/>
                      </a:lnTo>
                      <a:lnTo>
                        <a:pt x="479" y="343"/>
                      </a:lnTo>
                      <a:lnTo>
                        <a:pt x="476" y="343"/>
                      </a:lnTo>
                      <a:lnTo>
                        <a:pt x="475" y="343"/>
                      </a:lnTo>
                      <a:lnTo>
                        <a:pt x="474" y="345"/>
                      </a:lnTo>
                      <a:lnTo>
                        <a:pt x="473" y="346"/>
                      </a:lnTo>
                      <a:lnTo>
                        <a:pt x="473" y="346"/>
                      </a:lnTo>
                      <a:lnTo>
                        <a:pt x="472" y="346"/>
                      </a:lnTo>
                      <a:lnTo>
                        <a:pt x="471" y="346"/>
                      </a:lnTo>
                      <a:lnTo>
                        <a:pt x="471" y="347"/>
                      </a:lnTo>
                      <a:lnTo>
                        <a:pt x="470" y="346"/>
                      </a:lnTo>
                      <a:lnTo>
                        <a:pt x="470" y="346"/>
                      </a:lnTo>
                      <a:lnTo>
                        <a:pt x="469" y="346"/>
                      </a:lnTo>
                      <a:lnTo>
                        <a:pt x="467" y="347"/>
                      </a:lnTo>
                      <a:lnTo>
                        <a:pt x="467" y="348"/>
                      </a:lnTo>
                      <a:lnTo>
                        <a:pt x="466" y="348"/>
                      </a:lnTo>
                      <a:lnTo>
                        <a:pt x="466" y="348"/>
                      </a:lnTo>
                      <a:lnTo>
                        <a:pt x="465" y="348"/>
                      </a:lnTo>
                      <a:lnTo>
                        <a:pt x="463" y="350"/>
                      </a:lnTo>
                      <a:lnTo>
                        <a:pt x="461" y="351"/>
                      </a:lnTo>
                      <a:lnTo>
                        <a:pt x="461" y="352"/>
                      </a:lnTo>
                      <a:lnTo>
                        <a:pt x="461" y="353"/>
                      </a:lnTo>
                      <a:lnTo>
                        <a:pt x="461" y="353"/>
                      </a:lnTo>
                      <a:lnTo>
                        <a:pt x="461" y="353"/>
                      </a:lnTo>
                      <a:lnTo>
                        <a:pt x="461" y="353"/>
                      </a:lnTo>
                      <a:lnTo>
                        <a:pt x="460" y="353"/>
                      </a:lnTo>
                      <a:lnTo>
                        <a:pt x="459" y="352"/>
                      </a:lnTo>
                      <a:lnTo>
                        <a:pt x="458" y="352"/>
                      </a:lnTo>
                      <a:lnTo>
                        <a:pt x="457" y="351"/>
                      </a:lnTo>
                      <a:lnTo>
                        <a:pt x="457" y="351"/>
                      </a:lnTo>
                      <a:lnTo>
                        <a:pt x="456" y="351"/>
                      </a:lnTo>
                      <a:lnTo>
                        <a:pt x="456" y="350"/>
                      </a:lnTo>
                      <a:lnTo>
                        <a:pt x="456" y="350"/>
                      </a:lnTo>
                      <a:lnTo>
                        <a:pt x="456" y="350"/>
                      </a:lnTo>
                      <a:lnTo>
                        <a:pt x="456" y="350"/>
                      </a:lnTo>
                      <a:lnTo>
                        <a:pt x="455" y="348"/>
                      </a:lnTo>
                      <a:lnTo>
                        <a:pt x="455" y="346"/>
                      </a:lnTo>
                      <a:lnTo>
                        <a:pt x="455" y="346"/>
                      </a:lnTo>
                      <a:lnTo>
                        <a:pt x="454" y="345"/>
                      </a:lnTo>
                      <a:lnTo>
                        <a:pt x="454" y="335"/>
                      </a:lnTo>
                      <a:lnTo>
                        <a:pt x="454" y="334"/>
                      </a:lnTo>
                      <a:lnTo>
                        <a:pt x="452" y="334"/>
                      </a:lnTo>
                      <a:lnTo>
                        <a:pt x="450" y="333"/>
                      </a:lnTo>
                      <a:lnTo>
                        <a:pt x="450" y="333"/>
                      </a:lnTo>
                      <a:lnTo>
                        <a:pt x="450" y="332"/>
                      </a:lnTo>
                      <a:lnTo>
                        <a:pt x="450" y="332"/>
                      </a:lnTo>
                      <a:lnTo>
                        <a:pt x="450" y="331"/>
                      </a:lnTo>
                      <a:lnTo>
                        <a:pt x="451" y="331"/>
                      </a:lnTo>
                      <a:lnTo>
                        <a:pt x="451" y="330"/>
                      </a:lnTo>
                      <a:lnTo>
                        <a:pt x="451" y="329"/>
                      </a:lnTo>
                      <a:lnTo>
                        <a:pt x="450" y="329"/>
                      </a:lnTo>
                      <a:lnTo>
                        <a:pt x="449" y="328"/>
                      </a:lnTo>
                      <a:lnTo>
                        <a:pt x="447" y="327"/>
                      </a:lnTo>
                      <a:lnTo>
                        <a:pt x="446" y="326"/>
                      </a:lnTo>
                      <a:lnTo>
                        <a:pt x="446" y="326"/>
                      </a:lnTo>
                      <a:lnTo>
                        <a:pt x="447" y="325"/>
                      </a:lnTo>
                      <a:lnTo>
                        <a:pt x="447" y="325"/>
                      </a:lnTo>
                      <a:lnTo>
                        <a:pt x="450" y="325"/>
                      </a:lnTo>
                      <a:lnTo>
                        <a:pt x="452" y="325"/>
                      </a:lnTo>
                      <a:lnTo>
                        <a:pt x="453" y="325"/>
                      </a:lnTo>
                      <a:lnTo>
                        <a:pt x="453" y="325"/>
                      </a:lnTo>
                      <a:lnTo>
                        <a:pt x="454" y="326"/>
                      </a:lnTo>
                      <a:lnTo>
                        <a:pt x="455" y="325"/>
                      </a:lnTo>
                      <a:lnTo>
                        <a:pt x="455" y="324"/>
                      </a:lnTo>
                      <a:lnTo>
                        <a:pt x="456" y="324"/>
                      </a:lnTo>
                      <a:lnTo>
                        <a:pt x="456" y="323"/>
                      </a:lnTo>
                      <a:lnTo>
                        <a:pt x="456" y="323"/>
                      </a:lnTo>
                      <a:lnTo>
                        <a:pt x="456" y="322"/>
                      </a:lnTo>
                      <a:lnTo>
                        <a:pt x="456" y="322"/>
                      </a:lnTo>
                      <a:lnTo>
                        <a:pt x="457" y="317"/>
                      </a:lnTo>
                      <a:lnTo>
                        <a:pt x="456" y="316"/>
                      </a:lnTo>
                      <a:lnTo>
                        <a:pt x="456" y="315"/>
                      </a:lnTo>
                      <a:lnTo>
                        <a:pt x="456" y="315"/>
                      </a:lnTo>
                      <a:lnTo>
                        <a:pt x="456" y="314"/>
                      </a:lnTo>
                      <a:lnTo>
                        <a:pt x="456" y="314"/>
                      </a:lnTo>
                      <a:lnTo>
                        <a:pt x="455" y="313"/>
                      </a:lnTo>
                      <a:lnTo>
                        <a:pt x="453" y="312"/>
                      </a:lnTo>
                      <a:lnTo>
                        <a:pt x="453" y="312"/>
                      </a:lnTo>
                      <a:lnTo>
                        <a:pt x="453" y="312"/>
                      </a:lnTo>
                      <a:lnTo>
                        <a:pt x="453" y="310"/>
                      </a:lnTo>
                      <a:lnTo>
                        <a:pt x="454" y="310"/>
                      </a:lnTo>
                      <a:lnTo>
                        <a:pt x="456" y="310"/>
                      </a:lnTo>
                      <a:lnTo>
                        <a:pt x="457" y="310"/>
                      </a:lnTo>
                      <a:lnTo>
                        <a:pt x="457" y="309"/>
                      </a:lnTo>
                      <a:lnTo>
                        <a:pt x="457" y="308"/>
                      </a:lnTo>
                      <a:lnTo>
                        <a:pt x="458" y="308"/>
                      </a:lnTo>
                      <a:lnTo>
                        <a:pt x="458" y="307"/>
                      </a:lnTo>
                      <a:lnTo>
                        <a:pt x="458" y="307"/>
                      </a:lnTo>
                      <a:lnTo>
                        <a:pt x="459" y="306"/>
                      </a:lnTo>
                      <a:lnTo>
                        <a:pt x="460" y="307"/>
                      </a:lnTo>
                      <a:lnTo>
                        <a:pt x="463" y="307"/>
                      </a:lnTo>
                      <a:lnTo>
                        <a:pt x="464" y="307"/>
                      </a:lnTo>
                      <a:lnTo>
                        <a:pt x="465" y="307"/>
                      </a:lnTo>
                      <a:lnTo>
                        <a:pt x="466" y="306"/>
                      </a:lnTo>
                      <a:lnTo>
                        <a:pt x="467" y="306"/>
                      </a:lnTo>
                      <a:lnTo>
                        <a:pt x="467" y="306"/>
                      </a:lnTo>
                      <a:lnTo>
                        <a:pt x="468" y="306"/>
                      </a:lnTo>
                      <a:lnTo>
                        <a:pt x="469" y="305"/>
                      </a:lnTo>
                      <a:lnTo>
                        <a:pt x="471" y="305"/>
                      </a:lnTo>
                      <a:lnTo>
                        <a:pt x="471" y="304"/>
                      </a:lnTo>
                      <a:lnTo>
                        <a:pt x="474" y="303"/>
                      </a:lnTo>
                      <a:lnTo>
                        <a:pt x="475" y="303"/>
                      </a:lnTo>
                      <a:lnTo>
                        <a:pt x="475" y="303"/>
                      </a:lnTo>
                      <a:lnTo>
                        <a:pt x="476" y="303"/>
                      </a:lnTo>
                      <a:lnTo>
                        <a:pt x="477" y="303"/>
                      </a:lnTo>
                      <a:lnTo>
                        <a:pt x="477" y="303"/>
                      </a:lnTo>
                      <a:lnTo>
                        <a:pt x="478" y="303"/>
                      </a:lnTo>
                      <a:lnTo>
                        <a:pt x="478" y="303"/>
                      </a:lnTo>
                      <a:lnTo>
                        <a:pt x="479" y="303"/>
                      </a:lnTo>
                      <a:lnTo>
                        <a:pt x="480" y="302"/>
                      </a:lnTo>
                      <a:lnTo>
                        <a:pt x="481" y="302"/>
                      </a:lnTo>
                      <a:lnTo>
                        <a:pt x="482" y="302"/>
                      </a:lnTo>
                      <a:lnTo>
                        <a:pt x="483" y="301"/>
                      </a:lnTo>
                      <a:lnTo>
                        <a:pt x="483" y="301"/>
                      </a:lnTo>
                      <a:lnTo>
                        <a:pt x="484" y="301"/>
                      </a:lnTo>
                      <a:lnTo>
                        <a:pt x="484" y="301"/>
                      </a:lnTo>
                      <a:lnTo>
                        <a:pt x="484" y="301"/>
                      </a:lnTo>
                      <a:lnTo>
                        <a:pt x="484" y="301"/>
                      </a:lnTo>
                      <a:lnTo>
                        <a:pt x="485" y="301"/>
                      </a:lnTo>
                      <a:lnTo>
                        <a:pt x="486" y="301"/>
                      </a:lnTo>
                      <a:lnTo>
                        <a:pt x="487" y="302"/>
                      </a:lnTo>
                      <a:lnTo>
                        <a:pt x="488" y="302"/>
                      </a:lnTo>
                      <a:lnTo>
                        <a:pt x="488" y="302"/>
                      </a:lnTo>
                      <a:lnTo>
                        <a:pt x="489" y="302"/>
                      </a:lnTo>
                      <a:lnTo>
                        <a:pt x="489" y="302"/>
                      </a:lnTo>
                      <a:lnTo>
                        <a:pt x="490" y="303"/>
                      </a:lnTo>
                      <a:lnTo>
                        <a:pt x="490" y="304"/>
                      </a:lnTo>
                      <a:lnTo>
                        <a:pt x="492" y="304"/>
                      </a:lnTo>
                      <a:lnTo>
                        <a:pt x="493" y="303"/>
                      </a:lnTo>
                      <a:lnTo>
                        <a:pt x="494" y="303"/>
                      </a:lnTo>
                      <a:lnTo>
                        <a:pt x="494" y="303"/>
                      </a:lnTo>
                      <a:lnTo>
                        <a:pt x="494" y="302"/>
                      </a:lnTo>
                      <a:lnTo>
                        <a:pt x="495" y="301"/>
                      </a:lnTo>
                      <a:lnTo>
                        <a:pt x="500" y="301"/>
                      </a:lnTo>
                      <a:lnTo>
                        <a:pt x="500" y="301"/>
                      </a:lnTo>
                      <a:lnTo>
                        <a:pt x="501" y="300"/>
                      </a:lnTo>
                      <a:lnTo>
                        <a:pt x="502" y="300"/>
                      </a:lnTo>
                      <a:lnTo>
                        <a:pt x="503" y="301"/>
                      </a:lnTo>
                      <a:lnTo>
                        <a:pt x="505" y="301"/>
                      </a:lnTo>
                      <a:lnTo>
                        <a:pt x="505" y="300"/>
                      </a:lnTo>
                      <a:lnTo>
                        <a:pt x="507" y="300"/>
                      </a:lnTo>
                      <a:lnTo>
                        <a:pt x="507" y="300"/>
                      </a:lnTo>
                      <a:lnTo>
                        <a:pt x="511" y="300"/>
                      </a:lnTo>
                      <a:lnTo>
                        <a:pt x="511" y="300"/>
                      </a:lnTo>
                      <a:lnTo>
                        <a:pt x="512" y="300"/>
                      </a:lnTo>
                      <a:lnTo>
                        <a:pt x="513" y="299"/>
                      </a:lnTo>
                      <a:lnTo>
                        <a:pt x="513" y="298"/>
                      </a:lnTo>
                      <a:lnTo>
                        <a:pt x="514" y="298"/>
                      </a:lnTo>
                      <a:lnTo>
                        <a:pt x="514" y="297"/>
                      </a:lnTo>
                      <a:lnTo>
                        <a:pt x="516" y="297"/>
                      </a:lnTo>
                      <a:lnTo>
                        <a:pt x="517" y="296"/>
                      </a:lnTo>
                      <a:lnTo>
                        <a:pt x="518" y="297"/>
                      </a:lnTo>
                      <a:lnTo>
                        <a:pt x="522" y="297"/>
                      </a:lnTo>
                      <a:lnTo>
                        <a:pt x="522" y="297"/>
                      </a:lnTo>
                      <a:lnTo>
                        <a:pt x="522" y="298"/>
                      </a:lnTo>
                      <a:lnTo>
                        <a:pt x="523" y="298"/>
                      </a:lnTo>
                      <a:lnTo>
                        <a:pt x="524" y="299"/>
                      </a:lnTo>
                      <a:lnTo>
                        <a:pt x="526" y="298"/>
                      </a:lnTo>
                      <a:lnTo>
                        <a:pt x="526" y="298"/>
                      </a:lnTo>
                      <a:lnTo>
                        <a:pt x="526" y="297"/>
                      </a:lnTo>
                      <a:lnTo>
                        <a:pt x="527" y="297"/>
                      </a:lnTo>
                      <a:lnTo>
                        <a:pt x="527" y="297"/>
                      </a:lnTo>
                      <a:lnTo>
                        <a:pt x="528" y="298"/>
                      </a:lnTo>
                      <a:lnTo>
                        <a:pt x="528" y="297"/>
                      </a:lnTo>
                      <a:lnTo>
                        <a:pt x="528" y="296"/>
                      </a:lnTo>
                      <a:lnTo>
                        <a:pt x="530" y="296"/>
                      </a:lnTo>
                      <a:lnTo>
                        <a:pt x="531" y="295"/>
                      </a:lnTo>
                      <a:lnTo>
                        <a:pt x="533" y="295"/>
                      </a:lnTo>
                      <a:lnTo>
                        <a:pt x="535" y="295"/>
                      </a:lnTo>
                      <a:lnTo>
                        <a:pt x="536" y="296"/>
                      </a:lnTo>
                      <a:lnTo>
                        <a:pt x="538" y="296"/>
                      </a:lnTo>
                      <a:lnTo>
                        <a:pt x="539" y="296"/>
                      </a:lnTo>
                      <a:lnTo>
                        <a:pt x="542" y="296"/>
                      </a:lnTo>
                      <a:lnTo>
                        <a:pt x="543" y="296"/>
                      </a:lnTo>
                      <a:lnTo>
                        <a:pt x="544" y="295"/>
                      </a:lnTo>
                      <a:lnTo>
                        <a:pt x="544" y="294"/>
                      </a:lnTo>
                      <a:lnTo>
                        <a:pt x="544" y="294"/>
                      </a:lnTo>
                      <a:lnTo>
                        <a:pt x="545" y="294"/>
                      </a:lnTo>
                      <a:lnTo>
                        <a:pt x="545" y="293"/>
                      </a:lnTo>
                      <a:lnTo>
                        <a:pt x="545" y="292"/>
                      </a:lnTo>
                      <a:lnTo>
                        <a:pt x="546" y="292"/>
                      </a:lnTo>
                      <a:lnTo>
                        <a:pt x="546" y="291"/>
                      </a:lnTo>
                      <a:lnTo>
                        <a:pt x="547" y="291"/>
                      </a:lnTo>
                      <a:lnTo>
                        <a:pt x="548" y="292"/>
                      </a:lnTo>
                      <a:lnTo>
                        <a:pt x="548" y="293"/>
                      </a:lnTo>
                      <a:lnTo>
                        <a:pt x="550" y="294"/>
                      </a:lnTo>
                      <a:lnTo>
                        <a:pt x="554" y="294"/>
                      </a:lnTo>
                      <a:lnTo>
                        <a:pt x="555" y="295"/>
                      </a:lnTo>
                      <a:lnTo>
                        <a:pt x="559" y="295"/>
                      </a:lnTo>
                      <a:lnTo>
                        <a:pt x="561" y="296"/>
                      </a:lnTo>
                      <a:lnTo>
                        <a:pt x="564" y="296"/>
                      </a:lnTo>
                      <a:lnTo>
                        <a:pt x="566" y="297"/>
                      </a:lnTo>
                      <a:lnTo>
                        <a:pt x="568" y="298"/>
                      </a:lnTo>
                      <a:lnTo>
                        <a:pt x="572" y="298"/>
                      </a:lnTo>
                      <a:lnTo>
                        <a:pt x="573" y="299"/>
                      </a:lnTo>
                      <a:lnTo>
                        <a:pt x="577" y="299"/>
                      </a:lnTo>
                      <a:lnTo>
                        <a:pt x="579" y="299"/>
                      </a:lnTo>
                      <a:lnTo>
                        <a:pt x="580" y="299"/>
                      </a:lnTo>
                      <a:lnTo>
                        <a:pt x="580" y="300"/>
                      </a:lnTo>
                      <a:lnTo>
                        <a:pt x="581" y="300"/>
                      </a:lnTo>
                      <a:lnTo>
                        <a:pt x="581" y="300"/>
                      </a:lnTo>
                      <a:lnTo>
                        <a:pt x="582" y="301"/>
                      </a:lnTo>
                      <a:lnTo>
                        <a:pt x="582" y="301"/>
                      </a:lnTo>
                      <a:lnTo>
                        <a:pt x="583" y="300"/>
                      </a:lnTo>
                      <a:lnTo>
                        <a:pt x="584" y="300"/>
                      </a:lnTo>
                      <a:lnTo>
                        <a:pt x="584" y="299"/>
                      </a:lnTo>
                      <a:lnTo>
                        <a:pt x="586" y="299"/>
                      </a:lnTo>
                      <a:lnTo>
                        <a:pt x="588" y="299"/>
                      </a:lnTo>
                      <a:lnTo>
                        <a:pt x="589" y="297"/>
                      </a:lnTo>
                      <a:lnTo>
                        <a:pt x="590" y="297"/>
                      </a:lnTo>
                      <a:lnTo>
                        <a:pt x="590" y="296"/>
                      </a:lnTo>
                      <a:lnTo>
                        <a:pt x="593" y="296"/>
                      </a:lnTo>
                      <a:lnTo>
                        <a:pt x="594" y="296"/>
                      </a:lnTo>
                      <a:lnTo>
                        <a:pt x="594" y="296"/>
                      </a:lnTo>
                      <a:lnTo>
                        <a:pt x="597" y="296"/>
                      </a:lnTo>
                      <a:lnTo>
                        <a:pt x="598" y="296"/>
                      </a:lnTo>
                      <a:lnTo>
                        <a:pt x="599" y="296"/>
                      </a:lnTo>
                      <a:lnTo>
                        <a:pt x="601" y="297"/>
                      </a:lnTo>
                      <a:lnTo>
                        <a:pt x="604" y="298"/>
                      </a:lnTo>
                      <a:lnTo>
                        <a:pt x="605" y="299"/>
                      </a:lnTo>
                      <a:lnTo>
                        <a:pt x="606" y="299"/>
                      </a:lnTo>
                      <a:lnTo>
                        <a:pt x="606" y="298"/>
                      </a:lnTo>
                      <a:lnTo>
                        <a:pt x="607" y="298"/>
                      </a:lnTo>
                      <a:lnTo>
                        <a:pt x="608" y="300"/>
                      </a:lnTo>
                      <a:lnTo>
                        <a:pt x="609" y="300"/>
                      </a:lnTo>
                      <a:lnTo>
                        <a:pt x="610" y="301"/>
                      </a:lnTo>
                      <a:lnTo>
                        <a:pt x="613" y="302"/>
                      </a:lnTo>
                      <a:lnTo>
                        <a:pt x="613" y="302"/>
                      </a:lnTo>
                      <a:lnTo>
                        <a:pt x="613" y="303"/>
                      </a:lnTo>
                      <a:lnTo>
                        <a:pt x="613" y="304"/>
                      </a:lnTo>
                      <a:lnTo>
                        <a:pt x="614" y="304"/>
                      </a:lnTo>
                      <a:lnTo>
                        <a:pt x="616" y="304"/>
                      </a:lnTo>
                      <a:lnTo>
                        <a:pt x="616" y="304"/>
                      </a:lnTo>
                      <a:lnTo>
                        <a:pt x="617" y="303"/>
                      </a:lnTo>
                      <a:lnTo>
                        <a:pt x="618" y="303"/>
                      </a:lnTo>
                      <a:lnTo>
                        <a:pt x="620" y="305"/>
                      </a:lnTo>
                      <a:lnTo>
                        <a:pt x="620" y="306"/>
                      </a:lnTo>
                      <a:lnTo>
                        <a:pt x="621" y="308"/>
                      </a:lnTo>
                      <a:lnTo>
                        <a:pt x="624" y="310"/>
                      </a:lnTo>
                      <a:lnTo>
                        <a:pt x="624" y="312"/>
                      </a:lnTo>
                      <a:lnTo>
                        <a:pt x="624" y="312"/>
                      </a:lnTo>
                      <a:lnTo>
                        <a:pt x="625" y="312"/>
                      </a:lnTo>
                      <a:lnTo>
                        <a:pt x="626" y="313"/>
                      </a:lnTo>
                      <a:lnTo>
                        <a:pt x="628" y="313"/>
                      </a:lnTo>
                      <a:lnTo>
                        <a:pt x="631" y="313"/>
                      </a:lnTo>
                      <a:lnTo>
                        <a:pt x="632" y="312"/>
                      </a:lnTo>
                      <a:lnTo>
                        <a:pt x="634" y="312"/>
                      </a:lnTo>
                      <a:lnTo>
                        <a:pt x="636" y="313"/>
                      </a:lnTo>
                      <a:lnTo>
                        <a:pt x="638" y="313"/>
                      </a:lnTo>
                      <a:lnTo>
                        <a:pt x="639" y="313"/>
                      </a:lnTo>
                      <a:lnTo>
                        <a:pt x="640" y="313"/>
                      </a:lnTo>
                      <a:lnTo>
                        <a:pt x="642" y="313"/>
                      </a:lnTo>
                      <a:lnTo>
                        <a:pt x="644" y="313"/>
                      </a:lnTo>
                      <a:lnTo>
                        <a:pt x="644" y="314"/>
                      </a:lnTo>
                      <a:lnTo>
                        <a:pt x="645" y="314"/>
                      </a:lnTo>
                      <a:lnTo>
                        <a:pt x="647" y="314"/>
                      </a:lnTo>
                      <a:lnTo>
                        <a:pt x="648" y="313"/>
                      </a:lnTo>
                      <a:lnTo>
                        <a:pt x="652" y="313"/>
                      </a:lnTo>
                      <a:lnTo>
                        <a:pt x="652" y="314"/>
                      </a:lnTo>
                      <a:lnTo>
                        <a:pt x="654" y="314"/>
                      </a:lnTo>
                      <a:lnTo>
                        <a:pt x="655" y="313"/>
                      </a:lnTo>
                      <a:lnTo>
                        <a:pt x="657" y="310"/>
                      </a:lnTo>
                      <a:lnTo>
                        <a:pt x="659" y="310"/>
                      </a:lnTo>
                      <a:lnTo>
                        <a:pt x="661" y="310"/>
                      </a:lnTo>
                      <a:lnTo>
                        <a:pt x="661" y="310"/>
                      </a:lnTo>
                      <a:lnTo>
                        <a:pt x="663" y="309"/>
                      </a:lnTo>
                      <a:lnTo>
                        <a:pt x="665" y="308"/>
                      </a:lnTo>
                      <a:lnTo>
                        <a:pt x="666" y="308"/>
                      </a:lnTo>
                      <a:lnTo>
                        <a:pt x="668" y="306"/>
                      </a:lnTo>
                      <a:lnTo>
                        <a:pt x="670" y="306"/>
                      </a:lnTo>
                      <a:lnTo>
                        <a:pt x="671" y="305"/>
                      </a:lnTo>
                      <a:lnTo>
                        <a:pt x="673" y="306"/>
                      </a:lnTo>
                      <a:lnTo>
                        <a:pt x="674" y="306"/>
                      </a:lnTo>
                      <a:lnTo>
                        <a:pt x="674" y="306"/>
                      </a:lnTo>
                      <a:lnTo>
                        <a:pt x="675" y="306"/>
                      </a:lnTo>
                      <a:lnTo>
                        <a:pt x="676" y="306"/>
                      </a:lnTo>
                      <a:lnTo>
                        <a:pt x="677" y="305"/>
                      </a:lnTo>
                      <a:lnTo>
                        <a:pt x="678" y="304"/>
                      </a:lnTo>
                      <a:lnTo>
                        <a:pt x="678" y="304"/>
                      </a:lnTo>
                      <a:lnTo>
                        <a:pt x="679" y="303"/>
                      </a:lnTo>
                      <a:lnTo>
                        <a:pt x="682" y="303"/>
                      </a:lnTo>
                      <a:lnTo>
                        <a:pt x="683" y="303"/>
                      </a:lnTo>
                      <a:lnTo>
                        <a:pt x="684" y="303"/>
                      </a:lnTo>
                      <a:lnTo>
                        <a:pt x="685" y="303"/>
                      </a:lnTo>
                      <a:lnTo>
                        <a:pt x="688" y="304"/>
                      </a:lnTo>
                      <a:lnTo>
                        <a:pt x="689" y="304"/>
                      </a:lnTo>
                      <a:lnTo>
                        <a:pt x="689" y="303"/>
                      </a:lnTo>
                      <a:lnTo>
                        <a:pt x="691" y="304"/>
                      </a:lnTo>
                      <a:lnTo>
                        <a:pt x="694" y="305"/>
                      </a:lnTo>
                      <a:lnTo>
                        <a:pt x="696" y="306"/>
                      </a:lnTo>
                      <a:lnTo>
                        <a:pt x="697" y="306"/>
                      </a:lnTo>
                      <a:lnTo>
                        <a:pt x="698" y="305"/>
                      </a:lnTo>
                      <a:lnTo>
                        <a:pt x="700" y="305"/>
                      </a:lnTo>
                      <a:lnTo>
                        <a:pt x="700" y="305"/>
                      </a:lnTo>
                      <a:lnTo>
                        <a:pt x="700" y="304"/>
                      </a:lnTo>
                      <a:lnTo>
                        <a:pt x="703" y="303"/>
                      </a:lnTo>
                      <a:lnTo>
                        <a:pt x="705" y="301"/>
                      </a:lnTo>
                      <a:lnTo>
                        <a:pt x="708" y="300"/>
                      </a:lnTo>
                      <a:lnTo>
                        <a:pt x="708" y="301"/>
                      </a:lnTo>
                      <a:lnTo>
                        <a:pt x="706" y="303"/>
                      </a:lnTo>
                      <a:lnTo>
                        <a:pt x="706" y="304"/>
                      </a:lnTo>
                      <a:lnTo>
                        <a:pt x="706" y="305"/>
                      </a:lnTo>
                      <a:lnTo>
                        <a:pt x="706" y="306"/>
                      </a:lnTo>
                      <a:lnTo>
                        <a:pt x="706" y="307"/>
                      </a:lnTo>
                      <a:lnTo>
                        <a:pt x="705" y="308"/>
                      </a:lnTo>
                      <a:lnTo>
                        <a:pt x="705" y="308"/>
                      </a:lnTo>
                      <a:lnTo>
                        <a:pt x="704" y="309"/>
                      </a:lnTo>
                      <a:lnTo>
                        <a:pt x="703" y="308"/>
                      </a:lnTo>
                      <a:lnTo>
                        <a:pt x="703" y="308"/>
                      </a:lnTo>
                      <a:lnTo>
                        <a:pt x="702" y="309"/>
                      </a:lnTo>
                      <a:lnTo>
                        <a:pt x="700" y="312"/>
                      </a:lnTo>
                      <a:lnTo>
                        <a:pt x="699" y="314"/>
                      </a:lnTo>
                      <a:lnTo>
                        <a:pt x="699" y="315"/>
                      </a:lnTo>
                      <a:lnTo>
                        <a:pt x="700" y="316"/>
                      </a:lnTo>
                      <a:lnTo>
                        <a:pt x="701" y="316"/>
                      </a:lnTo>
                      <a:lnTo>
                        <a:pt x="702" y="318"/>
                      </a:lnTo>
                      <a:lnTo>
                        <a:pt x="702" y="318"/>
                      </a:lnTo>
                      <a:lnTo>
                        <a:pt x="703" y="318"/>
                      </a:lnTo>
                      <a:lnTo>
                        <a:pt x="702" y="317"/>
                      </a:lnTo>
                      <a:lnTo>
                        <a:pt x="701" y="316"/>
                      </a:lnTo>
                      <a:lnTo>
                        <a:pt x="701" y="316"/>
                      </a:lnTo>
                      <a:lnTo>
                        <a:pt x="701" y="315"/>
                      </a:lnTo>
                      <a:lnTo>
                        <a:pt x="700" y="315"/>
                      </a:lnTo>
                      <a:lnTo>
                        <a:pt x="700" y="314"/>
                      </a:lnTo>
                      <a:lnTo>
                        <a:pt x="700" y="314"/>
                      </a:lnTo>
                      <a:lnTo>
                        <a:pt x="701" y="312"/>
                      </a:lnTo>
                      <a:lnTo>
                        <a:pt x="701" y="312"/>
                      </a:lnTo>
                      <a:lnTo>
                        <a:pt x="702" y="310"/>
                      </a:lnTo>
                      <a:lnTo>
                        <a:pt x="705" y="310"/>
                      </a:lnTo>
                      <a:lnTo>
                        <a:pt x="705" y="309"/>
                      </a:lnTo>
                      <a:lnTo>
                        <a:pt x="706" y="309"/>
                      </a:lnTo>
                      <a:lnTo>
                        <a:pt x="706" y="308"/>
                      </a:lnTo>
                      <a:lnTo>
                        <a:pt x="706" y="308"/>
                      </a:lnTo>
                      <a:lnTo>
                        <a:pt x="707" y="308"/>
                      </a:lnTo>
                      <a:lnTo>
                        <a:pt x="707" y="307"/>
                      </a:lnTo>
                      <a:lnTo>
                        <a:pt x="708" y="304"/>
                      </a:lnTo>
                      <a:lnTo>
                        <a:pt x="708" y="304"/>
                      </a:lnTo>
                      <a:lnTo>
                        <a:pt x="708" y="303"/>
                      </a:lnTo>
                      <a:lnTo>
                        <a:pt x="709" y="302"/>
                      </a:lnTo>
                      <a:lnTo>
                        <a:pt x="709" y="302"/>
                      </a:lnTo>
                      <a:lnTo>
                        <a:pt x="709" y="302"/>
                      </a:lnTo>
                      <a:lnTo>
                        <a:pt x="709" y="301"/>
                      </a:lnTo>
                      <a:lnTo>
                        <a:pt x="709" y="301"/>
                      </a:lnTo>
                      <a:lnTo>
                        <a:pt x="710" y="300"/>
                      </a:lnTo>
                      <a:lnTo>
                        <a:pt x="711" y="298"/>
                      </a:lnTo>
                      <a:lnTo>
                        <a:pt x="711" y="297"/>
                      </a:lnTo>
                      <a:lnTo>
                        <a:pt x="711" y="296"/>
                      </a:lnTo>
                      <a:lnTo>
                        <a:pt x="712" y="296"/>
                      </a:lnTo>
                      <a:lnTo>
                        <a:pt x="712" y="294"/>
                      </a:lnTo>
                      <a:lnTo>
                        <a:pt x="712" y="292"/>
                      </a:lnTo>
                      <a:lnTo>
                        <a:pt x="711" y="292"/>
                      </a:lnTo>
                      <a:lnTo>
                        <a:pt x="711" y="291"/>
                      </a:lnTo>
                      <a:lnTo>
                        <a:pt x="710" y="290"/>
                      </a:lnTo>
                      <a:lnTo>
                        <a:pt x="709" y="289"/>
                      </a:lnTo>
                      <a:lnTo>
                        <a:pt x="709" y="288"/>
                      </a:lnTo>
                      <a:lnTo>
                        <a:pt x="708" y="287"/>
                      </a:lnTo>
                      <a:lnTo>
                        <a:pt x="708" y="284"/>
                      </a:lnTo>
                      <a:lnTo>
                        <a:pt x="708" y="283"/>
                      </a:lnTo>
                      <a:lnTo>
                        <a:pt x="708" y="283"/>
                      </a:lnTo>
                      <a:lnTo>
                        <a:pt x="708" y="282"/>
                      </a:lnTo>
                      <a:lnTo>
                        <a:pt x="708" y="281"/>
                      </a:lnTo>
                      <a:lnTo>
                        <a:pt x="708" y="279"/>
                      </a:lnTo>
                      <a:lnTo>
                        <a:pt x="708" y="279"/>
                      </a:lnTo>
                      <a:lnTo>
                        <a:pt x="708" y="278"/>
                      </a:lnTo>
                      <a:lnTo>
                        <a:pt x="709" y="277"/>
                      </a:lnTo>
                      <a:lnTo>
                        <a:pt x="709" y="276"/>
                      </a:lnTo>
                      <a:lnTo>
                        <a:pt x="709" y="271"/>
                      </a:lnTo>
                      <a:lnTo>
                        <a:pt x="709" y="266"/>
                      </a:lnTo>
                      <a:lnTo>
                        <a:pt x="709" y="265"/>
                      </a:lnTo>
                      <a:lnTo>
                        <a:pt x="707" y="265"/>
                      </a:lnTo>
                      <a:lnTo>
                        <a:pt x="706" y="265"/>
                      </a:lnTo>
                      <a:lnTo>
                        <a:pt x="706" y="265"/>
                      </a:lnTo>
                      <a:lnTo>
                        <a:pt x="705" y="264"/>
                      </a:lnTo>
                      <a:lnTo>
                        <a:pt x="704" y="263"/>
                      </a:lnTo>
                      <a:lnTo>
                        <a:pt x="706" y="263"/>
                      </a:lnTo>
                      <a:lnTo>
                        <a:pt x="707" y="264"/>
                      </a:lnTo>
                      <a:lnTo>
                        <a:pt x="709" y="264"/>
                      </a:lnTo>
                      <a:lnTo>
                        <a:pt x="709" y="264"/>
                      </a:lnTo>
                      <a:lnTo>
                        <a:pt x="711" y="264"/>
                      </a:lnTo>
                      <a:lnTo>
                        <a:pt x="711" y="265"/>
                      </a:lnTo>
                      <a:lnTo>
                        <a:pt x="711" y="265"/>
                      </a:lnTo>
                      <a:lnTo>
                        <a:pt x="712" y="265"/>
                      </a:lnTo>
                      <a:lnTo>
                        <a:pt x="713" y="266"/>
                      </a:lnTo>
                      <a:lnTo>
                        <a:pt x="714" y="266"/>
                      </a:lnTo>
                      <a:lnTo>
                        <a:pt x="714" y="265"/>
                      </a:lnTo>
                      <a:lnTo>
                        <a:pt x="714" y="264"/>
                      </a:lnTo>
                      <a:lnTo>
                        <a:pt x="714" y="263"/>
                      </a:lnTo>
                      <a:lnTo>
                        <a:pt x="714" y="262"/>
                      </a:lnTo>
                      <a:lnTo>
                        <a:pt x="715" y="262"/>
                      </a:lnTo>
                      <a:lnTo>
                        <a:pt x="715" y="261"/>
                      </a:lnTo>
                      <a:lnTo>
                        <a:pt x="715" y="261"/>
                      </a:lnTo>
                      <a:lnTo>
                        <a:pt x="715" y="261"/>
                      </a:lnTo>
                      <a:lnTo>
                        <a:pt x="715" y="259"/>
                      </a:lnTo>
                      <a:lnTo>
                        <a:pt x="715" y="258"/>
                      </a:lnTo>
                      <a:lnTo>
                        <a:pt x="715" y="257"/>
                      </a:lnTo>
                      <a:lnTo>
                        <a:pt x="715" y="257"/>
                      </a:lnTo>
                      <a:lnTo>
                        <a:pt x="715" y="256"/>
                      </a:lnTo>
                      <a:lnTo>
                        <a:pt x="715" y="256"/>
                      </a:lnTo>
                      <a:lnTo>
                        <a:pt x="713" y="256"/>
                      </a:lnTo>
                      <a:lnTo>
                        <a:pt x="713" y="255"/>
                      </a:lnTo>
                      <a:lnTo>
                        <a:pt x="713" y="254"/>
                      </a:lnTo>
                      <a:lnTo>
                        <a:pt x="713" y="253"/>
                      </a:lnTo>
                      <a:lnTo>
                        <a:pt x="714" y="253"/>
                      </a:lnTo>
                      <a:lnTo>
                        <a:pt x="715" y="253"/>
                      </a:lnTo>
                      <a:lnTo>
                        <a:pt x="718" y="252"/>
                      </a:lnTo>
                      <a:lnTo>
                        <a:pt x="719" y="252"/>
                      </a:lnTo>
                      <a:lnTo>
                        <a:pt x="719" y="251"/>
                      </a:lnTo>
                      <a:lnTo>
                        <a:pt x="719" y="249"/>
                      </a:lnTo>
                      <a:lnTo>
                        <a:pt x="719" y="248"/>
                      </a:lnTo>
                      <a:lnTo>
                        <a:pt x="719" y="246"/>
                      </a:lnTo>
                      <a:lnTo>
                        <a:pt x="719" y="246"/>
                      </a:lnTo>
                      <a:lnTo>
                        <a:pt x="718" y="245"/>
                      </a:lnTo>
                      <a:lnTo>
                        <a:pt x="718" y="245"/>
                      </a:lnTo>
                      <a:lnTo>
                        <a:pt x="718" y="244"/>
                      </a:lnTo>
                      <a:lnTo>
                        <a:pt x="716" y="244"/>
                      </a:lnTo>
                      <a:lnTo>
                        <a:pt x="716" y="244"/>
                      </a:lnTo>
                      <a:lnTo>
                        <a:pt x="717" y="243"/>
                      </a:lnTo>
                      <a:lnTo>
                        <a:pt x="719" y="242"/>
                      </a:lnTo>
                      <a:lnTo>
                        <a:pt x="721" y="242"/>
                      </a:lnTo>
                      <a:lnTo>
                        <a:pt x="722" y="241"/>
                      </a:lnTo>
                      <a:lnTo>
                        <a:pt x="722" y="241"/>
                      </a:lnTo>
                      <a:lnTo>
                        <a:pt x="725" y="240"/>
                      </a:lnTo>
                      <a:lnTo>
                        <a:pt x="726" y="240"/>
                      </a:lnTo>
                      <a:lnTo>
                        <a:pt x="726" y="241"/>
                      </a:lnTo>
                      <a:lnTo>
                        <a:pt x="726" y="241"/>
                      </a:lnTo>
                      <a:lnTo>
                        <a:pt x="727" y="241"/>
                      </a:lnTo>
                      <a:lnTo>
                        <a:pt x="728" y="241"/>
                      </a:lnTo>
                      <a:lnTo>
                        <a:pt x="729" y="241"/>
                      </a:lnTo>
                      <a:lnTo>
                        <a:pt x="729" y="241"/>
                      </a:lnTo>
                      <a:lnTo>
                        <a:pt x="730" y="241"/>
                      </a:lnTo>
                      <a:lnTo>
                        <a:pt x="730" y="240"/>
                      </a:lnTo>
                      <a:lnTo>
                        <a:pt x="732" y="240"/>
                      </a:lnTo>
                      <a:lnTo>
                        <a:pt x="732" y="239"/>
                      </a:lnTo>
                      <a:lnTo>
                        <a:pt x="733" y="239"/>
                      </a:lnTo>
                      <a:lnTo>
                        <a:pt x="734" y="237"/>
                      </a:lnTo>
                      <a:lnTo>
                        <a:pt x="734" y="237"/>
                      </a:lnTo>
                      <a:lnTo>
                        <a:pt x="734" y="235"/>
                      </a:lnTo>
                      <a:lnTo>
                        <a:pt x="735" y="234"/>
                      </a:lnTo>
                      <a:lnTo>
                        <a:pt x="736" y="233"/>
                      </a:lnTo>
                      <a:lnTo>
                        <a:pt x="736" y="232"/>
                      </a:lnTo>
                      <a:lnTo>
                        <a:pt x="736" y="232"/>
                      </a:lnTo>
                      <a:lnTo>
                        <a:pt x="736" y="230"/>
                      </a:lnTo>
                      <a:lnTo>
                        <a:pt x="736" y="230"/>
                      </a:lnTo>
                      <a:lnTo>
                        <a:pt x="736" y="230"/>
                      </a:lnTo>
                      <a:lnTo>
                        <a:pt x="738" y="229"/>
                      </a:lnTo>
                      <a:lnTo>
                        <a:pt x="738" y="229"/>
                      </a:lnTo>
                      <a:lnTo>
                        <a:pt x="737" y="229"/>
                      </a:lnTo>
                      <a:lnTo>
                        <a:pt x="737" y="228"/>
                      </a:lnTo>
                      <a:lnTo>
                        <a:pt x="738" y="228"/>
                      </a:lnTo>
                      <a:lnTo>
                        <a:pt x="739" y="227"/>
                      </a:lnTo>
                      <a:lnTo>
                        <a:pt x="739" y="227"/>
                      </a:lnTo>
                      <a:lnTo>
                        <a:pt x="740" y="227"/>
                      </a:lnTo>
                      <a:lnTo>
                        <a:pt x="740" y="226"/>
                      </a:lnTo>
                      <a:lnTo>
                        <a:pt x="740" y="226"/>
                      </a:lnTo>
                      <a:lnTo>
                        <a:pt x="741" y="224"/>
                      </a:lnTo>
                      <a:lnTo>
                        <a:pt x="742" y="224"/>
                      </a:lnTo>
                      <a:lnTo>
                        <a:pt x="742" y="223"/>
                      </a:lnTo>
                      <a:lnTo>
                        <a:pt x="743" y="222"/>
                      </a:lnTo>
                      <a:lnTo>
                        <a:pt x="743" y="221"/>
                      </a:lnTo>
                      <a:lnTo>
                        <a:pt x="743" y="221"/>
                      </a:lnTo>
                      <a:lnTo>
                        <a:pt x="744" y="220"/>
                      </a:lnTo>
                      <a:lnTo>
                        <a:pt x="745" y="219"/>
                      </a:lnTo>
                      <a:lnTo>
                        <a:pt x="745" y="219"/>
                      </a:lnTo>
                      <a:lnTo>
                        <a:pt x="746" y="219"/>
                      </a:lnTo>
                      <a:lnTo>
                        <a:pt x="747" y="217"/>
                      </a:lnTo>
                      <a:lnTo>
                        <a:pt x="747" y="217"/>
                      </a:lnTo>
                      <a:lnTo>
                        <a:pt x="749" y="216"/>
                      </a:lnTo>
                      <a:lnTo>
                        <a:pt x="750" y="215"/>
                      </a:lnTo>
                      <a:lnTo>
                        <a:pt x="751" y="213"/>
                      </a:lnTo>
                      <a:lnTo>
                        <a:pt x="751" y="213"/>
                      </a:lnTo>
                      <a:lnTo>
                        <a:pt x="753" y="212"/>
                      </a:lnTo>
                      <a:lnTo>
                        <a:pt x="753" y="211"/>
                      </a:lnTo>
                      <a:lnTo>
                        <a:pt x="754" y="211"/>
                      </a:lnTo>
                      <a:lnTo>
                        <a:pt x="754" y="210"/>
                      </a:lnTo>
                      <a:lnTo>
                        <a:pt x="755" y="210"/>
                      </a:lnTo>
                      <a:lnTo>
                        <a:pt x="755" y="210"/>
                      </a:lnTo>
                      <a:lnTo>
                        <a:pt x="757" y="210"/>
                      </a:lnTo>
                      <a:lnTo>
                        <a:pt x="758" y="209"/>
                      </a:lnTo>
                      <a:lnTo>
                        <a:pt x="759" y="208"/>
                      </a:lnTo>
                      <a:lnTo>
                        <a:pt x="759" y="208"/>
                      </a:lnTo>
                      <a:lnTo>
                        <a:pt x="759" y="208"/>
                      </a:lnTo>
                      <a:lnTo>
                        <a:pt x="760" y="208"/>
                      </a:lnTo>
                      <a:lnTo>
                        <a:pt x="762" y="207"/>
                      </a:lnTo>
                      <a:lnTo>
                        <a:pt x="763" y="207"/>
                      </a:lnTo>
                      <a:lnTo>
                        <a:pt x="763" y="208"/>
                      </a:lnTo>
                      <a:lnTo>
                        <a:pt x="764" y="208"/>
                      </a:lnTo>
                      <a:lnTo>
                        <a:pt x="767" y="208"/>
                      </a:lnTo>
                      <a:lnTo>
                        <a:pt x="767" y="208"/>
                      </a:lnTo>
                      <a:lnTo>
                        <a:pt x="768" y="208"/>
                      </a:lnTo>
                      <a:lnTo>
                        <a:pt x="768" y="207"/>
                      </a:lnTo>
                      <a:lnTo>
                        <a:pt x="769" y="207"/>
                      </a:lnTo>
                      <a:lnTo>
                        <a:pt x="770" y="206"/>
                      </a:lnTo>
                      <a:lnTo>
                        <a:pt x="770" y="207"/>
                      </a:lnTo>
                      <a:lnTo>
                        <a:pt x="771" y="207"/>
                      </a:lnTo>
                      <a:lnTo>
                        <a:pt x="771" y="206"/>
                      </a:lnTo>
                      <a:lnTo>
                        <a:pt x="770" y="206"/>
                      </a:lnTo>
                      <a:lnTo>
                        <a:pt x="770" y="205"/>
                      </a:lnTo>
                      <a:lnTo>
                        <a:pt x="772" y="206"/>
                      </a:lnTo>
                      <a:lnTo>
                        <a:pt x="772" y="206"/>
                      </a:lnTo>
                      <a:lnTo>
                        <a:pt x="772" y="207"/>
                      </a:lnTo>
                      <a:lnTo>
                        <a:pt x="773" y="207"/>
                      </a:lnTo>
                      <a:lnTo>
                        <a:pt x="773" y="205"/>
                      </a:lnTo>
                      <a:lnTo>
                        <a:pt x="772" y="205"/>
                      </a:lnTo>
                      <a:lnTo>
                        <a:pt x="772" y="203"/>
                      </a:lnTo>
                      <a:lnTo>
                        <a:pt x="773" y="203"/>
                      </a:lnTo>
                      <a:lnTo>
                        <a:pt x="773" y="201"/>
                      </a:lnTo>
                      <a:lnTo>
                        <a:pt x="775" y="200"/>
                      </a:lnTo>
                      <a:lnTo>
                        <a:pt x="775" y="199"/>
                      </a:lnTo>
                      <a:lnTo>
                        <a:pt x="776" y="197"/>
                      </a:lnTo>
                      <a:lnTo>
                        <a:pt x="777" y="196"/>
                      </a:lnTo>
                      <a:lnTo>
                        <a:pt x="778" y="195"/>
                      </a:lnTo>
                      <a:lnTo>
                        <a:pt x="778" y="194"/>
                      </a:lnTo>
                      <a:lnTo>
                        <a:pt x="778" y="194"/>
                      </a:lnTo>
                      <a:lnTo>
                        <a:pt x="778" y="194"/>
                      </a:lnTo>
                      <a:lnTo>
                        <a:pt x="779" y="193"/>
                      </a:lnTo>
                      <a:lnTo>
                        <a:pt x="780" y="191"/>
                      </a:lnTo>
                      <a:lnTo>
                        <a:pt x="780" y="191"/>
                      </a:lnTo>
                      <a:lnTo>
                        <a:pt x="781" y="189"/>
                      </a:lnTo>
                      <a:lnTo>
                        <a:pt x="781" y="189"/>
                      </a:lnTo>
                      <a:lnTo>
                        <a:pt x="781" y="188"/>
                      </a:lnTo>
                      <a:lnTo>
                        <a:pt x="782" y="188"/>
                      </a:lnTo>
                      <a:lnTo>
                        <a:pt x="781" y="184"/>
                      </a:lnTo>
                      <a:lnTo>
                        <a:pt x="782" y="184"/>
                      </a:lnTo>
                      <a:lnTo>
                        <a:pt x="782" y="183"/>
                      </a:lnTo>
                      <a:lnTo>
                        <a:pt x="782" y="181"/>
                      </a:lnTo>
                      <a:lnTo>
                        <a:pt x="783" y="180"/>
                      </a:lnTo>
                      <a:lnTo>
                        <a:pt x="783" y="180"/>
                      </a:lnTo>
                      <a:lnTo>
                        <a:pt x="783" y="180"/>
                      </a:lnTo>
                      <a:lnTo>
                        <a:pt x="784" y="180"/>
                      </a:lnTo>
                      <a:lnTo>
                        <a:pt x="785" y="179"/>
                      </a:lnTo>
                      <a:lnTo>
                        <a:pt x="786" y="178"/>
                      </a:lnTo>
                      <a:lnTo>
                        <a:pt x="786" y="178"/>
                      </a:lnTo>
                      <a:lnTo>
                        <a:pt x="786" y="177"/>
                      </a:lnTo>
                      <a:lnTo>
                        <a:pt x="786" y="177"/>
                      </a:lnTo>
                      <a:lnTo>
                        <a:pt x="787" y="177"/>
                      </a:lnTo>
                      <a:lnTo>
                        <a:pt x="787" y="176"/>
                      </a:lnTo>
                      <a:lnTo>
                        <a:pt x="787" y="176"/>
                      </a:lnTo>
                      <a:lnTo>
                        <a:pt x="787" y="175"/>
                      </a:lnTo>
                      <a:lnTo>
                        <a:pt x="788" y="175"/>
                      </a:lnTo>
                      <a:lnTo>
                        <a:pt x="788" y="174"/>
                      </a:lnTo>
                      <a:lnTo>
                        <a:pt x="788" y="174"/>
                      </a:lnTo>
                      <a:lnTo>
                        <a:pt x="789" y="172"/>
                      </a:lnTo>
                      <a:lnTo>
                        <a:pt x="789" y="172"/>
                      </a:lnTo>
                      <a:lnTo>
                        <a:pt x="789" y="171"/>
                      </a:lnTo>
                      <a:lnTo>
                        <a:pt x="789" y="171"/>
                      </a:lnTo>
                      <a:lnTo>
                        <a:pt x="789" y="170"/>
                      </a:lnTo>
                      <a:lnTo>
                        <a:pt x="786" y="168"/>
                      </a:lnTo>
                      <a:lnTo>
                        <a:pt x="786" y="168"/>
                      </a:lnTo>
                      <a:lnTo>
                        <a:pt x="786" y="169"/>
                      </a:lnTo>
                      <a:lnTo>
                        <a:pt x="786" y="169"/>
                      </a:lnTo>
                      <a:lnTo>
                        <a:pt x="785" y="170"/>
                      </a:lnTo>
                      <a:lnTo>
                        <a:pt x="784" y="170"/>
                      </a:lnTo>
                      <a:lnTo>
                        <a:pt x="784" y="169"/>
                      </a:lnTo>
                      <a:lnTo>
                        <a:pt x="784" y="169"/>
                      </a:lnTo>
                      <a:lnTo>
                        <a:pt x="784" y="169"/>
                      </a:lnTo>
                      <a:lnTo>
                        <a:pt x="783" y="168"/>
                      </a:lnTo>
                      <a:lnTo>
                        <a:pt x="783" y="168"/>
                      </a:lnTo>
                      <a:lnTo>
                        <a:pt x="783" y="168"/>
                      </a:lnTo>
                      <a:lnTo>
                        <a:pt x="783" y="167"/>
                      </a:lnTo>
                      <a:lnTo>
                        <a:pt x="783" y="167"/>
                      </a:lnTo>
                      <a:lnTo>
                        <a:pt x="783" y="167"/>
                      </a:lnTo>
                      <a:lnTo>
                        <a:pt x="782" y="168"/>
                      </a:lnTo>
                      <a:lnTo>
                        <a:pt x="782" y="168"/>
                      </a:lnTo>
                      <a:lnTo>
                        <a:pt x="780" y="159"/>
                      </a:lnTo>
                      <a:lnTo>
                        <a:pt x="781" y="154"/>
                      </a:lnTo>
                      <a:lnTo>
                        <a:pt x="778" y="154"/>
                      </a:lnTo>
                      <a:lnTo>
                        <a:pt x="777" y="152"/>
                      </a:lnTo>
                      <a:lnTo>
                        <a:pt x="783" y="147"/>
                      </a:lnTo>
                      <a:lnTo>
                        <a:pt x="780" y="142"/>
                      </a:lnTo>
                      <a:lnTo>
                        <a:pt x="780" y="137"/>
                      </a:lnTo>
                      <a:lnTo>
                        <a:pt x="778" y="132"/>
                      </a:lnTo>
                      <a:lnTo>
                        <a:pt x="778" y="130"/>
                      </a:lnTo>
                      <a:lnTo>
                        <a:pt x="782" y="125"/>
                      </a:lnTo>
                      <a:lnTo>
                        <a:pt x="782" y="123"/>
                      </a:lnTo>
                      <a:lnTo>
                        <a:pt x="778" y="116"/>
                      </a:lnTo>
                      <a:lnTo>
                        <a:pt x="780" y="110"/>
                      </a:lnTo>
                      <a:lnTo>
                        <a:pt x="780" y="108"/>
                      </a:lnTo>
                      <a:lnTo>
                        <a:pt x="786" y="100"/>
                      </a:lnTo>
                      <a:lnTo>
                        <a:pt x="786" y="97"/>
                      </a:lnTo>
                      <a:close/>
                    </a:path>
                  </a:pathLst>
                </a:custGeom>
                <a:grpFill/>
                <a:ln w="317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900" dirty="0"/>
                </a:p>
              </p:txBody>
            </p:sp>
            <p:sp>
              <p:nvSpPr>
                <p:cNvPr id="137" name="Wales" descr="{&quot;Key&quot;:&quot;wales&quot;,&quot;Name&quot;:&quot;Wales&quot;,&quot;Value&quot;:1.0,&quot;Formula&quot;:&quot;&quot;,&quot;Text&quot;:&quot;1&quot;,&quot;HasValue&quot;:true}">
                  <a:extLst>
                    <a:ext uri="{FF2B5EF4-FFF2-40B4-BE49-F238E27FC236}">
                      <a16:creationId xmlns:a16="http://schemas.microsoft.com/office/drawing/2014/main" id="{FC33C304-FA34-DE0F-456A-A5B004B5BE7A}"/>
                    </a:ext>
                  </a:extLst>
                </p:cNvPr>
                <p:cNvSpPr>
                  <a:spLocks noEditPoints="1"/>
                </p:cNvSpPr>
                <p:nvPr/>
              </p:nvSpPr>
              <p:spPr bwMode="auto">
                <a:xfrm>
                  <a:off x="5719763" y="4579938"/>
                  <a:ext cx="949325" cy="1120775"/>
                </a:xfrm>
                <a:custGeom>
                  <a:avLst/>
                  <a:gdLst>
                    <a:gd name="T0" fmla="*/ 39 w 598"/>
                    <a:gd name="T1" fmla="*/ 584 h 706"/>
                    <a:gd name="T2" fmla="*/ 145 w 598"/>
                    <a:gd name="T3" fmla="*/ 235 h 706"/>
                    <a:gd name="T4" fmla="*/ 188 w 598"/>
                    <a:gd name="T5" fmla="*/ 54 h 706"/>
                    <a:gd name="T6" fmla="*/ 182 w 598"/>
                    <a:gd name="T7" fmla="*/ 55 h 706"/>
                    <a:gd name="T8" fmla="*/ 459 w 598"/>
                    <a:gd name="T9" fmla="*/ 32 h 706"/>
                    <a:gd name="T10" fmla="*/ 511 w 598"/>
                    <a:gd name="T11" fmla="*/ 74 h 706"/>
                    <a:gd name="T12" fmla="*/ 495 w 598"/>
                    <a:gd name="T13" fmla="*/ 225 h 706"/>
                    <a:gd name="T14" fmla="*/ 526 w 598"/>
                    <a:gd name="T15" fmla="*/ 522 h 706"/>
                    <a:gd name="T16" fmla="*/ 543 w 598"/>
                    <a:gd name="T17" fmla="*/ 655 h 706"/>
                    <a:gd name="T18" fmla="*/ 487 w 598"/>
                    <a:gd name="T19" fmla="*/ 680 h 706"/>
                    <a:gd name="T20" fmla="*/ 439 w 598"/>
                    <a:gd name="T21" fmla="*/ 706 h 706"/>
                    <a:gd name="T22" fmla="*/ 371 w 598"/>
                    <a:gd name="T23" fmla="*/ 671 h 706"/>
                    <a:gd name="T24" fmla="*/ 347 w 598"/>
                    <a:gd name="T25" fmla="*/ 625 h 706"/>
                    <a:gd name="T26" fmla="*/ 295 w 598"/>
                    <a:gd name="T27" fmla="*/ 645 h 706"/>
                    <a:gd name="T28" fmla="*/ 258 w 598"/>
                    <a:gd name="T29" fmla="*/ 649 h 706"/>
                    <a:gd name="T30" fmla="*/ 263 w 598"/>
                    <a:gd name="T31" fmla="*/ 621 h 706"/>
                    <a:gd name="T32" fmla="*/ 300 w 598"/>
                    <a:gd name="T33" fmla="*/ 600 h 706"/>
                    <a:gd name="T34" fmla="*/ 254 w 598"/>
                    <a:gd name="T35" fmla="*/ 609 h 706"/>
                    <a:gd name="T36" fmla="*/ 234 w 598"/>
                    <a:gd name="T37" fmla="*/ 575 h 706"/>
                    <a:gd name="T38" fmla="*/ 217 w 598"/>
                    <a:gd name="T39" fmla="*/ 568 h 706"/>
                    <a:gd name="T40" fmla="*/ 168 w 598"/>
                    <a:gd name="T41" fmla="*/ 598 h 706"/>
                    <a:gd name="T42" fmla="*/ 139 w 598"/>
                    <a:gd name="T43" fmla="*/ 618 h 706"/>
                    <a:gd name="T44" fmla="*/ 106 w 598"/>
                    <a:gd name="T45" fmla="*/ 630 h 706"/>
                    <a:gd name="T46" fmla="*/ 86 w 598"/>
                    <a:gd name="T47" fmla="*/ 603 h 706"/>
                    <a:gd name="T48" fmla="*/ 115 w 598"/>
                    <a:gd name="T49" fmla="*/ 606 h 706"/>
                    <a:gd name="T50" fmla="*/ 137 w 598"/>
                    <a:gd name="T51" fmla="*/ 591 h 706"/>
                    <a:gd name="T52" fmla="*/ 117 w 598"/>
                    <a:gd name="T53" fmla="*/ 574 h 706"/>
                    <a:gd name="T54" fmla="*/ 109 w 598"/>
                    <a:gd name="T55" fmla="*/ 597 h 706"/>
                    <a:gd name="T56" fmla="*/ 78 w 598"/>
                    <a:gd name="T57" fmla="*/ 594 h 706"/>
                    <a:gd name="T58" fmla="*/ 54 w 598"/>
                    <a:gd name="T59" fmla="*/ 592 h 706"/>
                    <a:gd name="T60" fmla="*/ 80 w 598"/>
                    <a:gd name="T61" fmla="*/ 564 h 706"/>
                    <a:gd name="T62" fmla="*/ 41 w 598"/>
                    <a:gd name="T63" fmla="*/ 543 h 706"/>
                    <a:gd name="T64" fmla="*/ 60 w 598"/>
                    <a:gd name="T65" fmla="*/ 516 h 706"/>
                    <a:gd name="T66" fmla="*/ 85 w 598"/>
                    <a:gd name="T67" fmla="*/ 494 h 706"/>
                    <a:gd name="T68" fmla="*/ 108 w 598"/>
                    <a:gd name="T69" fmla="*/ 497 h 706"/>
                    <a:gd name="T70" fmla="*/ 135 w 598"/>
                    <a:gd name="T71" fmla="*/ 484 h 706"/>
                    <a:gd name="T72" fmla="*/ 169 w 598"/>
                    <a:gd name="T73" fmla="*/ 467 h 706"/>
                    <a:gd name="T74" fmla="*/ 214 w 598"/>
                    <a:gd name="T75" fmla="*/ 438 h 706"/>
                    <a:gd name="T76" fmla="*/ 272 w 598"/>
                    <a:gd name="T77" fmla="*/ 399 h 706"/>
                    <a:gd name="T78" fmla="*/ 296 w 598"/>
                    <a:gd name="T79" fmla="*/ 341 h 706"/>
                    <a:gd name="T80" fmla="*/ 328 w 598"/>
                    <a:gd name="T81" fmla="*/ 306 h 706"/>
                    <a:gd name="T82" fmla="*/ 291 w 598"/>
                    <a:gd name="T83" fmla="*/ 269 h 706"/>
                    <a:gd name="T84" fmla="*/ 324 w 598"/>
                    <a:gd name="T85" fmla="*/ 238 h 706"/>
                    <a:gd name="T86" fmla="*/ 284 w 598"/>
                    <a:gd name="T87" fmla="*/ 213 h 706"/>
                    <a:gd name="T88" fmla="*/ 305 w 598"/>
                    <a:gd name="T89" fmla="*/ 175 h 706"/>
                    <a:gd name="T90" fmla="*/ 271 w 598"/>
                    <a:gd name="T91" fmla="*/ 182 h 706"/>
                    <a:gd name="T92" fmla="*/ 229 w 598"/>
                    <a:gd name="T93" fmla="*/ 193 h 706"/>
                    <a:gd name="T94" fmla="*/ 200 w 598"/>
                    <a:gd name="T95" fmla="*/ 223 h 706"/>
                    <a:gd name="T96" fmla="*/ 153 w 598"/>
                    <a:gd name="T97" fmla="*/ 225 h 706"/>
                    <a:gd name="T98" fmla="*/ 176 w 598"/>
                    <a:gd name="T99" fmla="*/ 185 h 706"/>
                    <a:gd name="T100" fmla="*/ 211 w 598"/>
                    <a:gd name="T101" fmla="*/ 163 h 706"/>
                    <a:gd name="T102" fmla="*/ 247 w 598"/>
                    <a:gd name="T103" fmla="*/ 110 h 706"/>
                    <a:gd name="T104" fmla="*/ 313 w 598"/>
                    <a:gd name="T105" fmla="*/ 63 h 706"/>
                    <a:gd name="T106" fmla="*/ 358 w 598"/>
                    <a:gd name="T107" fmla="*/ 37 h 706"/>
                    <a:gd name="T108" fmla="*/ 421 w 598"/>
                    <a:gd name="T109" fmla="*/ 46 h 706"/>
                    <a:gd name="T110" fmla="*/ 239 w 598"/>
                    <a:gd name="T111" fmla="*/ 6 h 706"/>
                    <a:gd name="T112" fmla="*/ 265 w 598"/>
                    <a:gd name="T113" fmla="*/ 33 h 706"/>
                    <a:gd name="T114" fmla="*/ 285 w 598"/>
                    <a:gd name="T115" fmla="*/ 67 h 706"/>
                    <a:gd name="T116" fmla="*/ 227 w 598"/>
                    <a:gd name="T117" fmla="*/ 102 h 706"/>
                    <a:gd name="T118" fmla="*/ 210 w 598"/>
                    <a:gd name="T119" fmla="*/ 87 h 706"/>
                    <a:gd name="T120" fmla="*/ 191 w 598"/>
                    <a:gd name="T121" fmla="*/ 56 h 706"/>
                    <a:gd name="T122" fmla="*/ 195 w 598"/>
                    <a:gd name="T123" fmla="*/ 21 h 706"/>
                    <a:gd name="T124" fmla="*/ 219 w 598"/>
                    <a:gd name="T125" fmla="*/ 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8" h="706">
                      <a:moveTo>
                        <a:pt x="167" y="608"/>
                      </a:moveTo>
                      <a:lnTo>
                        <a:pt x="168" y="608"/>
                      </a:lnTo>
                      <a:lnTo>
                        <a:pt x="168" y="609"/>
                      </a:lnTo>
                      <a:lnTo>
                        <a:pt x="167" y="608"/>
                      </a:lnTo>
                      <a:lnTo>
                        <a:pt x="167" y="608"/>
                      </a:lnTo>
                      <a:close/>
                      <a:moveTo>
                        <a:pt x="45" y="597"/>
                      </a:moveTo>
                      <a:lnTo>
                        <a:pt x="45" y="598"/>
                      </a:lnTo>
                      <a:lnTo>
                        <a:pt x="46" y="598"/>
                      </a:lnTo>
                      <a:lnTo>
                        <a:pt x="46" y="598"/>
                      </a:lnTo>
                      <a:lnTo>
                        <a:pt x="46" y="599"/>
                      </a:lnTo>
                      <a:lnTo>
                        <a:pt x="45" y="599"/>
                      </a:lnTo>
                      <a:lnTo>
                        <a:pt x="45" y="599"/>
                      </a:lnTo>
                      <a:lnTo>
                        <a:pt x="45" y="600"/>
                      </a:lnTo>
                      <a:lnTo>
                        <a:pt x="45" y="600"/>
                      </a:lnTo>
                      <a:lnTo>
                        <a:pt x="44" y="600"/>
                      </a:lnTo>
                      <a:lnTo>
                        <a:pt x="44" y="601"/>
                      </a:lnTo>
                      <a:lnTo>
                        <a:pt x="41" y="601"/>
                      </a:lnTo>
                      <a:lnTo>
                        <a:pt x="41" y="600"/>
                      </a:lnTo>
                      <a:lnTo>
                        <a:pt x="41" y="600"/>
                      </a:lnTo>
                      <a:lnTo>
                        <a:pt x="41" y="600"/>
                      </a:lnTo>
                      <a:lnTo>
                        <a:pt x="42" y="599"/>
                      </a:lnTo>
                      <a:lnTo>
                        <a:pt x="42" y="599"/>
                      </a:lnTo>
                      <a:lnTo>
                        <a:pt x="43" y="599"/>
                      </a:lnTo>
                      <a:lnTo>
                        <a:pt x="43" y="598"/>
                      </a:lnTo>
                      <a:lnTo>
                        <a:pt x="44" y="598"/>
                      </a:lnTo>
                      <a:lnTo>
                        <a:pt x="44" y="597"/>
                      </a:lnTo>
                      <a:lnTo>
                        <a:pt x="45" y="597"/>
                      </a:lnTo>
                      <a:lnTo>
                        <a:pt x="45" y="597"/>
                      </a:lnTo>
                      <a:close/>
                      <a:moveTo>
                        <a:pt x="2" y="588"/>
                      </a:moveTo>
                      <a:lnTo>
                        <a:pt x="2" y="588"/>
                      </a:lnTo>
                      <a:lnTo>
                        <a:pt x="1" y="589"/>
                      </a:lnTo>
                      <a:lnTo>
                        <a:pt x="1" y="589"/>
                      </a:lnTo>
                      <a:lnTo>
                        <a:pt x="0" y="588"/>
                      </a:lnTo>
                      <a:lnTo>
                        <a:pt x="1" y="588"/>
                      </a:lnTo>
                      <a:lnTo>
                        <a:pt x="2" y="588"/>
                      </a:lnTo>
                      <a:lnTo>
                        <a:pt x="2" y="588"/>
                      </a:lnTo>
                      <a:close/>
                      <a:moveTo>
                        <a:pt x="39" y="584"/>
                      </a:moveTo>
                      <a:lnTo>
                        <a:pt x="40" y="584"/>
                      </a:lnTo>
                      <a:lnTo>
                        <a:pt x="40" y="584"/>
                      </a:lnTo>
                      <a:lnTo>
                        <a:pt x="41" y="585"/>
                      </a:lnTo>
                      <a:lnTo>
                        <a:pt x="43" y="585"/>
                      </a:lnTo>
                      <a:lnTo>
                        <a:pt x="43" y="586"/>
                      </a:lnTo>
                      <a:lnTo>
                        <a:pt x="43" y="586"/>
                      </a:lnTo>
                      <a:lnTo>
                        <a:pt x="44" y="586"/>
                      </a:lnTo>
                      <a:lnTo>
                        <a:pt x="44" y="586"/>
                      </a:lnTo>
                      <a:lnTo>
                        <a:pt x="44" y="586"/>
                      </a:lnTo>
                      <a:lnTo>
                        <a:pt x="45" y="586"/>
                      </a:lnTo>
                      <a:lnTo>
                        <a:pt x="45" y="587"/>
                      </a:lnTo>
                      <a:lnTo>
                        <a:pt x="45" y="587"/>
                      </a:lnTo>
                      <a:lnTo>
                        <a:pt x="45" y="587"/>
                      </a:lnTo>
                      <a:lnTo>
                        <a:pt x="44" y="588"/>
                      </a:lnTo>
                      <a:lnTo>
                        <a:pt x="44" y="588"/>
                      </a:lnTo>
                      <a:lnTo>
                        <a:pt x="43" y="588"/>
                      </a:lnTo>
                      <a:lnTo>
                        <a:pt x="43" y="588"/>
                      </a:lnTo>
                      <a:lnTo>
                        <a:pt x="43" y="588"/>
                      </a:lnTo>
                      <a:lnTo>
                        <a:pt x="43" y="587"/>
                      </a:lnTo>
                      <a:lnTo>
                        <a:pt x="42" y="587"/>
                      </a:lnTo>
                      <a:lnTo>
                        <a:pt x="42" y="588"/>
                      </a:lnTo>
                      <a:lnTo>
                        <a:pt x="42" y="589"/>
                      </a:lnTo>
                      <a:lnTo>
                        <a:pt x="41" y="589"/>
                      </a:lnTo>
                      <a:lnTo>
                        <a:pt x="41" y="590"/>
                      </a:lnTo>
                      <a:lnTo>
                        <a:pt x="41" y="590"/>
                      </a:lnTo>
                      <a:lnTo>
                        <a:pt x="40" y="589"/>
                      </a:lnTo>
                      <a:lnTo>
                        <a:pt x="40" y="589"/>
                      </a:lnTo>
                      <a:lnTo>
                        <a:pt x="39" y="589"/>
                      </a:lnTo>
                      <a:lnTo>
                        <a:pt x="39" y="589"/>
                      </a:lnTo>
                      <a:lnTo>
                        <a:pt x="39" y="588"/>
                      </a:lnTo>
                      <a:lnTo>
                        <a:pt x="39" y="588"/>
                      </a:lnTo>
                      <a:lnTo>
                        <a:pt x="38" y="588"/>
                      </a:lnTo>
                      <a:lnTo>
                        <a:pt x="38" y="588"/>
                      </a:lnTo>
                      <a:lnTo>
                        <a:pt x="37" y="588"/>
                      </a:lnTo>
                      <a:lnTo>
                        <a:pt x="36" y="587"/>
                      </a:lnTo>
                      <a:lnTo>
                        <a:pt x="36" y="585"/>
                      </a:lnTo>
                      <a:lnTo>
                        <a:pt x="37" y="585"/>
                      </a:lnTo>
                      <a:lnTo>
                        <a:pt x="39" y="584"/>
                      </a:lnTo>
                      <a:lnTo>
                        <a:pt x="39" y="584"/>
                      </a:lnTo>
                      <a:lnTo>
                        <a:pt x="39" y="584"/>
                      </a:lnTo>
                      <a:close/>
                      <a:moveTo>
                        <a:pt x="31" y="537"/>
                      </a:moveTo>
                      <a:lnTo>
                        <a:pt x="32" y="538"/>
                      </a:lnTo>
                      <a:lnTo>
                        <a:pt x="32" y="538"/>
                      </a:lnTo>
                      <a:lnTo>
                        <a:pt x="32" y="537"/>
                      </a:lnTo>
                      <a:lnTo>
                        <a:pt x="33" y="538"/>
                      </a:lnTo>
                      <a:lnTo>
                        <a:pt x="33" y="538"/>
                      </a:lnTo>
                      <a:lnTo>
                        <a:pt x="32" y="539"/>
                      </a:lnTo>
                      <a:lnTo>
                        <a:pt x="32" y="540"/>
                      </a:lnTo>
                      <a:lnTo>
                        <a:pt x="32" y="540"/>
                      </a:lnTo>
                      <a:lnTo>
                        <a:pt x="32" y="541"/>
                      </a:lnTo>
                      <a:lnTo>
                        <a:pt x="32" y="541"/>
                      </a:lnTo>
                      <a:lnTo>
                        <a:pt x="32" y="542"/>
                      </a:lnTo>
                      <a:lnTo>
                        <a:pt x="32" y="545"/>
                      </a:lnTo>
                      <a:lnTo>
                        <a:pt x="32" y="546"/>
                      </a:lnTo>
                      <a:lnTo>
                        <a:pt x="32" y="546"/>
                      </a:lnTo>
                      <a:lnTo>
                        <a:pt x="33" y="547"/>
                      </a:lnTo>
                      <a:lnTo>
                        <a:pt x="32" y="548"/>
                      </a:lnTo>
                      <a:lnTo>
                        <a:pt x="32" y="549"/>
                      </a:lnTo>
                      <a:lnTo>
                        <a:pt x="31" y="549"/>
                      </a:lnTo>
                      <a:lnTo>
                        <a:pt x="31" y="549"/>
                      </a:lnTo>
                      <a:lnTo>
                        <a:pt x="30" y="549"/>
                      </a:lnTo>
                      <a:lnTo>
                        <a:pt x="30" y="549"/>
                      </a:lnTo>
                      <a:lnTo>
                        <a:pt x="31" y="548"/>
                      </a:lnTo>
                      <a:lnTo>
                        <a:pt x="32" y="548"/>
                      </a:lnTo>
                      <a:lnTo>
                        <a:pt x="32" y="547"/>
                      </a:lnTo>
                      <a:lnTo>
                        <a:pt x="32" y="547"/>
                      </a:lnTo>
                      <a:lnTo>
                        <a:pt x="31" y="547"/>
                      </a:lnTo>
                      <a:lnTo>
                        <a:pt x="30" y="547"/>
                      </a:lnTo>
                      <a:lnTo>
                        <a:pt x="30" y="546"/>
                      </a:lnTo>
                      <a:lnTo>
                        <a:pt x="30" y="546"/>
                      </a:lnTo>
                      <a:lnTo>
                        <a:pt x="30" y="546"/>
                      </a:lnTo>
                      <a:lnTo>
                        <a:pt x="29" y="546"/>
                      </a:lnTo>
                      <a:lnTo>
                        <a:pt x="29" y="545"/>
                      </a:lnTo>
                      <a:lnTo>
                        <a:pt x="28" y="545"/>
                      </a:lnTo>
                      <a:lnTo>
                        <a:pt x="28" y="543"/>
                      </a:lnTo>
                      <a:lnTo>
                        <a:pt x="28" y="543"/>
                      </a:lnTo>
                      <a:lnTo>
                        <a:pt x="28" y="542"/>
                      </a:lnTo>
                      <a:lnTo>
                        <a:pt x="28" y="542"/>
                      </a:lnTo>
                      <a:lnTo>
                        <a:pt x="28" y="541"/>
                      </a:lnTo>
                      <a:lnTo>
                        <a:pt x="30" y="541"/>
                      </a:lnTo>
                      <a:lnTo>
                        <a:pt x="30" y="540"/>
                      </a:lnTo>
                      <a:lnTo>
                        <a:pt x="29" y="540"/>
                      </a:lnTo>
                      <a:lnTo>
                        <a:pt x="29" y="538"/>
                      </a:lnTo>
                      <a:lnTo>
                        <a:pt x="31" y="538"/>
                      </a:lnTo>
                      <a:lnTo>
                        <a:pt x="31" y="537"/>
                      </a:lnTo>
                      <a:close/>
                      <a:moveTo>
                        <a:pt x="147" y="232"/>
                      </a:moveTo>
                      <a:lnTo>
                        <a:pt x="148" y="232"/>
                      </a:lnTo>
                      <a:lnTo>
                        <a:pt x="149" y="233"/>
                      </a:lnTo>
                      <a:lnTo>
                        <a:pt x="149" y="233"/>
                      </a:lnTo>
                      <a:lnTo>
                        <a:pt x="149" y="234"/>
                      </a:lnTo>
                      <a:lnTo>
                        <a:pt x="149" y="235"/>
                      </a:lnTo>
                      <a:lnTo>
                        <a:pt x="148" y="236"/>
                      </a:lnTo>
                      <a:lnTo>
                        <a:pt x="148" y="236"/>
                      </a:lnTo>
                      <a:lnTo>
                        <a:pt x="148" y="237"/>
                      </a:lnTo>
                      <a:lnTo>
                        <a:pt x="147" y="237"/>
                      </a:lnTo>
                      <a:lnTo>
                        <a:pt x="147" y="237"/>
                      </a:lnTo>
                      <a:lnTo>
                        <a:pt x="146" y="237"/>
                      </a:lnTo>
                      <a:lnTo>
                        <a:pt x="146" y="237"/>
                      </a:lnTo>
                      <a:lnTo>
                        <a:pt x="145" y="237"/>
                      </a:lnTo>
                      <a:lnTo>
                        <a:pt x="145" y="237"/>
                      </a:lnTo>
                      <a:lnTo>
                        <a:pt x="146" y="237"/>
                      </a:lnTo>
                      <a:lnTo>
                        <a:pt x="146" y="238"/>
                      </a:lnTo>
                      <a:lnTo>
                        <a:pt x="145" y="239"/>
                      </a:lnTo>
                      <a:lnTo>
                        <a:pt x="145" y="239"/>
                      </a:lnTo>
                      <a:lnTo>
                        <a:pt x="144" y="240"/>
                      </a:lnTo>
                      <a:lnTo>
                        <a:pt x="144" y="240"/>
                      </a:lnTo>
                      <a:lnTo>
                        <a:pt x="144" y="239"/>
                      </a:lnTo>
                      <a:lnTo>
                        <a:pt x="144" y="239"/>
                      </a:lnTo>
                      <a:lnTo>
                        <a:pt x="144" y="238"/>
                      </a:lnTo>
                      <a:lnTo>
                        <a:pt x="145" y="237"/>
                      </a:lnTo>
                      <a:lnTo>
                        <a:pt x="145" y="236"/>
                      </a:lnTo>
                      <a:lnTo>
                        <a:pt x="145" y="236"/>
                      </a:lnTo>
                      <a:lnTo>
                        <a:pt x="145" y="235"/>
                      </a:lnTo>
                      <a:lnTo>
                        <a:pt x="145" y="233"/>
                      </a:lnTo>
                      <a:lnTo>
                        <a:pt x="145" y="233"/>
                      </a:lnTo>
                      <a:lnTo>
                        <a:pt x="145" y="232"/>
                      </a:lnTo>
                      <a:lnTo>
                        <a:pt x="146" y="232"/>
                      </a:lnTo>
                      <a:lnTo>
                        <a:pt x="147" y="232"/>
                      </a:lnTo>
                      <a:lnTo>
                        <a:pt x="147" y="232"/>
                      </a:lnTo>
                      <a:close/>
                      <a:moveTo>
                        <a:pt x="183" y="35"/>
                      </a:moveTo>
                      <a:lnTo>
                        <a:pt x="183" y="36"/>
                      </a:lnTo>
                      <a:lnTo>
                        <a:pt x="182" y="36"/>
                      </a:lnTo>
                      <a:lnTo>
                        <a:pt x="181" y="37"/>
                      </a:lnTo>
                      <a:lnTo>
                        <a:pt x="178" y="38"/>
                      </a:lnTo>
                      <a:lnTo>
                        <a:pt x="177" y="38"/>
                      </a:lnTo>
                      <a:lnTo>
                        <a:pt x="177" y="39"/>
                      </a:lnTo>
                      <a:lnTo>
                        <a:pt x="178" y="40"/>
                      </a:lnTo>
                      <a:lnTo>
                        <a:pt x="178" y="40"/>
                      </a:lnTo>
                      <a:lnTo>
                        <a:pt x="180" y="40"/>
                      </a:lnTo>
                      <a:lnTo>
                        <a:pt x="181" y="41"/>
                      </a:lnTo>
                      <a:lnTo>
                        <a:pt x="181" y="41"/>
                      </a:lnTo>
                      <a:lnTo>
                        <a:pt x="181" y="39"/>
                      </a:lnTo>
                      <a:lnTo>
                        <a:pt x="182" y="40"/>
                      </a:lnTo>
                      <a:lnTo>
                        <a:pt x="182" y="38"/>
                      </a:lnTo>
                      <a:lnTo>
                        <a:pt x="183" y="37"/>
                      </a:lnTo>
                      <a:lnTo>
                        <a:pt x="183" y="37"/>
                      </a:lnTo>
                      <a:lnTo>
                        <a:pt x="182" y="38"/>
                      </a:lnTo>
                      <a:lnTo>
                        <a:pt x="182" y="40"/>
                      </a:lnTo>
                      <a:lnTo>
                        <a:pt x="183" y="39"/>
                      </a:lnTo>
                      <a:lnTo>
                        <a:pt x="183" y="40"/>
                      </a:lnTo>
                      <a:lnTo>
                        <a:pt x="182" y="40"/>
                      </a:lnTo>
                      <a:lnTo>
                        <a:pt x="182" y="41"/>
                      </a:lnTo>
                      <a:lnTo>
                        <a:pt x="183" y="41"/>
                      </a:lnTo>
                      <a:lnTo>
                        <a:pt x="183" y="41"/>
                      </a:lnTo>
                      <a:lnTo>
                        <a:pt x="181" y="41"/>
                      </a:lnTo>
                      <a:lnTo>
                        <a:pt x="181" y="42"/>
                      </a:lnTo>
                      <a:lnTo>
                        <a:pt x="180" y="42"/>
                      </a:lnTo>
                      <a:lnTo>
                        <a:pt x="180" y="43"/>
                      </a:lnTo>
                      <a:lnTo>
                        <a:pt x="181" y="42"/>
                      </a:lnTo>
                      <a:lnTo>
                        <a:pt x="181" y="42"/>
                      </a:lnTo>
                      <a:lnTo>
                        <a:pt x="182" y="42"/>
                      </a:lnTo>
                      <a:lnTo>
                        <a:pt x="183" y="42"/>
                      </a:lnTo>
                      <a:lnTo>
                        <a:pt x="183" y="42"/>
                      </a:lnTo>
                      <a:lnTo>
                        <a:pt x="184" y="43"/>
                      </a:lnTo>
                      <a:lnTo>
                        <a:pt x="183" y="44"/>
                      </a:lnTo>
                      <a:lnTo>
                        <a:pt x="184" y="45"/>
                      </a:lnTo>
                      <a:lnTo>
                        <a:pt x="184" y="45"/>
                      </a:lnTo>
                      <a:lnTo>
                        <a:pt x="184" y="45"/>
                      </a:lnTo>
                      <a:lnTo>
                        <a:pt x="186" y="45"/>
                      </a:lnTo>
                      <a:lnTo>
                        <a:pt x="186" y="44"/>
                      </a:lnTo>
                      <a:lnTo>
                        <a:pt x="186" y="44"/>
                      </a:lnTo>
                      <a:lnTo>
                        <a:pt x="187" y="44"/>
                      </a:lnTo>
                      <a:lnTo>
                        <a:pt x="188" y="44"/>
                      </a:lnTo>
                      <a:lnTo>
                        <a:pt x="188" y="46"/>
                      </a:lnTo>
                      <a:lnTo>
                        <a:pt x="189" y="46"/>
                      </a:lnTo>
                      <a:lnTo>
                        <a:pt x="189" y="46"/>
                      </a:lnTo>
                      <a:lnTo>
                        <a:pt x="189" y="46"/>
                      </a:lnTo>
                      <a:lnTo>
                        <a:pt x="189" y="47"/>
                      </a:lnTo>
                      <a:lnTo>
                        <a:pt x="189" y="48"/>
                      </a:lnTo>
                      <a:lnTo>
                        <a:pt x="189" y="48"/>
                      </a:lnTo>
                      <a:lnTo>
                        <a:pt x="189" y="49"/>
                      </a:lnTo>
                      <a:lnTo>
                        <a:pt x="189" y="49"/>
                      </a:lnTo>
                      <a:lnTo>
                        <a:pt x="189" y="49"/>
                      </a:lnTo>
                      <a:lnTo>
                        <a:pt x="188" y="49"/>
                      </a:lnTo>
                      <a:lnTo>
                        <a:pt x="187" y="52"/>
                      </a:lnTo>
                      <a:lnTo>
                        <a:pt x="187" y="50"/>
                      </a:lnTo>
                      <a:lnTo>
                        <a:pt x="187" y="50"/>
                      </a:lnTo>
                      <a:lnTo>
                        <a:pt x="187" y="50"/>
                      </a:lnTo>
                      <a:lnTo>
                        <a:pt x="186" y="50"/>
                      </a:lnTo>
                      <a:lnTo>
                        <a:pt x="186" y="50"/>
                      </a:lnTo>
                      <a:lnTo>
                        <a:pt x="186" y="50"/>
                      </a:lnTo>
                      <a:lnTo>
                        <a:pt x="186" y="52"/>
                      </a:lnTo>
                      <a:lnTo>
                        <a:pt x="187" y="52"/>
                      </a:lnTo>
                      <a:lnTo>
                        <a:pt x="187" y="53"/>
                      </a:lnTo>
                      <a:lnTo>
                        <a:pt x="187" y="54"/>
                      </a:lnTo>
                      <a:lnTo>
                        <a:pt x="188" y="53"/>
                      </a:lnTo>
                      <a:lnTo>
                        <a:pt x="188" y="54"/>
                      </a:lnTo>
                      <a:lnTo>
                        <a:pt x="188" y="54"/>
                      </a:lnTo>
                      <a:lnTo>
                        <a:pt x="187" y="55"/>
                      </a:lnTo>
                      <a:lnTo>
                        <a:pt x="187" y="55"/>
                      </a:lnTo>
                      <a:lnTo>
                        <a:pt x="188" y="56"/>
                      </a:lnTo>
                      <a:lnTo>
                        <a:pt x="188" y="55"/>
                      </a:lnTo>
                      <a:lnTo>
                        <a:pt x="189" y="55"/>
                      </a:lnTo>
                      <a:lnTo>
                        <a:pt x="189" y="56"/>
                      </a:lnTo>
                      <a:lnTo>
                        <a:pt x="190" y="56"/>
                      </a:lnTo>
                      <a:lnTo>
                        <a:pt x="190" y="56"/>
                      </a:lnTo>
                      <a:lnTo>
                        <a:pt x="190" y="57"/>
                      </a:lnTo>
                      <a:lnTo>
                        <a:pt x="191" y="58"/>
                      </a:lnTo>
                      <a:lnTo>
                        <a:pt x="191" y="58"/>
                      </a:lnTo>
                      <a:lnTo>
                        <a:pt x="191" y="58"/>
                      </a:lnTo>
                      <a:lnTo>
                        <a:pt x="190" y="59"/>
                      </a:lnTo>
                      <a:lnTo>
                        <a:pt x="191" y="59"/>
                      </a:lnTo>
                      <a:lnTo>
                        <a:pt x="191" y="59"/>
                      </a:lnTo>
                      <a:lnTo>
                        <a:pt x="192" y="59"/>
                      </a:lnTo>
                      <a:lnTo>
                        <a:pt x="193" y="59"/>
                      </a:lnTo>
                      <a:lnTo>
                        <a:pt x="194" y="59"/>
                      </a:lnTo>
                      <a:lnTo>
                        <a:pt x="194" y="60"/>
                      </a:lnTo>
                      <a:lnTo>
                        <a:pt x="193" y="60"/>
                      </a:lnTo>
                      <a:lnTo>
                        <a:pt x="193" y="59"/>
                      </a:lnTo>
                      <a:lnTo>
                        <a:pt x="193" y="59"/>
                      </a:lnTo>
                      <a:lnTo>
                        <a:pt x="193" y="60"/>
                      </a:lnTo>
                      <a:lnTo>
                        <a:pt x="192" y="60"/>
                      </a:lnTo>
                      <a:lnTo>
                        <a:pt x="193" y="60"/>
                      </a:lnTo>
                      <a:lnTo>
                        <a:pt x="193" y="61"/>
                      </a:lnTo>
                      <a:lnTo>
                        <a:pt x="194" y="61"/>
                      </a:lnTo>
                      <a:lnTo>
                        <a:pt x="194" y="62"/>
                      </a:lnTo>
                      <a:lnTo>
                        <a:pt x="195" y="63"/>
                      </a:lnTo>
                      <a:lnTo>
                        <a:pt x="195" y="64"/>
                      </a:lnTo>
                      <a:lnTo>
                        <a:pt x="194" y="64"/>
                      </a:lnTo>
                      <a:lnTo>
                        <a:pt x="194" y="63"/>
                      </a:lnTo>
                      <a:lnTo>
                        <a:pt x="194" y="64"/>
                      </a:lnTo>
                      <a:lnTo>
                        <a:pt x="194" y="64"/>
                      </a:lnTo>
                      <a:lnTo>
                        <a:pt x="194" y="65"/>
                      </a:lnTo>
                      <a:lnTo>
                        <a:pt x="195" y="65"/>
                      </a:lnTo>
                      <a:lnTo>
                        <a:pt x="195" y="64"/>
                      </a:lnTo>
                      <a:lnTo>
                        <a:pt x="195" y="64"/>
                      </a:lnTo>
                      <a:lnTo>
                        <a:pt x="196" y="65"/>
                      </a:lnTo>
                      <a:lnTo>
                        <a:pt x="195" y="66"/>
                      </a:lnTo>
                      <a:lnTo>
                        <a:pt x="195" y="65"/>
                      </a:lnTo>
                      <a:lnTo>
                        <a:pt x="194" y="65"/>
                      </a:lnTo>
                      <a:lnTo>
                        <a:pt x="193" y="66"/>
                      </a:lnTo>
                      <a:lnTo>
                        <a:pt x="194" y="66"/>
                      </a:lnTo>
                      <a:lnTo>
                        <a:pt x="193" y="66"/>
                      </a:lnTo>
                      <a:lnTo>
                        <a:pt x="191" y="67"/>
                      </a:lnTo>
                      <a:lnTo>
                        <a:pt x="191" y="67"/>
                      </a:lnTo>
                      <a:lnTo>
                        <a:pt x="191" y="68"/>
                      </a:lnTo>
                      <a:lnTo>
                        <a:pt x="190" y="68"/>
                      </a:lnTo>
                      <a:lnTo>
                        <a:pt x="189" y="67"/>
                      </a:lnTo>
                      <a:lnTo>
                        <a:pt x="189" y="66"/>
                      </a:lnTo>
                      <a:lnTo>
                        <a:pt x="189" y="66"/>
                      </a:lnTo>
                      <a:lnTo>
                        <a:pt x="188" y="66"/>
                      </a:lnTo>
                      <a:lnTo>
                        <a:pt x="188" y="66"/>
                      </a:lnTo>
                      <a:lnTo>
                        <a:pt x="188" y="67"/>
                      </a:lnTo>
                      <a:lnTo>
                        <a:pt x="189" y="68"/>
                      </a:lnTo>
                      <a:lnTo>
                        <a:pt x="188" y="68"/>
                      </a:lnTo>
                      <a:lnTo>
                        <a:pt x="187" y="67"/>
                      </a:lnTo>
                      <a:lnTo>
                        <a:pt x="185" y="66"/>
                      </a:lnTo>
                      <a:lnTo>
                        <a:pt x="184" y="66"/>
                      </a:lnTo>
                      <a:lnTo>
                        <a:pt x="183" y="65"/>
                      </a:lnTo>
                      <a:lnTo>
                        <a:pt x="184" y="64"/>
                      </a:lnTo>
                      <a:lnTo>
                        <a:pt x="183" y="63"/>
                      </a:lnTo>
                      <a:lnTo>
                        <a:pt x="184" y="62"/>
                      </a:lnTo>
                      <a:lnTo>
                        <a:pt x="184" y="61"/>
                      </a:lnTo>
                      <a:lnTo>
                        <a:pt x="182" y="61"/>
                      </a:lnTo>
                      <a:lnTo>
                        <a:pt x="182" y="60"/>
                      </a:lnTo>
                      <a:lnTo>
                        <a:pt x="181" y="60"/>
                      </a:lnTo>
                      <a:lnTo>
                        <a:pt x="182" y="58"/>
                      </a:lnTo>
                      <a:lnTo>
                        <a:pt x="181" y="58"/>
                      </a:lnTo>
                      <a:lnTo>
                        <a:pt x="181" y="58"/>
                      </a:lnTo>
                      <a:lnTo>
                        <a:pt x="181" y="56"/>
                      </a:lnTo>
                      <a:lnTo>
                        <a:pt x="181" y="56"/>
                      </a:lnTo>
                      <a:lnTo>
                        <a:pt x="181" y="56"/>
                      </a:lnTo>
                      <a:lnTo>
                        <a:pt x="182" y="55"/>
                      </a:lnTo>
                      <a:lnTo>
                        <a:pt x="183" y="55"/>
                      </a:lnTo>
                      <a:lnTo>
                        <a:pt x="182" y="54"/>
                      </a:lnTo>
                      <a:lnTo>
                        <a:pt x="182" y="54"/>
                      </a:lnTo>
                      <a:lnTo>
                        <a:pt x="181" y="54"/>
                      </a:lnTo>
                      <a:lnTo>
                        <a:pt x="180" y="54"/>
                      </a:lnTo>
                      <a:lnTo>
                        <a:pt x="178" y="54"/>
                      </a:lnTo>
                      <a:lnTo>
                        <a:pt x="178" y="52"/>
                      </a:lnTo>
                      <a:lnTo>
                        <a:pt x="176" y="52"/>
                      </a:lnTo>
                      <a:lnTo>
                        <a:pt x="176" y="52"/>
                      </a:lnTo>
                      <a:lnTo>
                        <a:pt x="174" y="52"/>
                      </a:lnTo>
                      <a:lnTo>
                        <a:pt x="174" y="52"/>
                      </a:lnTo>
                      <a:lnTo>
                        <a:pt x="174" y="53"/>
                      </a:lnTo>
                      <a:lnTo>
                        <a:pt x="173" y="53"/>
                      </a:lnTo>
                      <a:lnTo>
                        <a:pt x="172" y="54"/>
                      </a:lnTo>
                      <a:lnTo>
                        <a:pt x="172" y="53"/>
                      </a:lnTo>
                      <a:lnTo>
                        <a:pt x="171" y="53"/>
                      </a:lnTo>
                      <a:lnTo>
                        <a:pt x="171" y="52"/>
                      </a:lnTo>
                      <a:lnTo>
                        <a:pt x="170" y="53"/>
                      </a:lnTo>
                      <a:lnTo>
                        <a:pt x="170" y="53"/>
                      </a:lnTo>
                      <a:lnTo>
                        <a:pt x="169" y="53"/>
                      </a:lnTo>
                      <a:lnTo>
                        <a:pt x="168" y="52"/>
                      </a:lnTo>
                      <a:lnTo>
                        <a:pt x="168" y="52"/>
                      </a:lnTo>
                      <a:lnTo>
                        <a:pt x="168" y="50"/>
                      </a:lnTo>
                      <a:lnTo>
                        <a:pt x="168" y="49"/>
                      </a:lnTo>
                      <a:lnTo>
                        <a:pt x="169" y="49"/>
                      </a:lnTo>
                      <a:lnTo>
                        <a:pt x="170" y="48"/>
                      </a:lnTo>
                      <a:lnTo>
                        <a:pt x="169" y="47"/>
                      </a:lnTo>
                      <a:lnTo>
                        <a:pt x="170" y="47"/>
                      </a:lnTo>
                      <a:lnTo>
                        <a:pt x="169" y="46"/>
                      </a:lnTo>
                      <a:lnTo>
                        <a:pt x="168" y="46"/>
                      </a:lnTo>
                      <a:lnTo>
                        <a:pt x="167" y="46"/>
                      </a:lnTo>
                      <a:lnTo>
                        <a:pt x="167" y="45"/>
                      </a:lnTo>
                      <a:lnTo>
                        <a:pt x="166" y="45"/>
                      </a:lnTo>
                      <a:lnTo>
                        <a:pt x="166" y="44"/>
                      </a:lnTo>
                      <a:lnTo>
                        <a:pt x="165" y="44"/>
                      </a:lnTo>
                      <a:lnTo>
                        <a:pt x="165" y="43"/>
                      </a:lnTo>
                      <a:lnTo>
                        <a:pt x="166" y="43"/>
                      </a:lnTo>
                      <a:lnTo>
                        <a:pt x="167" y="42"/>
                      </a:lnTo>
                      <a:lnTo>
                        <a:pt x="168" y="42"/>
                      </a:lnTo>
                      <a:lnTo>
                        <a:pt x="168" y="42"/>
                      </a:lnTo>
                      <a:lnTo>
                        <a:pt x="168" y="42"/>
                      </a:lnTo>
                      <a:lnTo>
                        <a:pt x="168" y="42"/>
                      </a:lnTo>
                      <a:lnTo>
                        <a:pt x="169" y="41"/>
                      </a:lnTo>
                      <a:lnTo>
                        <a:pt x="169" y="40"/>
                      </a:lnTo>
                      <a:lnTo>
                        <a:pt x="169" y="39"/>
                      </a:lnTo>
                      <a:lnTo>
                        <a:pt x="169" y="38"/>
                      </a:lnTo>
                      <a:lnTo>
                        <a:pt x="169" y="38"/>
                      </a:lnTo>
                      <a:lnTo>
                        <a:pt x="169" y="38"/>
                      </a:lnTo>
                      <a:lnTo>
                        <a:pt x="169" y="38"/>
                      </a:lnTo>
                      <a:lnTo>
                        <a:pt x="170" y="38"/>
                      </a:lnTo>
                      <a:lnTo>
                        <a:pt x="170" y="39"/>
                      </a:lnTo>
                      <a:lnTo>
                        <a:pt x="171" y="39"/>
                      </a:lnTo>
                      <a:lnTo>
                        <a:pt x="171" y="39"/>
                      </a:lnTo>
                      <a:lnTo>
                        <a:pt x="172" y="39"/>
                      </a:lnTo>
                      <a:lnTo>
                        <a:pt x="172" y="39"/>
                      </a:lnTo>
                      <a:lnTo>
                        <a:pt x="173" y="39"/>
                      </a:lnTo>
                      <a:lnTo>
                        <a:pt x="174" y="39"/>
                      </a:lnTo>
                      <a:lnTo>
                        <a:pt x="175" y="38"/>
                      </a:lnTo>
                      <a:lnTo>
                        <a:pt x="175" y="38"/>
                      </a:lnTo>
                      <a:lnTo>
                        <a:pt x="176" y="38"/>
                      </a:lnTo>
                      <a:lnTo>
                        <a:pt x="177" y="37"/>
                      </a:lnTo>
                      <a:lnTo>
                        <a:pt x="180" y="37"/>
                      </a:lnTo>
                      <a:lnTo>
                        <a:pt x="183" y="35"/>
                      </a:lnTo>
                      <a:close/>
                      <a:moveTo>
                        <a:pt x="456" y="27"/>
                      </a:moveTo>
                      <a:lnTo>
                        <a:pt x="458" y="28"/>
                      </a:lnTo>
                      <a:lnTo>
                        <a:pt x="457" y="28"/>
                      </a:lnTo>
                      <a:lnTo>
                        <a:pt x="457" y="29"/>
                      </a:lnTo>
                      <a:lnTo>
                        <a:pt x="457" y="29"/>
                      </a:lnTo>
                      <a:lnTo>
                        <a:pt x="457" y="30"/>
                      </a:lnTo>
                      <a:lnTo>
                        <a:pt x="457" y="30"/>
                      </a:lnTo>
                      <a:lnTo>
                        <a:pt x="458" y="30"/>
                      </a:lnTo>
                      <a:lnTo>
                        <a:pt x="458" y="31"/>
                      </a:lnTo>
                      <a:lnTo>
                        <a:pt x="458" y="31"/>
                      </a:lnTo>
                      <a:lnTo>
                        <a:pt x="458" y="32"/>
                      </a:lnTo>
                      <a:lnTo>
                        <a:pt x="459" y="32"/>
                      </a:lnTo>
                      <a:lnTo>
                        <a:pt x="459" y="32"/>
                      </a:lnTo>
                      <a:lnTo>
                        <a:pt x="459" y="33"/>
                      </a:lnTo>
                      <a:lnTo>
                        <a:pt x="459" y="34"/>
                      </a:lnTo>
                      <a:lnTo>
                        <a:pt x="463" y="36"/>
                      </a:lnTo>
                      <a:lnTo>
                        <a:pt x="463" y="37"/>
                      </a:lnTo>
                      <a:lnTo>
                        <a:pt x="463" y="37"/>
                      </a:lnTo>
                      <a:lnTo>
                        <a:pt x="464" y="38"/>
                      </a:lnTo>
                      <a:lnTo>
                        <a:pt x="466" y="39"/>
                      </a:lnTo>
                      <a:lnTo>
                        <a:pt x="467" y="39"/>
                      </a:lnTo>
                      <a:lnTo>
                        <a:pt x="467" y="38"/>
                      </a:lnTo>
                      <a:lnTo>
                        <a:pt x="468" y="38"/>
                      </a:lnTo>
                      <a:lnTo>
                        <a:pt x="468" y="38"/>
                      </a:lnTo>
                      <a:lnTo>
                        <a:pt x="469" y="37"/>
                      </a:lnTo>
                      <a:lnTo>
                        <a:pt x="469" y="37"/>
                      </a:lnTo>
                      <a:lnTo>
                        <a:pt x="469" y="38"/>
                      </a:lnTo>
                      <a:lnTo>
                        <a:pt x="469" y="38"/>
                      </a:lnTo>
                      <a:lnTo>
                        <a:pt x="468" y="38"/>
                      </a:lnTo>
                      <a:lnTo>
                        <a:pt x="468" y="39"/>
                      </a:lnTo>
                      <a:lnTo>
                        <a:pt x="469" y="39"/>
                      </a:lnTo>
                      <a:lnTo>
                        <a:pt x="469" y="40"/>
                      </a:lnTo>
                      <a:lnTo>
                        <a:pt x="469" y="40"/>
                      </a:lnTo>
                      <a:lnTo>
                        <a:pt x="469" y="41"/>
                      </a:lnTo>
                      <a:lnTo>
                        <a:pt x="470" y="41"/>
                      </a:lnTo>
                      <a:lnTo>
                        <a:pt x="470" y="41"/>
                      </a:lnTo>
                      <a:lnTo>
                        <a:pt x="471" y="41"/>
                      </a:lnTo>
                      <a:lnTo>
                        <a:pt x="471" y="42"/>
                      </a:lnTo>
                      <a:lnTo>
                        <a:pt x="472" y="42"/>
                      </a:lnTo>
                      <a:lnTo>
                        <a:pt x="472" y="42"/>
                      </a:lnTo>
                      <a:lnTo>
                        <a:pt x="472" y="43"/>
                      </a:lnTo>
                      <a:lnTo>
                        <a:pt x="474" y="43"/>
                      </a:lnTo>
                      <a:lnTo>
                        <a:pt x="474" y="44"/>
                      </a:lnTo>
                      <a:lnTo>
                        <a:pt x="474" y="44"/>
                      </a:lnTo>
                      <a:lnTo>
                        <a:pt x="474" y="44"/>
                      </a:lnTo>
                      <a:lnTo>
                        <a:pt x="475" y="44"/>
                      </a:lnTo>
                      <a:lnTo>
                        <a:pt x="477" y="45"/>
                      </a:lnTo>
                      <a:lnTo>
                        <a:pt x="477" y="46"/>
                      </a:lnTo>
                      <a:lnTo>
                        <a:pt x="478" y="46"/>
                      </a:lnTo>
                      <a:lnTo>
                        <a:pt x="478" y="46"/>
                      </a:lnTo>
                      <a:lnTo>
                        <a:pt x="478" y="46"/>
                      </a:lnTo>
                      <a:lnTo>
                        <a:pt x="481" y="48"/>
                      </a:lnTo>
                      <a:lnTo>
                        <a:pt x="482" y="49"/>
                      </a:lnTo>
                      <a:lnTo>
                        <a:pt x="482" y="49"/>
                      </a:lnTo>
                      <a:lnTo>
                        <a:pt x="483" y="52"/>
                      </a:lnTo>
                      <a:lnTo>
                        <a:pt x="484" y="52"/>
                      </a:lnTo>
                      <a:lnTo>
                        <a:pt x="484" y="53"/>
                      </a:lnTo>
                      <a:lnTo>
                        <a:pt x="485" y="53"/>
                      </a:lnTo>
                      <a:lnTo>
                        <a:pt x="485" y="54"/>
                      </a:lnTo>
                      <a:lnTo>
                        <a:pt x="487" y="55"/>
                      </a:lnTo>
                      <a:lnTo>
                        <a:pt x="487" y="55"/>
                      </a:lnTo>
                      <a:lnTo>
                        <a:pt x="488" y="56"/>
                      </a:lnTo>
                      <a:lnTo>
                        <a:pt x="489" y="56"/>
                      </a:lnTo>
                      <a:lnTo>
                        <a:pt x="489" y="57"/>
                      </a:lnTo>
                      <a:lnTo>
                        <a:pt x="490" y="58"/>
                      </a:lnTo>
                      <a:lnTo>
                        <a:pt x="490" y="58"/>
                      </a:lnTo>
                      <a:lnTo>
                        <a:pt x="491" y="59"/>
                      </a:lnTo>
                      <a:lnTo>
                        <a:pt x="492" y="60"/>
                      </a:lnTo>
                      <a:lnTo>
                        <a:pt x="493" y="61"/>
                      </a:lnTo>
                      <a:lnTo>
                        <a:pt x="496" y="61"/>
                      </a:lnTo>
                      <a:lnTo>
                        <a:pt x="496" y="62"/>
                      </a:lnTo>
                      <a:lnTo>
                        <a:pt x="496" y="63"/>
                      </a:lnTo>
                      <a:lnTo>
                        <a:pt x="496" y="63"/>
                      </a:lnTo>
                      <a:lnTo>
                        <a:pt x="497" y="65"/>
                      </a:lnTo>
                      <a:lnTo>
                        <a:pt x="500" y="65"/>
                      </a:lnTo>
                      <a:lnTo>
                        <a:pt x="501" y="65"/>
                      </a:lnTo>
                      <a:lnTo>
                        <a:pt x="501" y="66"/>
                      </a:lnTo>
                      <a:lnTo>
                        <a:pt x="502" y="67"/>
                      </a:lnTo>
                      <a:lnTo>
                        <a:pt x="503" y="67"/>
                      </a:lnTo>
                      <a:lnTo>
                        <a:pt x="504" y="68"/>
                      </a:lnTo>
                      <a:lnTo>
                        <a:pt x="504" y="68"/>
                      </a:lnTo>
                      <a:lnTo>
                        <a:pt x="506" y="68"/>
                      </a:lnTo>
                      <a:lnTo>
                        <a:pt x="508" y="70"/>
                      </a:lnTo>
                      <a:lnTo>
                        <a:pt x="509" y="71"/>
                      </a:lnTo>
                      <a:lnTo>
                        <a:pt x="510" y="72"/>
                      </a:lnTo>
                      <a:lnTo>
                        <a:pt x="510" y="72"/>
                      </a:lnTo>
                      <a:lnTo>
                        <a:pt x="511" y="74"/>
                      </a:lnTo>
                      <a:lnTo>
                        <a:pt x="514" y="74"/>
                      </a:lnTo>
                      <a:lnTo>
                        <a:pt x="515" y="75"/>
                      </a:lnTo>
                      <a:lnTo>
                        <a:pt x="515" y="74"/>
                      </a:lnTo>
                      <a:lnTo>
                        <a:pt x="514" y="74"/>
                      </a:lnTo>
                      <a:lnTo>
                        <a:pt x="511" y="73"/>
                      </a:lnTo>
                      <a:lnTo>
                        <a:pt x="511" y="72"/>
                      </a:lnTo>
                      <a:lnTo>
                        <a:pt x="510" y="72"/>
                      </a:lnTo>
                      <a:lnTo>
                        <a:pt x="510" y="71"/>
                      </a:lnTo>
                      <a:lnTo>
                        <a:pt x="510" y="71"/>
                      </a:lnTo>
                      <a:lnTo>
                        <a:pt x="508" y="69"/>
                      </a:lnTo>
                      <a:lnTo>
                        <a:pt x="506" y="67"/>
                      </a:lnTo>
                      <a:lnTo>
                        <a:pt x="506" y="67"/>
                      </a:lnTo>
                      <a:lnTo>
                        <a:pt x="507" y="66"/>
                      </a:lnTo>
                      <a:lnTo>
                        <a:pt x="507" y="66"/>
                      </a:lnTo>
                      <a:lnTo>
                        <a:pt x="508" y="67"/>
                      </a:lnTo>
                      <a:lnTo>
                        <a:pt x="508" y="67"/>
                      </a:lnTo>
                      <a:lnTo>
                        <a:pt x="508" y="67"/>
                      </a:lnTo>
                      <a:lnTo>
                        <a:pt x="508" y="67"/>
                      </a:lnTo>
                      <a:lnTo>
                        <a:pt x="508" y="67"/>
                      </a:lnTo>
                      <a:lnTo>
                        <a:pt x="508" y="67"/>
                      </a:lnTo>
                      <a:lnTo>
                        <a:pt x="508" y="67"/>
                      </a:lnTo>
                      <a:lnTo>
                        <a:pt x="510" y="67"/>
                      </a:lnTo>
                      <a:lnTo>
                        <a:pt x="510" y="66"/>
                      </a:lnTo>
                      <a:lnTo>
                        <a:pt x="508" y="66"/>
                      </a:lnTo>
                      <a:lnTo>
                        <a:pt x="507" y="65"/>
                      </a:lnTo>
                      <a:lnTo>
                        <a:pt x="507" y="65"/>
                      </a:lnTo>
                      <a:lnTo>
                        <a:pt x="506" y="65"/>
                      </a:lnTo>
                      <a:lnTo>
                        <a:pt x="505" y="65"/>
                      </a:lnTo>
                      <a:lnTo>
                        <a:pt x="504" y="65"/>
                      </a:lnTo>
                      <a:lnTo>
                        <a:pt x="503" y="64"/>
                      </a:lnTo>
                      <a:lnTo>
                        <a:pt x="503" y="62"/>
                      </a:lnTo>
                      <a:lnTo>
                        <a:pt x="505" y="62"/>
                      </a:lnTo>
                      <a:lnTo>
                        <a:pt x="506" y="62"/>
                      </a:lnTo>
                      <a:lnTo>
                        <a:pt x="506" y="62"/>
                      </a:lnTo>
                      <a:lnTo>
                        <a:pt x="504" y="62"/>
                      </a:lnTo>
                      <a:lnTo>
                        <a:pt x="504" y="62"/>
                      </a:lnTo>
                      <a:lnTo>
                        <a:pt x="505" y="61"/>
                      </a:lnTo>
                      <a:lnTo>
                        <a:pt x="507" y="64"/>
                      </a:lnTo>
                      <a:lnTo>
                        <a:pt x="516" y="64"/>
                      </a:lnTo>
                      <a:lnTo>
                        <a:pt x="523" y="68"/>
                      </a:lnTo>
                      <a:lnTo>
                        <a:pt x="533" y="76"/>
                      </a:lnTo>
                      <a:lnTo>
                        <a:pt x="542" y="86"/>
                      </a:lnTo>
                      <a:lnTo>
                        <a:pt x="543" y="92"/>
                      </a:lnTo>
                      <a:lnTo>
                        <a:pt x="532" y="99"/>
                      </a:lnTo>
                      <a:lnTo>
                        <a:pt x="532" y="100"/>
                      </a:lnTo>
                      <a:lnTo>
                        <a:pt x="537" y="108"/>
                      </a:lnTo>
                      <a:lnTo>
                        <a:pt x="546" y="115"/>
                      </a:lnTo>
                      <a:lnTo>
                        <a:pt x="546" y="116"/>
                      </a:lnTo>
                      <a:lnTo>
                        <a:pt x="552" y="133"/>
                      </a:lnTo>
                      <a:lnTo>
                        <a:pt x="554" y="140"/>
                      </a:lnTo>
                      <a:lnTo>
                        <a:pt x="553" y="144"/>
                      </a:lnTo>
                      <a:lnTo>
                        <a:pt x="560" y="150"/>
                      </a:lnTo>
                      <a:lnTo>
                        <a:pt x="563" y="157"/>
                      </a:lnTo>
                      <a:lnTo>
                        <a:pt x="571" y="156"/>
                      </a:lnTo>
                      <a:lnTo>
                        <a:pt x="581" y="163"/>
                      </a:lnTo>
                      <a:lnTo>
                        <a:pt x="581" y="163"/>
                      </a:lnTo>
                      <a:lnTo>
                        <a:pt x="583" y="170"/>
                      </a:lnTo>
                      <a:lnTo>
                        <a:pt x="583" y="180"/>
                      </a:lnTo>
                      <a:lnTo>
                        <a:pt x="577" y="181"/>
                      </a:lnTo>
                      <a:lnTo>
                        <a:pt x="569" y="187"/>
                      </a:lnTo>
                      <a:lnTo>
                        <a:pt x="554" y="173"/>
                      </a:lnTo>
                      <a:lnTo>
                        <a:pt x="549" y="172"/>
                      </a:lnTo>
                      <a:lnTo>
                        <a:pt x="539" y="175"/>
                      </a:lnTo>
                      <a:lnTo>
                        <a:pt x="531" y="168"/>
                      </a:lnTo>
                      <a:lnTo>
                        <a:pt x="525" y="168"/>
                      </a:lnTo>
                      <a:lnTo>
                        <a:pt x="511" y="178"/>
                      </a:lnTo>
                      <a:lnTo>
                        <a:pt x="510" y="177"/>
                      </a:lnTo>
                      <a:lnTo>
                        <a:pt x="505" y="182"/>
                      </a:lnTo>
                      <a:lnTo>
                        <a:pt x="504" y="188"/>
                      </a:lnTo>
                      <a:lnTo>
                        <a:pt x="495" y="192"/>
                      </a:lnTo>
                      <a:lnTo>
                        <a:pt x="499" y="201"/>
                      </a:lnTo>
                      <a:lnTo>
                        <a:pt x="491" y="209"/>
                      </a:lnTo>
                      <a:lnTo>
                        <a:pt x="490" y="214"/>
                      </a:lnTo>
                      <a:lnTo>
                        <a:pt x="494" y="222"/>
                      </a:lnTo>
                      <a:lnTo>
                        <a:pt x="495" y="225"/>
                      </a:lnTo>
                      <a:lnTo>
                        <a:pt x="500" y="226"/>
                      </a:lnTo>
                      <a:lnTo>
                        <a:pt x="508" y="227"/>
                      </a:lnTo>
                      <a:lnTo>
                        <a:pt x="509" y="231"/>
                      </a:lnTo>
                      <a:lnTo>
                        <a:pt x="511" y="233"/>
                      </a:lnTo>
                      <a:lnTo>
                        <a:pt x="523" y="235"/>
                      </a:lnTo>
                      <a:lnTo>
                        <a:pt x="525" y="239"/>
                      </a:lnTo>
                      <a:lnTo>
                        <a:pt x="532" y="245"/>
                      </a:lnTo>
                      <a:lnTo>
                        <a:pt x="532" y="247"/>
                      </a:lnTo>
                      <a:lnTo>
                        <a:pt x="530" y="250"/>
                      </a:lnTo>
                      <a:lnTo>
                        <a:pt x="521" y="252"/>
                      </a:lnTo>
                      <a:lnTo>
                        <a:pt x="517" y="262"/>
                      </a:lnTo>
                      <a:lnTo>
                        <a:pt x="518" y="269"/>
                      </a:lnTo>
                      <a:lnTo>
                        <a:pt x="517" y="272"/>
                      </a:lnTo>
                      <a:lnTo>
                        <a:pt x="510" y="277"/>
                      </a:lnTo>
                      <a:lnTo>
                        <a:pt x="509" y="287"/>
                      </a:lnTo>
                      <a:lnTo>
                        <a:pt x="507" y="290"/>
                      </a:lnTo>
                      <a:lnTo>
                        <a:pt x="497" y="297"/>
                      </a:lnTo>
                      <a:lnTo>
                        <a:pt x="497" y="302"/>
                      </a:lnTo>
                      <a:lnTo>
                        <a:pt x="501" y="309"/>
                      </a:lnTo>
                      <a:lnTo>
                        <a:pt x="499" y="315"/>
                      </a:lnTo>
                      <a:lnTo>
                        <a:pt x="501" y="316"/>
                      </a:lnTo>
                      <a:lnTo>
                        <a:pt x="506" y="315"/>
                      </a:lnTo>
                      <a:lnTo>
                        <a:pt x="510" y="309"/>
                      </a:lnTo>
                      <a:lnTo>
                        <a:pt x="521" y="301"/>
                      </a:lnTo>
                      <a:lnTo>
                        <a:pt x="527" y="307"/>
                      </a:lnTo>
                      <a:lnTo>
                        <a:pt x="529" y="310"/>
                      </a:lnTo>
                      <a:lnTo>
                        <a:pt x="525" y="319"/>
                      </a:lnTo>
                      <a:lnTo>
                        <a:pt x="519" y="321"/>
                      </a:lnTo>
                      <a:lnTo>
                        <a:pt x="517" y="326"/>
                      </a:lnTo>
                      <a:lnTo>
                        <a:pt x="501" y="327"/>
                      </a:lnTo>
                      <a:lnTo>
                        <a:pt x="492" y="333"/>
                      </a:lnTo>
                      <a:lnTo>
                        <a:pt x="482" y="336"/>
                      </a:lnTo>
                      <a:lnTo>
                        <a:pt x="479" y="342"/>
                      </a:lnTo>
                      <a:lnTo>
                        <a:pt x="479" y="348"/>
                      </a:lnTo>
                      <a:lnTo>
                        <a:pt x="480" y="352"/>
                      </a:lnTo>
                      <a:lnTo>
                        <a:pt x="482" y="356"/>
                      </a:lnTo>
                      <a:lnTo>
                        <a:pt x="488" y="359"/>
                      </a:lnTo>
                      <a:lnTo>
                        <a:pt x="494" y="365"/>
                      </a:lnTo>
                      <a:lnTo>
                        <a:pt x="502" y="370"/>
                      </a:lnTo>
                      <a:lnTo>
                        <a:pt x="510" y="378"/>
                      </a:lnTo>
                      <a:lnTo>
                        <a:pt x="519" y="380"/>
                      </a:lnTo>
                      <a:lnTo>
                        <a:pt x="529" y="378"/>
                      </a:lnTo>
                      <a:lnTo>
                        <a:pt x="532" y="379"/>
                      </a:lnTo>
                      <a:lnTo>
                        <a:pt x="533" y="383"/>
                      </a:lnTo>
                      <a:lnTo>
                        <a:pt x="532" y="385"/>
                      </a:lnTo>
                      <a:lnTo>
                        <a:pt x="525" y="390"/>
                      </a:lnTo>
                      <a:lnTo>
                        <a:pt x="523" y="399"/>
                      </a:lnTo>
                      <a:lnTo>
                        <a:pt x="525" y="402"/>
                      </a:lnTo>
                      <a:lnTo>
                        <a:pt x="532" y="404"/>
                      </a:lnTo>
                      <a:lnTo>
                        <a:pt x="533" y="406"/>
                      </a:lnTo>
                      <a:lnTo>
                        <a:pt x="533" y="407"/>
                      </a:lnTo>
                      <a:lnTo>
                        <a:pt x="521" y="409"/>
                      </a:lnTo>
                      <a:lnTo>
                        <a:pt x="518" y="414"/>
                      </a:lnTo>
                      <a:lnTo>
                        <a:pt x="512" y="417"/>
                      </a:lnTo>
                      <a:lnTo>
                        <a:pt x="511" y="423"/>
                      </a:lnTo>
                      <a:lnTo>
                        <a:pt x="500" y="440"/>
                      </a:lnTo>
                      <a:lnTo>
                        <a:pt x="500" y="442"/>
                      </a:lnTo>
                      <a:lnTo>
                        <a:pt x="502" y="444"/>
                      </a:lnTo>
                      <a:lnTo>
                        <a:pt x="508" y="443"/>
                      </a:lnTo>
                      <a:lnTo>
                        <a:pt x="509" y="444"/>
                      </a:lnTo>
                      <a:lnTo>
                        <a:pt x="508" y="446"/>
                      </a:lnTo>
                      <a:lnTo>
                        <a:pt x="496" y="453"/>
                      </a:lnTo>
                      <a:lnTo>
                        <a:pt x="496" y="455"/>
                      </a:lnTo>
                      <a:lnTo>
                        <a:pt x="503" y="458"/>
                      </a:lnTo>
                      <a:lnTo>
                        <a:pt x="502" y="459"/>
                      </a:lnTo>
                      <a:lnTo>
                        <a:pt x="500" y="463"/>
                      </a:lnTo>
                      <a:lnTo>
                        <a:pt x="496" y="473"/>
                      </a:lnTo>
                      <a:lnTo>
                        <a:pt x="500" y="473"/>
                      </a:lnTo>
                      <a:lnTo>
                        <a:pt x="507" y="481"/>
                      </a:lnTo>
                      <a:lnTo>
                        <a:pt x="507" y="484"/>
                      </a:lnTo>
                      <a:lnTo>
                        <a:pt x="506" y="489"/>
                      </a:lnTo>
                      <a:lnTo>
                        <a:pt x="513" y="502"/>
                      </a:lnTo>
                      <a:lnTo>
                        <a:pt x="518" y="509"/>
                      </a:lnTo>
                      <a:lnTo>
                        <a:pt x="525" y="516"/>
                      </a:lnTo>
                      <a:lnTo>
                        <a:pt x="526" y="522"/>
                      </a:lnTo>
                      <a:lnTo>
                        <a:pt x="530" y="524"/>
                      </a:lnTo>
                      <a:lnTo>
                        <a:pt x="532" y="527"/>
                      </a:lnTo>
                      <a:lnTo>
                        <a:pt x="535" y="528"/>
                      </a:lnTo>
                      <a:lnTo>
                        <a:pt x="546" y="522"/>
                      </a:lnTo>
                      <a:lnTo>
                        <a:pt x="552" y="521"/>
                      </a:lnTo>
                      <a:lnTo>
                        <a:pt x="561" y="530"/>
                      </a:lnTo>
                      <a:lnTo>
                        <a:pt x="570" y="535"/>
                      </a:lnTo>
                      <a:lnTo>
                        <a:pt x="572" y="539"/>
                      </a:lnTo>
                      <a:lnTo>
                        <a:pt x="572" y="542"/>
                      </a:lnTo>
                      <a:lnTo>
                        <a:pt x="579" y="552"/>
                      </a:lnTo>
                      <a:lnTo>
                        <a:pt x="587" y="552"/>
                      </a:lnTo>
                      <a:lnTo>
                        <a:pt x="591" y="556"/>
                      </a:lnTo>
                      <a:lnTo>
                        <a:pt x="594" y="557"/>
                      </a:lnTo>
                      <a:lnTo>
                        <a:pt x="595" y="560"/>
                      </a:lnTo>
                      <a:lnTo>
                        <a:pt x="598" y="557"/>
                      </a:lnTo>
                      <a:lnTo>
                        <a:pt x="598" y="557"/>
                      </a:lnTo>
                      <a:lnTo>
                        <a:pt x="597" y="561"/>
                      </a:lnTo>
                      <a:lnTo>
                        <a:pt x="592" y="568"/>
                      </a:lnTo>
                      <a:lnTo>
                        <a:pt x="592" y="570"/>
                      </a:lnTo>
                      <a:lnTo>
                        <a:pt x="590" y="576"/>
                      </a:lnTo>
                      <a:lnTo>
                        <a:pt x="593" y="583"/>
                      </a:lnTo>
                      <a:lnTo>
                        <a:pt x="594" y="585"/>
                      </a:lnTo>
                      <a:lnTo>
                        <a:pt x="590" y="590"/>
                      </a:lnTo>
                      <a:lnTo>
                        <a:pt x="590" y="592"/>
                      </a:lnTo>
                      <a:lnTo>
                        <a:pt x="592" y="597"/>
                      </a:lnTo>
                      <a:lnTo>
                        <a:pt x="592" y="602"/>
                      </a:lnTo>
                      <a:lnTo>
                        <a:pt x="595" y="608"/>
                      </a:lnTo>
                      <a:lnTo>
                        <a:pt x="589" y="612"/>
                      </a:lnTo>
                      <a:lnTo>
                        <a:pt x="590" y="614"/>
                      </a:lnTo>
                      <a:lnTo>
                        <a:pt x="593" y="614"/>
                      </a:lnTo>
                      <a:lnTo>
                        <a:pt x="592" y="619"/>
                      </a:lnTo>
                      <a:lnTo>
                        <a:pt x="594" y="628"/>
                      </a:lnTo>
                      <a:lnTo>
                        <a:pt x="594" y="628"/>
                      </a:lnTo>
                      <a:lnTo>
                        <a:pt x="594" y="630"/>
                      </a:lnTo>
                      <a:lnTo>
                        <a:pt x="593" y="630"/>
                      </a:lnTo>
                      <a:lnTo>
                        <a:pt x="592" y="631"/>
                      </a:lnTo>
                      <a:lnTo>
                        <a:pt x="592" y="631"/>
                      </a:lnTo>
                      <a:lnTo>
                        <a:pt x="591" y="631"/>
                      </a:lnTo>
                      <a:lnTo>
                        <a:pt x="589" y="632"/>
                      </a:lnTo>
                      <a:lnTo>
                        <a:pt x="589" y="632"/>
                      </a:lnTo>
                      <a:lnTo>
                        <a:pt x="588" y="633"/>
                      </a:lnTo>
                      <a:lnTo>
                        <a:pt x="587" y="635"/>
                      </a:lnTo>
                      <a:lnTo>
                        <a:pt x="587" y="635"/>
                      </a:lnTo>
                      <a:lnTo>
                        <a:pt x="587" y="636"/>
                      </a:lnTo>
                      <a:lnTo>
                        <a:pt x="586" y="637"/>
                      </a:lnTo>
                      <a:lnTo>
                        <a:pt x="586" y="637"/>
                      </a:lnTo>
                      <a:lnTo>
                        <a:pt x="585" y="637"/>
                      </a:lnTo>
                      <a:lnTo>
                        <a:pt x="585" y="638"/>
                      </a:lnTo>
                      <a:lnTo>
                        <a:pt x="585" y="638"/>
                      </a:lnTo>
                      <a:lnTo>
                        <a:pt x="585" y="638"/>
                      </a:lnTo>
                      <a:lnTo>
                        <a:pt x="584" y="639"/>
                      </a:lnTo>
                      <a:lnTo>
                        <a:pt x="580" y="639"/>
                      </a:lnTo>
                      <a:lnTo>
                        <a:pt x="576" y="640"/>
                      </a:lnTo>
                      <a:lnTo>
                        <a:pt x="576" y="640"/>
                      </a:lnTo>
                      <a:lnTo>
                        <a:pt x="574" y="641"/>
                      </a:lnTo>
                      <a:lnTo>
                        <a:pt x="572" y="641"/>
                      </a:lnTo>
                      <a:lnTo>
                        <a:pt x="571" y="642"/>
                      </a:lnTo>
                      <a:lnTo>
                        <a:pt x="570" y="642"/>
                      </a:lnTo>
                      <a:lnTo>
                        <a:pt x="567" y="644"/>
                      </a:lnTo>
                      <a:lnTo>
                        <a:pt x="561" y="648"/>
                      </a:lnTo>
                      <a:lnTo>
                        <a:pt x="560" y="648"/>
                      </a:lnTo>
                      <a:lnTo>
                        <a:pt x="559" y="649"/>
                      </a:lnTo>
                      <a:lnTo>
                        <a:pt x="558" y="649"/>
                      </a:lnTo>
                      <a:lnTo>
                        <a:pt x="556" y="651"/>
                      </a:lnTo>
                      <a:lnTo>
                        <a:pt x="554" y="651"/>
                      </a:lnTo>
                      <a:lnTo>
                        <a:pt x="553" y="652"/>
                      </a:lnTo>
                      <a:lnTo>
                        <a:pt x="551" y="652"/>
                      </a:lnTo>
                      <a:lnTo>
                        <a:pt x="549" y="653"/>
                      </a:lnTo>
                      <a:lnTo>
                        <a:pt x="548" y="653"/>
                      </a:lnTo>
                      <a:lnTo>
                        <a:pt x="547" y="654"/>
                      </a:lnTo>
                      <a:lnTo>
                        <a:pt x="546" y="654"/>
                      </a:lnTo>
                      <a:lnTo>
                        <a:pt x="545" y="654"/>
                      </a:lnTo>
                      <a:lnTo>
                        <a:pt x="544" y="654"/>
                      </a:lnTo>
                      <a:lnTo>
                        <a:pt x="544" y="655"/>
                      </a:lnTo>
                      <a:lnTo>
                        <a:pt x="543" y="655"/>
                      </a:lnTo>
                      <a:lnTo>
                        <a:pt x="543" y="655"/>
                      </a:lnTo>
                      <a:lnTo>
                        <a:pt x="542" y="654"/>
                      </a:lnTo>
                      <a:lnTo>
                        <a:pt x="540" y="654"/>
                      </a:lnTo>
                      <a:lnTo>
                        <a:pt x="540" y="654"/>
                      </a:lnTo>
                      <a:lnTo>
                        <a:pt x="535" y="654"/>
                      </a:lnTo>
                      <a:lnTo>
                        <a:pt x="532" y="654"/>
                      </a:lnTo>
                      <a:lnTo>
                        <a:pt x="531" y="653"/>
                      </a:lnTo>
                      <a:lnTo>
                        <a:pt x="529" y="653"/>
                      </a:lnTo>
                      <a:lnTo>
                        <a:pt x="528" y="652"/>
                      </a:lnTo>
                      <a:lnTo>
                        <a:pt x="528" y="652"/>
                      </a:lnTo>
                      <a:lnTo>
                        <a:pt x="528" y="651"/>
                      </a:lnTo>
                      <a:lnTo>
                        <a:pt x="528" y="651"/>
                      </a:lnTo>
                      <a:lnTo>
                        <a:pt x="527" y="651"/>
                      </a:lnTo>
                      <a:lnTo>
                        <a:pt x="526" y="651"/>
                      </a:lnTo>
                      <a:lnTo>
                        <a:pt x="525" y="651"/>
                      </a:lnTo>
                      <a:lnTo>
                        <a:pt x="525" y="651"/>
                      </a:lnTo>
                      <a:lnTo>
                        <a:pt x="525" y="652"/>
                      </a:lnTo>
                      <a:lnTo>
                        <a:pt x="524" y="653"/>
                      </a:lnTo>
                      <a:lnTo>
                        <a:pt x="524" y="653"/>
                      </a:lnTo>
                      <a:lnTo>
                        <a:pt x="524" y="654"/>
                      </a:lnTo>
                      <a:lnTo>
                        <a:pt x="524" y="654"/>
                      </a:lnTo>
                      <a:lnTo>
                        <a:pt x="522" y="656"/>
                      </a:lnTo>
                      <a:lnTo>
                        <a:pt x="519" y="657"/>
                      </a:lnTo>
                      <a:lnTo>
                        <a:pt x="519" y="659"/>
                      </a:lnTo>
                      <a:lnTo>
                        <a:pt x="517" y="660"/>
                      </a:lnTo>
                      <a:lnTo>
                        <a:pt x="516" y="660"/>
                      </a:lnTo>
                      <a:lnTo>
                        <a:pt x="515" y="662"/>
                      </a:lnTo>
                      <a:lnTo>
                        <a:pt x="512" y="663"/>
                      </a:lnTo>
                      <a:lnTo>
                        <a:pt x="511" y="664"/>
                      </a:lnTo>
                      <a:lnTo>
                        <a:pt x="511" y="664"/>
                      </a:lnTo>
                      <a:lnTo>
                        <a:pt x="510" y="665"/>
                      </a:lnTo>
                      <a:lnTo>
                        <a:pt x="509" y="665"/>
                      </a:lnTo>
                      <a:lnTo>
                        <a:pt x="509" y="665"/>
                      </a:lnTo>
                      <a:lnTo>
                        <a:pt x="508" y="665"/>
                      </a:lnTo>
                      <a:lnTo>
                        <a:pt x="508" y="666"/>
                      </a:lnTo>
                      <a:lnTo>
                        <a:pt x="508" y="666"/>
                      </a:lnTo>
                      <a:lnTo>
                        <a:pt x="506" y="667"/>
                      </a:lnTo>
                      <a:lnTo>
                        <a:pt x="506" y="667"/>
                      </a:lnTo>
                      <a:lnTo>
                        <a:pt x="505" y="667"/>
                      </a:lnTo>
                      <a:lnTo>
                        <a:pt x="504" y="668"/>
                      </a:lnTo>
                      <a:lnTo>
                        <a:pt x="504" y="668"/>
                      </a:lnTo>
                      <a:lnTo>
                        <a:pt x="503" y="668"/>
                      </a:lnTo>
                      <a:lnTo>
                        <a:pt x="501" y="669"/>
                      </a:lnTo>
                      <a:lnTo>
                        <a:pt x="499" y="669"/>
                      </a:lnTo>
                      <a:lnTo>
                        <a:pt x="497" y="672"/>
                      </a:lnTo>
                      <a:lnTo>
                        <a:pt x="497" y="672"/>
                      </a:lnTo>
                      <a:lnTo>
                        <a:pt x="497" y="673"/>
                      </a:lnTo>
                      <a:lnTo>
                        <a:pt x="496" y="674"/>
                      </a:lnTo>
                      <a:lnTo>
                        <a:pt x="496" y="675"/>
                      </a:lnTo>
                      <a:lnTo>
                        <a:pt x="495" y="675"/>
                      </a:lnTo>
                      <a:lnTo>
                        <a:pt x="495" y="675"/>
                      </a:lnTo>
                      <a:lnTo>
                        <a:pt x="494" y="675"/>
                      </a:lnTo>
                      <a:lnTo>
                        <a:pt x="494" y="676"/>
                      </a:lnTo>
                      <a:lnTo>
                        <a:pt x="495" y="676"/>
                      </a:lnTo>
                      <a:lnTo>
                        <a:pt x="495" y="677"/>
                      </a:lnTo>
                      <a:lnTo>
                        <a:pt x="495" y="677"/>
                      </a:lnTo>
                      <a:lnTo>
                        <a:pt x="493" y="679"/>
                      </a:lnTo>
                      <a:lnTo>
                        <a:pt x="491" y="681"/>
                      </a:lnTo>
                      <a:lnTo>
                        <a:pt x="491" y="682"/>
                      </a:lnTo>
                      <a:lnTo>
                        <a:pt x="490" y="682"/>
                      </a:lnTo>
                      <a:lnTo>
                        <a:pt x="490" y="682"/>
                      </a:lnTo>
                      <a:lnTo>
                        <a:pt x="489" y="682"/>
                      </a:lnTo>
                      <a:lnTo>
                        <a:pt x="489" y="682"/>
                      </a:lnTo>
                      <a:lnTo>
                        <a:pt x="489" y="680"/>
                      </a:lnTo>
                      <a:lnTo>
                        <a:pt x="489" y="680"/>
                      </a:lnTo>
                      <a:lnTo>
                        <a:pt x="489" y="680"/>
                      </a:lnTo>
                      <a:lnTo>
                        <a:pt x="490" y="680"/>
                      </a:lnTo>
                      <a:lnTo>
                        <a:pt x="490" y="679"/>
                      </a:lnTo>
                      <a:lnTo>
                        <a:pt x="489" y="679"/>
                      </a:lnTo>
                      <a:lnTo>
                        <a:pt x="489" y="678"/>
                      </a:lnTo>
                      <a:lnTo>
                        <a:pt x="489" y="678"/>
                      </a:lnTo>
                      <a:lnTo>
                        <a:pt x="488" y="679"/>
                      </a:lnTo>
                      <a:lnTo>
                        <a:pt x="488" y="680"/>
                      </a:lnTo>
                      <a:lnTo>
                        <a:pt x="487" y="680"/>
                      </a:lnTo>
                      <a:lnTo>
                        <a:pt x="487" y="680"/>
                      </a:lnTo>
                      <a:lnTo>
                        <a:pt x="486" y="679"/>
                      </a:lnTo>
                      <a:lnTo>
                        <a:pt x="486" y="678"/>
                      </a:lnTo>
                      <a:lnTo>
                        <a:pt x="486" y="678"/>
                      </a:lnTo>
                      <a:lnTo>
                        <a:pt x="486" y="679"/>
                      </a:lnTo>
                      <a:lnTo>
                        <a:pt x="486" y="680"/>
                      </a:lnTo>
                      <a:lnTo>
                        <a:pt x="486" y="681"/>
                      </a:lnTo>
                      <a:lnTo>
                        <a:pt x="486" y="682"/>
                      </a:lnTo>
                      <a:lnTo>
                        <a:pt x="486" y="683"/>
                      </a:lnTo>
                      <a:lnTo>
                        <a:pt x="486" y="683"/>
                      </a:lnTo>
                      <a:lnTo>
                        <a:pt x="487" y="683"/>
                      </a:lnTo>
                      <a:lnTo>
                        <a:pt x="487" y="684"/>
                      </a:lnTo>
                      <a:lnTo>
                        <a:pt x="487" y="684"/>
                      </a:lnTo>
                      <a:lnTo>
                        <a:pt x="488" y="684"/>
                      </a:lnTo>
                      <a:lnTo>
                        <a:pt x="488" y="684"/>
                      </a:lnTo>
                      <a:lnTo>
                        <a:pt x="488" y="684"/>
                      </a:lnTo>
                      <a:lnTo>
                        <a:pt x="489" y="685"/>
                      </a:lnTo>
                      <a:lnTo>
                        <a:pt x="488" y="689"/>
                      </a:lnTo>
                      <a:lnTo>
                        <a:pt x="488" y="690"/>
                      </a:lnTo>
                      <a:lnTo>
                        <a:pt x="487" y="695"/>
                      </a:lnTo>
                      <a:lnTo>
                        <a:pt x="488" y="697"/>
                      </a:lnTo>
                      <a:lnTo>
                        <a:pt x="488" y="698"/>
                      </a:lnTo>
                      <a:lnTo>
                        <a:pt x="488" y="698"/>
                      </a:lnTo>
                      <a:lnTo>
                        <a:pt x="487" y="698"/>
                      </a:lnTo>
                      <a:lnTo>
                        <a:pt x="486" y="699"/>
                      </a:lnTo>
                      <a:lnTo>
                        <a:pt x="484" y="699"/>
                      </a:lnTo>
                      <a:lnTo>
                        <a:pt x="484" y="700"/>
                      </a:lnTo>
                      <a:lnTo>
                        <a:pt x="484" y="700"/>
                      </a:lnTo>
                      <a:lnTo>
                        <a:pt x="484" y="700"/>
                      </a:lnTo>
                      <a:lnTo>
                        <a:pt x="480" y="700"/>
                      </a:lnTo>
                      <a:lnTo>
                        <a:pt x="480" y="700"/>
                      </a:lnTo>
                      <a:lnTo>
                        <a:pt x="479" y="700"/>
                      </a:lnTo>
                      <a:lnTo>
                        <a:pt x="478" y="699"/>
                      </a:lnTo>
                      <a:lnTo>
                        <a:pt x="476" y="699"/>
                      </a:lnTo>
                      <a:lnTo>
                        <a:pt x="476" y="699"/>
                      </a:lnTo>
                      <a:lnTo>
                        <a:pt x="476" y="700"/>
                      </a:lnTo>
                      <a:lnTo>
                        <a:pt x="475" y="700"/>
                      </a:lnTo>
                      <a:lnTo>
                        <a:pt x="474" y="701"/>
                      </a:lnTo>
                      <a:lnTo>
                        <a:pt x="473" y="701"/>
                      </a:lnTo>
                      <a:lnTo>
                        <a:pt x="471" y="701"/>
                      </a:lnTo>
                      <a:lnTo>
                        <a:pt x="470" y="702"/>
                      </a:lnTo>
                      <a:lnTo>
                        <a:pt x="469" y="702"/>
                      </a:lnTo>
                      <a:lnTo>
                        <a:pt x="469" y="703"/>
                      </a:lnTo>
                      <a:lnTo>
                        <a:pt x="468" y="703"/>
                      </a:lnTo>
                      <a:lnTo>
                        <a:pt x="468" y="704"/>
                      </a:lnTo>
                      <a:lnTo>
                        <a:pt x="467" y="704"/>
                      </a:lnTo>
                      <a:lnTo>
                        <a:pt x="467" y="703"/>
                      </a:lnTo>
                      <a:lnTo>
                        <a:pt x="465" y="703"/>
                      </a:lnTo>
                      <a:lnTo>
                        <a:pt x="465" y="704"/>
                      </a:lnTo>
                      <a:lnTo>
                        <a:pt x="465" y="705"/>
                      </a:lnTo>
                      <a:lnTo>
                        <a:pt x="465" y="705"/>
                      </a:lnTo>
                      <a:lnTo>
                        <a:pt x="464" y="704"/>
                      </a:lnTo>
                      <a:lnTo>
                        <a:pt x="464" y="703"/>
                      </a:lnTo>
                      <a:lnTo>
                        <a:pt x="465" y="703"/>
                      </a:lnTo>
                      <a:lnTo>
                        <a:pt x="465" y="703"/>
                      </a:lnTo>
                      <a:lnTo>
                        <a:pt x="465" y="702"/>
                      </a:lnTo>
                      <a:lnTo>
                        <a:pt x="464" y="703"/>
                      </a:lnTo>
                      <a:lnTo>
                        <a:pt x="463" y="704"/>
                      </a:lnTo>
                      <a:lnTo>
                        <a:pt x="463" y="704"/>
                      </a:lnTo>
                      <a:lnTo>
                        <a:pt x="463" y="705"/>
                      </a:lnTo>
                      <a:lnTo>
                        <a:pt x="463" y="705"/>
                      </a:lnTo>
                      <a:lnTo>
                        <a:pt x="462" y="704"/>
                      </a:lnTo>
                      <a:lnTo>
                        <a:pt x="459" y="703"/>
                      </a:lnTo>
                      <a:lnTo>
                        <a:pt x="458" y="703"/>
                      </a:lnTo>
                      <a:lnTo>
                        <a:pt x="456" y="704"/>
                      </a:lnTo>
                      <a:lnTo>
                        <a:pt x="455" y="704"/>
                      </a:lnTo>
                      <a:lnTo>
                        <a:pt x="453" y="706"/>
                      </a:lnTo>
                      <a:lnTo>
                        <a:pt x="452" y="706"/>
                      </a:lnTo>
                      <a:lnTo>
                        <a:pt x="452" y="706"/>
                      </a:lnTo>
                      <a:lnTo>
                        <a:pt x="451" y="706"/>
                      </a:lnTo>
                      <a:lnTo>
                        <a:pt x="450" y="706"/>
                      </a:lnTo>
                      <a:lnTo>
                        <a:pt x="448" y="705"/>
                      </a:lnTo>
                      <a:lnTo>
                        <a:pt x="441" y="706"/>
                      </a:lnTo>
                      <a:lnTo>
                        <a:pt x="440" y="706"/>
                      </a:lnTo>
                      <a:lnTo>
                        <a:pt x="439" y="706"/>
                      </a:lnTo>
                      <a:lnTo>
                        <a:pt x="439" y="706"/>
                      </a:lnTo>
                      <a:lnTo>
                        <a:pt x="438" y="706"/>
                      </a:lnTo>
                      <a:lnTo>
                        <a:pt x="438" y="706"/>
                      </a:lnTo>
                      <a:lnTo>
                        <a:pt x="438" y="706"/>
                      </a:lnTo>
                      <a:lnTo>
                        <a:pt x="438" y="705"/>
                      </a:lnTo>
                      <a:lnTo>
                        <a:pt x="437" y="704"/>
                      </a:lnTo>
                      <a:lnTo>
                        <a:pt x="435" y="704"/>
                      </a:lnTo>
                      <a:lnTo>
                        <a:pt x="434" y="704"/>
                      </a:lnTo>
                      <a:lnTo>
                        <a:pt x="432" y="704"/>
                      </a:lnTo>
                      <a:lnTo>
                        <a:pt x="430" y="704"/>
                      </a:lnTo>
                      <a:lnTo>
                        <a:pt x="427" y="704"/>
                      </a:lnTo>
                      <a:lnTo>
                        <a:pt x="425" y="702"/>
                      </a:lnTo>
                      <a:lnTo>
                        <a:pt x="423" y="702"/>
                      </a:lnTo>
                      <a:lnTo>
                        <a:pt x="422" y="703"/>
                      </a:lnTo>
                      <a:lnTo>
                        <a:pt x="420" y="702"/>
                      </a:lnTo>
                      <a:lnTo>
                        <a:pt x="418" y="701"/>
                      </a:lnTo>
                      <a:lnTo>
                        <a:pt x="417" y="702"/>
                      </a:lnTo>
                      <a:lnTo>
                        <a:pt x="416" y="701"/>
                      </a:lnTo>
                      <a:lnTo>
                        <a:pt x="414" y="700"/>
                      </a:lnTo>
                      <a:lnTo>
                        <a:pt x="412" y="700"/>
                      </a:lnTo>
                      <a:lnTo>
                        <a:pt x="411" y="701"/>
                      </a:lnTo>
                      <a:lnTo>
                        <a:pt x="411" y="701"/>
                      </a:lnTo>
                      <a:lnTo>
                        <a:pt x="410" y="701"/>
                      </a:lnTo>
                      <a:lnTo>
                        <a:pt x="408" y="701"/>
                      </a:lnTo>
                      <a:lnTo>
                        <a:pt x="407" y="700"/>
                      </a:lnTo>
                      <a:lnTo>
                        <a:pt x="406" y="700"/>
                      </a:lnTo>
                      <a:lnTo>
                        <a:pt x="405" y="699"/>
                      </a:lnTo>
                      <a:lnTo>
                        <a:pt x="405" y="697"/>
                      </a:lnTo>
                      <a:lnTo>
                        <a:pt x="405" y="697"/>
                      </a:lnTo>
                      <a:lnTo>
                        <a:pt x="404" y="695"/>
                      </a:lnTo>
                      <a:lnTo>
                        <a:pt x="402" y="693"/>
                      </a:lnTo>
                      <a:lnTo>
                        <a:pt x="401" y="690"/>
                      </a:lnTo>
                      <a:lnTo>
                        <a:pt x="401" y="690"/>
                      </a:lnTo>
                      <a:lnTo>
                        <a:pt x="400" y="689"/>
                      </a:lnTo>
                      <a:lnTo>
                        <a:pt x="400" y="688"/>
                      </a:lnTo>
                      <a:lnTo>
                        <a:pt x="399" y="687"/>
                      </a:lnTo>
                      <a:lnTo>
                        <a:pt x="398" y="687"/>
                      </a:lnTo>
                      <a:lnTo>
                        <a:pt x="398" y="686"/>
                      </a:lnTo>
                      <a:lnTo>
                        <a:pt x="396" y="685"/>
                      </a:lnTo>
                      <a:lnTo>
                        <a:pt x="396" y="685"/>
                      </a:lnTo>
                      <a:lnTo>
                        <a:pt x="396" y="685"/>
                      </a:lnTo>
                      <a:lnTo>
                        <a:pt x="396" y="684"/>
                      </a:lnTo>
                      <a:lnTo>
                        <a:pt x="393" y="682"/>
                      </a:lnTo>
                      <a:lnTo>
                        <a:pt x="391" y="681"/>
                      </a:lnTo>
                      <a:lnTo>
                        <a:pt x="390" y="680"/>
                      </a:lnTo>
                      <a:lnTo>
                        <a:pt x="390" y="679"/>
                      </a:lnTo>
                      <a:lnTo>
                        <a:pt x="389" y="679"/>
                      </a:lnTo>
                      <a:lnTo>
                        <a:pt x="389" y="678"/>
                      </a:lnTo>
                      <a:lnTo>
                        <a:pt x="389" y="678"/>
                      </a:lnTo>
                      <a:lnTo>
                        <a:pt x="389" y="675"/>
                      </a:lnTo>
                      <a:lnTo>
                        <a:pt x="387" y="674"/>
                      </a:lnTo>
                      <a:lnTo>
                        <a:pt x="383" y="673"/>
                      </a:lnTo>
                      <a:lnTo>
                        <a:pt x="381" y="673"/>
                      </a:lnTo>
                      <a:lnTo>
                        <a:pt x="381" y="674"/>
                      </a:lnTo>
                      <a:lnTo>
                        <a:pt x="380" y="675"/>
                      </a:lnTo>
                      <a:lnTo>
                        <a:pt x="380" y="675"/>
                      </a:lnTo>
                      <a:lnTo>
                        <a:pt x="379" y="674"/>
                      </a:lnTo>
                      <a:lnTo>
                        <a:pt x="379" y="674"/>
                      </a:lnTo>
                      <a:lnTo>
                        <a:pt x="379" y="674"/>
                      </a:lnTo>
                      <a:lnTo>
                        <a:pt x="379" y="675"/>
                      </a:lnTo>
                      <a:lnTo>
                        <a:pt x="378" y="675"/>
                      </a:lnTo>
                      <a:lnTo>
                        <a:pt x="378" y="675"/>
                      </a:lnTo>
                      <a:lnTo>
                        <a:pt x="378" y="674"/>
                      </a:lnTo>
                      <a:lnTo>
                        <a:pt x="377" y="673"/>
                      </a:lnTo>
                      <a:lnTo>
                        <a:pt x="376" y="673"/>
                      </a:lnTo>
                      <a:lnTo>
                        <a:pt x="376" y="674"/>
                      </a:lnTo>
                      <a:lnTo>
                        <a:pt x="376" y="675"/>
                      </a:lnTo>
                      <a:lnTo>
                        <a:pt x="375" y="675"/>
                      </a:lnTo>
                      <a:lnTo>
                        <a:pt x="375" y="675"/>
                      </a:lnTo>
                      <a:lnTo>
                        <a:pt x="374" y="674"/>
                      </a:lnTo>
                      <a:lnTo>
                        <a:pt x="373" y="673"/>
                      </a:lnTo>
                      <a:lnTo>
                        <a:pt x="372" y="673"/>
                      </a:lnTo>
                      <a:lnTo>
                        <a:pt x="372" y="673"/>
                      </a:lnTo>
                      <a:lnTo>
                        <a:pt x="371" y="672"/>
                      </a:lnTo>
                      <a:lnTo>
                        <a:pt x="371" y="672"/>
                      </a:lnTo>
                      <a:lnTo>
                        <a:pt x="371" y="671"/>
                      </a:lnTo>
                      <a:lnTo>
                        <a:pt x="371" y="671"/>
                      </a:lnTo>
                      <a:lnTo>
                        <a:pt x="371" y="670"/>
                      </a:lnTo>
                      <a:lnTo>
                        <a:pt x="370" y="669"/>
                      </a:lnTo>
                      <a:lnTo>
                        <a:pt x="370" y="668"/>
                      </a:lnTo>
                      <a:lnTo>
                        <a:pt x="369" y="668"/>
                      </a:lnTo>
                      <a:lnTo>
                        <a:pt x="369" y="667"/>
                      </a:lnTo>
                      <a:lnTo>
                        <a:pt x="367" y="666"/>
                      </a:lnTo>
                      <a:lnTo>
                        <a:pt x="367" y="666"/>
                      </a:lnTo>
                      <a:lnTo>
                        <a:pt x="366" y="665"/>
                      </a:lnTo>
                      <a:lnTo>
                        <a:pt x="366" y="665"/>
                      </a:lnTo>
                      <a:lnTo>
                        <a:pt x="366" y="664"/>
                      </a:lnTo>
                      <a:lnTo>
                        <a:pt x="365" y="662"/>
                      </a:lnTo>
                      <a:lnTo>
                        <a:pt x="365" y="661"/>
                      </a:lnTo>
                      <a:lnTo>
                        <a:pt x="365" y="660"/>
                      </a:lnTo>
                      <a:lnTo>
                        <a:pt x="363" y="655"/>
                      </a:lnTo>
                      <a:lnTo>
                        <a:pt x="363" y="654"/>
                      </a:lnTo>
                      <a:lnTo>
                        <a:pt x="363" y="652"/>
                      </a:lnTo>
                      <a:lnTo>
                        <a:pt x="363" y="652"/>
                      </a:lnTo>
                      <a:lnTo>
                        <a:pt x="363" y="651"/>
                      </a:lnTo>
                      <a:lnTo>
                        <a:pt x="362" y="651"/>
                      </a:lnTo>
                      <a:lnTo>
                        <a:pt x="361" y="650"/>
                      </a:lnTo>
                      <a:lnTo>
                        <a:pt x="361" y="648"/>
                      </a:lnTo>
                      <a:lnTo>
                        <a:pt x="361" y="648"/>
                      </a:lnTo>
                      <a:lnTo>
                        <a:pt x="360" y="647"/>
                      </a:lnTo>
                      <a:lnTo>
                        <a:pt x="360" y="646"/>
                      </a:lnTo>
                      <a:lnTo>
                        <a:pt x="359" y="646"/>
                      </a:lnTo>
                      <a:lnTo>
                        <a:pt x="359" y="644"/>
                      </a:lnTo>
                      <a:lnTo>
                        <a:pt x="359" y="644"/>
                      </a:lnTo>
                      <a:lnTo>
                        <a:pt x="358" y="643"/>
                      </a:lnTo>
                      <a:lnTo>
                        <a:pt x="358" y="643"/>
                      </a:lnTo>
                      <a:lnTo>
                        <a:pt x="358" y="642"/>
                      </a:lnTo>
                      <a:lnTo>
                        <a:pt x="357" y="642"/>
                      </a:lnTo>
                      <a:lnTo>
                        <a:pt x="356" y="643"/>
                      </a:lnTo>
                      <a:lnTo>
                        <a:pt x="355" y="643"/>
                      </a:lnTo>
                      <a:lnTo>
                        <a:pt x="354" y="642"/>
                      </a:lnTo>
                      <a:lnTo>
                        <a:pt x="353" y="642"/>
                      </a:lnTo>
                      <a:lnTo>
                        <a:pt x="352" y="641"/>
                      </a:lnTo>
                      <a:lnTo>
                        <a:pt x="352" y="641"/>
                      </a:lnTo>
                      <a:lnTo>
                        <a:pt x="352" y="641"/>
                      </a:lnTo>
                      <a:lnTo>
                        <a:pt x="353" y="642"/>
                      </a:lnTo>
                      <a:lnTo>
                        <a:pt x="355" y="642"/>
                      </a:lnTo>
                      <a:lnTo>
                        <a:pt x="356" y="642"/>
                      </a:lnTo>
                      <a:lnTo>
                        <a:pt x="356" y="642"/>
                      </a:lnTo>
                      <a:lnTo>
                        <a:pt x="354" y="641"/>
                      </a:lnTo>
                      <a:lnTo>
                        <a:pt x="354" y="641"/>
                      </a:lnTo>
                      <a:lnTo>
                        <a:pt x="355" y="641"/>
                      </a:lnTo>
                      <a:lnTo>
                        <a:pt x="356" y="640"/>
                      </a:lnTo>
                      <a:lnTo>
                        <a:pt x="354" y="639"/>
                      </a:lnTo>
                      <a:lnTo>
                        <a:pt x="353" y="639"/>
                      </a:lnTo>
                      <a:lnTo>
                        <a:pt x="352" y="639"/>
                      </a:lnTo>
                      <a:lnTo>
                        <a:pt x="352" y="639"/>
                      </a:lnTo>
                      <a:lnTo>
                        <a:pt x="352" y="639"/>
                      </a:lnTo>
                      <a:lnTo>
                        <a:pt x="353" y="638"/>
                      </a:lnTo>
                      <a:lnTo>
                        <a:pt x="354" y="638"/>
                      </a:lnTo>
                      <a:lnTo>
                        <a:pt x="354" y="638"/>
                      </a:lnTo>
                      <a:lnTo>
                        <a:pt x="354" y="638"/>
                      </a:lnTo>
                      <a:lnTo>
                        <a:pt x="354" y="637"/>
                      </a:lnTo>
                      <a:lnTo>
                        <a:pt x="353" y="636"/>
                      </a:lnTo>
                      <a:lnTo>
                        <a:pt x="353" y="636"/>
                      </a:lnTo>
                      <a:lnTo>
                        <a:pt x="352" y="634"/>
                      </a:lnTo>
                      <a:lnTo>
                        <a:pt x="350" y="633"/>
                      </a:lnTo>
                      <a:lnTo>
                        <a:pt x="348" y="632"/>
                      </a:lnTo>
                      <a:lnTo>
                        <a:pt x="347" y="631"/>
                      </a:lnTo>
                      <a:lnTo>
                        <a:pt x="346" y="631"/>
                      </a:lnTo>
                      <a:lnTo>
                        <a:pt x="345" y="629"/>
                      </a:lnTo>
                      <a:lnTo>
                        <a:pt x="345" y="628"/>
                      </a:lnTo>
                      <a:lnTo>
                        <a:pt x="345" y="627"/>
                      </a:lnTo>
                      <a:lnTo>
                        <a:pt x="345" y="627"/>
                      </a:lnTo>
                      <a:lnTo>
                        <a:pt x="345" y="626"/>
                      </a:lnTo>
                      <a:lnTo>
                        <a:pt x="346" y="625"/>
                      </a:lnTo>
                      <a:lnTo>
                        <a:pt x="347" y="625"/>
                      </a:lnTo>
                      <a:lnTo>
                        <a:pt x="348" y="623"/>
                      </a:lnTo>
                      <a:lnTo>
                        <a:pt x="348" y="623"/>
                      </a:lnTo>
                      <a:lnTo>
                        <a:pt x="347" y="623"/>
                      </a:lnTo>
                      <a:lnTo>
                        <a:pt x="347" y="625"/>
                      </a:lnTo>
                      <a:lnTo>
                        <a:pt x="346" y="625"/>
                      </a:lnTo>
                      <a:lnTo>
                        <a:pt x="345" y="625"/>
                      </a:lnTo>
                      <a:lnTo>
                        <a:pt x="345" y="626"/>
                      </a:lnTo>
                      <a:lnTo>
                        <a:pt x="344" y="626"/>
                      </a:lnTo>
                      <a:lnTo>
                        <a:pt x="344" y="626"/>
                      </a:lnTo>
                      <a:lnTo>
                        <a:pt x="344" y="626"/>
                      </a:lnTo>
                      <a:lnTo>
                        <a:pt x="341" y="627"/>
                      </a:lnTo>
                      <a:lnTo>
                        <a:pt x="339" y="626"/>
                      </a:lnTo>
                      <a:lnTo>
                        <a:pt x="339" y="627"/>
                      </a:lnTo>
                      <a:lnTo>
                        <a:pt x="337" y="627"/>
                      </a:lnTo>
                      <a:lnTo>
                        <a:pt x="335" y="626"/>
                      </a:lnTo>
                      <a:lnTo>
                        <a:pt x="334" y="628"/>
                      </a:lnTo>
                      <a:lnTo>
                        <a:pt x="331" y="629"/>
                      </a:lnTo>
                      <a:lnTo>
                        <a:pt x="330" y="629"/>
                      </a:lnTo>
                      <a:lnTo>
                        <a:pt x="329" y="629"/>
                      </a:lnTo>
                      <a:lnTo>
                        <a:pt x="329" y="629"/>
                      </a:lnTo>
                      <a:lnTo>
                        <a:pt x="328" y="629"/>
                      </a:lnTo>
                      <a:lnTo>
                        <a:pt x="328" y="628"/>
                      </a:lnTo>
                      <a:lnTo>
                        <a:pt x="328" y="628"/>
                      </a:lnTo>
                      <a:lnTo>
                        <a:pt x="323" y="628"/>
                      </a:lnTo>
                      <a:lnTo>
                        <a:pt x="321" y="628"/>
                      </a:lnTo>
                      <a:lnTo>
                        <a:pt x="320" y="628"/>
                      </a:lnTo>
                      <a:lnTo>
                        <a:pt x="317" y="630"/>
                      </a:lnTo>
                      <a:lnTo>
                        <a:pt x="316" y="632"/>
                      </a:lnTo>
                      <a:lnTo>
                        <a:pt x="314" y="635"/>
                      </a:lnTo>
                      <a:lnTo>
                        <a:pt x="314" y="635"/>
                      </a:lnTo>
                      <a:lnTo>
                        <a:pt x="314" y="635"/>
                      </a:lnTo>
                      <a:lnTo>
                        <a:pt x="313" y="636"/>
                      </a:lnTo>
                      <a:lnTo>
                        <a:pt x="313" y="640"/>
                      </a:lnTo>
                      <a:lnTo>
                        <a:pt x="315" y="641"/>
                      </a:lnTo>
                      <a:lnTo>
                        <a:pt x="317" y="642"/>
                      </a:lnTo>
                      <a:lnTo>
                        <a:pt x="318" y="643"/>
                      </a:lnTo>
                      <a:lnTo>
                        <a:pt x="318" y="643"/>
                      </a:lnTo>
                      <a:lnTo>
                        <a:pt x="320" y="643"/>
                      </a:lnTo>
                      <a:lnTo>
                        <a:pt x="320" y="644"/>
                      </a:lnTo>
                      <a:lnTo>
                        <a:pt x="319" y="643"/>
                      </a:lnTo>
                      <a:lnTo>
                        <a:pt x="318" y="643"/>
                      </a:lnTo>
                      <a:lnTo>
                        <a:pt x="317" y="644"/>
                      </a:lnTo>
                      <a:lnTo>
                        <a:pt x="317" y="644"/>
                      </a:lnTo>
                      <a:lnTo>
                        <a:pt x="317" y="644"/>
                      </a:lnTo>
                      <a:lnTo>
                        <a:pt x="316" y="644"/>
                      </a:lnTo>
                      <a:lnTo>
                        <a:pt x="315" y="644"/>
                      </a:lnTo>
                      <a:lnTo>
                        <a:pt x="315" y="645"/>
                      </a:lnTo>
                      <a:lnTo>
                        <a:pt x="314" y="644"/>
                      </a:lnTo>
                      <a:lnTo>
                        <a:pt x="312" y="644"/>
                      </a:lnTo>
                      <a:lnTo>
                        <a:pt x="312" y="644"/>
                      </a:lnTo>
                      <a:lnTo>
                        <a:pt x="312" y="644"/>
                      </a:lnTo>
                      <a:lnTo>
                        <a:pt x="312" y="643"/>
                      </a:lnTo>
                      <a:lnTo>
                        <a:pt x="310" y="643"/>
                      </a:lnTo>
                      <a:lnTo>
                        <a:pt x="309" y="643"/>
                      </a:lnTo>
                      <a:lnTo>
                        <a:pt x="309" y="644"/>
                      </a:lnTo>
                      <a:lnTo>
                        <a:pt x="308" y="644"/>
                      </a:lnTo>
                      <a:lnTo>
                        <a:pt x="307" y="644"/>
                      </a:lnTo>
                      <a:lnTo>
                        <a:pt x="307" y="644"/>
                      </a:lnTo>
                      <a:lnTo>
                        <a:pt x="307" y="644"/>
                      </a:lnTo>
                      <a:lnTo>
                        <a:pt x="306" y="643"/>
                      </a:lnTo>
                      <a:lnTo>
                        <a:pt x="306" y="643"/>
                      </a:lnTo>
                      <a:lnTo>
                        <a:pt x="306" y="642"/>
                      </a:lnTo>
                      <a:lnTo>
                        <a:pt x="305" y="642"/>
                      </a:lnTo>
                      <a:lnTo>
                        <a:pt x="305" y="643"/>
                      </a:lnTo>
                      <a:lnTo>
                        <a:pt x="304" y="643"/>
                      </a:lnTo>
                      <a:lnTo>
                        <a:pt x="303" y="644"/>
                      </a:lnTo>
                      <a:lnTo>
                        <a:pt x="302" y="644"/>
                      </a:lnTo>
                      <a:lnTo>
                        <a:pt x="301" y="644"/>
                      </a:lnTo>
                      <a:lnTo>
                        <a:pt x="301" y="644"/>
                      </a:lnTo>
                      <a:lnTo>
                        <a:pt x="300" y="644"/>
                      </a:lnTo>
                      <a:lnTo>
                        <a:pt x="300" y="646"/>
                      </a:lnTo>
                      <a:lnTo>
                        <a:pt x="300" y="646"/>
                      </a:lnTo>
                      <a:lnTo>
                        <a:pt x="300" y="646"/>
                      </a:lnTo>
                      <a:lnTo>
                        <a:pt x="299" y="646"/>
                      </a:lnTo>
                      <a:lnTo>
                        <a:pt x="297" y="645"/>
                      </a:lnTo>
                      <a:lnTo>
                        <a:pt x="297" y="645"/>
                      </a:lnTo>
                      <a:lnTo>
                        <a:pt x="296" y="645"/>
                      </a:lnTo>
                      <a:lnTo>
                        <a:pt x="296" y="645"/>
                      </a:lnTo>
                      <a:lnTo>
                        <a:pt x="295" y="645"/>
                      </a:lnTo>
                      <a:lnTo>
                        <a:pt x="294" y="644"/>
                      </a:lnTo>
                      <a:lnTo>
                        <a:pt x="293" y="644"/>
                      </a:lnTo>
                      <a:lnTo>
                        <a:pt x="293" y="644"/>
                      </a:lnTo>
                      <a:lnTo>
                        <a:pt x="291" y="644"/>
                      </a:lnTo>
                      <a:lnTo>
                        <a:pt x="290" y="643"/>
                      </a:lnTo>
                      <a:lnTo>
                        <a:pt x="290" y="643"/>
                      </a:lnTo>
                      <a:lnTo>
                        <a:pt x="290" y="642"/>
                      </a:lnTo>
                      <a:lnTo>
                        <a:pt x="290" y="642"/>
                      </a:lnTo>
                      <a:lnTo>
                        <a:pt x="290" y="642"/>
                      </a:lnTo>
                      <a:lnTo>
                        <a:pt x="290" y="641"/>
                      </a:lnTo>
                      <a:lnTo>
                        <a:pt x="289" y="641"/>
                      </a:lnTo>
                      <a:lnTo>
                        <a:pt x="289" y="642"/>
                      </a:lnTo>
                      <a:lnTo>
                        <a:pt x="287" y="643"/>
                      </a:lnTo>
                      <a:lnTo>
                        <a:pt x="287" y="643"/>
                      </a:lnTo>
                      <a:lnTo>
                        <a:pt x="287" y="642"/>
                      </a:lnTo>
                      <a:lnTo>
                        <a:pt x="286" y="643"/>
                      </a:lnTo>
                      <a:lnTo>
                        <a:pt x="286" y="642"/>
                      </a:lnTo>
                      <a:lnTo>
                        <a:pt x="285" y="643"/>
                      </a:lnTo>
                      <a:lnTo>
                        <a:pt x="284" y="642"/>
                      </a:lnTo>
                      <a:lnTo>
                        <a:pt x="283" y="643"/>
                      </a:lnTo>
                      <a:lnTo>
                        <a:pt x="282" y="643"/>
                      </a:lnTo>
                      <a:lnTo>
                        <a:pt x="281" y="644"/>
                      </a:lnTo>
                      <a:lnTo>
                        <a:pt x="281" y="644"/>
                      </a:lnTo>
                      <a:lnTo>
                        <a:pt x="281" y="645"/>
                      </a:lnTo>
                      <a:lnTo>
                        <a:pt x="281" y="645"/>
                      </a:lnTo>
                      <a:lnTo>
                        <a:pt x="280" y="645"/>
                      </a:lnTo>
                      <a:lnTo>
                        <a:pt x="280" y="646"/>
                      </a:lnTo>
                      <a:lnTo>
                        <a:pt x="280" y="646"/>
                      </a:lnTo>
                      <a:lnTo>
                        <a:pt x="280" y="646"/>
                      </a:lnTo>
                      <a:lnTo>
                        <a:pt x="279" y="647"/>
                      </a:lnTo>
                      <a:lnTo>
                        <a:pt x="279" y="647"/>
                      </a:lnTo>
                      <a:lnTo>
                        <a:pt x="280" y="647"/>
                      </a:lnTo>
                      <a:lnTo>
                        <a:pt x="280" y="648"/>
                      </a:lnTo>
                      <a:lnTo>
                        <a:pt x="282" y="649"/>
                      </a:lnTo>
                      <a:lnTo>
                        <a:pt x="282" y="649"/>
                      </a:lnTo>
                      <a:lnTo>
                        <a:pt x="282" y="650"/>
                      </a:lnTo>
                      <a:lnTo>
                        <a:pt x="283" y="650"/>
                      </a:lnTo>
                      <a:lnTo>
                        <a:pt x="282" y="651"/>
                      </a:lnTo>
                      <a:lnTo>
                        <a:pt x="282" y="651"/>
                      </a:lnTo>
                      <a:lnTo>
                        <a:pt x="282" y="652"/>
                      </a:lnTo>
                      <a:lnTo>
                        <a:pt x="280" y="652"/>
                      </a:lnTo>
                      <a:lnTo>
                        <a:pt x="279" y="651"/>
                      </a:lnTo>
                      <a:lnTo>
                        <a:pt x="278" y="651"/>
                      </a:lnTo>
                      <a:lnTo>
                        <a:pt x="278" y="650"/>
                      </a:lnTo>
                      <a:lnTo>
                        <a:pt x="275" y="650"/>
                      </a:lnTo>
                      <a:lnTo>
                        <a:pt x="275" y="650"/>
                      </a:lnTo>
                      <a:lnTo>
                        <a:pt x="273" y="650"/>
                      </a:lnTo>
                      <a:lnTo>
                        <a:pt x="273" y="650"/>
                      </a:lnTo>
                      <a:lnTo>
                        <a:pt x="272" y="650"/>
                      </a:lnTo>
                      <a:lnTo>
                        <a:pt x="272" y="650"/>
                      </a:lnTo>
                      <a:lnTo>
                        <a:pt x="272" y="650"/>
                      </a:lnTo>
                      <a:lnTo>
                        <a:pt x="271" y="650"/>
                      </a:lnTo>
                      <a:lnTo>
                        <a:pt x="271" y="649"/>
                      </a:lnTo>
                      <a:lnTo>
                        <a:pt x="269" y="650"/>
                      </a:lnTo>
                      <a:lnTo>
                        <a:pt x="269" y="652"/>
                      </a:lnTo>
                      <a:lnTo>
                        <a:pt x="269" y="653"/>
                      </a:lnTo>
                      <a:lnTo>
                        <a:pt x="270" y="653"/>
                      </a:lnTo>
                      <a:lnTo>
                        <a:pt x="269" y="653"/>
                      </a:lnTo>
                      <a:lnTo>
                        <a:pt x="269" y="654"/>
                      </a:lnTo>
                      <a:lnTo>
                        <a:pt x="269" y="653"/>
                      </a:lnTo>
                      <a:lnTo>
                        <a:pt x="268" y="653"/>
                      </a:lnTo>
                      <a:lnTo>
                        <a:pt x="267" y="653"/>
                      </a:lnTo>
                      <a:lnTo>
                        <a:pt x="267" y="653"/>
                      </a:lnTo>
                      <a:lnTo>
                        <a:pt x="267" y="653"/>
                      </a:lnTo>
                      <a:lnTo>
                        <a:pt x="266" y="652"/>
                      </a:lnTo>
                      <a:lnTo>
                        <a:pt x="265" y="652"/>
                      </a:lnTo>
                      <a:lnTo>
                        <a:pt x="264" y="652"/>
                      </a:lnTo>
                      <a:lnTo>
                        <a:pt x="264" y="652"/>
                      </a:lnTo>
                      <a:lnTo>
                        <a:pt x="263" y="651"/>
                      </a:lnTo>
                      <a:lnTo>
                        <a:pt x="261" y="650"/>
                      </a:lnTo>
                      <a:lnTo>
                        <a:pt x="260" y="650"/>
                      </a:lnTo>
                      <a:lnTo>
                        <a:pt x="259" y="649"/>
                      </a:lnTo>
                      <a:lnTo>
                        <a:pt x="259" y="649"/>
                      </a:lnTo>
                      <a:lnTo>
                        <a:pt x="259" y="649"/>
                      </a:lnTo>
                      <a:lnTo>
                        <a:pt x="258" y="649"/>
                      </a:lnTo>
                      <a:lnTo>
                        <a:pt x="258" y="648"/>
                      </a:lnTo>
                      <a:lnTo>
                        <a:pt x="258" y="648"/>
                      </a:lnTo>
                      <a:lnTo>
                        <a:pt x="258" y="648"/>
                      </a:lnTo>
                      <a:lnTo>
                        <a:pt x="257" y="647"/>
                      </a:lnTo>
                      <a:lnTo>
                        <a:pt x="256" y="647"/>
                      </a:lnTo>
                      <a:lnTo>
                        <a:pt x="255" y="647"/>
                      </a:lnTo>
                      <a:lnTo>
                        <a:pt x="255" y="646"/>
                      </a:lnTo>
                      <a:lnTo>
                        <a:pt x="255" y="646"/>
                      </a:lnTo>
                      <a:lnTo>
                        <a:pt x="254" y="646"/>
                      </a:lnTo>
                      <a:lnTo>
                        <a:pt x="254" y="645"/>
                      </a:lnTo>
                      <a:lnTo>
                        <a:pt x="253" y="645"/>
                      </a:lnTo>
                      <a:lnTo>
                        <a:pt x="253" y="645"/>
                      </a:lnTo>
                      <a:lnTo>
                        <a:pt x="253" y="645"/>
                      </a:lnTo>
                      <a:lnTo>
                        <a:pt x="252" y="645"/>
                      </a:lnTo>
                      <a:lnTo>
                        <a:pt x="251" y="645"/>
                      </a:lnTo>
                      <a:lnTo>
                        <a:pt x="251" y="645"/>
                      </a:lnTo>
                      <a:lnTo>
                        <a:pt x="251" y="646"/>
                      </a:lnTo>
                      <a:lnTo>
                        <a:pt x="251" y="646"/>
                      </a:lnTo>
                      <a:lnTo>
                        <a:pt x="250" y="645"/>
                      </a:lnTo>
                      <a:lnTo>
                        <a:pt x="248" y="645"/>
                      </a:lnTo>
                      <a:lnTo>
                        <a:pt x="248" y="645"/>
                      </a:lnTo>
                      <a:lnTo>
                        <a:pt x="248" y="644"/>
                      </a:lnTo>
                      <a:lnTo>
                        <a:pt x="250" y="643"/>
                      </a:lnTo>
                      <a:lnTo>
                        <a:pt x="252" y="642"/>
                      </a:lnTo>
                      <a:lnTo>
                        <a:pt x="252" y="642"/>
                      </a:lnTo>
                      <a:lnTo>
                        <a:pt x="252" y="642"/>
                      </a:lnTo>
                      <a:lnTo>
                        <a:pt x="252" y="641"/>
                      </a:lnTo>
                      <a:lnTo>
                        <a:pt x="252" y="638"/>
                      </a:lnTo>
                      <a:lnTo>
                        <a:pt x="251" y="634"/>
                      </a:lnTo>
                      <a:lnTo>
                        <a:pt x="251" y="634"/>
                      </a:lnTo>
                      <a:lnTo>
                        <a:pt x="250" y="633"/>
                      </a:lnTo>
                      <a:lnTo>
                        <a:pt x="250" y="632"/>
                      </a:lnTo>
                      <a:lnTo>
                        <a:pt x="250" y="632"/>
                      </a:lnTo>
                      <a:lnTo>
                        <a:pt x="249" y="631"/>
                      </a:lnTo>
                      <a:lnTo>
                        <a:pt x="249" y="630"/>
                      </a:lnTo>
                      <a:lnTo>
                        <a:pt x="248" y="629"/>
                      </a:lnTo>
                      <a:lnTo>
                        <a:pt x="248" y="630"/>
                      </a:lnTo>
                      <a:lnTo>
                        <a:pt x="247" y="630"/>
                      </a:lnTo>
                      <a:lnTo>
                        <a:pt x="247" y="630"/>
                      </a:lnTo>
                      <a:lnTo>
                        <a:pt x="247" y="629"/>
                      </a:lnTo>
                      <a:lnTo>
                        <a:pt x="247" y="629"/>
                      </a:lnTo>
                      <a:lnTo>
                        <a:pt x="248" y="629"/>
                      </a:lnTo>
                      <a:lnTo>
                        <a:pt x="249" y="628"/>
                      </a:lnTo>
                      <a:lnTo>
                        <a:pt x="250" y="628"/>
                      </a:lnTo>
                      <a:lnTo>
                        <a:pt x="250" y="627"/>
                      </a:lnTo>
                      <a:lnTo>
                        <a:pt x="252" y="627"/>
                      </a:lnTo>
                      <a:lnTo>
                        <a:pt x="252" y="628"/>
                      </a:lnTo>
                      <a:lnTo>
                        <a:pt x="252" y="628"/>
                      </a:lnTo>
                      <a:lnTo>
                        <a:pt x="253" y="628"/>
                      </a:lnTo>
                      <a:lnTo>
                        <a:pt x="254" y="628"/>
                      </a:lnTo>
                      <a:lnTo>
                        <a:pt x="254" y="627"/>
                      </a:lnTo>
                      <a:lnTo>
                        <a:pt x="255" y="626"/>
                      </a:lnTo>
                      <a:lnTo>
                        <a:pt x="255" y="626"/>
                      </a:lnTo>
                      <a:lnTo>
                        <a:pt x="255" y="626"/>
                      </a:lnTo>
                      <a:lnTo>
                        <a:pt x="255" y="625"/>
                      </a:lnTo>
                      <a:lnTo>
                        <a:pt x="256" y="624"/>
                      </a:lnTo>
                      <a:lnTo>
                        <a:pt x="256" y="624"/>
                      </a:lnTo>
                      <a:lnTo>
                        <a:pt x="257" y="624"/>
                      </a:lnTo>
                      <a:lnTo>
                        <a:pt x="259" y="623"/>
                      </a:lnTo>
                      <a:lnTo>
                        <a:pt x="259" y="623"/>
                      </a:lnTo>
                      <a:lnTo>
                        <a:pt x="259" y="622"/>
                      </a:lnTo>
                      <a:lnTo>
                        <a:pt x="259" y="622"/>
                      </a:lnTo>
                      <a:lnTo>
                        <a:pt x="260" y="619"/>
                      </a:lnTo>
                      <a:lnTo>
                        <a:pt x="260" y="618"/>
                      </a:lnTo>
                      <a:lnTo>
                        <a:pt x="260" y="617"/>
                      </a:lnTo>
                      <a:lnTo>
                        <a:pt x="261" y="616"/>
                      </a:lnTo>
                      <a:lnTo>
                        <a:pt x="261" y="616"/>
                      </a:lnTo>
                      <a:lnTo>
                        <a:pt x="262" y="616"/>
                      </a:lnTo>
                      <a:lnTo>
                        <a:pt x="262" y="617"/>
                      </a:lnTo>
                      <a:lnTo>
                        <a:pt x="263" y="617"/>
                      </a:lnTo>
                      <a:lnTo>
                        <a:pt x="263" y="617"/>
                      </a:lnTo>
                      <a:lnTo>
                        <a:pt x="263" y="618"/>
                      </a:lnTo>
                      <a:lnTo>
                        <a:pt x="263" y="619"/>
                      </a:lnTo>
                      <a:lnTo>
                        <a:pt x="263" y="619"/>
                      </a:lnTo>
                      <a:lnTo>
                        <a:pt x="263" y="621"/>
                      </a:lnTo>
                      <a:lnTo>
                        <a:pt x="263" y="621"/>
                      </a:lnTo>
                      <a:lnTo>
                        <a:pt x="263" y="622"/>
                      </a:lnTo>
                      <a:lnTo>
                        <a:pt x="263" y="622"/>
                      </a:lnTo>
                      <a:lnTo>
                        <a:pt x="263" y="622"/>
                      </a:lnTo>
                      <a:lnTo>
                        <a:pt x="264" y="622"/>
                      </a:lnTo>
                      <a:lnTo>
                        <a:pt x="265" y="623"/>
                      </a:lnTo>
                      <a:lnTo>
                        <a:pt x="265" y="623"/>
                      </a:lnTo>
                      <a:lnTo>
                        <a:pt x="265" y="623"/>
                      </a:lnTo>
                      <a:lnTo>
                        <a:pt x="265" y="622"/>
                      </a:lnTo>
                      <a:lnTo>
                        <a:pt x="265" y="621"/>
                      </a:lnTo>
                      <a:lnTo>
                        <a:pt x="265" y="621"/>
                      </a:lnTo>
                      <a:lnTo>
                        <a:pt x="265" y="622"/>
                      </a:lnTo>
                      <a:lnTo>
                        <a:pt x="266" y="622"/>
                      </a:lnTo>
                      <a:lnTo>
                        <a:pt x="266" y="621"/>
                      </a:lnTo>
                      <a:lnTo>
                        <a:pt x="266" y="621"/>
                      </a:lnTo>
                      <a:lnTo>
                        <a:pt x="267" y="622"/>
                      </a:lnTo>
                      <a:lnTo>
                        <a:pt x="269" y="623"/>
                      </a:lnTo>
                      <a:lnTo>
                        <a:pt x="269" y="623"/>
                      </a:lnTo>
                      <a:lnTo>
                        <a:pt x="270" y="624"/>
                      </a:lnTo>
                      <a:lnTo>
                        <a:pt x="271" y="624"/>
                      </a:lnTo>
                      <a:lnTo>
                        <a:pt x="272" y="624"/>
                      </a:lnTo>
                      <a:lnTo>
                        <a:pt x="273" y="623"/>
                      </a:lnTo>
                      <a:lnTo>
                        <a:pt x="275" y="624"/>
                      </a:lnTo>
                      <a:lnTo>
                        <a:pt x="276" y="623"/>
                      </a:lnTo>
                      <a:lnTo>
                        <a:pt x="277" y="622"/>
                      </a:lnTo>
                      <a:lnTo>
                        <a:pt x="277" y="622"/>
                      </a:lnTo>
                      <a:lnTo>
                        <a:pt x="278" y="622"/>
                      </a:lnTo>
                      <a:lnTo>
                        <a:pt x="278" y="623"/>
                      </a:lnTo>
                      <a:lnTo>
                        <a:pt x="278" y="623"/>
                      </a:lnTo>
                      <a:lnTo>
                        <a:pt x="278" y="623"/>
                      </a:lnTo>
                      <a:lnTo>
                        <a:pt x="278" y="622"/>
                      </a:lnTo>
                      <a:lnTo>
                        <a:pt x="279" y="622"/>
                      </a:lnTo>
                      <a:lnTo>
                        <a:pt x="280" y="621"/>
                      </a:lnTo>
                      <a:lnTo>
                        <a:pt x="280" y="621"/>
                      </a:lnTo>
                      <a:lnTo>
                        <a:pt x="281" y="621"/>
                      </a:lnTo>
                      <a:lnTo>
                        <a:pt x="281" y="621"/>
                      </a:lnTo>
                      <a:lnTo>
                        <a:pt x="282" y="621"/>
                      </a:lnTo>
                      <a:lnTo>
                        <a:pt x="282" y="619"/>
                      </a:lnTo>
                      <a:lnTo>
                        <a:pt x="283" y="619"/>
                      </a:lnTo>
                      <a:lnTo>
                        <a:pt x="283" y="619"/>
                      </a:lnTo>
                      <a:lnTo>
                        <a:pt x="283" y="618"/>
                      </a:lnTo>
                      <a:lnTo>
                        <a:pt x="284" y="617"/>
                      </a:lnTo>
                      <a:lnTo>
                        <a:pt x="288" y="617"/>
                      </a:lnTo>
                      <a:lnTo>
                        <a:pt x="289" y="616"/>
                      </a:lnTo>
                      <a:lnTo>
                        <a:pt x="290" y="615"/>
                      </a:lnTo>
                      <a:lnTo>
                        <a:pt x="290" y="614"/>
                      </a:lnTo>
                      <a:lnTo>
                        <a:pt x="291" y="614"/>
                      </a:lnTo>
                      <a:lnTo>
                        <a:pt x="292" y="614"/>
                      </a:lnTo>
                      <a:lnTo>
                        <a:pt x="293" y="613"/>
                      </a:lnTo>
                      <a:lnTo>
                        <a:pt x="294" y="613"/>
                      </a:lnTo>
                      <a:lnTo>
                        <a:pt x="296" y="612"/>
                      </a:lnTo>
                      <a:lnTo>
                        <a:pt x="296" y="612"/>
                      </a:lnTo>
                      <a:lnTo>
                        <a:pt x="296" y="613"/>
                      </a:lnTo>
                      <a:lnTo>
                        <a:pt x="297" y="613"/>
                      </a:lnTo>
                      <a:lnTo>
                        <a:pt x="297" y="612"/>
                      </a:lnTo>
                      <a:lnTo>
                        <a:pt x="296" y="612"/>
                      </a:lnTo>
                      <a:lnTo>
                        <a:pt x="296" y="612"/>
                      </a:lnTo>
                      <a:lnTo>
                        <a:pt x="295" y="611"/>
                      </a:lnTo>
                      <a:lnTo>
                        <a:pt x="297" y="610"/>
                      </a:lnTo>
                      <a:lnTo>
                        <a:pt x="298" y="609"/>
                      </a:lnTo>
                      <a:lnTo>
                        <a:pt x="298" y="609"/>
                      </a:lnTo>
                      <a:lnTo>
                        <a:pt x="298" y="609"/>
                      </a:lnTo>
                      <a:lnTo>
                        <a:pt x="298" y="608"/>
                      </a:lnTo>
                      <a:lnTo>
                        <a:pt x="298" y="608"/>
                      </a:lnTo>
                      <a:lnTo>
                        <a:pt x="298" y="607"/>
                      </a:lnTo>
                      <a:lnTo>
                        <a:pt x="298" y="607"/>
                      </a:lnTo>
                      <a:lnTo>
                        <a:pt x="297" y="606"/>
                      </a:lnTo>
                      <a:lnTo>
                        <a:pt x="296" y="605"/>
                      </a:lnTo>
                      <a:lnTo>
                        <a:pt x="296" y="604"/>
                      </a:lnTo>
                      <a:lnTo>
                        <a:pt x="297" y="604"/>
                      </a:lnTo>
                      <a:lnTo>
                        <a:pt x="298" y="604"/>
                      </a:lnTo>
                      <a:lnTo>
                        <a:pt x="298" y="603"/>
                      </a:lnTo>
                      <a:lnTo>
                        <a:pt x="299" y="602"/>
                      </a:lnTo>
                      <a:lnTo>
                        <a:pt x="299" y="601"/>
                      </a:lnTo>
                      <a:lnTo>
                        <a:pt x="300" y="600"/>
                      </a:lnTo>
                      <a:lnTo>
                        <a:pt x="300" y="600"/>
                      </a:lnTo>
                      <a:lnTo>
                        <a:pt x="300" y="599"/>
                      </a:lnTo>
                      <a:lnTo>
                        <a:pt x="302" y="599"/>
                      </a:lnTo>
                      <a:lnTo>
                        <a:pt x="302" y="598"/>
                      </a:lnTo>
                      <a:lnTo>
                        <a:pt x="301" y="598"/>
                      </a:lnTo>
                      <a:lnTo>
                        <a:pt x="301" y="598"/>
                      </a:lnTo>
                      <a:lnTo>
                        <a:pt x="300" y="599"/>
                      </a:lnTo>
                      <a:lnTo>
                        <a:pt x="299" y="599"/>
                      </a:lnTo>
                      <a:lnTo>
                        <a:pt x="299" y="600"/>
                      </a:lnTo>
                      <a:lnTo>
                        <a:pt x="299" y="600"/>
                      </a:lnTo>
                      <a:lnTo>
                        <a:pt x="299" y="600"/>
                      </a:lnTo>
                      <a:lnTo>
                        <a:pt x="298" y="601"/>
                      </a:lnTo>
                      <a:lnTo>
                        <a:pt x="298" y="602"/>
                      </a:lnTo>
                      <a:lnTo>
                        <a:pt x="298" y="602"/>
                      </a:lnTo>
                      <a:lnTo>
                        <a:pt x="297" y="602"/>
                      </a:lnTo>
                      <a:lnTo>
                        <a:pt x="296" y="602"/>
                      </a:lnTo>
                      <a:lnTo>
                        <a:pt x="296" y="602"/>
                      </a:lnTo>
                      <a:lnTo>
                        <a:pt x="295" y="602"/>
                      </a:lnTo>
                      <a:lnTo>
                        <a:pt x="295" y="604"/>
                      </a:lnTo>
                      <a:lnTo>
                        <a:pt x="296" y="605"/>
                      </a:lnTo>
                      <a:lnTo>
                        <a:pt x="296" y="607"/>
                      </a:lnTo>
                      <a:lnTo>
                        <a:pt x="296" y="608"/>
                      </a:lnTo>
                      <a:lnTo>
                        <a:pt x="296" y="608"/>
                      </a:lnTo>
                      <a:lnTo>
                        <a:pt x="295" y="609"/>
                      </a:lnTo>
                      <a:lnTo>
                        <a:pt x="296" y="609"/>
                      </a:lnTo>
                      <a:lnTo>
                        <a:pt x="296" y="610"/>
                      </a:lnTo>
                      <a:lnTo>
                        <a:pt x="296" y="610"/>
                      </a:lnTo>
                      <a:lnTo>
                        <a:pt x="295" y="611"/>
                      </a:lnTo>
                      <a:lnTo>
                        <a:pt x="293" y="611"/>
                      </a:lnTo>
                      <a:lnTo>
                        <a:pt x="292" y="611"/>
                      </a:lnTo>
                      <a:lnTo>
                        <a:pt x="290" y="612"/>
                      </a:lnTo>
                      <a:lnTo>
                        <a:pt x="290" y="612"/>
                      </a:lnTo>
                      <a:lnTo>
                        <a:pt x="288" y="612"/>
                      </a:lnTo>
                      <a:lnTo>
                        <a:pt x="287" y="612"/>
                      </a:lnTo>
                      <a:lnTo>
                        <a:pt x="286" y="613"/>
                      </a:lnTo>
                      <a:lnTo>
                        <a:pt x="285" y="612"/>
                      </a:lnTo>
                      <a:lnTo>
                        <a:pt x="285" y="612"/>
                      </a:lnTo>
                      <a:lnTo>
                        <a:pt x="285" y="613"/>
                      </a:lnTo>
                      <a:lnTo>
                        <a:pt x="284" y="613"/>
                      </a:lnTo>
                      <a:lnTo>
                        <a:pt x="284" y="613"/>
                      </a:lnTo>
                      <a:lnTo>
                        <a:pt x="283" y="613"/>
                      </a:lnTo>
                      <a:lnTo>
                        <a:pt x="282" y="614"/>
                      </a:lnTo>
                      <a:lnTo>
                        <a:pt x="281" y="614"/>
                      </a:lnTo>
                      <a:lnTo>
                        <a:pt x="279" y="611"/>
                      </a:lnTo>
                      <a:lnTo>
                        <a:pt x="279" y="611"/>
                      </a:lnTo>
                      <a:lnTo>
                        <a:pt x="278" y="610"/>
                      </a:lnTo>
                      <a:lnTo>
                        <a:pt x="278" y="609"/>
                      </a:lnTo>
                      <a:lnTo>
                        <a:pt x="277" y="610"/>
                      </a:lnTo>
                      <a:lnTo>
                        <a:pt x="277" y="610"/>
                      </a:lnTo>
                      <a:lnTo>
                        <a:pt x="277" y="608"/>
                      </a:lnTo>
                      <a:lnTo>
                        <a:pt x="276" y="608"/>
                      </a:lnTo>
                      <a:lnTo>
                        <a:pt x="275" y="606"/>
                      </a:lnTo>
                      <a:lnTo>
                        <a:pt x="275" y="605"/>
                      </a:lnTo>
                      <a:lnTo>
                        <a:pt x="273" y="605"/>
                      </a:lnTo>
                      <a:lnTo>
                        <a:pt x="269" y="604"/>
                      </a:lnTo>
                      <a:lnTo>
                        <a:pt x="267" y="603"/>
                      </a:lnTo>
                      <a:lnTo>
                        <a:pt x="266" y="604"/>
                      </a:lnTo>
                      <a:lnTo>
                        <a:pt x="265" y="604"/>
                      </a:lnTo>
                      <a:lnTo>
                        <a:pt x="265" y="604"/>
                      </a:lnTo>
                      <a:lnTo>
                        <a:pt x="265" y="605"/>
                      </a:lnTo>
                      <a:lnTo>
                        <a:pt x="264" y="605"/>
                      </a:lnTo>
                      <a:lnTo>
                        <a:pt x="264" y="606"/>
                      </a:lnTo>
                      <a:lnTo>
                        <a:pt x="260" y="606"/>
                      </a:lnTo>
                      <a:lnTo>
                        <a:pt x="260" y="606"/>
                      </a:lnTo>
                      <a:lnTo>
                        <a:pt x="259" y="606"/>
                      </a:lnTo>
                      <a:lnTo>
                        <a:pt x="257" y="606"/>
                      </a:lnTo>
                      <a:lnTo>
                        <a:pt x="257" y="606"/>
                      </a:lnTo>
                      <a:lnTo>
                        <a:pt x="255" y="606"/>
                      </a:lnTo>
                      <a:lnTo>
                        <a:pt x="255" y="606"/>
                      </a:lnTo>
                      <a:lnTo>
                        <a:pt x="256" y="606"/>
                      </a:lnTo>
                      <a:lnTo>
                        <a:pt x="257" y="606"/>
                      </a:lnTo>
                      <a:lnTo>
                        <a:pt x="257" y="607"/>
                      </a:lnTo>
                      <a:lnTo>
                        <a:pt x="256" y="608"/>
                      </a:lnTo>
                      <a:lnTo>
                        <a:pt x="255" y="608"/>
                      </a:lnTo>
                      <a:lnTo>
                        <a:pt x="254" y="609"/>
                      </a:lnTo>
                      <a:lnTo>
                        <a:pt x="251" y="609"/>
                      </a:lnTo>
                      <a:lnTo>
                        <a:pt x="250" y="608"/>
                      </a:lnTo>
                      <a:lnTo>
                        <a:pt x="249" y="608"/>
                      </a:lnTo>
                      <a:lnTo>
                        <a:pt x="248" y="608"/>
                      </a:lnTo>
                      <a:lnTo>
                        <a:pt x="247" y="607"/>
                      </a:lnTo>
                      <a:lnTo>
                        <a:pt x="245" y="605"/>
                      </a:lnTo>
                      <a:lnTo>
                        <a:pt x="242" y="603"/>
                      </a:lnTo>
                      <a:lnTo>
                        <a:pt x="242" y="602"/>
                      </a:lnTo>
                      <a:lnTo>
                        <a:pt x="241" y="602"/>
                      </a:lnTo>
                      <a:lnTo>
                        <a:pt x="240" y="600"/>
                      </a:lnTo>
                      <a:lnTo>
                        <a:pt x="238" y="597"/>
                      </a:lnTo>
                      <a:lnTo>
                        <a:pt x="238" y="597"/>
                      </a:lnTo>
                      <a:lnTo>
                        <a:pt x="236" y="597"/>
                      </a:lnTo>
                      <a:lnTo>
                        <a:pt x="236" y="596"/>
                      </a:lnTo>
                      <a:lnTo>
                        <a:pt x="236" y="596"/>
                      </a:lnTo>
                      <a:lnTo>
                        <a:pt x="236" y="596"/>
                      </a:lnTo>
                      <a:lnTo>
                        <a:pt x="235" y="595"/>
                      </a:lnTo>
                      <a:lnTo>
                        <a:pt x="234" y="593"/>
                      </a:lnTo>
                      <a:lnTo>
                        <a:pt x="234" y="593"/>
                      </a:lnTo>
                      <a:lnTo>
                        <a:pt x="234" y="592"/>
                      </a:lnTo>
                      <a:lnTo>
                        <a:pt x="233" y="592"/>
                      </a:lnTo>
                      <a:lnTo>
                        <a:pt x="233" y="591"/>
                      </a:lnTo>
                      <a:lnTo>
                        <a:pt x="233" y="591"/>
                      </a:lnTo>
                      <a:lnTo>
                        <a:pt x="233" y="589"/>
                      </a:lnTo>
                      <a:lnTo>
                        <a:pt x="233" y="589"/>
                      </a:lnTo>
                      <a:lnTo>
                        <a:pt x="233" y="588"/>
                      </a:lnTo>
                      <a:lnTo>
                        <a:pt x="234" y="589"/>
                      </a:lnTo>
                      <a:lnTo>
                        <a:pt x="235" y="589"/>
                      </a:lnTo>
                      <a:lnTo>
                        <a:pt x="236" y="589"/>
                      </a:lnTo>
                      <a:lnTo>
                        <a:pt x="238" y="589"/>
                      </a:lnTo>
                      <a:lnTo>
                        <a:pt x="239" y="588"/>
                      </a:lnTo>
                      <a:lnTo>
                        <a:pt x="239" y="588"/>
                      </a:lnTo>
                      <a:lnTo>
                        <a:pt x="240" y="588"/>
                      </a:lnTo>
                      <a:lnTo>
                        <a:pt x="241" y="588"/>
                      </a:lnTo>
                      <a:lnTo>
                        <a:pt x="241" y="588"/>
                      </a:lnTo>
                      <a:lnTo>
                        <a:pt x="241" y="589"/>
                      </a:lnTo>
                      <a:lnTo>
                        <a:pt x="242" y="589"/>
                      </a:lnTo>
                      <a:lnTo>
                        <a:pt x="242" y="588"/>
                      </a:lnTo>
                      <a:lnTo>
                        <a:pt x="242" y="588"/>
                      </a:lnTo>
                      <a:lnTo>
                        <a:pt x="243" y="589"/>
                      </a:lnTo>
                      <a:lnTo>
                        <a:pt x="243" y="590"/>
                      </a:lnTo>
                      <a:lnTo>
                        <a:pt x="243" y="590"/>
                      </a:lnTo>
                      <a:lnTo>
                        <a:pt x="244" y="590"/>
                      </a:lnTo>
                      <a:lnTo>
                        <a:pt x="245" y="591"/>
                      </a:lnTo>
                      <a:lnTo>
                        <a:pt x="246" y="591"/>
                      </a:lnTo>
                      <a:lnTo>
                        <a:pt x="246" y="590"/>
                      </a:lnTo>
                      <a:lnTo>
                        <a:pt x="244" y="589"/>
                      </a:lnTo>
                      <a:lnTo>
                        <a:pt x="244" y="589"/>
                      </a:lnTo>
                      <a:lnTo>
                        <a:pt x="244" y="588"/>
                      </a:lnTo>
                      <a:lnTo>
                        <a:pt x="245" y="588"/>
                      </a:lnTo>
                      <a:lnTo>
                        <a:pt x="245" y="587"/>
                      </a:lnTo>
                      <a:lnTo>
                        <a:pt x="243" y="587"/>
                      </a:lnTo>
                      <a:lnTo>
                        <a:pt x="242" y="587"/>
                      </a:lnTo>
                      <a:lnTo>
                        <a:pt x="241" y="587"/>
                      </a:lnTo>
                      <a:lnTo>
                        <a:pt x="241" y="587"/>
                      </a:lnTo>
                      <a:lnTo>
                        <a:pt x="240" y="586"/>
                      </a:lnTo>
                      <a:lnTo>
                        <a:pt x="239" y="586"/>
                      </a:lnTo>
                      <a:lnTo>
                        <a:pt x="238" y="586"/>
                      </a:lnTo>
                      <a:lnTo>
                        <a:pt x="236" y="586"/>
                      </a:lnTo>
                      <a:lnTo>
                        <a:pt x="235" y="586"/>
                      </a:lnTo>
                      <a:lnTo>
                        <a:pt x="235" y="585"/>
                      </a:lnTo>
                      <a:lnTo>
                        <a:pt x="233" y="585"/>
                      </a:lnTo>
                      <a:lnTo>
                        <a:pt x="234" y="584"/>
                      </a:lnTo>
                      <a:lnTo>
                        <a:pt x="233" y="584"/>
                      </a:lnTo>
                      <a:lnTo>
                        <a:pt x="233" y="583"/>
                      </a:lnTo>
                      <a:lnTo>
                        <a:pt x="233" y="583"/>
                      </a:lnTo>
                      <a:lnTo>
                        <a:pt x="233" y="581"/>
                      </a:lnTo>
                      <a:lnTo>
                        <a:pt x="233" y="580"/>
                      </a:lnTo>
                      <a:lnTo>
                        <a:pt x="233" y="579"/>
                      </a:lnTo>
                      <a:lnTo>
                        <a:pt x="233" y="579"/>
                      </a:lnTo>
                      <a:lnTo>
                        <a:pt x="234" y="578"/>
                      </a:lnTo>
                      <a:lnTo>
                        <a:pt x="234" y="577"/>
                      </a:lnTo>
                      <a:lnTo>
                        <a:pt x="234" y="576"/>
                      </a:lnTo>
                      <a:lnTo>
                        <a:pt x="234" y="576"/>
                      </a:lnTo>
                      <a:lnTo>
                        <a:pt x="234" y="575"/>
                      </a:lnTo>
                      <a:lnTo>
                        <a:pt x="236" y="573"/>
                      </a:lnTo>
                      <a:lnTo>
                        <a:pt x="236" y="573"/>
                      </a:lnTo>
                      <a:lnTo>
                        <a:pt x="236" y="571"/>
                      </a:lnTo>
                      <a:lnTo>
                        <a:pt x="235" y="570"/>
                      </a:lnTo>
                      <a:lnTo>
                        <a:pt x="235" y="569"/>
                      </a:lnTo>
                      <a:lnTo>
                        <a:pt x="235" y="569"/>
                      </a:lnTo>
                      <a:lnTo>
                        <a:pt x="236" y="569"/>
                      </a:lnTo>
                      <a:lnTo>
                        <a:pt x="238" y="568"/>
                      </a:lnTo>
                      <a:lnTo>
                        <a:pt x="240" y="567"/>
                      </a:lnTo>
                      <a:lnTo>
                        <a:pt x="240" y="566"/>
                      </a:lnTo>
                      <a:lnTo>
                        <a:pt x="241" y="565"/>
                      </a:lnTo>
                      <a:lnTo>
                        <a:pt x="243" y="566"/>
                      </a:lnTo>
                      <a:lnTo>
                        <a:pt x="245" y="564"/>
                      </a:lnTo>
                      <a:lnTo>
                        <a:pt x="245" y="562"/>
                      </a:lnTo>
                      <a:lnTo>
                        <a:pt x="245" y="561"/>
                      </a:lnTo>
                      <a:lnTo>
                        <a:pt x="246" y="561"/>
                      </a:lnTo>
                      <a:lnTo>
                        <a:pt x="246" y="560"/>
                      </a:lnTo>
                      <a:lnTo>
                        <a:pt x="246" y="560"/>
                      </a:lnTo>
                      <a:lnTo>
                        <a:pt x="246" y="559"/>
                      </a:lnTo>
                      <a:lnTo>
                        <a:pt x="245" y="560"/>
                      </a:lnTo>
                      <a:lnTo>
                        <a:pt x="245" y="560"/>
                      </a:lnTo>
                      <a:lnTo>
                        <a:pt x="245" y="561"/>
                      </a:lnTo>
                      <a:lnTo>
                        <a:pt x="244" y="564"/>
                      </a:lnTo>
                      <a:lnTo>
                        <a:pt x="244" y="564"/>
                      </a:lnTo>
                      <a:lnTo>
                        <a:pt x="244" y="565"/>
                      </a:lnTo>
                      <a:lnTo>
                        <a:pt x="243" y="565"/>
                      </a:lnTo>
                      <a:lnTo>
                        <a:pt x="241" y="565"/>
                      </a:lnTo>
                      <a:lnTo>
                        <a:pt x="241" y="565"/>
                      </a:lnTo>
                      <a:lnTo>
                        <a:pt x="238" y="567"/>
                      </a:lnTo>
                      <a:lnTo>
                        <a:pt x="235" y="567"/>
                      </a:lnTo>
                      <a:lnTo>
                        <a:pt x="234" y="568"/>
                      </a:lnTo>
                      <a:lnTo>
                        <a:pt x="234" y="569"/>
                      </a:lnTo>
                      <a:lnTo>
                        <a:pt x="234" y="569"/>
                      </a:lnTo>
                      <a:lnTo>
                        <a:pt x="234" y="571"/>
                      </a:lnTo>
                      <a:lnTo>
                        <a:pt x="233" y="571"/>
                      </a:lnTo>
                      <a:lnTo>
                        <a:pt x="233" y="572"/>
                      </a:lnTo>
                      <a:lnTo>
                        <a:pt x="233" y="573"/>
                      </a:lnTo>
                      <a:lnTo>
                        <a:pt x="232" y="573"/>
                      </a:lnTo>
                      <a:lnTo>
                        <a:pt x="232" y="573"/>
                      </a:lnTo>
                      <a:lnTo>
                        <a:pt x="231" y="575"/>
                      </a:lnTo>
                      <a:lnTo>
                        <a:pt x="231" y="575"/>
                      </a:lnTo>
                      <a:lnTo>
                        <a:pt x="231" y="576"/>
                      </a:lnTo>
                      <a:lnTo>
                        <a:pt x="230" y="577"/>
                      </a:lnTo>
                      <a:lnTo>
                        <a:pt x="229" y="577"/>
                      </a:lnTo>
                      <a:lnTo>
                        <a:pt x="228" y="578"/>
                      </a:lnTo>
                      <a:lnTo>
                        <a:pt x="228" y="579"/>
                      </a:lnTo>
                      <a:lnTo>
                        <a:pt x="227" y="579"/>
                      </a:lnTo>
                      <a:lnTo>
                        <a:pt x="226" y="579"/>
                      </a:lnTo>
                      <a:lnTo>
                        <a:pt x="225" y="578"/>
                      </a:lnTo>
                      <a:lnTo>
                        <a:pt x="224" y="577"/>
                      </a:lnTo>
                      <a:lnTo>
                        <a:pt x="223" y="577"/>
                      </a:lnTo>
                      <a:lnTo>
                        <a:pt x="222" y="577"/>
                      </a:lnTo>
                      <a:lnTo>
                        <a:pt x="221" y="577"/>
                      </a:lnTo>
                      <a:lnTo>
                        <a:pt x="220" y="576"/>
                      </a:lnTo>
                      <a:lnTo>
                        <a:pt x="218" y="575"/>
                      </a:lnTo>
                      <a:lnTo>
                        <a:pt x="218" y="574"/>
                      </a:lnTo>
                      <a:lnTo>
                        <a:pt x="218" y="574"/>
                      </a:lnTo>
                      <a:lnTo>
                        <a:pt x="219" y="573"/>
                      </a:lnTo>
                      <a:lnTo>
                        <a:pt x="220" y="573"/>
                      </a:lnTo>
                      <a:lnTo>
                        <a:pt x="220" y="572"/>
                      </a:lnTo>
                      <a:lnTo>
                        <a:pt x="221" y="572"/>
                      </a:lnTo>
                      <a:lnTo>
                        <a:pt x="221" y="571"/>
                      </a:lnTo>
                      <a:lnTo>
                        <a:pt x="220" y="571"/>
                      </a:lnTo>
                      <a:lnTo>
                        <a:pt x="220" y="571"/>
                      </a:lnTo>
                      <a:lnTo>
                        <a:pt x="220" y="570"/>
                      </a:lnTo>
                      <a:lnTo>
                        <a:pt x="219" y="570"/>
                      </a:lnTo>
                      <a:lnTo>
                        <a:pt x="219" y="570"/>
                      </a:lnTo>
                      <a:lnTo>
                        <a:pt x="218" y="570"/>
                      </a:lnTo>
                      <a:lnTo>
                        <a:pt x="218" y="569"/>
                      </a:lnTo>
                      <a:lnTo>
                        <a:pt x="217" y="569"/>
                      </a:lnTo>
                      <a:lnTo>
                        <a:pt x="217" y="568"/>
                      </a:lnTo>
                      <a:lnTo>
                        <a:pt x="216" y="568"/>
                      </a:lnTo>
                      <a:lnTo>
                        <a:pt x="215" y="568"/>
                      </a:lnTo>
                      <a:lnTo>
                        <a:pt x="215" y="569"/>
                      </a:lnTo>
                      <a:lnTo>
                        <a:pt x="217" y="568"/>
                      </a:lnTo>
                      <a:lnTo>
                        <a:pt x="217" y="569"/>
                      </a:lnTo>
                      <a:lnTo>
                        <a:pt x="218" y="570"/>
                      </a:lnTo>
                      <a:lnTo>
                        <a:pt x="219" y="571"/>
                      </a:lnTo>
                      <a:lnTo>
                        <a:pt x="218" y="572"/>
                      </a:lnTo>
                      <a:lnTo>
                        <a:pt x="218" y="572"/>
                      </a:lnTo>
                      <a:lnTo>
                        <a:pt x="218" y="573"/>
                      </a:lnTo>
                      <a:lnTo>
                        <a:pt x="216" y="574"/>
                      </a:lnTo>
                      <a:lnTo>
                        <a:pt x="216" y="576"/>
                      </a:lnTo>
                      <a:lnTo>
                        <a:pt x="217" y="576"/>
                      </a:lnTo>
                      <a:lnTo>
                        <a:pt x="217" y="577"/>
                      </a:lnTo>
                      <a:lnTo>
                        <a:pt x="218" y="577"/>
                      </a:lnTo>
                      <a:lnTo>
                        <a:pt x="220" y="579"/>
                      </a:lnTo>
                      <a:lnTo>
                        <a:pt x="221" y="580"/>
                      </a:lnTo>
                      <a:lnTo>
                        <a:pt x="222" y="581"/>
                      </a:lnTo>
                      <a:lnTo>
                        <a:pt x="222" y="581"/>
                      </a:lnTo>
                      <a:lnTo>
                        <a:pt x="223" y="583"/>
                      </a:lnTo>
                      <a:lnTo>
                        <a:pt x="223" y="584"/>
                      </a:lnTo>
                      <a:lnTo>
                        <a:pt x="223" y="584"/>
                      </a:lnTo>
                      <a:lnTo>
                        <a:pt x="223" y="584"/>
                      </a:lnTo>
                      <a:lnTo>
                        <a:pt x="223" y="584"/>
                      </a:lnTo>
                      <a:lnTo>
                        <a:pt x="222" y="585"/>
                      </a:lnTo>
                      <a:lnTo>
                        <a:pt x="221" y="586"/>
                      </a:lnTo>
                      <a:lnTo>
                        <a:pt x="220" y="586"/>
                      </a:lnTo>
                      <a:lnTo>
                        <a:pt x="220" y="586"/>
                      </a:lnTo>
                      <a:lnTo>
                        <a:pt x="218" y="587"/>
                      </a:lnTo>
                      <a:lnTo>
                        <a:pt x="218" y="587"/>
                      </a:lnTo>
                      <a:lnTo>
                        <a:pt x="218" y="587"/>
                      </a:lnTo>
                      <a:lnTo>
                        <a:pt x="214" y="587"/>
                      </a:lnTo>
                      <a:lnTo>
                        <a:pt x="212" y="587"/>
                      </a:lnTo>
                      <a:lnTo>
                        <a:pt x="208" y="587"/>
                      </a:lnTo>
                      <a:lnTo>
                        <a:pt x="207" y="587"/>
                      </a:lnTo>
                      <a:lnTo>
                        <a:pt x="203" y="586"/>
                      </a:lnTo>
                      <a:lnTo>
                        <a:pt x="201" y="586"/>
                      </a:lnTo>
                      <a:lnTo>
                        <a:pt x="198" y="585"/>
                      </a:lnTo>
                      <a:lnTo>
                        <a:pt x="196" y="585"/>
                      </a:lnTo>
                      <a:lnTo>
                        <a:pt x="195" y="585"/>
                      </a:lnTo>
                      <a:lnTo>
                        <a:pt x="195" y="585"/>
                      </a:lnTo>
                      <a:lnTo>
                        <a:pt x="195" y="585"/>
                      </a:lnTo>
                      <a:lnTo>
                        <a:pt x="194" y="585"/>
                      </a:lnTo>
                      <a:lnTo>
                        <a:pt x="194" y="586"/>
                      </a:lnTo>
                      <a:lnTo>
                        <a:pt x="193" y="586"/>
                      </a:lnTo>
                      <a:lnTo>
                        <a:pt x="193" y="586"/>
                      </a:lnTo>
                      <a:lnTo>
                        <a:pt x="192" y="586"/>
                      </a:lnTo>
                      <a:lnTo>
                        <a:pt x="192" y="586"/>
                      </a:lnTo>
                      <a:lnTo>
                        <a:pt x="191" y="587"/>
                      </a:lnTo>
                      <a:lnTo>
                        <a:pt x="191" y="588"/>
                      </a:lnTo>
                      <a:lnTo>
                        <a:pt x="189" y="587"/>
                      </a:lnTo>
                      <a:lnTo>
                        <a:pt x="188" y="587"/>
                      </a:lnTo>
                      <a:lnTo>
                        <a:pt x="186" y="586"/>
                      </a:lnTo>
                      <a:lnTo>
                        <a:pt x="186" y="586"/>
                      </a:lnTo>
                      <a:lnTo>
                        <a:pt x="184" y="586"/>
                      </a:lnTo>
                      <a:lnTo>
                        <a:pt x="181" y="587"/>
                      </a:lnTo>
                      <a:lnTo>
                        <a:pt x="181" y="588"/>
                      </a:lnTo>
                      <a:lnTo>
                        <a:pt x="180" y="588"/>
                      </a:lnTo>
                      <a:lnTo>
                        <a:pt x="180" y="587"/>
                      </a:lnTo>
                      <a:lnTo>
                        <a:pt x="178" y="587"/>
                      </a:lnTo>
                      <a:lnTo>
                        <a:pt x="178" y="588"/>
                      </a:lnTo>
                      <a:lnTo>
                        <a:pt x="177" y="588"/>
                      </a:lnTo>
                      <a:lnTo>
                        <a:pt x="174" y="588"/>
                      </a:lnTo>
                      <a:lnTo>
                        <a:pt x="173" y="589"/>
                      </a:lnTo>
                      <a:lnTo>
                        <a:pt x="172" y="589"/>
                      </a:lnTo>
                      <a:lnTo>
                        <a:pt x="169" y="592"/>
                      </a:lnTo>
                      <a:lnTo>
                        <a:pt x="169" y="592"/>
                      </a:lnTo>
                      <a:lnTo>
                        <a:pt x="168" y="592"/>
                      </a:lnTo>
                      <a:lnTo>
                        <a:pt x="168" y="593"/>
                      </a:lnTo>
                      <a:lnTo>
                        <a:pt x="167" y="593"/>
                      </a:lnTo>
                      <a:lnTo>
                        <a:pt x="167" y="594"/>
                      </a:lnTo>
                      <a:lnTo>
                        <a:pt x="167" y="595"/>
                      </a:lnTo>
                      <a:lnTo>
                        <a:pt x="167" y="596"/>
                      </a:lnTo>
                      <a:lnTo>
                        <a:pt x="167" y="596"/>
                      </a:lnTo>
                      <a:lnTo>
                        <a:pt x="167" y="597"/>
                      </a:lnTo>
                      <a:lnTo>
                        <a:pt x="168" y="597"/>
                      </a:lnTo>
                      <a:lnTo>
                        <a:pt x="168" y="598"/>
                      </a:lnTo>
                      <a:lnTo>
                        <a:pt x="168" y="598"/>
                      </a:lnTo>
                      <a:lnTo>
                        <a:pt x="168" y="598"/>
                      </a:lnTo>
                      <a:lnTo>
                        <a:pt x="168" y="598"/>
                      </a:lnTo>
                      <a:lnTo>
                        <a:pt x="168" y="599"/>
                      </a:lnTo>
                      <a:lnTo>
                        <a:pt x="170" y="599"/>
                      </a:lnTo>
                      <a:lnTo>
                        <a:pt x="171" y="600"/>
                      </a:lnTo>
                      <a:lnTo>
                        <a:pt x="170" y="600"/>
                      </a:lnTo>
                      <a:lnTo>
                        <a:pt x="169" y="600"/>
                      </a:lnTo>
                      <a:lnTo>
                        <a:pt x="169" y="601"/>
                      </a:lnTo>
                      <a:lnTo>
                        <a:pt x="168" y="601"/>
                      </a:lnTo>
                      <a:lnTo>
                        <a:pt x="168" y="602"/>
                      </a:lnTo>
                      <a:lnTo>
                        <a:pt x="168" y="602"/>
                      </a:lnTo>
                      <a:lnTo>
                        <a:pt x="168" y="603"/>
                      </a:lnTo>
                      <a:lnTo>
                        <a:pt x="167" y="603"/>
                      </a:lnTo>
                      <a:lnTo>
                        <a:pt x="167" y="604"/>
                      </a:lnTo>
                      <a:lnTo>
                        <a:pt x="167" y="605"/>
                      </a:lnTo>
                      <a:lnTo>
                        <a:pt x="166" y="605"/>
                      </a:lnTo>
                      <a:lnTo>
                        <a:pt x="166" y="605"/>
                      </a:lnTo>
                      <a:lnTo>
                        <a:pt x="166" y="606"/>
                      </a:lnTo>
                      <a:lnTo>
                        <a:pt x="166" y="607"/>
                      </a:lnTo>
                      <a:lnTo>
                        <a:pt x="167" y="608"/>
                      </a:lnTo>
                      <a:lnTo>
                        <a:pt x="167" y="608"/>
                      </a:lnTo>
                      <a:lnTo>
                        <a:pt x="167" y="608"/>
                      </a:lnTo>
                      <a:lnTo>
                        <a:pt x="166" y="609"/>
                      </a:lnTo>
                      <a:lnTo>
                        <a:pt x="165" y="609"/>
                      </a:lnTo>
                      <a:lnTo>
                        <a:pt x="165" y="610"/>
                      </a:lnTo>
                      <a:lnTo>
                        <a:pt x="163" y="613"/>
                      </a:lnTo>
                      <a:lnTo>
                        <a:pt x="163" y="613"/>
                      </a:lnTo>
                      <a:lnTo>
                        <a:pt x="164" y="614"/>
                      </a:lnTo>
                      <a:lnTo>
                        <a:pt x="164" y="615"/>
                      </a:lnTo>
                      <a:lnTo>
                        <a:pt x="161" y="615"/>
                      </a:lnTo>
                      <a:lnTo>
                        <a:pt x="161" y="615"/>
                      </a:lnTo>
                      <a:lnTo>
                        <a:pt x="158" y="614"/>
                      </a:lnTo>
                      <a:lnTo>
                        <a:pt x="157" y="615"/>
                      </a:lnTo>
                      <a:lnTo>
                        <a:pt x="157" y="614"/>
                      </a:lnTo>
                      <a:lnTo>
                        <a:pt x="157" y="614"/>
                      </a:lnTo>
                      <a:lnTo>
                        <a:pt x="156" y="614"/>
                      </a:lnTo>
                      <a:lnTo>
                        <a:pt x="156" y="614"/>
                      </a:lnTo>
                      <a:lnTo>
                        <a:pt x="155" y="614"/>
                      </a:lnTo>
                      <a:lnTo>
                        <a:pt x="155" y="614"/>
                      </a:lnTo>
                      <a:lnTo>
                        <a:pt x="154" y="614"/>
                      </a:lnTo>
                      <a:lnTo>
                        <a:pt x="153" y="614"/>
                      </a:lnTo>
                      <a:lnTo>
                        <a:pt x="153" y="615"/>
                      </a:lnTo>
                      <a:lnTo>
                        <a:pt x="152" y="616"/>
                      </a:lnTo>
                      <a:lnTo>
                        <a:pt x="153" y="617"/>
                      </a:lnTo>
                      <a:lnTo>
                        <a:pt x="153" y="617"/>
                      </a:lnTo>
                      <a:lnTo>
                        <a:pt x="153" y="617"/>
                      </a:lnTo>
                      <a:lnTo>
                        <a:pt x="152" y="617"/>
                      </a:lnTo>
                      <a:lnTo>
                        <a:pt x="152" y="618"/>
                      </a:lnTo>
                      <a:lnTo>
                        <a:pt x="151" y="617"/>
                      </a:lnTo>
                      <a:lnTo>
                        <a:pt x="150" y="618"/>
                      </a:lnTo>
                      <a:lnTo>
                        <a:pt x="149" y="618"/>
                      </a:lnTo>
                      <a:lnTo>
                        <a:pt x="149" y="618"/>
                      </a:lnTo>
                      <a:lnTo>
                        <a:pt x="150" y="618"/>
                      </a:lnTo>
                      <a:lnTo>
                        <a:pt x="150" y="619"/>
                      </a:lnTo>
                      <a:lnTo>
                        <a:pt x="149" y="619"/>
                      </a:lnTo>
                      <a:lnTo>
                        <a:pt x="149" y="619"/>
                      </a:lnTo>
                      <a:lnTo>
                        <a:pt x="149" y="621"/>
                      </a:lnTo>
                      <a:lnTo>
                        <a:pt x="148" y="621"/>
                      </a:lnTo>
                      <a:lnTo>
                        <a:pt x="147" y="621"/>
                      </a:lnTo>
                      <a:lnTo>
                        <a:pt x="147" y="621"/>
                      </a:lnTo>
                      <a:lnTo>
                        <a:pt x="147" y="621"/>
                      </a:lnTo>
                      <a:lnTo>
                        <a:pt x="146" y="619"/>
                      </a:lnTo>
                      <a:lnTo>
                        <a:pt x="146" y="621"/>
                      </a:lnTo>
                      <a:lnTo>
                        <a:pt x="145" y="621"/>
                      </a:lnTo>
                      <a:lnTo>
                        <a:pt x="145" y="619"/>
                      </a:lnTo>
                      <a:lnTo>
                        <a:pt x="143" y="619"/>
                      </a:lnTo>
                      <a:lnTo>
                        <a:pt x="143" y="619"/>
                      </a:lnTo>
                      <a:lnTo>
                        <a:pt x="143" y="618"/>
                      </a:lnTo>
                      <a:lnTo>
                        <a:pt x="144" y="618"/>
                      </a:lnTo>
                      <a:lnTo>
                        <a:pt x="143" y="618"/>
                      </a:lnTo>
                      <a:lnTo>
                        <a:pt x="142" y="618"/>
                      </a:lnTo>
                      <a:lnTo>
                        <a:pt x="141" y="617"/>
                      </a:lnTo>
                      <a:lnTo>
                        <a:pt x="141" y="618"/>
                      </a:lnTo>
                      <a:lnTo>
                        <a:pt x="141" y="618"/>
                      </a:lnTo>
                      <a:lnTo>
                        <a:pt x="140" y="618"/>
                      </a:lnTo>
                      <a:lnTo>
                        <a:pt x="139" y="618"/>
                      </a:lnTo>
                      <a:lnTo>
                        <a:pt x="139" y="618"/>
                      </a:lnTo>
                      <a:lnTo>
                        <a:pt x="139" y="617"/>
                      </a:lnTo>
                      <a:lnTo>
                        <a:pt x="139" y="616"/>
                      </a:lnTo>
                      <a:lnTo>
                        <a:pt x="137" y="616"/>
                      </a:lnTo>
                      <a:lnTo>
                        <a:pt x="137" y="617"/>
                      </a:lnTo>
                      <a:lnTo>
                        <a:pt x="136" y="617"/>
                      </a:lnTo>
                      <a:lnTo>
                        <a:pt x="135" y="617"/>
                      </a:lnTo>
                      <a:lnTo>
                        <a:pt x="134" y="617"/>
                      </a:lnTo>
                      <a:lnTo>
                        <a:pt x="132" y="617"/>
                      </a:lnTo>
                      <a:lnTo>
                        <a:pt x="131" y="617"/>
                      </a:lnTo>
                      <a:lnTo>
                        <a:pt x="131" y="618"/>
                      </a:lnTo>
                      <a:lnTo>
                        <a:pt x="132" y="619"/>
                      </a:lnTo>
                      <a:lnTo>
                        <a:pt x="132" y="619"/>
                      </a:lnTo>
                      <a:lnTo>
                        <a:pt x="132" y="619"/>
                      </a:lnTo>
                      <a:lnTo>
                        <a:pt x="131" y="621"/>
                      </a:lnTo>
                      <a:lnTo>
                        <a:pt x="130" y="619"/>
                      </a:lnTo>
                      <a:lnTo>
                        <a:pt x="130" y="621"/>
                      </a:lnTo>
                      <a:lnTo>
                        <a:pt x="129" y="621"/>
                      </a:lnTo>
                      <a:lnTo>
                        <a:pt x="128" y="621"/>
                      </a:lnTo>
                      <a:lnTo>
                        <a:pt x="128" y="622"/>
                      </a:lnTo>
                      <a:lnTo>
                        <a:pt x="127" y="622"/>
                      </a:lnTo>
                      <a:lnTo>
                        <a:pt x="126" y="623"/>
                      </a:lnTo>
                      <a:lnTo>
                        <a:pt x="126" y="623"/>
                      </a:lnTo>
                      <a:lnTo>
                        <a:pt x="125" y="624"/>
                      </a:lnTo>
                      <a:lnTo>
                        <a:pt x="125" y="624"/>
                      </a:lnTo>
                      <a:lnTo>
                        <a:pt x="125" y="624"/>
                      </a:lnTo>
                      <a:lnTo>
                        <a:pt x="123" y="625"/>
                      </a:lnTo>
                      <a:lnTo>
                        <a:pt x="123" y="625"/>
                      </a:lnTo>
                      <a:lnTo>
                        <a:pt x="123" y="626"/>
                      </a:lnTo>
                      <a:lnTo>
                        <a:pt x="123" y="626"/>
                      </a:lnTo>
                      <a:lnTo>
                        <a:pt x="122" y="627"/>
                      </a:lnTo>
                      <a:lnTo>
                        <a:pt x="122" y="627"/>
                      </a:lnTo>
                      <a:lnTo>
                        <a:pt x="123" y="627"/>
                      </a:lnTo>
                      <a:lnTo>
                        <a:pt x="123" y="627"/>
                      </a:lnTo>
                      <a:lnTo>
                        <a:pt x="123" y="628"/>
                      </a:lnTo>
                      <a:lnTo>
                        <a:pt x="123" y="629"/>
                      </a:lnTo>
                      <a:lnTo>
                        <a:pt x="125" y="629"/>
                      </a:lnTo>
                      <a:lnTo>
                        <a:pt x="125" y="630"/>
                      </a:lnTo>
                      <a:lnTo>
                        <a:pt x="123" y="630"/>
                      </a:lnTo>
                      <a:lnTo>
                        <a:pt x="122" y="629"/>
                      </a:lnTo>
                      <a:lnTo>
                        <a:pt x="122" y="629"/>
                      </a:lnTo>
                      <a:lnTo>
                        <a:pt x="121" y="629"/>
                      </a:lnTo>
                      <a:lnTo>
                        <a:pt x="121" y="630"/>
                      </a:lnTo>
                      <a:lnTo>
                        <a:pt x="121" y="630"/>
                      </a:lnTo>
                      <a:lnTo>
                        <a:pt x="120" y="629"/>
                      </a:lnTo>
                      <a:lnTo>
                        <a:pt x="120" y="630"/>
                      </a:lnTo>
                      <a:lnTo>
                        <a:pt x="120" y="631"/>
                      </a:lnTo>
                      <a:lnTo>
                        <a:pt x="119" y="630"/>
                      </a:lnTo>
                      <a:lnTo>
                        <a:pt x="119" y="630"/>
                      </a:lnTo>
                      <a:lnTo>
                        <a:pt x="118" y="630"/>
                      </a:lnTo>
                      <a:lnTo>
                        <a:pt x="118" y="630"/>
                      </a:lnTo>
                      <a:lnTo>
                        <a:pt x="119" y="631"/>
                      </a:lnTo>
                      <a:lnTo>
                        <a:pt x="119" y="631"/>
                      </a:lnTo>
                      <a:lnTo>
                        <a:pt x="119" y="632"/>
                      </a:lnTo>
                      <a:lnTo>
                        <a:pt x="118" y="633"/>
                      </a:lnTo>
                      <a:lnTo>
                        <a:pt x="118" y="633"/>
                      </a:lnTo>
                      <a:lnTo>
                        <a:pt x="118" y="634"/>
                      </a:lnTo>
                      <a:lnTo>
                        <a:pt x="118" y="634"/>
                      </a:lnTo>
                      <a:lnTo>
                        <a:pt x="118" y="634"/>
                      </a:lnTo>
                      <a:lnTo>
                        <a:pt x="117" y="633"/>
                      </a:lnTo>
                      <a:lnTo>
                        <a:pt x="115" y="634"/>
                      </a:lnTo>
                      <a:lnTo>
                        <a:pt x="115" y="634"/>
                      </a:lnTo>
                      <a:lnTo>
                        <a:pt x="114" y="634"/>
                      </a:lnTo>
                      <a:lnTo>
                        <a:pt x="114" y="634"/>
                      </a:lnTo>
                      <a:lnTo>
                        <a:pt x="113" y="634"/>
                      </a:lnTo>
                      <a:lnTo>
                        <a:pt x="113" y="633"/>
                      </a:lnTo>
                      <a:lnTo>
                        <a:pt x="113" y="633"/>
                      </a:lnTo>
                      <a:lnTo>
                        <a:pt x="113" y="633"/>
                      </a:lnTo>
                      <a:lnTo>
                        <a:pt x="112" y="633"/>
                      </a:lnTo>
                      <a:lnTo>
                        <a:pt x="112" y="633"/>
                      </a:lnTo>
                      <a:lnTo>
                        <a:pt x="111" y="633"/>
                      </a:lnTo>
                      <a:lnTo>
                        <a:pt x="111" y="632"/>
                      </a:lnTo>
                      <a:lnTo>
                        <a:pt x="108" y="631"/>
                      </a:lnTo>
                      <a:lnTo>
                        <a:pt x="108" y="630"/>
                      </a:lnTo>
                      <a:lnTo>
                        <a:pt x="106" y="630"/>
                      </a:lnTo>
                      <a:lnTo>
                        <a:pt x="106" y="629"/>
                      </a:lnTo>
                      <a:lnTo>
                        <a:pt x="105" y="629"/>
                      </a:lnTo>
                      <a:lnTo>
                        <a:pt x="104" y="630"/>
                      </a:lnTo>
                      <a:lnTo>
                        <a:pt x="104" y="629"/>
                      </a:lnTo>
                      <a:lnTo>
                        <a:pt x="103" y="630"/>
                      </a:lnTo>
                      <a:lnTo>
                        <a:pt x="102" y="630"/>
                      </a:lnTo>
                      <a:lnTo>
                        <a:pt x="101" y="630"/>
                      </a:lnTo>
                      <a:lnTo>
                        <a:pt x="100" y="630"/>
                      </a:lnTo>
                      <a:lnTo>
                        <a:pt x="99" y="629"/>
                      </a:lnTo>
                      <a:lnTo>
                        <a:pt x="98" y="628"/>
                      </a:lnTo>
                      <a:lnTo>
                        <a:pt x="98" y="628"/>
                      </a:lnTo>
                      <a:lnTo>
                        <a:pt x="96" y="628"/>
                      </a:lnTo>
                      <a:lnTo>
                        <a:pt x="96" y="627"/>
                      </a:lnTo>
                      <a:lnTo>
                        <a:pt x="94" y="627"/>
                      </a:lnTo>
                      <a:lnTo>
                        <a:pt x="94" y="627"/>
                      </a:lnTo>
                      <a:lnTo>
                        <a:pt x="94" y="627"/>
                      </a:lnTo>
                      <a:lnTo>
                        <a:pt x="93" y="627"/>
                      </a:lnTo>
                      <a:lnTo>
                        <a:pt x="93" y="626"/>
                      </a:lnTo>
                      <a:lnTo>
                        <a:pt x="91" y="626"/>
                      </a:lnTo>
                      <a:lnTo>
                        <a:pt x="90" y="626"/>
                      </a:lnTo>
                      <a:lnTo>
                        <a:pt x="90" y="625"/>
                      </a:lnTo>
                      <a:lnTo>
                        <a:pt x="90" y="623"/>
                      </a:lnTo>
                      <a:lnTo>
                        <a:pt x="90" y="622"/>
                      </a:lnTo>
                      <a:lnTo>
                        <a:pt x="92" y="622"/>
                      </a:lnTo>
                      <a:lnTo>
                        <a:pt x="92" y="621"/>
                      </a:lnTo>
                      <a:lnTo>
                        <a:pt x="92" y="621"/>
                      </a:lnTo>
                      <a:lnTo>
                        <a:pt x="92" y="621"/>
                      </a:lnTo>
                      <a:lnTo>
                        <a:pt x="92" y="618"/>
                      </a:lnTo>
                      <a:lnTo>
                        <a:pt x="91" y="617"/>
                      </a:lnTo>
                      <a:lnTo>
                        <a:pt x="91" y="615"/>
                      </a:lnTo>
                      <a:lnTo>
                        <a:pt x="90" y="614"/>
                      </a:lnTo>
                      <a:lnTo>
                        <a:pt x="90" y="614"/>
                      </a:lnTo>
                      <a:lnTo>
                        <a:pt x="90" y="614"/>
                      </a:lnTo>
                      <a:lnTo>
                        <a:pt x="90" y="613"/>
                      </a:lnTo>
                      <a:lnTo>
                        <a:pt x="90" y="612"/>
                      </a:lnTo>
                      <a:lnTo>
                        <a:pt x="89" y="612"/>
                      </a:lnTo>
                      <a:lnTo>
                        <a:pt x="89" y="611"/>
                      </a:lnTo>
                      <a:lnTo>
                        <a:pt x="84" y="611"/>
                      </a:lnTo>
                      <a:lnTo>
                        <a:pt x="83" y="610"/>
                      </a:lnTo>
                      <a:lnTo>
                        <a:pt x="82" y="610"/>
                      </a:lnTo>
                      <a:lnTo>
                        <a:pt x="82" y="609"/>
                      </a:lnTo>
                      <a:lnTo>
                        <a:pt x="81" y="610"/>
                      </a:lnTo>
                      <a:lnTo>
                        <a:pt x="80" y="610"/>
                      </a:lnTo>
                      <a:lnTo>
                        <a:pt x="80" y="609"/>
                      </a:lnTo>
                      <a:lnTo>
                        <a:pt x="79" y="609"/>
                      </a:lnTo>
                      <a:lnTo>
                        <a:pt x="79" y="609"/>
                      </a:lnTo>
                      <a:lnTo>
                        <a:pt x="78" y="608"/>
                      </a:lnTo>
                      <a:lnTo>
                        <a:pt x="77" y="608"/>
                      </a:lnTo>
                      <a:lnTo>
                        <a:pt x="77" y="609"/>
                      </a:lnTo>
                      <a:lnTo>
                        <a:pt x="76" y="609"/>
                      </a:lnTo>
                      <a:lnTo>
                        <a:pt x="76" y="608"/>
                      </a:lnTo>
                      <a:lnTo>
                        <a:pt x="77" y="608"/>
                      </a:lnTo>
                      <a:lnTo>
                        <a:pt x="77" y="608"/>
                      </a:lnTo>
                      <a:lnTo>
                        <a:pt x="77" y="608"/>
                      </a:lnTo>
                      <a:lnTo>
                        <a:pt x="77" y="607"/>
                      </a:lnTo>
                      <a:lnTo>
                        <a:pt x="77" y="607"/>
                      </a:lnTo>
                      <a:lnTo>
                        <a:pt x="77" y="606"/>
                      </a:lnTo>
                      <a:lnTo>
                        <a:pt x="77" y="606"/>
                      </a:lnTo>
                      <a:lnTo>
                        <a:pt x="76" y="605"/>
                      </a:lnTo>
                      <a:lnTo>
                        <a:pt x="76" y="605"/>
                      </a:lnTo>
                      <a:lnTo>
                        <a:pt x="77" y="604"/>
                      </a:lnTo>
                      <a:lnTo>
                        <a:pt x="78" y="604"/>
                      </a:lnTo>
                      <a:lnTo>
                        <a:pt x="79" y="603"/>
                      </a:lnTo>
                      <a:lnTo>
                        <a:pt x="79" y="604"/>
                      </a:lnTo>
                      <a:lnTo>
                        <a:pt x="79" y="603"/>
                      </a:lnTo>
                      <a:lnTo>
                        <a:pt x="79" y="603"/>
                      </a:lnTo>
                      <a:lnTo>
                        <a:pt x="79" y="603"/>
                      </a:lnTo>
                      <a:lnTo>
                        <a:pt x="78" y="602"/>
                      </a:lnTo>
                      <a:lnTo>
                        <a:pt x="78" y="602"/>
                      </a:lnTo>
                      <a:lnTo>
                        <a:pt x="79" y="601"/>
                      </a:lnTo>
                      <a:lnTo>
                        <a:pt x="80" y="601"/>
                      </a:lnTo>
                      <a:lnTo>
                        <a:pt x="82" y="602"/>
                      </a:lnTo>
                      <a:lnTo>
                        <a:pt x="84" y="602"/>
                      </a:lnTo>
                      <a:lnTo>
                        <a:pt x="85" y="602"/>
                      </a:lnTo>
                      <a:lnTo>
                        <a:pt x="86" y="603"/>
                      </a:lnTo>
                      <a:lnTo>
                        <a:pt x="86" y="603"/>
                      </a:lnTo>
                      <a:lnTo>
                        <a:pt x="85" y="604"/>
                      </a:lnTo>
                      <a:lnTo>
                        <a:pt x="85" y="605"/>
                      </a:lnTo>
                      <a:lnTo>
                        <a:pt x="85" y="605"/>
                      </a:lnTo>
                      <a:lnTo>
                        <a:pt x="86" y="606"/>
                      </a:lnTo>
                      <a:lnTo>
                        <a:pt x="88" y="606"/>
                      </a:lnTo>
                      <a:lnTo>
                        <a:pt x="88" y="606"/>
                      </a:lnTo>
                      <a:lnTo>
                        <a:pt x="89" y="606"/>
                      </a:lnTo>
                      <a:lnTo>
                        <a:pt x="90" y="606"/>
                      </a:lnTo>
                      <a:lnTo>
                        <a:pt x="91" y="606"/>
                      </a:lnTo>
                      <a:lnTo>
                        <a:pt x="91" y="606"/>
                      </a:lnTo>
                      <a:lnTo>
                        <a:pt x="91" y="606"/>
                      </a:lnTo>
                      <a:lnTo>
                        <a:pt x="91" y="606"/>
                      </a:lnTo>
                      <a:lnTo>
                        <a:pt x="93" y="606"/>
                      </a:lnTo>
                      <a:lnTo>
                        <a:pt x="93" y="606"/>
                      </a:lnTo>
                      <a:lnTo>
                        <a:pt x="94" y="605"/>
                      </a:lnTo>
                      <a:lnTo>
                        <a:pt x="93" y="604"/>
                      </a:lnTo>
                      <a:lnTo>
                        <a:pt x="92" y="603"/>
                      </a:lnTo>
                      <a:lnTo>
                        <a:pt x="92" y="603"/>
                      </a:lnTo>
                      <a:lnTo>
                        <a:pt x="91" y="603"/>
                      </a:lnTo>
                      <a:lnTo>
                        <a:pt x="92" y="602"/>
                      </a:lnTo>
                      <a:lnTo>
                        <a:pt x="92" y="601"/>
                      </a:lnTo>
                      <a:lnTo>
                        <a:pt x="92" y="601"/>
                      </a:lnTo>
                      <a:lnTo>
                        <a:pt x="92" y="601"/>
                      </a:lnTo>
                      <a:lnTo>
                        <a:pt x="92" y="600"/>
                      </a:lnTo>
                      <a:lnTo>
                        <a:pt x="94" y="600"/>
                      </a:lnTo>
                      <a:lnTo>
                        <a:pt x="94" y="599"/>
                      </a:lnTo>
                      <a:lnTo>
                        <a:pt x="95" y="600"/>
                      </a:lnTo>
                      <a:lnTo>
                        <a:pt x="95" y="599"/>
                      </a:lnTo>
                      <a:lnTo>
                        <a:pt x="96" y="599"/>
                      </a:lnTo>
                      <a:lnTo>
                        <a:pt x="96" y="600"/>
                      </a:lnTo>
                      <a:lnTo>
                        <a:pt x="92" y="600"/>
                      </a:lnTo>
                      <a:lnTo>
                        <a:pt x="92" y="601"/>
                      </a:lnTo>
                      <a:lnTo>
                        <a:pt x="97" y="601"/>
                      </a:lnTo>
                      <a:lnTo>
                        <a:pt x="96" y="599"/>
                      </a:lnTo>
                      <a:lnTo>
                        <a:pt x="97" y="599"/>
                      </a:lnTo>
                      <a:lnTo>
                        <a:pt x="97" y="600"/>
                      </a:lnTo>
                      <a:lnTo>
                        <a:pt x="98" y="599"/>
                      </a:lnTo>
                      <a:lnTo>
                        <a:pt x="98" y="600"/>
                      </a:lnTo>
                      <a:lnTo>
                        <a:pt x="98" y="600"/>
                      </a:lnTo>
                      <a:lnTo>
                        <a:pt x="97" y="600"/>
                      </a:lnTo>
                      <a:lnTo>
                        <a:pt x="97" y="600"/>
                      </a:lnTo>
                      <a:lnTo>
                        <a:pt x="97" y="601"/>
                      </a:lnTo>
                      <a:lnTo>
                        <a:pt x="99" y="602"/>
                      </a:lnTo>
                      <a:lnTo>
                        <a:pt x="100" y="602"/>
                      </a:lnTo>
                      <a:lnTo>
                        <a:pt x="101" y="602"/>
                      </a:lnTo>
                      <a:lnTo>
                        <a:pt x="103" y="602"/>
                      </a:lnTo>
                      <a:lnTo>
                        <a:pt x="105" y="603"/>
                      </a:lnTo>
                      <a:lnTo>
                        <a:pt x="105" y="602"/>
                      </a:lnTo>
                      <a:lnTo>
                        <a:pt x="106" y="602"/>
                      </a:lnTo>
                      <a:lnTo>
                        <a:pt x="107" y="603"/>
                      </a:lnTo>
                      <a:lnTo>
                        <a:pt x="107" y="603"/>
                      </a:lnTo>
                      <a:lnTo>
                        <a:pt x="106" y="604"/>
                      </a:lnTo>
                      <a:lnTo>
                        <a:pt x="106" y="604"/>
                      </a:lnTo>
                      <a:lnTo>
                        <a:pt x="106" y="605"/>
                      </a:lnTo>
                      <a:lnTo>
                        <a:pt x="106" y="605"/>
                      </a:lnTo>
                      <a:lnTo>
                        <a:pt x="107" y="606"/>
                      </a:lnTo>
                      <a:lnTo>
                        <a:pt x="107" y="606"/>
                      </a:lnTo>
                      <a:lnTo>
                        <a:pt x="107" y="607"/>
                      </a:lnTo>
                      <a:lnTo>
                        <a:pt x="108" y="607"/>
                      </a:lnTo>
                      <a:lnTo>
                        <a:pt x="109" y="607"/>
                      </a:lnTo>
                      <a:lnTo>
                        <a:pt x="110" y="607"/>
                      </a:lnTo>
                      <a:lnTo>
                        <a:pt x="110" y="607"/>
                      </a:lnTo>
                      <a:lnTo>
                        <a:pt x="111" y="607"/>
                      </a:lnTo>
                      <a:lnTo>
                        <a:pt x="111" y="607"/>
                      </a:lnTo>
                      <a:lnTo>
                        <a:pt x="112" y="607"/>
                      </a:lnTo>
                      <a:lnTo>
                        <a:pt x="112" y="606"/>
                      </a:lnTo>
                      <a:lnTo>
                        <a:pt x="113" y="607"/>
                      </a:lnTo>
                      <a:lnTo>
                        <a:pt x="114" y="607"/>
                      </a:lnTo>
                      <a:lnTo>
                        <a:pt x="114" y="607"/>
                      </a:lnTo>
                      <a:lnTo>
                        <a:pt x="115" y="607"/>
                      </a:lnTo>
                      <a:lnTo>
                        <a:pt x="115" y="606"/>
                      </a:lnTo>
                      <a:lnTo>
                        <a:pt x="116" y="606"/>
                      </a:lnTo>
                      <a:lnTo>
                        <a:pt x="116" y="605"/>
                      </a:lnTo>
                      <a:lnTo>
                        <a:pt x="115" y="606"/>
                      </a:lnTo>
                      <a:lnTo>
                        <a:pt x="114" y="606"/>
                      </a:lnTo>
                      <a:lnTo>
                        <a:pt x="112" y="606"/>
                      </a:lnTo>
                      <a:lnTo>
                        <a:pt x="111" y="605"/>
                      </a:lnTo>
                      <a:lnTo>
                        <a:pt x="109" y="605"/>
                      </a:lnTo>
                      <a:lnTo>
                        <a:pt x="109" y="604"/>
                      </a:lnTo>
                      <a:lnTo>
                        <a:pt x="108" y="604"/>
                      </a:lnTo>
                      <a:lnTo>
                        <a:pt x="107" y="603"/>
                      </a:lnTo>
                      <a:lnTo>
                        <a:pt x="107" y="603"/>
                      </a:lnTo>
                      <a:lnTo>
                        <a:pt x="109" y="603"/>
                      </a:lnTo>
                      <a:lnTo>
                        <a:pt x="109" y="602"/>
                      </a:lnTo>
                      <a:lnTo>
                        <a:pt x="110" y="601"/>
                      </a:lnTo>
                      <a:lnTo>
                        <a:pt x="111" y="600"/>
                      </a:lnTo>
                      <a:lnTo>
                        <a:pt x="111" y="599"/>
                      </a:lnTo>
                      <a:lnTo>
                        <a:pt x="111" y="599"/>
                      </a:lnTo>
                      <a:lnTo>
                        <a:pt x="111" y="600"/>
                      </a:lnTo>
                      <a:lnTo>
                        <a:pt x="112" y="599"/>
                      </a:lnTo>
                      <a:lnTo>
                        <a:pt x="113" y="600"/>
                      </a:lnTo>
                      <a:lnTo>
                        <a:pt x="112" y="600"/>
                      </a:lnTo>
                      <a:lnTo>
                        <a:pt x="113" y="600"/>
                      </a:lnTo>
                      <a:lnTo>
                        <a:pt x="114" y="600"/>
                      </a:lnTo>
                      <a:lnTo>
                        <a:pt x="114" y="599"/>
                      </a:lnTo>
                      <a:lnTo>
                        <a:pt x="114" y="599"/>
                      </a:lnTo>
                      <a:lnTo>
                        <a:pt x="115" y="599"/>
                      </a:lnTo>
                      <a:lnTo>
                        <a:pt x="116" y="599"/>
                      </a:lnTo>
                      <a:lnTo>
                        <a:pt x="116" y="598"/>
                      </a:lnTo>
                      <a:lnTo>
                        <a:pt x="117" y="598"/>
                      </a:lnTo>
                      <a:lnTo>
                        <a:pt x="118" y="599"/>
                      </a:lnTo>
                      <a:lnTo>
                        <a:pt x="119" y="599"/>
                      </a:lnTo>
                      <a:lnTo>
                        <a:pt x="119" y="600"/>
                      </a:lnTo>
                      <a:lnTo>
                        <a:pt x="119" y="600"/>
                      </a:lnTo>
                      <a:lnTo>
                        <a:pt x="119" y="601"/>
                      </a:lnTo>
                      <a:lnTo>
                        <a:pt x="122" y="601"/>
                      </a:lnTo>
                      <a:lnTo>
                        <a:pt x="122" y="601"/>
                      </a:lnTo>
                      <a:lnTo>
                        <a:pt x="120" y="600"/>
                      </a:lnTo>
                      <a:lnTo>
                        <a:pt x="119" y="600"/>
                      </a:lnTo>
                      <a:lnTo>
                        <a:pt x="119" y="599"/>
                      </a:lnTo>
                      <a:lnTo>
                        <a:pt x="121" y="598"/>
                      </a:lnTo>
                      <a:lnTo>
                        <a:pt x="121" y="597"/>
                      </a:lnTo>
                      <a:lnTo>
                        <a:pt x="121" y="597"/>
                      </a:lnTo>
                      <a:lnTo>
                        <a:pt x="122" y="596"/>
                      </a:lnTo>
                      <a:lnTo>
                        <a:pt x="123" y="596"/>
                      </a:lnTo>
                      <a:lnTo>
                        <a:pt x="125" y="597"/>
                      </a:lnTo>
                      <a:lnTo>
                        <a:pt x="126" y="596"/>
                      </a:lnTo>
                      <a:lnTo>
                        <a:pt x="126" y="596"/>
                      </a:lnTo>
                      <a:lnTo>
                        <a:pt x="127" y="594"/>
                      </a:lnTo>
                      <a:lnTo>
                        <a:pt x="127" y="593"/>
                      </a:lnTo>
                      <a:lnTo>
                        <a:pt x="131" y="594"/>
                      </a:lnTo>
                      <a:lnTo>
                        <a:pt x="131" y="594"/>
                      </a:lnTo>
                      <a:lnTo>
                        <a:pt x="132" y="595"/>
                      </a:lnTo>
                      <a:lnTo>
                        <a:pt x="132" y="595"/>
                      </a:lnTo>
                      <a:lnTo>
                        <a:pt x="132" y="596"/>
                      </a:lnTo>
                      <a:lnTo>
                        <a:pt x="132" y="596"/>
                      </a:lnTo>
                      <a:lnTo>
                        <a:pt x="133" y="596"/>
                      </a:lnTo>
                      <a:lnTo>
                        <a:pt x="133" y="596"/>
                      </a:lnTo>
                      <a:lnTo>
                        <a:pt x="133" y="597"/>
                      </a:lnTo>
                      <a:lnTo>
                        <a:pt x="133" y="597"/>
                      </a:lnTo>
                      <a:lnTo>
                        <a:pt x="134" y="598"/>
                      </a:lnTo>
                      <a:lnTo>
                        <a:pt x="134" y="599"/>
                      </a:lnTo>
                      <a:lnTo>
                        <a:pt x="135" y="599"/>
                      </a:lnTo>
                      <a:lnTo>
                        <a:pt x="134" y="597"/>
                      </a:lnTo>
                      <a:lnTo>
                        <a:pt x="134" y="597"/>
                      </a:lnTo>
                      <a:lnTo>
                        <a:pt x="133" y="596"/>
                      </a:lnTo>
                      <a:lnTo>
                        <a:pt x="133" y="596"/>
                      </a:lnTo>
                      <a:lnTo>
                        <a:pt x="133" y="596"/>
                      </a:lnTo>
                      <a:lnTo>
                        <a:pt x="133" y="595"/>
                      </a:lnTo>
                      <a:lnTo>
                        <a:pt x="131" y="593"/>
                      </a:lnTo>
                      <a:lnTo>
                        <a:pt x="132" y="592"/>
                      </a:lnTo>
                      <a:lnTo>
                        <a:pt x="134" y="592"/>
                      </a:lnTo>
                      <a:lnTo>
                        <a:pt x="135" y="591"/>
                      </a:lnTo>
                      <a:lnTo>
                        <a:pt x="136" y="591"/>
                      </a:lnTo>
                      <a:lnTo>
                        <a:pt x="136" y="591"/>
                      </a:lnTo>
                      <a:lnTo>
                        <a:pt x="136" y="592"/>
                      </a:lnTo>
                      <a:lnTo>
                        <a:pt x="137" y="591"/>
                      </a:lnTo>
                      <a:lnTo>
                        <a:pt x="137" y="591"/>
                      </a:lnTo>
                      <a:lnTo>
                        <a:pt x="137" y="591"/>
                      </a:lnTo>
                      <a:lnTo>
                        <a:pt x="135" y="591"/>
                      </a:lnTo>
                      <a:lnTo>
                        <a:pt x="134" y="591"/>
                      </a:lnTo>
                      <a:lnTo>
                        <a:pt x="133" y="592"/>
                      </a:lnTo>
                      <a:lnTo>
                        <a:pt x="132" y="592"/>
                      </a:lnTo>
                      <a:lnTo>
                        <a:pt x="130" y="592"/>
                      </a:lnTo>
                      <a:lnTo>
                        <a:pt x="130" y="593"/>
                      </a:lnTo>
                      <a:lnTo>
                        <a:pt x="128" y="593"/>
                      </a:lnTo>
                      <a:lnTo>
                        <a:pt x="127" y="593"/>
                      </a:lnTo>
                      <a:lnTo>
                        <a:pt x="127" y="593"/>
                      </a:lnTo>
                      <a:lnTo>
                        <a:pt x="127" y="592"/>
                      </a:lnTo>
                      <a:lnTo>
                        <a:pt x="127" y="591"/>
                      </a:lnTo>
                      <a:lnTo>
                        <a:pt x="127" y="590"/>
                      </a:lnTo>
                      <a:lnTo>
                        <a:pt x="127" y="588"/>
                      </a:lnTo>
                      <a:lnTo>
                        <a:pt x="128" y="588"/>
                      </a:lnTo>
                      <a:lnTo>
                        <a:pt x="129" y="588"/>
                      </a:lnTo>
                      <a:lnTo>
                        <a:pt x="129" y="588"/>
                      </a:lnTo>
                      <a:lnTo>
                        <a:pt x="129" y="588"/>
                      </a:lnTo>
                      <a:lnTo>
                        <a:pt x="129" y="588"/>
                      </a:lnTo>
                      <a:lnTo>
                        <a:pt x="128" y="587"/>
                      </a:lnTo>
                      <a:lnTo>
                        <a:pt x="127" y="587"/>
                      </a:lnTo>
                      <a:lnTo>
                        <a:pt x="126" y="586"/>
                      </a:lnTo>
                      <a:lnTo>
                        <a:pt x="123" y="586"/>
                      </a:lnTo>
                      <a:lnTo>
                        <a:pt x="123" y="585"/>
                      </a:lnTo>
                      <a:lnTo>
                        <a:pt x="125" y="585"/>
                      </a:lnTo>
                      <a:lnTo>
                        <a:pt x="125" y="584"/>
                      </a:lnTo>
                      <a:lnTo>
                        <a:pt x="125" y="583"/>
                      </a:lnTo>
                      <a:lnTo>
                        <a:pt x="125" y="583"/>
                      </a:lnTo>
                      <a:lnTo>
                        <a:pt x="125" y="581"/>
                      </a:lnTo>
                      <a:lnTo>
                        <a:pt x="125" y="581"/>
                      </a:lnTo>
                      <a:lnTo>
                        <a:pt x="125" y="579"/>
                      </a:lnTo>
                      <a:lnTo>
                        <a:pt x="126" y="579"/>
                      </a:lnTo>
                      <a:lnTo>
                        <a:pt x="126" y="578"/>
                      </a:lnTo>
                      <a:lnTo>
                        <a:pt x="126" y="578"/>
                      </a:lnTo>
                      <a:lnTo>
                        <a:pt x="126" y="577"/>
                      </a:lnTo>
                      <a:lnTo>
                        <a:pt x="126" y="576"/>
                      </a:lnTo>
                      <a:lnTo>
                        <a:pt x="127" y="575"/>
                      </a:lnTo>
                      <a:lnTo>
                        <a:pt x="129" y="574"/>
                      </a:lnTo>
                      <a:lnTo>
                        <a:pt x="130" y="574"/>
                      </a:lnTo>
                      <a:lnTo>
                        <a:pt x="131" y="573"/>
                      </a:lnTo>
                      <a:lnTo>
                        <a:pt x="131" y="572"/>
                      </a:lnTo>
                      <a:lnTo>
                        <a:pt x="131" y="572"/>
                      </a:lnTo>
                      <a:lnTo>
                        <a:pt x="131" y="571"/>
                      </a:lnTo>
                      <a:lnTo>
                        <a:pt x="132" y="570"/>
                      </a:lnTo>
                      <a:lnTo>
                        <a:pt x="133" y="569"/>
                      </a:lnTo>
                      <a:lnTo>
                        <a:pt x="136" y="569"/>
                      </a:lnTo>
                      <a:lnTo>
                        <a:pt x="137" y="568"/>
                      </a:lnTo>
                      <a:lnTo>
                        <a:pt x="138" y="568"/>
                      </a:lnTo>
                      <a:lnTo>
                        <a:pt x="137" y="568"/>
                      </a:lnTo>
                      <a:lnTo>
                        <a:pt x="134" y="568"/>
                      </a:lnTo>
                      <a:lnTo>
                        <a:pt x="133" y="569"/>
                      </a:lnTo>
                      <a:lnTo>
                        <a:pt x="133" y="569"/>
                      </a:lnTo>
                      <a:lnTo>
                        <a:pt x="132" y="569"/>
                      </a:lnTo>
                      <a:lnTo>
                        <a:pt x="132" y="570"/>
                      </a:lnTo>
                      <a:lnTo>
                        <a:pt x="131" y="570"/>
                      </a:lnTo>
                      <a:lnTo>
                        <a:pt x="131" y="571"/>
                      </a:lnTo>
                      <a:lnTo>
                        <a:pt x="130" y="572"/>
                      </a:lnTo>
                      <a:lnTo>
                        <a:pt x="129" y="573"/>
                      </a:lnTo>
                      <a:lnTo>
                        <a:pt x="129" y="573"/>
                      </a:lnTo>
                      <a:lnTo>
                        <a:pt x="127" y="574"/>
                      </a:lnTo>
                      <a:lnTo>
                        <a:pt x="127" y="574"/>
                      </a:lnTo>
                      <a:lnTo>
                        <a:pt x="126" y="574"/>
                      </a:lnTo>
                      <a:lnTo>
                        <a:pt x="125" y="576"/>
                      </a:lnTo>
                      <a:lnTo>
                        <a:pt x="123" y="575"/>
                      </a:lnTo>
                      <a:lnTo>
                        <a:pt x="123" y="575"/>
                      </a:lnTo>
                      <a:lnTo>
                        <a:pt x="122" y="574"/>
                      </a:lnTo>
                      <a:lnTo>
                        <a:pt x="122" y="573"/>
                      </a:lnTo>
                      <a:lnTo>
                        <a:pt x="121" y="573"/>
                      </a:lnTo>
                      <a:lnTo>
                        <a:pt x="121" y="572"/>
                      </a:lnTo>
                      <a:lnTo>
                        <a:pt x="121" y="572"/>
                      </a:lnTo>
                      <a:lnTo>
                        <a:pt x="121" y="573"/>
                      </a:lnTo>
                      <a:lnTo>
                        <a:pt x="121" y="573"/>
                      </a:lnTo>
                      <a:lnTo>
                        <a:pt x="121" y="574"/>
                      </a:lnTo>
                      <a:lnTo>
                        <a:pt x="119" y="574"/>
                      </a:lnTo>
                      <a:lnTo>
                        <a:pt x="118" y="574"/>
                      </a:lnTo>
                      <a:lnTo>
                        <a:pt x="117" y="574"/>
                      </a:lnTo>
                      <a:lnTo>
                        <a:pt x="116" y="575"/>
                      </a:lnTo>
                      <a:lnTo>
                        <a:pt x="116" y="576"/>
                      </a:lnTo>
                      <a:lnTo>
                        <a:pt x="115" y="576"/>
                      </a:lnTo>
                      <a:lnTo>
                        <a:pt x="114" y="575"/>
                      </a:lnTo>
                      <a:lnTo>
                        <a:pt x="114" y="575"/>
                      </a:lnTo>
                      <a:lnTo>
                        <a:pt x="114" y="573"/>
                      </a:lnTo>
                      <a:lnTo>
                        <a:pt x="114" y="573"/>
                      </a:lnTo>
                      <a:lnTo>
                        <a:pt x="114" y="572"/>
                      </a:lnTo>
                      <a:lnTo>
                        <a:pt x="114" y="572"/>
                      </a:lnTo>
                      <a:lnTo>
                        <a:pt x="116" y="571"/>
                      </a:lnTo>
                      <a:lnTo>
                        <a:pt x="116" y="571"/>
                      </a:lnTo>
                      <a:lnTo>
                        <a:pt x="115" y="571"/>
                      </a:lnTo>
                      <a:lnTo>
                        <a:pt x="115" y="571"/>
                      </a:lnTo>
                      <a:lnTo>
                        <a:pt x="114" y="572"/>
                      </a:lnTo>
                      <a:lnTo>
                        <a:pt x="114" y="573"/>
                      </a:lnTo>
                      <a:lnTo>
                        <a:pt x="113" y="573"/>
                      </a:lnTo>
                      <a:lnTo>
                        <a:pt x="113" y="574"/>
                      </a:lnTo>
                      <a:lnTo>
                        <a:pt x="114" y="575"/>
                      </a:lnTo>
                      <a:lnTo>
                        <a:pt x="113" y="575"/>
                      </a:lnTo>
                      <a:lnTo>
                        <a:pt x="114" y="576"/>
                      </a:lnTo>
                      <a:lnTo>
                        <a:pt x="114" y="577"/>
                      </a:lnTo>
                      <a:lnTo>
                        <a:pt x="115" y="577"/>
                      </a:lnTo>
                      <a:lnTo>
                        <a:pt x="116" y="576"/>
                      </a:lnTo>
                      <a:lnTo>
                        <a:pt x="116" y="576"/>
                      </a:lnTo>
                      <a:lnTo>
                        <a:pt x="118" y="575"/>
                      </a:lnTo>
                      <a:lnTo>
                        <a:pt x="119" y="575"/>
                      </a:lnTo>
                      <a:lnTo>
                        <a:pt x="120" y="574"/>
                      </a:lnTo>
                      <a:lnTo>
                        <a:pt x="120" y="575"/>
                      </a:lnTo>
                      <a:lnTo>
                        <a:pt x="120" y="575"/>
                      </a:lnTo>
                      <a:lnTo>
                        <a:pt x="121" y="575"/>
                      </a:lnTo>
                      <a:lnTo>
                        <a:pt x="122" y="576"/>
                      </a:lnTo>
                      <a:lnTo>
                        <a:pt x="122" y="576"/>
                      </a:lnTo>
                      <a:lnTo>
                        <a:pt x="123" y="577"/>
                      </a:lnTo>
                      <a:lnTo>
                        <a:pt x="123" y="578"/>
                      </a:lnTo>
                      <a:lnTo>
                        <a:pt x="122" y="578"/>
                      </a:lnTo>
                      <a:lnTo>
                        <a:pt x="122" y="578"/>
                      </a:lnTo>
                      <a:lnTo>
                        <a:pt x="122" y="578"/>
                      </a:lnTo>
                      <a:lnTo>
                        <a:pt x="122" y="579"/>
                      </a:lnTo>
                      <a:lnTo>
                        <a:pt x="123" y="580"/>
                      </a:lnTo>
                      <a:lnTo>
                        <a:pt x="123" y="581"/>
                      </a:lnTo>
                      <a:lnTo>
                        <a:pt x="123" y="581"/>
                      </a:lnTo>
                      <a:lnTo>
                        <a:pt x="123" y="583"/>
                      </a:lnTo>
                      <a:lnTo>
                        <a:pt x="122" y="584"/>
                      </a:lnTo>
                      <a:lnTo>
                        <a:pt x="122" y="584"/>
                      </a:lnTo>
                      <a:lnTo>
                        <a:pt x="122" y="584"/>
                      </a:lnTo>
                      <a:lnTo>
                        <a:pt x="122" y="585"/>
                      </a:lnTo>
                      <a:lnTo>
                        <a:pt x="122" y="585"/>
                      </a:lnTo>
                      <a:lnTo>
                        <a:pt x="123" y="587"/>
                      </a:lnTo>
                      <a:lnTo>
                        <a:pt x="125" y="588"/>
                      </a:lnTo>
                      <a:lnTo>
                        <a:pt x="126" y="588"/>
                      </a:lnTo>
                      <a:lnTo>
                        <a:pt x="126" y="589"/>
                      </a:lnTo>
                      <a:lnTo>
                        <a:pt x="126" y="590"/>
                      </a:lnTo>
                      <a:lnTo>
                        <a:pt x="126" y="591"/>
                      </a:lnTo>
                      <a:lnTo>
                        <a:pt x="125" y="593"/>
                      </a:lnTo>
                      <a:lnTo>
                        <a:pt x="125" y="595"/>
                      </a:lnTo>
                      <a:lnTo>
                        <a:pt x="125" y="596"/>
                      </a:lnTo>
                      <a:lnTo>
                        <a:pt x="123" y="596"/>
                      </a:lnTo>
                      <a:lnTo>
                        <a:pt x="123" y="595"/>
                      </a:lnTo>
                      <a:lnTo>
                        <a:pt x="121" y="595"/>
                      </a:lnTo>
                      <a:lnTo>
                        <a:pt x="120" y="596"/>
                      </a:lnTo>
                      <a:lnTo>
                        <a:pt x="120" y="597"/>
                      </a:lnTo>
                      <a:lnTo>
                        <a:pt x="119" y="597"/>
                      </a:lnTo>
                      <a:lnTo>
                        <a:pt x="118" y="597"/>
                      </a:lnTo>
                      <a:lnTo>
                        <a:pt x="117" y="596"/>
                      </a:lnTo>
                      <a:lnTo>
                        <a:pt x="116" y="596"/>
                      </a:lnTo>
                      <a:lnTo>
                        <a:pt x="115" y="596"/>
                      </a:lnTo>
                      <a:lnTo>
                        <a:pt x="114" y="596"/>
                      </a:lnTo>
                      <a:lnTo>
                        <a:pt x="114" y="597"/>
                      </a:lnTo>
                      <a:lnTo>
                        <a:pt x="114" y="597"/>
                      </a:lnTo>
                      <a:lnTo>
                        <a:pt x="113" y="598"/>
                      </a:lnTo>
                      <a:lnTo>
                        <a:pt x="112" y="597"/>
                      </a:lnTo>
                      <a:lnTo>
                        <a:pt x="111" y="597"/>
                      </a:lnTo>
                      <a:lnTo>
                        <a:pt x="110" y="597"/>
                      </a:lnTo>
                      <a:lnTo>
                        <a:pt x="110" y="597"/>
                      </a:lnTo>
                      <a:lnTo>
                        <a:pt x="109" y="597"/>
                      </a:lnTo>
                      <a:lnTo>
                        <a:pt x="108" y="598"/>
                      </a:lnTo>
                      <a:lnTo>
                        <a:pt x="106" y="599"/>
                      </a:lnTo>
                      <a:lnTo>
                        <a:pt x="106" y="599"/>
                      </a:lnTo>
                      <a:lnTo>
                        <a:pt x="105" y="599"/>
                      </a:lnTo>
                      <a:lnTo>
                        <a:pt x="104" y="599"/>
                      </a:lnTo>
                      <a:lnTo>
                        <a:pt x="104" y="599"/>
                      </a:lnTo>
                      <a:lnTo>
                        <a:pt x="104" y="599"/>
                      </a:lnTo>
                      <a:lnTo>
                        <a:pt x="104" y="599"/>
                      </a:lnTo>
                      <a:lnTo>
                        <a:pt x="103" y="599"/>
                      </a:lnTo>
                      <a:lnTo>
                        <a:pt x="103" y="599"/>
                      </a:lnTo>
                      <a:lnTo>
                        <a:pt x="102" y="599"/>
                      </a:lnTo>
                      <a:lnTo>
                        <a:pt x="102" y="599"/>
                      </a:lnTo>
                      <a:lnTo>
                        <a:pt x="101" y="598"/>
                      </a:lnTo>
                      <a:lnTo>
                        <a:pt x="99" y="598"/>
                      </a:lnTo>
                      <a:lnTo>
                        <a:pt x="98" y="597"/>
                      </a:lnTo>
                      <a:lnTo>
                        <a:pt x="98" y="597"/>
                      </a:lnTo>
                      <a:lnTo>
                        <a:pt x="98" y="597"/>
                      </a:lnTo>
                      <a:lnTo>
                        <a:pt x="98" y="596"/>
                      </a:lnTo>
                      <a:lnTo>
                        <a:pt x="98" y="595"/>
                      </a:lnTo>
                      <a:lnTo>
                        <a:pt x="98" y="594"/>
                      </a:lnTo>
                      <a:lnTo>
                        <a:pt x="98" y="596"/>
                      </a:lnTo>
                      <a:lnTo>
                        <a:pt x="97" y="596"/>
                      </a:lnTo>
                      <a:lnTo>
                        <a:pt x="97" y="596"/>
                      </a:lnTo>
                      <a:lnTo>
                        <a:pt x="96" y="596"/>
                      </a:lnTo>
                      <a:lnTo>
                        <a:pt x="95" y="595"/>
                      </a:lnTo>
                      <a:lnTo>
                        <a:pt x="95" y="596"/>
                      </a:lnTo>
                      <a:lnTo>
                        <a:pt x="94" y="595"/>
                      </a:lnTo>
                      <a:lnTo>
                        <a:pt x="93" y="595"/>
                      </a:lnTo>
                      <a:lnTo>
                        <a:pt x="94" y="595"/>
                      </a:lnTo>
                      <a:lnTo>
                        <a:pt x="94" y="595"/>
                      </a:lnTo>
                      <a:lnTo>
                        <a:pt x="95" y="596"/>
                      </a:lnTo>
                      <a:lnTo>
                        <a:pt x="94" y="597"/>
                      </a:lnTo>
                      <a:lnTo>
                        <a:pt x="92" y="596"/>
                      </a:lnTo>
                      <a:lnTo>
                        <a:pt x="92" y="597"/>
                      </a:lnTo>
                      <a:lnTo>
                        <a:pt x="92" y="597"/>
                      </a:lnTo>
                      <a:lnTo>
                        <a:pt x="91" y="597"/>
                      </a:lnTo>
                      <a:lnTo>
                        <a:pt x="90" y="596"/>
                      </a:lnTo>
                      <a:lnTo>
                        <a:pt x="90" y="596"/>
                      </a:lnTo>
                      <a:lnTo>
                        <a:pt x="90" y="596"/>
                      </a:lnTo>
                      <a:lnTo>
                        <a:pt x="90" y="596"/>
                      </a:lnTo>
                      <a:lnTo>
                        <a:pt x="90" y="599"/>
                      </a:lnTo>
                      <a:lnTo>
                        <a:pt x="91" y="598"/>
                      </a:lnTo>
                      <a:lnTo>
                        <a:pt x="91" y="598"/>
                      </a:lnTo>
                      <a:lnTo>
                        <a:pt x="90" y="599"/>
                      </a:lnTo>
                      <a:lnTo>
                        <a:pt x="89" y="599"/>
                      </a:lnTo>
                      <a:lnTo>
                        <a:pt x="90" y="599"/>
                      </a:lnTo>
                      <a:lnTo>
                        <a:pt x="89" y="598"/>
                      </a:lnTo>
                      <a:lnTo>
                        <a:pt x="89" y="597"/>
                      </a:lnTo>
                      <a:lnTo>
                        <a:pt x="85" y="597"/>
                      </a:lnTo>
                      <a:lnTo>
                        <a:pt x="85" y="599"/>
                      </a:lnTo>
                      <a:lnTo>
                        <a:pt x="86" y="599"/>
                      </a:lnTo>
                      <a:lnTo>
                        <a:pt x="88" y="599"/>
                      </a:lnTo>
                      <a:lnTo>
                        <a:pt x="88" y="600"/>
                      </a:lnTo>
                      <a:lnTo>
                        <a:pt x="86" y="600"/>
                      </a:lnTo>
                      <a:lnTo>
                        <a:pt x="84" y="599"/>
                      </a:lnTo>
                      <a:lnTo>
                        <a:pt x="84" y="599"/>
                      </a:lnTo>
                      <a:lnTo>
                        <a:pt x="85" y="599"/>
                      </a:lnTo>
                      <a:lnTo>
                        <a:pt x="85" y="597"/>
                      </a:lnTo>
                      <a:lnTo>
                        <a:pt x="84" y="597"/>
                      </a:lnTo>
                      <a:lnTo>
                        <a:pt x="83" y="597"/>
                      </a:lnTo>
                      <a:lnTo>
                        <a:pt x="83" y="596"/>
                      </a:lnTo>
                      <a:lnTo>
                        <a:pt x="83" y="595"/>
                      </a:lnTo>
                      <a:lnTo>
                        <a:pt x="82" y="593"/>
                      </a:lnTo>
                      <a:lnTo>
                        <a:pt x="81" y="592"/>
                      </a:lnTo>
                      <a:lnTo>
                        <a:pt x="81" y="592"/>
                      </a:lnTo>
                      <a:lnTo>
                        <a:pt x="80" y="592"/>
                      </a:lnTo>
                      <a:lnTo>
                        <a:pt x="80" y="591"/>
                      </a:lnTo>
                      <a:lnTo>
                        <a:pt x="79" y="591"/>
                      </a:lnTo>
                      <a:lnTo>
                        <a:pt x="79" y="592"/>
                      </a:lnTo>
                      <a:lnTo>
                        <a:pt x="80" y="592"/>
                      </a:lnTo>
                      <a:lnTo>
                        <a:pt x="79" y="593"/>
                      </a:lnTo>
                      <a:lnTo>
                        <a:pt x="80" y="594"/>
                      </a:lnTo>
                      <a:lnTo>
                        <a:pt x="79" y="594"/>
                      </a:lnTo>
                      <a:lnTo>
                        <a:pt x="79" y="594"/>
                      </a:lnTo>
                      <a:lnTo>
                        <a:pt x="78" y="594"/>
                      </a:lnTo>
                      <a:lnTo>
                        <a:pt x="78" y="595"/>
                      </a:lnTo>
                      <a:lnTo>
                        <a:pt x="78" y="595"/>
                      </a:lnTo>
                      <a:lnTo>
                        <a:pt x="78" y="596"/>
                      </a:lnTo>
                      <a:lnTo>
                        <a:pt x="77" y="595"/>
                      </a:lnTo>
                      <a:lnTo>
                        <a:pt x="77" y="594"/>
                      </a:lnTo>
                      <a:lnTo>
                        <a:pt x="76" y="593"/>
                      </a:lnTo>
                      <a:lnTo>
                        <a:pt x="75" y="594"/>
                      </a:lnTo>
                      <a:lnTo>
                        <a:pt x="74" y="594"/>
                      </a:lnTo>
                      <a:lnTo>
                        <a:pt x="74" y="594"/>
                      </a:lnTo>
                      <a:lnTo>
                        <a:pt x="74" y="594"/>
                      </a:lnTo>
                      <a:lnTo>
                        <a:pt x="74" y="595"/>
                      </a:lnTo>
                      <a:lnTo>
                        <a:pt x="74" y="595"/>
                      </a:lnTo>
                      <a:lnTo>
                        <a:pt x="73" y="595"/>
                      </a:lnTo>
                      <a:lnTo>
                        <a:pt x="72" y="595"/>
                      </a:lnTo>
                      <a:lnTo>
                        <a:pt x="71" y="595"/>
                      </a:lnTo>
                      <a:lnTo>
                        <a:pt x="71" y="595"/>
                      </a:lnTo>
                      <a:lnTo>
                        <a:pt x="70" y="595"/>
                      </a:lnTo>
                      <a:lnTo>
                        <a:pt x="69" y="595"/>
                      </a:lnTo>
                      <a:lnTo>
                        <a:pt x="69" y="594"/>
                      </a:lnTo>
                      <a:lnTo>
                        <a:pt x="68" y="593"/>
                      </a:lnTo>
                      <a:lnTo>
                        <a:pt x="66" y="593"/>
                      </a:lnTo>
                      <a:lnTo>
                        <a:pt x="66" y="594"/>
                      </a:lnTo>
                      <a:lnTo>
                        <a:pt x="66" y="594"/>
                      </a:lnTo>
                      <a:lnTo>
                        <a:pt x="66" y="594"/>
                      </a:lnTo>
                      <a:lnTo>
                        <a:pt x="66" y="595"/>
                      </a:lnTo>
                      <a:lnTo>
                        <a:pt x="67" y="595"/>
                      </a:lnTo>
                      <a:lnTo>
                        <a:pt x="67" y="595"/>
                      </a:lnTo>
                      <a:lnTo>
                        <a:pt x="67" y="596"/>
                      </a:lnTo>
                      <a:lnTo>
                        <a:pt x="67" y="596"/>
                      </a:lnTo>
                      <a:lnTo>
                        <a:pt x="67" y="597"/>
                      </a:lnTo>
                      <a:lnTo>
                        <a:pt x="68" y="597"/>
                      </a:lnTo>
                      <a:lnTo>
                        <a:pt x="70" y="598"/>
                      </a:lnTo>
                      <a:lnTo>
                        <a:pt x="71" y="598"/>
                      </a:lnTo>
                      <a:lnTo>
                        <a:pt x="69" y="599"/>
                      </a:lnTo>
                      <a:lnTo>
                        <a:pt x="69" y="600"/>
                      </a:lnTo>
                      <a:lnTo>
                        <a:pt x="70" y="600"/>
                      </a:lnTo>
                      <a:lnTo>
                        <a:pt x="70" y="600"/>
                      </a:lnTo>
                      <a:lnTo>
                        <a:pt x="69" y="601"/>
                      </a:lnTo>
                      <a:lnTo>
                        <a:pt x="68" y="601"/>
                      </a:lnTo>
                      <a:lnTo>
                        <a:pt x="69" y="602"/>
                      </a:lnTo>
                      <a:lnTo>
                        <a:pt x="69" y="603"/>
                      </a:lnTo>
                      <a:lnTo>
                        <a:pt x="67" y="603"/>
                      </a:lnTo>
                      <a:lnTo>
                        <a:pt x="66" y="603"/>
                      </a:lnTo>
                      <a:lnTo>
                        <a:pt x="66" y="604"/>
                      </a:lnTo>
                      <a:lnTo>
                        <a:pt x="66" y="604"/>
                      </a:lnTo>
                      <a:lnTo>
                        <a:pt x="66" y="605"/>
                      </a:lnTo>
                      <a:lnTo>
                        <a:pt x="65" y="606"/>
                      </a:lnTo>
                      <a:lnTo>
                        <a:pt x="65" y="605"/>
                      </a:lnTo>
                      <a:lnTo>
                        <a:pt x="65" y="604"/>
                      </a:lnTo>
                      <a:lnTo>
                        <a:pt x="63" y="604"/>
                      </a:lnTo>
                      <a:lnTo>
                        <a:pt x="64" y="603"/>
                      </a:lnTo>
                      <a:lnTo>
                        <a:pt x="63" y="602"/>
                      </a:lnTo>
                      <a:lnTo>
                        <a:pt x="63" y="601"/>
                      </a:lnTo>
                      <a:lnTo>
                        <a:pt x="62" y="601"/>
                      </a:lnTo>
                      <a:lnTo>
                        <a:pt x="62" y="600"/>
                      </a:lnTo>
                      <a:lnTo>
                        <a:pt x="62" y="599"/>
                      </a:lnTo>
                      <a:lnTo>
                        <a:pt x="62" y="599"/>
                      </a:lnTo>
                      <a:lnTo>
                        <a:pt x="63" y="598"/>
                      </a:lnTo>
                      <a:lnTo>
                        <a:pt x="63" y="597"/>
                      </a:lnTo>
                      <a:lnTo>
                        <a:pt x="62" y="597"/>
                      </a:lnTo>
                      <a:lnTo>
                        <a:pt x="63" y="596"/>
                      </a:lnTo>
                      <a:lnTo>
                        <a:pt x="59" y="595"/>
                      </a:lnTo>
                      <a:lnTo>
                        <a:pt x="59" y="594"/>
                      </a:lnTo>
                      <a:lnTo>
                        <a:pt x="60" y="594"/>
                      </a:lnTo>
                      <a:lnTo>
                        <a:pt x="60" y="593"/>
                      </a:lnTo>
                      <a:lnTo>
                        <a:pt x="58" y="592"/>
                      </a:lnTo>
                      <a:lnTo>
                        <a:pt x="57" y="591"/>
                      </a:lnTo>
                      <a:lnTo>
                        <a:pt x="55" y="591"/>
                      </a:lnTo>
                      <a:lnTo>
                        <a:pt x="55" y="591"/>
                      </a:lnTo>
                      <a:lnTo>
                        <a:pt x="55" y="593"/>
                      </a:lnTo>
                      <a:lnTo>
                        <a:pt x="54" y="593"/>
                      </a:lnTo>
                      <a:lnTo>
                        <a:pt x="54" y="593"/>
                      </a:lnTo>
                      <a:lnTo>
                        <a:pt x="53" y="593"/>
                      </a:lnTo>
                      <a:lnTo>
                        <a:pt x="53" y="593"/>
                      </a:lnTo>
                      <a:lnTo>
                        <a:pt x="54" y="592"/>
                      </a:lnTo>
                      <a:lnTo>
                        <a:pt x="54" y="591"/>
                      </a:lnTo>
                      <a:lnTo>
                        <a:pt x="53" y="591"/>
                      </a:lnTo>
                      <a:lnTo>
                        <a:pt x="52" y="590"/>
                      </a:lnTo>
                      <a:lnTo>
                        <a:pt x="52" y="590"/>
                      </a:lnTo>
                      <a:lnTo>
                        <a:pt x="51" y="589"/>
                      </a:lnTo>
                      <a:lnTo>
                        <a:pt x="51" y="589"/>
                      </a:lnTo>
                      <a:lnTo>
                        <a:pt x="51" y="589"/>
                      </a:lnTo>
                      <a:lnTo>
                        <a:pt x="51" y="589"/>
                      </a:lnTo>
                      <a:lnTo>
                        <a:pt x="49" y="588"/>
                      </a:lnTo>
                      <a:lnTo>
                        <a:pt x="49" y="588"/>
                      </a:lnTo>
                      <a:lnTo>
                        <a:pt x="48" y="588"/>
                      </a:lnTo>
                      <a:lnTo>
                        <a:pt x="49" y="587"/>
                      </a:lnTo>
                      <a:lnTo>
                        <a:pt x="48" y="587"/>
                      </a:lnTo>
                      <a:lnTo>
                        <a:pt x="48" y="586"/>
                      </a:lnTo>
                      <a:lnTo>
                        <a:pt x="49" y="586"/>
                      </a:lnTo>
                      <a:lnTo>
                        <a:pt x="49" y="586"/>
                      </a:lnTo>
                      <a:lnTo>
                        <a:pt x="51" y="586"/>
                      </a:lnTo>
                      <a:lnTo>
                        <a:pt x="52" y="587"/>
                      </a:lnTo>
                      <a:lnTo>
                        <a:pt x="55" y="586"/>
                      </a:lnTo>
                      <a:lnTo>
                        <a:pt x="56" y="587"/>
                      </a:lnTo>
                      <a:lnTo>
                        <a:pt x="57" y="587"/>
                      </a:lnTo>
                      <a:lnTo>
                        <a:pt x="57" y="587"/>
                      </a:lnTo>
                      <a:lnTo>
                        <a:pt x="57" y="588"/>
                      </a:lnTo>
                      <a:lnTo>
                        <a:pt x="58" y="588"/>
                      </a:lnTo>
                      <a:lnTo>
                        <a:pt x="58" y="587"/>
                      </a:lnTo>
                      <a:lnTo>
                        <a:pt x="59" y="586"/>
                      </a:lnTo>
                      <a:lnTo>
                        <a:pt x="59" y="585"/>
                      </a:lnTo>
                      <a:lnTo>
                        <a:pt x="59" y="584"/>
                      </a:lnTo>
                      <a:lnTo>
                        <a:pt x="59" y="583"/>
                      </a:lnTo>
                      <a:lnTo>
                        <a:pt x="60" y="583"/>
                      </a:lnTo>
                      <a:lnTo>
                        <a:pt x="60" y="581"/>
                      </a:lnTo>
                      <a:lnTo>
                        <a:pt x="60" y="581"/>
                      </a:lnTo>
                      <a:lnTo>
                        <a:pt x="60" y="580"/>
                      </a:lnTo>
                      <a:lnTo>
                        <a:pt x="61" y="580"/>
                      </a:lnTo>
                      <a:lnTo>
                        <a:pt x="61" y="580"/>
                      </a:lnTo>
                      <a:lnTo>
                        <a:pt x="61" y="579"/>
                      </a:lnTo>
                      <a:lnTo>
                        <a:pt x="62" y="579"/>
                      </a:lnTo>
                      <a:lnTo>
                        <a:pt x="62" y="580"/>
                      </a:lnTo>
                      <a:lnTo>
                        <a:pt x="63" y="580"/>
                      </a:lnTo>
                      <a:lnTo>
                        <a:pt x="64" y="578"/>
                      </a:lnTo>
                      <a:lnTo>
                        <a:pt x="65" y="578"/>
                      </a:lnTo>
                      <a:lnTo>
                        <a:pt x="65" y="577"/>
                      </a:lnTo>
                      <a:lnTo>
                        <a:pt x="65" y="577"/>
                      </a:lnTo>
                      <a:lnTo>
                        <a:pt x="65" y="576"/>
                      </a:lnTo>
                      <a:lnTo>
                        <a:pt x="67" y="576"/>
                      </a:lnTo>
                      <a:lnTo>
                        <a:pt x="67" y="575"/>
                      </a:lnTo>
                      <a:lnTo>
                        <a:pt x="68" y="575"/>
                      </a:lnTo>
                      <a:lnTo>
                        <a:pt x="69" y="574"/>
                      </a:lnTo>
                      <a:lnTo>
                        <a:pt x="69" y="574"/>
                      </a:lnTo>
                      <a:lnTo>
                        <a:pt x="70" y="574"/>
                      </a:lnTo>
                      <a:lnTo>
                        <a:pt x="71" y="574"/>
                      </a:lnTo>
                      <a:lnTo>
                        <a:pt x="71" y="574"/>
                      </a:lnTo>
                      <a:lnTo>
                        <a:pt x="73" y="574"/>
                      </a:lnTo>
                      <a:lnTo>
                        <a:pt x="73" y="574"/>
                      </a:lnTo>
                      <a:lnTo>
                        <a:pt x="74" y="574"/>
                      </a:lnTo>
                      <a:lnTo>
                        <a:pt x="75" y="574"/>
                      </a:lnTo>
                      <a:lnTo>
                        <a:pt x="75" y="575"/>
                      </a:lnTo>
                      <a:lnTo>
                        <a:pt x="77" y="575"/>
                      </a:lnTo>
                      <a:lnTo>
                        <a:pt x="78" y="575"/>
                      </a:lnTo>
                      <a:lnTo>
                        <a:pt x="78" y="574"/>
                      </a:lnTo>
                      <a:lnTo>
                        <a:pt x="79" y="573"/>
                      </a:lnTo>
                      <a:lnTo>
                        <a:pt x="79" y="573"/>
                      </a:lnTo>
                      <a:lnTo>
                        <a:pt x="80" y="573"/>
                      </a:lnTo>
                      <a:lnTo>
                        <a:pt x="79" y="572"/>
                      </a:lnTo>
                      <a:lnTo>
                        <a:pt x="80" y="572"/>
                      </a:lnTo>
                      <a:lnTo>
                        <a:pt x="80" y="571"/>
                      </a:lnTo>
                      <a:lnTo>
                        <a:pt x="80" y="570"/>
                      </a:lnTo>
                      <a:lnTo>
                        <a:pt x="80" y="570"/>
                      </a:lnTo>
                      <a:lnTo>
                        <a:pt x="80" y="569"/>
                      </a:lnTo>
                      <a:lnTo>
                        <a:pt x="80" y="568"/>
                      </a:lnTo>
                      <a:lnTo>
                        <a:pt x="80" y="568"/>
                      </a:lnTo>
                      <a:lnTo>
                        <a:pt x="80" y="568"/>
                      </a:lnTo>
                      <a:lnTo>
                        <a:pt x="80" y="567"/>
                      </a:lnTo>
                      <a:lnTo>
                        <a:pt x="79" y="567"/>
                      </a:lnTo>
                      <a:lnTo>
                        <a:pt x="80" y="564"/>
                      </a:lnTo>
                      <a:lnTo>
                        <a:pt x="80" y="563"/>
                      </a:lnTo>
                      <a:lnTo>
                        <a:pt x="80" y="562"/>
                      </a:lnTo>
                      <a:lnTo>
                        <a:pt x="80" y="561"/>
                      </a:lnTo>
                      <a:lnTo>
                        <a:pt x="79" y="560"/>
                      </a:lnTo>
                      <a:lnTo>
                        <a:pt x="79" y="559"/>
                      </a:lnTo>
                      <a:lnTo>
                        <a:pt x="79" y="558"/>
                      </a:lnTo>
                      <a:lnTo>
                        <a:pt x="79" y="558"/>
                      </a:lnTo>
                      <a:lnTo>
                        <a:pt x="79" y="557"/>
                      </a:lnTo>
                      <a:lnTo>
                        <a:pt x="79" y="557"/>
                      </a:lnTo>
                      <a:lnTo>
                        <a:pt x="79" y="557"/>
                      </a:lnTo>
                      <a:lnTo>
                        <a:pt x="79" y="557"/>
                      </a:lnTo>
                      <a:lnTo>
                        <a:pt x="78" y="557"/>
                      </a:lnTo>
                      <a:lnTo>
                        <a:pt x="78" y="555"/>
                      </a:lnTo>
                      <a:lnTo>
                        <a:pt x="78" y="555"/>
                      </a:lnTo>
                      <a:lnTo>
                        <a:pt x="78" y="553"/>
                      </a:lnTo>
                      <a:lnTo>
                        <a:pt x="78" y="553"/>
                      </a:lnTo>
                      <a:lnTo>
                        <a:pt x="78" y="552"/>
                      </a:lnTo>
                      <a:lnTo>
                        <a:pt x="78" y="552"/>
                      </a:lnTo>
                      <a:lnTo>
                        <a:pt x="77" y="549"/>
                      </a:lnTo>
                      <a:lnTo>
                        <a:pt x="76" y="548"/>
                      </a:lnTo>
                      <a:lnTo>
                        <a:pt x="76" y="546"/>
                      </a:lnTo>
                      <a:lnTo>
                        <a:pt x="74" y="545"/>
                      </a:lnTo>
                      <a:lnTo>
                        <a:pt x="74" y="543"/>
                      </a:lnTo>
                      <a:lnTo>
                        <a:pt x="73" y="543"/>
                      </a:lnTo>
                      <a:lnTo>
                        <a:pt x="73" y="543"/>
                      </a:lnTo>
                      <a:lnTo>
                        <a:pt x="72" y="545"/>
                      </a:lnTo>
                      <a:lnTo>
                        <a:pt x="70" y="545"/>
                      </a:lnTo>
                      <a:lnTo>
                        <a:pt x="69" y="543"/>
                      </a:lnTo>
                      <a:lnTo>
                        <a:pt x="69" y="545"/>
                      </a:lnTo>
                      <a:lnTo>
                        <a:pt x="69" y="546"/>
                      </a:lnTo>
                      <a:lnTo>
                        <a:pt x="69" y="545"/>
                      </a:lnTo>
                      <a:lnTo>
                        <a:pt x="69" y="545"/>
                      </a:lnTo>
                      <a:lnTo>
                        <a:pt x="68" y="543"/>
                      </a:lnTo>
                      <a:lnTo>
                        <a:pt x="66" y="543"/>
                      </a:lnTo>
                      <a:lnTo>
                        <a:pt x="65" y="543"/>
                      </a:lnTo>
                      <a:lnTo>
                        <a:pt x="65" y="545"/>
                      </a:lnTo>
                      <a:lnTo>
                        <a:pt x="64" y="545"/>
                      </a:lnTo>
                      <a:lnTo>
                        <a:pt x="64" y="545"/>
                      </a:lnTo>
                      <a:lnTo>
                        <a:pt x="65" y="543"/>
                      </a:lnTo>
                      <a:lnTo>
                        <a:pt x="64" y="542"/>
                      </a:lnTo>
                      <a:lnTo>
                        <a:pt x="63" y="542"/>
                      </a:lnTo>
                      <a:lnTo>
                        <a:pt x="62" y="542"/>
                      </a:lnTo>
                      <a:lnTo>
                        <a:pt x="62" y="542"/>
                      </a:lnTo>
                      <a:lnTo>
                        <a:pt x="62" y="541"/>
                      </a:lnTo>
                      <a:lnTo>
                        <a:pt x="61" y="541"/>
                      </a:lnTo>
                      <a:lnTo>
                        <a:pt x="61" y="542"/>
                      </a:lnTo>
                      <a:lnTo>
                        <a:pt x="61" y="542"/>
                      </a:lnTo>
                      <a:lnTo>
                        <a:pt x="60" y="542"/>
                      </a:lnTo>
                      <a:lnTo>
                        <a:pt x="60" y="542"/>
                      </a:lnTo>
                      <a:lnTo>
                        <a:pt x="60" y="541"/>
                      </a:lnTo>
                      <a:lnTo>
                        <a:pt x="58" y="542"/>
                      </a:lnTo>
                      <a:lnTo>
                        <a:pt x="58" y="542"/>
                      </a:lnTo>
                      <a:lnTo>
                        <a:pt x="58" y="541"/>
                      </a:lnTo>
                      <a:lnTo>
                        <a:pt x="58" y="541"/>
                      </a:lnTo>
                      <a:lnTo>
                        <a:pt x="57" y="540"/>
                      </a:lnTo>
                      <a:lnTo>
                        <a:pt x="54" y="540"/>
                      </a:lnTo>
                      <a:lnTo>
                        <a:pt x="53" y="541"/>
                      </a:lnTo>
                      <a:lnTo>
                        <a:pt x="51" y="540"/>
                      </a:lnTo>
                      <a:lnTo>
                        <a:pt x="49" y="541"/>
                      </a:lnTo>
                      <a:lnTo>
                        <a:pt x="49" y="542"/>
                      </a:lnTo>
                      <a:lnTo>
                        <a:pt x="49" y="541"/>
                      </a:lnTo>
                      <a:lnTo>
                        <a:pt x="49" y="542"/>
                      </a:lnTo>
                      <a:lnTo>
                        <a:pt x="49" y="542"/>
                      </a:lnTo>
                      <a:lnTo>
                        <a:pt x="49" y="541"/>
                      </a:lnTo>
                      <a:lnTo>
                        <a:pt x="49" y="541"/>
                      </a:lnTo>
                      <a:lnTo>
                        <a:pt x="48" y="540"/>
                      </a:lnTo>
                      <a:lnTo>
                        <a:pt x="48" y="540"/>
                      </a:lnTo>
                      <a:lnTo>
                        <a:pt x="47" y="541"/>
                      </a:lnTo>
                      <a:lnTo>
                        <a:pt x="47" y="541"/>
                      </a:lnTo>
                      <a:lnTo>
                        <a:pt x="47" y="541"/>
                      </a:lnTo>
                      <a:lnTo>
                        <a:pt x="46" y="540"/>
                      </a:lnTo>
                      <a:lnTo>
                        <a:pt x="44" y="541"/>
                      </a:lnTo>
                      <a:lnTo>
                        <a:pt x="44" y="541"/>
                      </a:lnTo>
                      <a:lnTo>
                        <a:pt x="43" y="542"/>
                      </a:lnTo>
                      <a:lnTo>
                        <a:pt x="41" y="543"/>
                      </a:lnTo>
                      <a:lnTo>
                        <a:pt x="41" y="543"/>
                      </a:lnTo>
                      <a:lnTo>
                        <a:pt x="40" y="545"/>
                      </a:lnTo>
                      <a:lnTo>
                        <a:pt x="40" y="545"/>
                      </a:lnTo>
                      <a:lnTo>
                        <a:pt x="40" y="546"/>
                      </a:lnTo>
                      <a:lnTo>
                        <a:pt x="40" y="546"/>
                      </a:lnTo>
                      <a:lnTo>
                        <a:pt x="40" y="546"/>
                      </a:lnTo>
                      <a:lnTo>
                        <a:pt x="40" y="543"/>
                      </a:lnTo>
                      <a:lnTo>
                        <a:pt x="39" y="543"/>
                      </a:lnTo>
                      <a:lnTo>
                        <a:pt x="38" y="543"/>
                      </a:lnTo>
                      <a:lnTo>
                        <a:pt x="37" y="545"/>
                      </a:lnTo>
                      <a:lnTo>
                        <a:pt x="36" y="545"/>
                      </a:lnTo>
                      <a:lnTo>
                        <a:pt x="36" y="545"/>
                      </a:lnTo>
                      <a:lnTo>
                        <a:pt x="35" y="543"/>
                      </a:lnTo>
                      <a:lnTo>
                        <a:pt x="35" y="542"/>
                      </a:lnTo>
                      <a:lnTo>
                        <a:pt x="36" y="542"/>
                      </a:lnTo>
                      <a:lnTo>
                        <a:pt x="36" y="541"/>
                      </a:lnTo>
                      <a:lnTo>
                        <a:pt x="36" y="541"/>
                      </a:lnTo>
                      <a:lnTo>
                        <a:pt x="37" y="541"/>
                      </a:lnTo>
                      <a:lnTo>
                        <a:pt x="37" y="541"/>
                      </a:lnTo>
                      <a:lnTo>
                        <a:pt x="37" y="539"/>
                      </a:lnTo>
                      <a:lnTo>
                        <a:pt x="38" y="539"/>
                      </a:lnTo>
                      <a:lnTo>
                        <a:pt x="37" y="538"/>
                      </a:lnTo>
                      <a:lnTo>
                        <a:pt x="37" y="538"/>
                      </a:lnTo>
                      <a:lnTo>
                        <a:pt x="36" y="537"/>
                      </a:lnTo>
                      <a:lnTo>
                        <a:pt x="36" y="537"/>
                      </a:lnTo>
                      <a:lnTo>
                        <a:pt x="36" y="536"/>
                      </a:lnTo>
                      <a:lnTo>
                        <a:pt x="37" y="535"/>
                      </a:lnTo>
                      <a:lnTo>
                        <a:pt x="37" y="535"/>
                      </a:lnTo>
                      <a:lnTo>
                        <a:pt x="38" y="535"/>
                      </a:lnTo>
                      <a:lnTo>
                        <a:pt x="38" y="535"/>
                      </a:lnTo>
                      <a:lnTo>
                        <a:pt x="39" y="534"/>
                      </a:lnTo>
                      <a:lnTo>
                        <a:pt x="39" y="534"/>
                      </a:lnTo>
                      <a:lnTo>
                        <a:pt x="40" y="533"/>
                      </a:lnTo>
                      <a:lnTo>
                        <a:pt x="40" y="532"/>
                      </a:lnTo>
                      <a:lnTo>
                        <a:pt x="39" y="532"/>
                      </a:lnTo>
                      <a:lnTo>
                        <a:pt x="39" y="531"/>
                      </a:lnTo>
                      <a:lnTo>
                        <a:pt x="38" y="531"/>
                      </a:lnTo>
                      <a:lnTo>
                        <a:pt x="38" y="530"/>
                      </a:lnTo>
                      <a:lnTo>
                        <a:pt x="36" y="530"/>
                      </a:lnTo>
                      <a:lnTo>
                        <a:pt x="36" y="530"/>
                      </a:lnTo>
                      <a:lnTo>
                        <a:pt x="37" y="530"/>
                      </a:lnTo>
                      <a:lnTo>
                        <a:pt x="37" y="528"/>
                      </a:lnTo>
                      <a:lnTo>
                        <a:pt x="39" y="528"/>
                      </a:lnTo>
                      <a:lnTo>
                        <a:pt x="39" y="527"/>
                      </a:lnTo>
                      <a:lnTo>
                        <a:pt x="40" y="527"/>
                      </a:lnTo>
                      <a:lnTo>
                        <a:pt x="41" y="526"/>
                      </a:lnTo>
                      <a:lnTo>
                        <a:pt x="41" y="526"/>
                      </a:lnTo>
                      <a:lnTo>
                        <a:pt x="42" y="526"/>
                      </a:lnTo>
                      <a:lnTo>
                        <a:pt x="42" y="527"/>
                      </a:lnTo>
                      <a:lnTo>
                        <a:pt x="42" y="527"/>
                      </a:lnTo>
                      <a:lnTo>
                        <a:pt x="43" y="526"/>
                      </a:lnTo>
                      <a:lnTo>
                        <a:pt x="44" y="527"/>
                      </a:lnTo>
                      <a:lnTo>
                        <a:pt x="45" y="526"/>
                      </a:lnTo>
                      <a:lnTo>
                        <a:pt x="48" y="526"/>
                      </a:lnTo>
                      <a:lnTo>
                        <a:pt x="48" y="525"/>
                      </a:lnTo>
                      <a:lnTo>
                        <a:pt x="48" y="524"/>
                      </a:lnTo>
                      <a:lnTo>
                        <a:pt x="49" y="524"/>
                      </a:lnTo>
                      <a:lnTo>
                        <a:pt x="49" y="524"/>
                      </a:lnTo>
                      <a:lnTo>
                        <a:pt x="51" y="523"/>
                      </a:lnTo>
                      <a:lnTo>
                        <a:pt x="52" y="523"/>
                      </a:lnTo>
                      <a:lnTo>
                        <a:pt x="53" y="522"/>
                      </a:lnTo>
                      <a:lnTo>
                        <a:pt x="53" y="521"/>
                      </a:lnTo>
                      <a:lnTo>
                        <a:pt x="53" y="521"/>
                      </a:lnTo>
                      <a:lnTo>
                        <a:pt x="54" y="521"/>
                      </a:lnTo>
                      <a:lnTo>
                        <a:pt x="54" y="521"/>
                      </a:lnTo>
                      <a:lnTo>
                        <a:pt x="56" y="521"/>
                      </a:lnTo>
                      <a:lnTo>
                        <a:pt x="57" y="520"/>
                      </a:lnTo>
                      <a:lnTo>
                        <a:pt x="58" y="520"/>
                      </a:lnTo>
                      <a:lnTo>
                        <a:pt x="59" y="519"/>
                      </a:lnTo>
                      <a:lnTo>
                        <a:pt x="59" y="519"/>
                      </a:lnTo>
                      <a:lnTo>
                        <a:pt x="58" y="518"/>
                      </a:lnTo>
                      <a:lnTo>
                        <a:pt x="58" y="518"/>
                      </a:lnTo>
                      <a:lnTo>
                        <a:pt x="61" y="517"/>
                      </a:lnTo>
                      <a:lnTo>
                        <a:pt x="61" y="516"/>
                      </a:lnTo>
                      <a:lnTo>
                        <a:pt x="60" y="516"/>
                      </a:lnTo>
                      <a:lnTo>
                        <a:pt x="59" y="516"/>
                      </a:lnTo>
                      <a:lnTo>
                        <a:pt x="59" y="516"/>
                      </a:lnTo>
                      <a:lnTo>
                        <a:pt x="61" y="516"/>
                      </a:lnTo>
                      <a:lnTo>
                        <a:pt x="61" y="515"/>
                      </a:lnTo>
                      <a:lnTo>
                        <a:pt x="60" y="515"/>
                      </a:lnTo>
                      <a:lnTo>
                        <a:pt x="62" y="515"/>
                      </a:lnTo>
                      <a:lnTo>
                        <a:pt x="61" y="514"/>
                      </a:lnTo>
                      <a:lnTo>
                        <a:pt x="61" y="514"/>
                      </a:lnTo>
                      <a:lnTo>
                        <a:pt x="61" y="514"/>
                      </a:lnTo>
                      <a:lnTo>
                        <a:pt x="62" y="514"/>
                      </a:lnTo>
                      <a:lnTo>
                        <a:pt x="62" y="514"/>
                      </a:lnTo>
                      <a:lnTo>
                        <a:pt x="64" y="514"/>
                      </a:lnTo>
                      <a:lnTo>
                        <a:pt x="64" y="514"/>
                      </a:lnTo>
                      <a:lnTo>
                        <a:pt x="66" y="514"/>
                      </a:lnTo>
                      <a:lnTo>
                        <a:pt x="66" y="514"/>
                      </a:lnTo>
                      <a:lnTo>
                        <a:pt x="67" y="514"/>
                      </a:lnTo>
                      <a:lnTo>
                        <a:pt x="68" y="515"/>
                      </a:lnTo>
                      <a:lnTo>
                        <a:pt x="69" y="515"/>
                      </a:lnTo>
                      <a:lnTo>
                        <a:pt x="70" y="514"/>
                      </a:lnTo>
                      <a:lnTo>
                        <a:pt x="69" y="513"/>
                      </a:lnTo>
                      <a:lnTo>
                        <a:pt x="70" y="513"/>
                      </a:lnTo>
                      <a:lnTo>
                        <a:pt x="71" y="513"/>
                      </a:lnTo>
                      <a:lnTo>
                        <a:pt x="71" y="512"/>
                      </a:lnTo>
                      <a:lnTo>
                        <a:pt x="72" y="512"/>
                      </a:lnTo>
                      <a:lnTo>
                        <a:pt x="72" y="512"/>
                      </a:lnTo>
                      <a:lnTo>
                        <a:pt x="72" y="511"/>
                      </a:lnTo>
                      <a:lnTo>
                        <a:pt x="71" y="511"/>
                      </a:lnTo>
                      <a:lnTo>
                        <a:pt x="71" y="510"/>
                      </a:lnTo>
                      <a:lnTo>
                        <a:pt x="72" y="510"/>
                      </a:lnTo>
                      <a:lnTo>
                        <a:pt x="72" y="510"/>
                      </a:lnTo>
                      <a:lnTo>
                        <a:pt x="73" y="510"/>
                      </a:lnTo>
                      <a:lnTo>
                        <a:pt x="73" y="509"/>
                      </a:lnTo>
                      <a:lnTo>
                        <a:pt x="73" y="509"/>
                      </a:lnTo>
                      <a:lnTo>
                        <a:pt x="73" y="510"/>
                      </a:lnTo>
                      <a:lnTo>
                        <a:pt x="74" y="510"/>
                      </a:lnTo>
                      <a:lnTo>
                        <a:pt x="75" y="510"/>
                      </a:lnTo>
                      <a:lnTo>
                        <a:pt x="75" y="510"/>
                      </a:lnTo>
                      <a:lnTo>
                        <a:pt x="76" y="510"/>
                      </a:lnTo>
                      <a:lnTo>
                        <a:pt x="76" y="510"/>
                      </a:lnTo>
                      <a:lnTo>
                        <a:pt x="79" y="510"/>
                      </a:lnTo>
                      <a:lnTo>
                        <a:pt x="80" y="509"/>
                      </a:lnTo>
                      <a:lnTo>
                        <a:pt x="80" y="509"/>
                      </a:lnTo>
                      <a:lnTo>
                        <a:pt x="80" y="508"/>
                      </a:lnTo>
                      <a:lnTo>
                        <a:pt x="80" y="508"/>
                      </a:lnTo>
                      <a:lnTo>
                        <a:pt x="81" y="507"/>
                      </a:lnTo>
                      <a:lnTo>
                        <a:pt x="82" y="508"/>
                      </a:lnTo>
                      <a:lnTo>
                        <a:pt x="83" y="508"/>
                      </a:lnTo>
                      <a:lnTo>
                        <a:pt x="83" y="508"/>
                      </a:lnTo>
                      <a:lnTo>
                        <a:pt x="83" y="508"/>
                      </a:lnTo>
                      <a:lnTo>
                        <a:pt x="84" y="507"/>
                      </a:lnTo>
                      <a:lnTo>
                        <a:pt x="84" y="507"/>
                      </a:lnTo>
                      <a:lnTo>
                        <a:pt x="84" y="505"/>
                      </a:lnTo>
                      <a:lnTo>
                        <a:pt x="84" y="505"/>
                      </a:lnTo>
                      <a:lnTo>
                        <a:pt x="84" y="504"/>
                      </a:lnTo>
                      <a:lnTo>
                        <a:pt x="84" y="504"/>
                      </a:lnTo>
                      <a:lnTo>
                        <a:pt x="84" y="504"/>
                      </a:lnTo>
                      <a:lnTo>
                        <a:pt x="83" y="503"/>
                      </a:lnTo>
                      <a:lnTo>
                        <a:pt x="83" y="503"/>
                      </a:lnTo>
                      <a:lnTo>
                        <a:pt x="84" y="503"/>
                      </a:lnTo>
                      <a:lnTo>
                        <a:pt x="84" y="502"/>
                      </a:lnTo>
                      <a:lnTo>
                        <a:pt x="84" y="502"/>
                      </a:lnTo>
                      <a:lnTo>
                        <a:pt x="85" y="501"/>
                      </a:lnTo>
                      <a:lnTo>
                        <a:pt x="84" y="501"/>
                      </a:lnTo>
                      <a:lnTo>
                        <a:pt x="83" y="501"/>
                      </a:lnTo>
                      <a:lnTo>
                        <a:pt x="83" y="499"/>
                      </a:lnTo>
                      <a:lnTo>
                        <a:pt x="83" y="499"/>
                      </a:lnTo>
                      <a:lnTo>
                        <a:pt x="82" y="499"/>
                      </a:lnTo>
                      <a:lnTo>
                        <a:pt x="82" y="498"/>
                      </a:lnTo>
                      <a:lnTo>
                        <a:pt x="84" y="497"/>
                      </a:lnTo>
                      <a:lnTo>
                        <a:pt x="86" y="495"/>
                      </a:lnTo>
                      <a:lnTo>
                        <a:pt x="86" y="495"/>
                      </a:lnTo>
                      <a:lnTo>
                        <a:pt x="86" y="494"/>
                      </a:lnTo>
                      <a:lnTo>
                        <a:pt x="84" y="495"/>
                      </a:lnTo>
                      <a:lnTo>
                        <a:pt x="84" y="494"/>
                      </a:lnTo>
                      <a:lnTo>
                        <a:pt x="85" y="494"/>
                      </a:lnTo>
                      <a:lnTo>
                        <a:pt x="85" y="493"/>
                      </a:lnTo>
                      <a:lnTo>
                        <a:pt x="85" y="493"/>
                      </a:lnTo>
                      <a:lnTo>
                        <a:pt x="85" y="493"/>
                      </a:lnTo>
                      <a:lnTo>
                        <a:pt x="85" y="493"/>
                      </a:lnTo>
                      <a:lnTo>
                        <a:pt x="84" y="492"/>
                      </a:lnTo>
                      <a:lnTo>
                        <a:pt x="83" y="492"/>
                      </a:lnTo>
                      <a:lnTo>
                        <a:pt x="83" y="492"/>
                      </a:lnTo>
                      <a:lnTo>
                        <a:pt x="83" y="491"/>
                      </a:lnTo>
                      <a:lnTo>
                        <a:pt x="83" y="491"/>
                      </a:lnTo>
                      <a:lnTo>
                        <a:pt x="83" y="490"/>
                      </a:lnTo>
                      <a:lnTo>
                        <a:pt x="84" y="489"/>
                      </a:lnTo>
                      <a:lnTo>
                        <a:pt x="84" y="489"/>
                      </a:lnTo>
                      <a:lnTo>
                        <a:pt x="88" y="488"/>
                      </a:lnTo>
                      <a:lnTo>
                        <a:pt x="88" y="487"/>
                      </a:lnTo>
                      <a:lnTo>
                        <a:pt x="88" y="487"/>
                      </a:lnTo>
                      <a:lnTo>
                        <a:pt x="86" y="487"/>
                      </a:lnTo>
                      <a:lnTo>
                        <a:pt x="85" y="487"/>
                      </a:lnTo>
                      <a:lnTo>
                        <a:pt x="86" y="486"/>
                      </a:lnTo>
                      <a:lnTo>
                        <a:pt x="88" y="486"/>
                      </a:lnTo>
                      <a:lnTo>
                        <a:pt x="89" y="486"/>
                      </a:lnTo>
                      <a:lnTo>
                        <a:pt x="89" y="486"/>
                      </a:lnTo>
                      <a:lnTo>
                        <a:pt x="90" y="486"/>
                      </a:lnTo>
                      <a:lnTo>
                        <a:pt x="90" y="486"/>
                      </a:lnTo>
                      <a:lnTo>
                        <a:pt x="91" y="486"/>
                      </a:lnTo>
                      <a:lnTo>
                        <a:pt x="91" y="486"/>
                      </a:lnTo>
                      <a:lnTo>
                        <a:pt x="91" y="487"/>
                      </a:lnTo>
                      <a:lnTo>
                        <a:pt x="92" y="487"/>
                      </a:lnTo>
                      <a:lnTo>
                        <a:pt x="92" y="487"/>
                      </a:lnTo>
                      <a:lnTo>
                        <a:pt x="93" y="487"/>
                      </a:lnTo>
                      <a:lnTo>
                        <a:pt x="93" y="487"/>
                      </a:lnTo>
                      <a:lnTo>
                        <a:pt x="95" y="487"/>
                      </a:lnTo>
                      <a:lnTo>
                        <a:pt x="95" y="487"/>
                      </a:lnTo>
                      <a:lnTo>
                        <a:pt x="96" y="487"/>
                      </a:lnTo>
                      <a:lnTo>
                        <a:pt x="97" y="488"/>
                      </a:lnTo>
                      <a:lnTo>
                        <a:pt x="98" y="488"/>
                      </a:lnTo>
                      <a:lnTo>
                        <a:pt x="98" y="489"/>
                      </a:lnTo>
                      <a:lnTo>
                        <a:pt x="99" y="489"/>
                      </a:lnTo>
                      <a:lnTo>
                        <a:pt x="99" y="489"/>
                      </a:lnTo>
                      <a:lnTo>
                        <a:pt x="99" y="488"/>
                      </a:lnTo>
                      <a:lnTo>
                        <a:pt x="100" y="489"/>
                      </a:lnTo>
                      <a:lnTo>
                        <a:pt x="101" y="488"/>
                      </a:lnTo>
                      <a:lnTo>
                        <a:pt x="101" y="488"/>
                      </a:lnTo>
                      <a:lnTo>
                        <a:pt x="101" y="488"/>
                      </a:lnTo>
                      <a:lnTo>
                        <a:pt x="102" y="488"/>
                      </a:lnTo>
                      <a:lnTo>
                        <a:pt x="102" y="488"/>
                      </a:lnTo>
                      <a:lnTo>
                        <a:pt x="102" y="488"/>
                      </a:lnTo>
                      <a:lnTo>
                        <a:pt x="103" y="488"/>
                      </a:lnTo>
                      <a:lnTo>
                        <a:pt x="103" y="488"/>
                      </a:lnTo>
                      <a:lnTo>
                        <a:pt x="103" y="488"/>
                      </a:lnTo>
                      <a:lnTo>
                        <a:pt x="104" y="489"/>
                      </a:lnTo>
                      <a:lnTo>
                        <a:pt x="104" y="488"/>
                      </a:lnTo>
                      <a:lnTo>
                        <a:pt x="105" y="488"/>
                      </a:lnTo>
                      <a:lnTo>
                        <a:pt x="105" y="489"/>
                      </a:lnTo>
                      <a:lnTo>
                        <a:pt x="105" y="489"/>
                      </a:lnTo>
                      <a:lnTo>
                        <a:pt x="105" y="491"/>
                      </a:lnTo>
                      <a:lnTo>
                        <a:pt x="106" y="491"/>
                      </a:lnTo>
                      <a:lnTo>
                        <a:pt x="106" y="491"/>
                      </a:lnTo>
                      <a:lnTo>
                        <a:pt x="108" y="492"/>
                      </a:lnTo>
                      <a:lnTo>
                        <a:pt x="109" y="492"/>
                      </a:lnTo>
                      <a:lnTo>
                        <a:pt x="108" y="492"/>
                      </a:lnTo>
                      <a:lnTo>
                        <a:pt x="106" y="492"/>
                      </a:lnTo>
                      <a:lnTo>
                        <a:pt x="105" y="493"/>
                      </a:lnTo>
                      <a:lnTo>
                        <a:pt x="105" y="493"/>
                      </a:lnTo>
                      <a:lnTo>
                        <a:pt x="104" y="495"/>
                      </a:lnTo>
                      <a:lnTo>
                        <a:pt x="104" y="496"/>
                      </a:lnTo>
                      <a:lnTo>
                        <a:pt x="105" y="496"/>
                      </a:lnTo>
                      <a:lnTo>
                        <a:pt x="105" y="496"/>
                      </a:lnTo>
                      <a:lnTo>
                        <a:pt x="105" y="496"/>
                      </a:lnTo>
                      <a:lnTo>
                        <a:pt x="106" y="496"/>
                      </a:lnTo>
                      <a:lnTo>
                        <a:pt x="106" y="496"/>
                      </a:lnTo>
                      <a:lnTo>
                        <a:pt x="107" y="496"/>
                      </a:lnTo>
                      <a:lnTo>
                        <a:pt x="107" y="496"/>
                      </a:lnTo>
                      <a:lnTo>
                        <a:pt x="107" y="496"/>
                      </a:lnTo>
                      <a:lnTo>
                        <a:pt x="107" y="497"/>
                      </a:lnTo>
                      <a:lnTo>
                        <a:pt x="108" y="497"/>
                      </a:lnTo>
                      <a:lnTo>
                        <a:pt x="108" y="498"/>
                      </a:lnTo>
                      <a:lnTo>
                        <a:pt x="109" y="498"/>
                      </a:lnTo>
                      <a:lnTo>
                        <a:pt x="108" y="497"/>
                      </a:lnTo>
                      <a:lnTo>
                        <a:pt x="108" y="497"/>
                      </a:lnTo>
                      <a:lnTo>
                        <a:pt x="108" y="496"/>
                      </a:lnTo>
                      <a:lnTo>
                        <a:pt x="109" y="496"/>
                      </a:lnTo>
                      <a:lnTo>
                        <a:pt x="110" y="496"/>
                      </a:lnTo>
                      <a:lnTo>
                        <a:pt x="111" y="496"/>
                      </a:lnTo>
                      <a:lnTo>
                        <a:pt x="111" y="496"/>
                      </a:lnTo>
                      <a:lnTo>
                        <a:pt x="111" y="495"/>
                      </a:lnTo>
                      <a:lnTo>
                        <a:pt x="113" y="495"/>
                      </a:lnTo>
                      <a:lnTo>
                        <a:pt x="113" y="495"/>
                      </a:lnTo>
                      <a:lnTo>
                        <a:pt x="114" y="494"/>
                      </a:lnTo>
                      <a:lnTo>
                        <a:pt x="114" y="494"/>
                      </a:lnTo>
                      <a:lnTo>
                        <a:pt x="115" y="494"/>
                      </a:lnTo>
                      <a:lnTo>
                        <a:pt x="115" y="493"/>
                      </a:lnTo>
                      <a:lnTo>
                        <a:pt x="117" y="493"/>
                      </a:lnTo>
                      <a:lnTo>
                        <a:pt x="117" y="492"/>
                      </a:lnTo>
                      <a:lnTo>
                        <a:pt x="118" y="492"/>
                      </a:lnTo>
                      <a:lnTo>
                        <a:pt x="118" y="492"/>
                      </a:lnTo>
                      <a:lnTo>
                        <a:pt x="118" y="493"/>
                      </a:lnTo>
                      <a:lnTo>
                        <a:pt x="119" y="493"/>
                      </a:lnTo>
                      <a:lnTo>
                        <a:pt x="118" y="492"/>
                      </a:lnTo>
                      <a:lnTo>
                        <a:pt x="118" y="491"/>
                      </a:lnTo>
                      <a:lnTo>
                        <a:pt x="119" y="491"/>
                      </a:lnTo>
                      <a:lnTo>
                        <a:pt x="120" y="490"/>
                      </a:lnTo>
                      <a:lnTo>
                        <a:pt x="120" y="490"/>
                      </a:lnTo>
                      <a:lnTo>
                        <a:pt x="121" y="489"/>
                      </a:lnTo>
                      <a:lnTo>
                        <a:pt x="121" y="489"/>
                      </a:lnTo>
                      <a:lnTo>
                        <a:pt x="120" y="489"/>
                      </a:lnTo>
                      <a:lnTo>
                        <a:pt x="120" y="488"/>
                      </a:lnTo>
                      <a:lnTo>
                        <a:pt x="119" y="488"/>
                      </a:lnTo>
                      <a:lnTo>
                        <a:pt x="119" y="487"/>
                      </a:lnTo>
                      <a:lnTo>
                        <a:pt x="119" y="487"/>
                      </a:lnTo>
                      <a:lnTo>
                        <a:pt x="119" y="486"/>
                      </a:lnTo>
                      <a:lnTo>
                        <a:pt x="120" y="486"/>
                      </a:lnTo>
                      <a:lnTo>
                        <a:pt x="120" y="486"/>
                      </a:lnTo>
                      <a:lnTo>
                        <a:pt x="120" y="486"/>
                      </a:lnTo>
                      <a:lnTo>
                        <a:pt x="120" y="485"/>
                      </a:lnTo>
                      <a:lnTo>
                        <a:pt x="121" y="485"/>
                      </a:lnTo>
                      <a:lnTo>
                        <a:pt x="121" y="485"/>
                      </a:lnTo>
                      <a:lnTo>
                        <a:pt x="122" y="485"/>
                      </a:lnTo>
                      <a:lnTo>
                        <a:pt x="123" y="485"/>
                      </a:lnTo>
                      <a:lnTo>
                        <a:pt x="123" y="486"/>
                      </a:lnTo>
                      <a:lnTo>
                        <a:pt x="125" y="486"/>
                      </a:lnTo>
                      <a:lnTo>
                        <a:pt x="125" y="487"/>
                      </a:lnTo>
                      <a:lnTo>
                        <a:pt x="125" y="488"/>
                      </a:lnTo>
                      <a:lnTo>
                        <a:pt x="125" y="488"/>
                      </a:lnTo>
                      <a:lnTo>
                        <a:pt x="126" y="488"/>
                      </a:lnTo>
                      <a:lnTo>
                        <a:pt x="127" y="489"/>
                      </a:lnTo>
                      <a:lnTo>
                        <a:pt x="128" y="489"/>
                      </a:lnTo>
                      <a:lnTo>
                        <a:pt x="130" y="489"/>
                      </a:lnTo>
                      <a:lnTo>
                        <a:pt x="130" y="490"/>
                      </a:lnTo>
                      <a:lnTo>
                        <a:pt x="131" y="490"/>
                      </a:lnTo>
                      <a:lnTo>
                        <a:pt x="131" y="489"/>
                      </a:lnTo>
                      <a:lnTo>
                        <a:pt x="133" y="489"/>
                      </a:lnTo>
                      <a:lnTo>
                        <a:pt x="133" y="489"/>
                      </a:lnTo>
                      <a:lnTo>
                        <a:pt x="134" y="489"/>
                      </a:lnTo>
                      <a:lnTo>
                        <a:pt x="134" y="489"/>
                      </a:lnTo>
                      <a:lnTo>
                        <a:pt x="135" y="489"/>
                      </a:lnTo>
                      <a:lnTo>
                        <a:pt x="135" y="489"/>
                      </a:lnTo>
                      <a:lnTo>
                        <a:pt x="136" y="489"/>
                      </a:lnTo>
                      <a:lnTo>
                        <a:pt x="136" y="489"/>
                      </a:lnTo>
                      <a:lnTo>
                        <a:pt x="136" y="489"/>
                      </a:lnTo>
                      <a:lnTo>
                        <a:pt x="137" y="489"/>
                      </a:lnTo>
                      <a:lnTo>
                        <a:pt x="139" y="490"/>
                      </a:lnTo>
                      <a:lnTo>
                        <a:pt x="139" y="489"/>
                      </a:lnTo>
                      <a:lnTo>
                        <a:pt x="138" y="489"/>
                      </a:lnTo>
                      <a:lnTo>
                        <a:pt x="137" y="488"/>
                      </a:lnTo>
                      <a:lnTo>
                        <a:pt x="137" y="487"/>
                      </a:lnTo>
                      <a:lnTo>
                        <a:pt x="136" y="486"/>
                      </a:lnTo>
                      <a:lnTo>
                        <a:pt x="136" y="486"/>
                      </a:lnTo>
                      <a:lnTo>
                        <a:pt x="136" y="485"/>
                      </a:lnTo>
                      <a:lnTo>
                        <a:pt x="134" y="484"/>
                      </a:lnTo>
                      <a:lnTo>
                        <a:pt x="135" y="484"/>
                      </a:lnTo>
                      <a:lnTo>
                        <a:pt x="134" y="483"/>
                      </a:lnTo>
                      <a:lnTo>
                        <a:pt x="135" y="483"/>
                      </a:lnTo>
                      <a:lnTo>
                        <a:pt x="135" y="482"/>
                      </a:lnTo>
                      <a:lnTo>
                        <a:pt x="135" y="482"/>
                      </a:lnTo>
                      <a:lnTo>
                        <a:pt x="135" y="482"/>
                      </a:lnTo>
                      <a:lnTo>
                        <a:pt x="136" y="481"/>
                      </a:lnTo>
                      <a:lnTo>
                        <a:pt x="136" y="481"/>
                      </a:lnTo>
                      <a:lnTo>
                        <a:pt x="136" y="480"/>
                      </a:lnTo>
                      <a:lnTo>
                        <a:pt x="137" y="480"/>
                      </a:lnTo>
                      <a:lnTo>
                        <a:pt x="137" y="479"/>
                      </a:lnTo>
                      <a:lnTo>
                        <a:pt x="138" y="479"/>
                      </a:lnTo>
                      <a:lnTo>
                        <a:pt x="139" y="478"/>
                      </a:lnTo>
                      <a:lnTo>
                        <a:pt x="140" y="478"/>
                      </a:lnTo>
                      <a:lnTo>
                        <a:pt x="140" y="478"/>
                      </a:lnTo>
                      <a:lnTo>
                        <a:pt x="141" y="478"/>
                      </a:lnTo>
                      <a:lnTo>
                        <a:pt x="142" y="477"/>
                      </a:lnTo>
                      <a:lnTo>
                        <a:pt x="142" y="477"/>
                      </a:lnTo>
                      <a:lnTo>
                        <a:pt x="142" y="478"/>
                      </a:lnTo>
                      <a:lnTo>
                        <a:pt x="144" y="477"/>
                      </a:lnTo>
                      <a:lnTo>
                        <a:pt x="144" y="478"/>
                      </a:lnTo>
                      <a:lnTo>
                        <a:pt x="144" y="478"/>
                      </a:lnTo>
                      <a:lnTo>
                        <a:pt x="147" y="476"/>
                      </a:lnTo>
                      <a:lnTo>
                        <a:pt x="147" y="475"/>
                      </a:lnTo>
                      <a:lnTo>
                        <a:pt x="149" y="474"/>
                      </a:lnTo>
                      <a:lnTo>
                        <a:pt x="149" y="474"/>
                      </a:lnTo>
                      <a:lnTo>
                        <a:pt x="149" y="473"/>
                      </a:lnTo>
                      <a:lnTo>
                        <a:pt x="149" y="473"/>
                      </a:lnTo>
                      <a:lnTo>
                        <a:pt x="150" y="473"/>
                      </a:lnTo>
                      <a:lnTo>
                        <a:pt x="150" y="472"/>
                      </a:lnTo>
                      <a:lnTo>
                        <a:pt x="151" y="471"/>
                      </a:lnTo>
                      <a:lnTo>
                        <a:pt x="151" y="471"/>
                      </a:lnTo>
                      <a:lnTo>
                        <a:pt x="151" y="471"/>
                      </a:lnTo>
                      <a:lnTo>
                        <a:pt x="151" y="471"/>
                      </a:lnTo>
                      <a:lnTo>
                        <a:pt x="152" y="471"/>
                      </a:lnTo>
                      <a:lnTo>
                        <a:pt x="153" y="467"/>
                      </a:lnTo>
                      <a:lnTo>
                        <a:pt x="154" y="466"/>
                      </a:lnTo>
                      <a:lnTo>
                        <a:pt x="154" y="465"/>
                      </a:lnTo>
                      <a:lnTo>
                        <a:pt x="154" y="465"/>
                      </a:lnTo>
                      <a:lnTo>
                        <a:pt x="155" y="464"/>
                      </a:lnTo>
                      <a:lnTo>
                        <a:pt x="156" y="463"/>
                      </a:lnTo>
                      <a:lnTo>
                        <a:pt x="156" y="463"/>
                      </a:lnTo>
                      <a:lnTo>
                        <a:pt x="156" y="462"/>
                      </a:lnTo>
                      <a:lnTo>
                        <a:pt x="155" y="461"/>
                      </a:lnTo>
                      <a:lnTo>
                        <a:pt x="155" y="461"/>
                      </a:lnTo>
                      <a:lnTo>
                        <a:pt x="154" y="461"/>
                      </a:lnTo>
                      <a:lnTo>
                        <a:pt x="155" y="460"/>
                      </a:lnTo>
                      <a:lnTo>
                        <a:pt x="156" y="460"/>
                      </a:lnTo>
                      <a:lnTo>
                        <a:pt x="157" y="459"/>
                      </a:lnTo>
                      <a:lnTo>
                        <a:pt x="158" y="458"/>
                      </a:lnTo>
                      <a:lnTo>
                        <a:pt x="158" y="457"/>
                      </a:lnTo>
                      <a:lnTo>
                        <a:pt x="158" y="456"/>
                      </a:lnTo>
                      <a:lnTo>
                        <a:pt x="160" y="457"/>
                      </a:lnTo>
                      <a:lnTo>
                        <a:pt x="160" y="458"/>
                      </a:lnTo>
                      <a:lnTo>
                        <a:pt x="163" y="458"/>
                      </a:lnTo>
                      <a:lnTo>
                        <a:pt x="163" y="459"/>
                      </a:lnTo>
                      <a:lnTo>
                        <a:pt x="163" y="459"/>
                      </a:lnTo>
                      <a:lnTo>
                        <a:pt x="163" y="460"/>
                      </a:lnTo>
                      <a:lnTo>
                        <a:pt x="164" y="460"/>
                      </a:lnTo>
                      <a:lnTo>
                        <a:pt x="164" y="460"/>
                      </a:lnTo>
                      <a:lnTo>
                        <a:pt x="165" y="460"/>
                      </a:lnTo>
                      <a:lnTo>
                        <a:pt x="165" y="460"/>
                      </a:lnTo>
                      <a:lnTo>
                        <a:pt x="165" y="460"/>
                      </a:lnTo>
                      <a:lnTo>
                        <a:pt x="165" y="460"/>
                      </a:lnTo>
                      <a:lnTo>
                        <a:pt x="166" y="460"/>
                      </a:lnTo>
                      <a:lnTo>
                        <a:pt x="167" y="461"/>
                      </a:lnTo>
                      <a:lnTo>
                        <a:pt x="168" y="462"/>
                      </a:lnTo>
                      <a:lnTo>
                        <a:pt x="169" y="463"/>
                      </a:lnTo>
                      <a:lnTo>
                        <a:pt x="169" y="463"/>
                      </a:lnTo>
                      <a:lnTo>
                        <a:pt x="169" y="464"/>
                      </a:lnTo>
                      <a:lnTo>
                        <a:pt x="169" y="464"/>
                      </a:lnTo>
                      <a:lnTo>
                        <a:pt x="170" y="465"/>
                      </a:lnTo>
                      <a:lnTo>
                        <a:pt x="169" y="465"/>
                      </a:lnTo>
                      <a:lnTo>
                        <a:pt x="169" y="466"/>
                      </a:lnTo>
                      <a:lnTo>
                        <a:pt x="169" y="466"/>
                      </a:lnTo>
                      <a:lnTo>
                        <a:pt x="169" y="467"/>
                      </a:lnTo>
                      <a:lnTo>
                        <a:pt x="170" y="467"/>
                      </a:lnTo>
                      <a:lnTo>
                        <a:pt x="170" y="466"/>
                      </a:lnTo>
                      <a:lnTo>
                        <a:pt x="170" y="464"/>
                      </a:lnTo>
                      <a:lnTo>
                        <a:pt x="171" y="464"/>
                      </a:lnTo>
                      <a:lnTo>
                        <a:pt x="171" y="462"/>
                      </a:lnTo>
                      <a:lnTo>
                        <a:pt x="170" y="461"/>
                      </a:lnTo>
                      <a:lnTo>
                        <a:pt x="169" y="461"/>
                      </a:lnTo>
                      <a:lnTo>
                        <a:pt x="169" y="461"/>
                      </a:lnTo>
                      <a:lnTo>
                        <a:pt x="168" y="461"/>
                      </a:lnTo>
                      <a:lnTo>
                        <a:pt x="168" y="461"/>
                      </a:lnTo>
                      <a:lnTo>
                        <a:pt x="168" y="460"/>
                      </a:lnTo>
                      <a:lnTo>
                        <a:pt x="169" y="459"/>
                      </a:lnTo>
                      <a:lnTo>
                        <a:pt x="168" y="458"/>
                      </a:lnTo>
                      <a:lnTo>
                        <a:pt x="168" y="457"/>
                      </a:lnTo>
                      <a:lnTo>
                        <a:pt x="167" y="456"/>
                      </a:lnTo>
                      <a:lnTo>
                        <a:pt x="167" y="456"/>
                      </a:lnTo>
                      <a:lnTo>
                        <a:pt x="168" y="455"/>
                      </a:lnTo>
                      <a:lnTo>
                        <a:pt x="168" y="455"/>
                      </a:lnTo>
                      <a:lnTo>
                        <a:pt x="168" y="454"/>
                      </a:lnTo>
                      <a:lnTo>
                        <a:pt x="168" y="453"/>
                      </a:lnTo>
                      <a:lnTo>
                        <a:pt x="168" y="453"/>
                      </a:lnTo>
                      <a:lnTo>
                        <a:pt x="168" y="452"/>
                      </a:lnTo>
                      <a:lnTo>
                        <a:pt x="169" y="452"/>
                      </a:lnTo>
                      <a:lnTo>
                        <a:pt x="169" y="453"/>
                      </a:lnTo>
                      <a:lnTo>
                        <a:pt x="171" y="453"/>
                      </a:lnTo>
                      <a:lnTo>
                        <a:pt x="171" y="452"/>
                      </a:lnTo>
                      <a:lnTo>
                        <a:pt x="171" y="452"/>
                      </a:lnTo>
                      <a:lnTo>
                        <a:pt x="172" y="452"/>
                      </a:lnTo>
                      <a:lnTo>
                        <a:pt x="173" y="452"/>
                      </a:lnTo>
                      <a:lnTo>
                        <a:pt x="174" y="451"/>
                      </a:lnTo>
                      <a:lnTo>
                        <a:pt x="177" y="451"/>
                      </a:lnTo>
                      <a:lnTo>
                        <a:pt x="177" y="451"/>
                      </a:lnTo>
                      <a:lnTo>
                        <a:pt x="177" y="450"/>
                      </a:lnTo>
                      <a:lnTo>
                        <a:pt x="177" y="450"/>
                      </a:lnTo>
                      <a:lnTo>
                        <a:pt x="177" y="450"/>
                      </a:lnTo>
                      <a:lnTo>
                        <a:pt x="182" y="450"/>
                      </a:lnTo>
                      <a:lnTo>
                        <a:pt x="184" y="449"/>
                      </a:lnTo>
                      <a:lnTo>
                        <a:pt x="185" y="449"/>
                      </a:lnTo>
                      <a:lnTo>
                        <a:pt x="186" y="449"/>
                      </a:lnTo>
                      <a:lnTo>
                        <a:pt x="186" y="449"/>
                      </a:lnTo>
                      <a:lnTo>
                        <a:pt x="189" y="449"/>
                      </a:lnTo>
                      <a:lnTo>
                        <a:pt x="190" y="449"/>
                      </a:lnTo>
                      <a:lnTo>
                        <a:pt x="190" y="449"/>
                      </a:lnTo>
                      <a:lnTo>
                        <a:pt x="191" y="448"/>
                      </a:lnTo>
                      <a:lnTo>
                        <a:pt x="192" y="447"/>
                      </a:lnTo>
                      <a:lnTo>
                        <a:pt x="194" y="447"/>
                      </a:lnTo>
                      <a:lnTo>
                        <a:pt x="195" y="448"/>
                      </a:lnTo>
                      <a:lnTo>
                        <a:pt x="195" y="448"/>
                      </a:lnTo>
                      <a:lnTo>
                        <a:pt x="195" y="449"/>
                      </a:lnTo>
                      <a:lnTo>
                        <a:pt x="195" y="449"/>
                      </a:lnTo>
                      <a:lnTo>
                        <a:pt x="196" y="449"/>
                      </a:lnTo>
                      <a:lnTo>
                        <a:pt x="197" y="449"/>
                      </a:lnTo>
                      <a:lnTo>
                        <a:pt x="197" y="450"/>
                      </a:lnTo>
                      <a:lnTo>
                        <a:pt x="197" y="450"/>
                      </a:lnTo>
                      <a:lnTo>
                        <a:pt x="198" y="450"/>
                      </a:lnTo>
                      <a:lnTo>
                        <a:pt x="201" y="450"/>
                      </a:lnTo>
                      <a:lnTo>
                        <a:pt x="204" y="450"/>
                      </a:lnTo>
                      <a:lnTo>
                        <a:pt x="205" y="449"/>
                      </a:lnTo>
                      <a:lnTo>
                        <a:pt x="207" y="449"/>
                      </a:lnTo>
                      <a:lnTo>
                        <a:pt x="208" y="447"/>
                      </a:lnTo>
                      <a:lnTo>
                        <a:pt x="208" y="447"/>
                      </a:lnTo>
                      <a:lnTo>
                        <a:pt x="209" y="446"/>
                      </a:lnTo>
                      <a:lnTo>
                        <a:pt x="209" y="445"/>
                      </a:lnTo>
                      <a:lnTo>
                        <a:pt x="210" y="444"/>
                      </a:lnTo>
                      <a:lnTo>
                        <a:pt x="211" y="443"/>
                      </a:lnTo>
                      <a:lnTo>
                        <a:pt x="211" y="443"/>
                      </a:lnTo>
                      <a:lnTo>
                        <a:pt x="212" y="442"/>
                      </a:lnTo>
                      <a:lnTo>
                        <a:pt x="213" y="442"/>
                      </a:lnTo>
                      <a:lnTo>
                        <a:pt x="213" y="442"/>
                      </a:lnTo>
                      <a:lnTo>
                        <a:pt x="214" y="440"/>
                      </a:lnTo>
                      <a:lnTo>
                        <a:pt x="214" y="439"/>
                      </a:lnTo>
                      <a:lnTo>
                        <a:pt x="214" y="439"/>
                      </a:lnTo>
                      <a:lnTo>
                        <a:pt x="214" y="439"/>
                      </a:lnTo>
                      <a:lnTo>
                        <a:pt x="214" y="439"/>
                      </a:lnTo>
                      <a:lnTo>
                        <a:pt x="214" y="438"/>
                      </a:lnTo>
                      <a:lnTo>
                        <a:pt x="215" y="438"/>
                      </a:lnTo>
                      <a:lnTo>
                        <a:pt x="215" y="439"/>
                      </a:lnTo>
                      <a:lnTo>
                        <a:pt x="215" y="439"/>
                      </a:lnTo>
                      <a:lnTo>
                        <a:pt x="216" y="439"/>
                      </a:lnTo>
                      <a:lnTo>
                        <a:pt x="217" y="439"/>
                      </a:lnTo>
                      <a:lnTo>
                        <a:pt x="217" y="439"/>
                      </a:lnTo>
                      <a:lnTo>
                        <a:pt x="218" y="439"/>
                      </a:lnTo>
                      <a:lnTo>
                        <a:pt x="218" y="438"/>
                      </a:lnTo>
                      <a:lnTo>
                        <a:pt x="219" y="438"/>
                      </a:lnTo>
                      <a:lnTo>
                        <a:pt x="219" y="437"/>
                      </a:lnTo>
                      <a:lnTo>
                        <a:pt x="221" y="437"/>
                      </a:lnTo>
                      <a:lnTo>
                        <a:pt x="223" y="435"/>
                      </a:lnTo>
                      <a:lnTo>
                        <a:pt x="224" y="433"/>
                      </a:lnTo>
                      <a:lnTo>
                        <a:pt x="224" y="433"/>
                      </a:lnTo>
                      <a:lnTo>
                        <a:pt x="227" y="431"/>
                      </a:lnTo>
                      <a:lnTo>
                        <a:pt x="227" y="429"/>
                      </a:lnTo>
                      <a:lnTo>
                        <a:pt x="228" y="428"/>
                      </a:lnTo>
                      <a:lnTo>
                        <a:pt x="230" y="426"/>
                      </a:lnTo>
                      <a:lnTo>
                        <a:pt x="231" y="425"/>
                      </a:lnTo>
                      <a:lnTo>
                        <a:pt x="231" y="424"/>
                      </a:lnTo>
                      <a:lnTo>
                        <a:pt x="233" y="422"/>
                      </a:lnTo>
                      <a:lnTo>
                        <a:pt x="234" y="422"/>
                      </a:lnTo>
                      <a:lnTo>
                        <a:pt x="235" y="421"/>
                      </a:lnTo>
                      <a:lnTo>
                        <a:pt x="236" y="421"/>
                      </a:lnTo>
                      <a:lnTo>
                        <a:pt x="236" y="422"/>
                      </a:lnTo>
                      <a:lnTo>
                        <a:pt x="238" y="422"/>
                      </a:lnTo>
                      <a:lnTo>
                        <a:pt x="238" y="424"/>
                      </a:lnTo>
                      <a:lnTo>
                        <a:pt x="238" y="424"/>
                      </a:lnTo>
                      <a:lnTo>
                        <a:pt x="239" y="424"/>
                      </a:lnTo>
                      <a:lnTo>
                        <a:pt x="241" y="424"/>
                      </a:lnTo>
                      <a:lnTo>
                        <a:pt x="242" y="422"/>
                      </a:lnTo>
                      <a:lnTo>
                        <a:pt x="243" y="423"/>
                      </a:lnTo>
                      <a:lnTo>
                        <a:pt x="243" y="423"/>
                      </a:lnTo>
                      <a:lnTo>
                        <a:pt x="243" y="423"/>
                      </a:lnTo>
                      <a:lnTo>
                        <a:pt x="244" y="423"/>
                      </a:lnTo>
                      <a:lnTo>
                        <a:pt x="248" y="421"/>
                      </a:lnTo>
                      <a:lnTo>
                        <a:pt x="248" y="420"/>
                      </a:lnTo>
                      <a:lnTo>
                        <a:pt x="249" y="419"/>
                      </a:lnTo>
                      <a:lnTo>
                        <a:pt x="249" y="419"/>
                      </a:lnTo>
                      <a:lnTo>
                        <a:pt x="250" y="419"/>
                      </a:lnTo>
                      <a:lnTo>
                        <a:pt x="250" y="419"/>
                      </a:lnTo>
                      <a:lnTo>
                        <a:pt x="251" y="418"/>
                      </a:lnTo>
                      <a:lnTo>
                        <a:pt x="252" y="417"/>
                      </a:lnTo>
                      <a:lnTo>
                        <a:pt x="252" y="417"/>
                      </a:lnTo>
                      <a:lnTo>
                        <a:pt x="253" y="417"/>
                      </a:lnTo>
                      <a:lnTo>
                        <a:pt x="254" y="415"/>
                      </a:lnTo>
                      <a:lnTo>
                        <a:pt x="256" y="414"/>
                      </a:lnTo>
                      <a:lnTo>
                        <a:pt x="256" y="414"/>
                      </a:lnTo>
                      <a:lnTo>
                        <a:pt x="257" y="413"/>
                      </a:lnTo>
                      <a:lnTo>
                        <a:pt x="257" y="412"/>
                      </a:lnTo>
                      <a:lnTo>
                        <a:pt x="258" y="412"/>
                      </a:lnTo>
                      <a:lnTo>
                        <a:pt x="259" y="411"/>
                      </a:lnTo>
                      <a:lnTo>
                        <a:pt x="261" y="411"/>
                      </a:lnTo>
                      <a:lnTo>
                        <a:pt x="262" y="411"/>
                      </a:lnTo>
                      <a:lnTo>
                        <a:pt x="262" y="410"/>
                      </a:lnTo>
                      <a:lnTo>
                        <a:pt x="263" y="410"/>
                      </a:lnTo>
                      <a:lnTo>
                        <a:pt x="264" y="410"/>
                      </a:lnTo>
                      <a:lnTo>
                        <a:pt x="264" y="409"/>
                      </a:lnTo>
                      <a:lnTo>
                        <a:pt x="265" y="408"/>
                      </a:lnTo>
                      <a:lnTo>
                        <a:pt x="266" y="408"/>
                      </a:lnTo>
                      <a:lnTo>
                        <a:pt x="269" y="406"/>
                      </a:lnTo>
                      <a:lnTo>
                        <a:pt x="270" y="404"/>
                      </a:lnTo>
                      <a:lnTo>
                        <a:pt x="270" y="403"/>
                      </a:lnTo>
                      <a:lnTo>
                        <a:pt x="270" y="403"/>
                      </a:lnTo>
                      <a:lnTo>
                        <a:pt x="270" y="403"/>
                      </a:lnTo>
                      <a:lnTo>
                        <a:pt x="271" y="402"/>
                      </a:lnTo>
                      <a:lnTo>
                        <a:pt x="271" y="402"/>
                      </a:lnTo>
                      <a:lnTo>
                        <a:pt x="271" y="401"/>
                      </a:lnTo>
                      <a:lnTo>
                        <a:pt x="272" y="401"/>
                      </a:lnTo>
                      <a:lnTo>
                        <a:pt x="272" y="401"/>
                      </a:lnTo>
                      <a:lnTo>
                        <a:pt x="272" y="401"/>
                      </a:lnTo>
                      <a:lnTo>
                        <a:pt x="272" y="401"/>
                      </a:lnTo>
                      <a:lnTo>
                        <a:pt x="273" y="400"/>
                      </a:lnTo>
                      <a:lnTo>
                        <a:pt x="273" y="399"/>
                      </a:lnTo>
                      <a:lnTo>
                        <a:pt x="272" y="399"/>
                      </a:lnTo>
                      <a:lnTo>
                        <a:pt x="273" y="398"/>
                      </a:lnTo>
                      <a:lnTo>
                        <a:pt x="273" y="398"/>
                      </a:lnTo>
                      <a:lnTo>
                        <a:pt x="273" y="397"/>
                      </a:lnTo>
                      <a:lnTo>
                        <a:pt x="273" y="397"/>
                      </a:lnTo>
                      <a:lnTo>
                        <a:pt x="273" y="396"/>
                      </a:lnTo>
                      <a:lnTo>
                        <a:pt x="275" y="396"/>
                      </a:lnTo>
                      <a:lnTo>
                        <a:pt x="277" y="396"/>
                      </a:lnTo>
                      <a:lnTo>
                        <a:pt x="277" y="396"/>
                      </a:lnTo>
                      <a:lnTo>
                        <a:pt x="277" y="396"/>
                      </a:lnTo>
                      <a:lnTo>
                        <a:pt x="279" y="393"/>
                      </a:lnTo>
                      <a:lnTo>
                        <a:pt x="278" y="391"/>
                      </a:lnTo>
                      <a:lnTo>
                        <a:pt x="279" y="391"/>
                      </a:lnTo>
                      <a:lnTo>
                        <a:pt x="280" y="390"/>
                      </a:lnTo>
                      <a:lnTo>
                        <a:pt x="280" y="390"/>
                      </a:lnTo>
                      <a:lnTo>
                        <a:pt x="281" y="390"/>
                      </a:lnTo>
                      <a:lnTo>
                        <a:pt x="281" y="388"/>
                      </a:lnTo>
                      <a:lnTo>
                        <a:pt x="282" y="387"/>
                      </a:lnTo>
                      <a:lnTo>
                        <a:pt x="283" y="385"/>
                      </a:lnTo>
                      <a:lnTo>
                        <a:pt x="284" y="385"/>
                      </a:lnTo>
                      <a:lnTo>
                        <a:pt x="284" y="384"/>
                      </a:lnTo>
                      <a:lnTo>
                        <a:pt x="284" y="384"/>
                      </a:lnTo>
                      <a:lnTo>
                        <a:pt x="284" y="383"/>
                      </a:lnTo>
                      <a:lnTo>
                        <a:pt x="284" y="383"/>
                      </a:lnTo>
                      <a:lnTo>
                        <a:pt x="284" y="382"/>
                      </a:lnTo>
                      <a:lnTo>
                        <a:pt x="285" y="381"/>
                      </a:lnTo>
                      <a:lnTo>
                        <a:pt x="286" y="380"/>
                      </a:lnTo>
                      <a:lnTo>
                        <a:pt x="286" y="380"/>
                      </a:lnTo>
                      <a:lnTo>
                        <a:pt x="286" y="379"/>
                      </a:lnTo>
                      <a:lnTo>
                        <a:pt x="287" y="377"/>
                      </a:lnTo>
                      <a:lnTo>
                        <a:pt x="287" y="376"/>
                      </a:lnTo>
                      <a:lnTo>
                        <a:pt x="288" y="375"/>
                      </a:lnTo>
                      <a:lnTo>
                        <a:pt x="288" y="372"/>
                      </a:lnTo>
                      <a:lnTo>
                        <a:pt x="288" y="372"/>
                      </a:lnTo>
                      <a:lnTo>
                        <a:pt x="289" y="370"/>
                      </a:lnTo>
                      <a:lnTo>
                        <a:pt x="289" y="368"/>
                      </a:lnTo>
                      <a:lnTo>
                        <a:pt x="290" y="368"/>
                      </a:lnTo>
                      <a:lnTo>
                        <a:pt x="290" y="367"/>
                      </a:lnTo>
                      <a:lnTo>
                        <a:pt x="291" y="365"/>
                      </a:lnTo>
                      <a:lnTo>
                        <a:pt x="291" y="365"/>
                      </a:lnTo>
                      <a:lnTo>
                        <a:pt x="291" y="364"/>
                      </a:lnTo>
                      <a:lnTo>
                        <a:pt x="291" y="364"/>
                      </a:lnTo>
                      <a:lnTo>
                        <a:pt x="292" y="363"/>
                      </a:lnTo>
                      <a:lnTo>
                        <a:pt x="292" y="362"/>
                      </a:lnTo>
                      <a:lnTo>
                        <a:pt x="293" y="362"/>
                      </a:lnTo>
                      <a:lnTo>
                        <a:pt x="293" y="361"/>
                      </a:lnTo>
                      <a:lnTo>
                        <a:pt x="293" y="361"/>
                      </a:lnTo>
                      <a:lnTo>
                        <a:pt x="294" y="360"/>
                      </a:lnTo>
                      <a:lnTo>
                        <a:pt x="294" y="360"/>
                      </a:lnTo>
                      <a:lnTo>
                        <a:pt x="294" y="359"/>
                      </a:lnTo>
                      <a:lnTo>
                        <a:pt x="294" y="358"/>
                      </a:lnTo>
                      <a:lnTo>
                        <a:pt x="293" y="357"/>
                      </a:lnTo>
                      <a:lnTo>
                        <a:pt x="294" y="357"/>
                      </a:lnTo>
                      <a:lnTo>
                        <a:pt x="294" y="356"/>
                      </a:lnTo>
                      <a:lnTo>
                        <a:pt x="294" y="356"/>
                      </a:lnTo>
                      <a:lnTo>
                        <a:pt x="294" y="355"/>
                      </a:lnTo>
                      <a:lnTo>
                        <a:pt x="294" y="355"/>
                      </a:lnTo>
                      <a:lnTo>
                        <a:pt x="294" y="355"/>
                      </a:lnTo>
                      <a:lnTo>
                        <a:pt x="294" y="353"/>
                      </a:lnTo>
                      <a:lnTo>
                        <a:pt x="294" y="353"/>
                      </a:lnTo>
                      <a:lnTo>
                        <a:pt x="295" y="353"/>
                      </a:lnTo>
                      <a:lnTo>
                        <a:pt x="295" y="352"/>
                      </a:lnTo>
                      <a:lnTo>
                        <a:pt x="294" y="350"/>
                      </a:lnTo>
                      <a:lnTo>
                        <a:pt x="295" y="350"/>
                      </a:lnTo>
                      <a:lnTo>
                        <a:pt x="295" y="349"/>
                      </a:lnTo>
                      <a:lnTo>
                        <a:pt x="296" y="348"/>
                      </a:lnTo>
                      <a:lnTo>
                        <a:pt x="296" y="347"/>
                      </a:lnTo>
                      <a:lnTo>
                        <a:pt x="295" y="347"/>
                      </a:lnTo>
                      <a:lnTo>
                        <a:pt x="295" y="347"/>
                      </a:lnTo>
                      <a:lnTo>
                        <a:pt x="295" y="346"/>
                      </a:lnTo>
                      <a:lnTo>
                        <a:pt x="295" y="346"/>
                      </a:lnTo>
                      <a:lnTo>
                        <a:pt x="295" y="346"/>
                      </a:lnTo>
                      <a:lnTo>
                        <a:pt x="295" y="343"/>
                      </a:lnTo>
                      <a:lnTo>
                        <a:pt x="296" y="342"/>
                      </a:lnTo>
                      <a:lnTo>
                        <a:pt x="296" y="341"/>
                      </a:lnTo>
                      <a:lnTo>
                        <a:pt x="296" y="341"/>
                      </a:lnTo>
                      <a:lnTo>
                        <a:pt x="297" y="339"/>
                      </a:lnTo>
                      <a:lnTo>
                        <a:pt x="298" y="337"/>
                      </a:lnTo>
                      <a:lnTo>
                        <a:pt x="298" y="336"/>
                      </a:lnTo>
                      <a:lnTo>
                        <a:pt x="299" y="334"/>
                      </a:lnTo>
                      <a:lnTo>
                        <a:pt x="299" y="333"/>
                      </a:lnTo>
                      <a:lnTo>
                        <a:pt x="301" y="331"/>
                      </a:lnTo>
                      <a:lnTo>
                        <a:pt x="301" y="329"/>
                      </a:lnTo>
                      <a:lnTo>
                        <a:pt x="301" y="328"/>
                      </a:lnTo>
                      <a:lnTo>
                        <a:pt x="301" y="326"/>
                      </a:lnTo>
                      <a:lnTo>
                        <a:pt x="301" y="322"/>
                      </a:lnTo>
                      <a:lnTo>
                        <a:pt x="301" y="321"/>
                      </a:lnTo>
                      <a:lnTo>
                        <a:pt x="301" y="320"/>
                      </a:lnTo>
                      <a:lnTo>
                        <a:pt x="300" y="316"/>
                      </a:lnTo>
                      <a:lnTo>
                        <a:pt x="300" y="314"/>
                      </a:lnTo>
                      <a:lnTo>
                        <a:pt x="301" y="314"/>
                      </a:lnTo>
                      <a:lnTo>
                        <a:pt x="302" y="313"/>
                      </a:lnTo>
                      <a:lnTo>
                        <a:pt x="302" y="315"/>
                      </a:lnTo>
                      <a:lnTo>
                        <a:pt x="303" y="315"/>
                      </a:lnTo>
                      <a:lnTo>
                        <a:pt x="303" y="315"/>
                      </a:lnTo>
                      <a:lnTo>
                        <a:pt x="304" y="315"/>
                      </a:lnTo>
                      <a:lnTo>
                        <a:pt x="304" y="316"/>
                      </a:lnTo>
                      <a:lnTo>
                        <a:pt x="304" y="316"/>
                      </a:lnTo>
                      <a:lnTo>
                        <a:pt x="304" y="315"/>
                      </a:lnTo>
                      <a:lnTo>
                        <a:pt x="305" y="315"/>
                      </a:lnTo>
                      <a:lnTo>
                        <a:pt x="305" y="315"/>
                      </a:lnTo>
                      <a:lnTo>
                        <a:pt x="306" y="315"/>
                      </a:lnTo>
                      <a:lnTo>
                        <a:pt x="307" y="315"/>
                      </a:lnTo>
                      <a:lnTo>
                        <a:pt x="307" y="315"/>
                      </a:lnTo>
                      <a:lnTo>
                        <a:pt x="307" y="315"/>
                      </a:lnTo>
                      <a:lnTo>
                        <a:pt x="308" y="315"/>
                      </a:lnTo>
                      <a:lnTo>
                        <a:pt x="310" y="314"/>
                      </a:lnTo>
                      <a:lnTo>
                        <a:pt x="310" y="314"/>
                      </a:lnTo>
                      <a:lnTo>
                        <a:pt x="312" y="313"/>
                      </a:lnTo>
                      <a:lnTo>
                        <a:pt x="313" y="313"/>
                      </a:lnTo>
                      <a:lnTo>
                        <a:pt x="314" y="313"/>
                      </a:lnTo>
                      <a:lnTo>
                        <a:pt x="314" y="313"/>
                      </a:lnTo>
                      <a:lnTo>
                        <a:pt x="314" y="312"/>
                      </a:lnTo>
                      <a:lnTo>
                        <a:pt x="315" y="312"/>
                      </a:lnTo>
                      <a:lnTo>
                        <a:pt x="315" y="312"/>
                      </a:lnTo>
                      <a:lnTo>
                        <a:pt x="316" y="311"/>
                      </a:lnTo>
                      <a:lnTo>
                        <a:pt x="316" y="311"/>
                      </a:lnTo>
                      <a:lnTo>
                        <a:pt x="315" y="311"/>
                      </a:lnTo>
                      <a:lnTo>
                        <a:pt x="315" y="310"/>
                      </a:lnTo>
                      <a:lnTo>
                        <a:pt x="316" y="309"/>
                      </a:lnTo>
                      <a:lnTo>
                        <a:pt x="317" y="309"/>
                      </a:lnTo>
                      <a:lnTo>
                        <a:pt x="317" y="309"/>
                      </a:lnTo>
                      <a:lnTo>
                        <a:pt x="316" y="309"/>
                      </a:lnTo>
                      <a:lnTo>
                        <a:pt x="316" y="309"/>
                      </a:lnTo>
                      <a:lnTo>
                        <a:pt x="317" y="308"/>
                      </a:lnTo>
                      <a:lnTo>
                        <a:pt x="317" y="308"/>
                      </a:lnTo>
                      <a:lnTo>
                        <a:pt x="317" y="308"/>
                      </a:lnTo>
                      <a:lnTo>
                        <a:pt x="318" y="308"/>
                      </a:lnTo>
                      <a:lnTo>
                        <a:pt x="318" y="308"/>
                      </a:lnTo>
                      <a:lnTo>
                        <a:pt x="318" y="309"/>
                      </a:lnTo>
                      <a:lnTo>
                        <a:pt x="319" y="309"/>
                      </a:lnTo>
                      <a:lnTo>
                        <a:pt x="319" y="308"/>
                      </a:lnTo>
                      <a:lnTo>
                        <a:pt x="319" y="308"/>
                      </a:lnTo>
                      <a:lnTo>
                        <a:pt x="319" y="309"/>
                      </a:lnTo>
                      <a:lnTo>
                        <a:pt x="320" y="309"/>
                      </a:lnTo>
                      <a:lnTo>
                        <a:pt x="320" y="309"/>
                      </a:lnTo>
                      <a:lnTo>
                        <a:pt x="320" y="308"/>
                      </a:lnTo>
                      <a:lnTo>
                        <a:pt x="321" y="308"/>
                      </a:lnTo>
                      <a:lnTo>
                        <a:pt x="321" y="306"/>
                      </a:lnTo>
                      <a:lnTo>
                        <a:pt x="322" y="305"/>
                      </a:lnTo>
                      <a:lnTo>
                        <a:pt x="324" y="305"/>
                      </a:lnTo>
                      <a:lnTo>
                        <a:pt x="324" y="305"/>
                      </a:lnTo>
                      <a:lnTo>
                        <a:pt x="325" y="305"/>
                      </a:lnTo>
                      <a:lnTo>
                        <a:pt x="325" y="305"/>
                      </a:lnTo>
                      <a:lnTo>
                        <a:pt x="326" y="306"/>
                      </a:lnTo>
                      <a:lnTo>
                        <a:pt x="327" y="307"/>
                      </a:lnTo>
                      <a:lnTo>
                        <a:pt x="328" y="306"/>
                      </a:lnTo>
                      <a:lnTo>
                        <a:pt x="328" y="306"/>
                      </a:lnTo>
                      <a:lnTo>
                        <a:pt x="328" y="305"/>
                      </a:lnTo>
                      <a:lnTo>
                        <a:pt x="328" y="305"/>
                      </a:lnTo>
                      <a:lnTo>
                        <a:pt x="328" y="306"/>
                      </a:lnTo>
                      <a:lnTo>
                        <a:pt x="327" y="306"/>
                      </a:lnTo>
                      <a:lnTo>
                        <a:pt x="327" y="306"/>
                      </a:lnTo>
                      <a:lnTo>
                        <a:pt x="326" y="305"/>
                      </a:lnTo>
                      <a:lnTo>
                        <a:pt x="326" y="304"/>
                      </a:lnTo>
                      <a:lnTo>
                        <a:pt x="325" y="304"/>
                      </a:lnTo>
                      <a:lnTo>
                        <a:pt x="325" y="304"/>
                      </a:lnTo>
                      <a:lnTo>
                        <a:pt x="324" y="304"/>
                      </a:lnTo>
                      <a:lnTo>
                        <a:pt x="323" y="304"/>
                      </a:lnTo>
                      <a:lnTo>
                        <a:pt x="321" y="304"/>
                      </a:lnTo>
                      <a:lnTo>
                        <a:pt x="321" y="304"/>
                      </a:lnTo>
                      <a:lnTo>
                        <a:pt x="320" y="305"/>
                      </a:lnTo>
                      <a:lnTo>
                        <a:pt x="319" y="306"/>
                      </a:lnTo>
                      <a:lnTo>
                        <a:pt x="319" y="306"/>
                      </a:lnTo>
                      <a:lnTo>
                        <a:pt x="319" y="305"/>
                      </a:lnTo>
                      <a:lnTo>
                        <a:pt x="317" y="306"/>
                      </a:lnTo>
                      <a:lnTo>
                        <a:pt x="315" y="307"/>
                      </a:lnTo>
                      <a:lnTo>
                        <a:pt x="314" y="307"/>
                      </a:lnTo>
                      <a:lnTo>
                        <a:pt x="313" y="307"/>
                      </a:lnTo>
                      <a:lnTo>
                        <a:pt x="313" y="307"/>
                      </a:lnTo>
                      <a:lnTo>
                        <a:pt x="312" y="307"/>
                      </a:lnTo>
                      <a:lnTo>
                        <a:pt x="310" y="308"/>
                      </a:lnTo>
                      <a:lnTo>
                        <a:pt x="307" y="309"/>
                      </a:lnTo>
                      <a:lnTo>
                        <a:pt x="306" y="309"/>
                      </a:lnTo>
                      <a:lnTo>
                        <a:pt x="305" y="309"/>
                      </a:lnTo>
                      <a:lnTo>
                        <a:pt x="304" y="310"/>
                      </a:lnTo>
                      <a:lnTo>
                        <a:pt x="303" y="310"/>
                      </a:lnTo>
                      <a:lnTo>
                        <a:pt x="301" y="310"/>
                      </a:lnTo>
                      <a:lnTo>
                        <a:pt x="301" y="310"/>
                      </a:lnTo>
                      <a:lnTo>
                        <a:pt x="298" y="310"/>
                      </a:lnTo>
                      <a:lnTo>
                        <a:pt x="298" y="309"/>
                      </a:lnTo>
                      <a:lnTo>
                        <a:pt x="297" y="308"/>
                      </a:lnTo>
                      <a:lnTo>
                        <a:pt x="297" y="307"/>
                      </a:lnTo>
                      <a:lnTo>
                        <a:pt x="296" y="307"/>
                      </a:lnTo>
                      <a:lnTo>
                        <a:pt x="296" y="304"/>
                      </a:lnTo>
                      <a:lnTo>
                        <a:pt x="295" y="303"/>
                      </a:lnTo>
                      <a:lnTo>
                        <a:pt x="295" y="303"/>
                      </a:lnTo>
                      <a:lnTo>
                        <a:pt x="294" y="302"/>
                      </a:lnTo>
                      <a:lnTo>
                        <a:pt x="294" y="301"/>
                      </a:lnTo>
                      <a:lnTo>
                        <a:pt x="294" y="300"/>
                      </a:lnTo>
                      <a:lnTo>
                        <a:pt x="293" y="300"/>
                      </a:lnTo>
                      <a:lnTo>
                        <a:pt x="293" y="300"/>
                      </a:lnTo>
                      <a:lnTo>
                        <a:pt x="293" y="299"/>
                      </a:lnTo>
                      <a:lnTo>
                        <a:pt x="292" y="298"/>
                      </a:lnTo>
                      <a:lnTo>
                        <a:pt x="292" y="297"/>
                      </a:lnTo>
                      <a:lnTo>
                        <a:pt x="291" y="296"/>
                      </a:lnTo>
                      <a:lnTo>
                        <a:pt x="291" y="296"/>
                      </a:lnTo>
                      <a:lnTo>
                        <a:pt x="291" y="295"/>
                      </a:lnTo>
                      <a:lnTo>
                        <a:pt x="291" y="295"/>
                      </a:lnTo>
                      <a:lnTo>
                        <a:pt x="290" y="294"/>
                      </a:lnTo>
                      <a:lnTo>
                        <a:pt x="290" y="293"/>
                      </a:lnTo>
                      <a:lnTo>
                        <a:pt x="290" y="293"/>
                      </a:lnTo>
                      <a:lnTo>
                        <a:pt x="289" y="292"/>
                      </a:lnTo>
                      <a:lnTo>
                        <a:pt x="289" y="291"/>
                      </a:lnTo>
                      <a:lnTo>
                        <a:pt x="288" y="291"/>
                      </a:lnTo>
                      <a:lnTo>
                        <a:pt x="288" y="290"/>
                      </a:lnTo>
                      <a:lnTo>
                        <a:pt x="286" y="288"/>
                      </a:lnTo>
                      <a:lnTo>
                        <a:pt x="286" y="287"/>
                      </a:lnTo>
                      <a:lnTo>
                        <a:pt x="286" y="287"/>
                      </a:lnTo>
                      <a:lnTo>
                        <a:pt x="286" y="285"/>
                      </a:lnTo>
                      <a:lnTo>
                        <a:pt x="286" y="284"/>
                      </a:lnTo>
                      <a:lnTo>
                        <a:pt x="286" y="283"/>
                      </a:lnTo>
                      <a:lnTo>
                        <a:pt x="287" y="283"/>
                      </a:lnTo>
                      <a:lnTo>
                        <a:pt x="287" y="282"/>
                      </a:lnTo>
                      <a:lnTo>
                        <a:pt x="287" y="282"/>
                      </a:lnTo>
                      <a:lnTo>
                        <a:pt x="287" y="281"/>
                      </a:lnTo>
                      <a:lnTo>
                        <a:pt x="288" y="280"/>
                      </a:lnTo>
                      <a:lnTo>
                        <a:pt x="288" y="280"/>
                      </a:lnTo>
                      <a:lnTo>
                        <a:pt x="288" y="278"/>
                      </a:lnTo>
                      <a:lnTo>
                        <a:pt x="288" y="276"/>
                      </a:lnTo>
                      <a:lnTo>
                        <a:pt x="288" y="276"/>
                      </a:lnTo>
                      <a:lnTo>
                        <a:pt x="289" y="275"/>
                      </a:lnTo>
                      <a:lnTo>
                        <a:pt x="290" y="273"/>
                      </a:lnTo>
                      <a:lnTo>
                        <a:pt x="290" y="272"/>
                      </a:lnTo>
                      <a:lnTo>
                        <a:pt x="291" y="270"/>
                      </a:lnTo>
                      <a:lnTo>
                        <a:pt x="291" y="269"/>
                      </a:lnTo>
                      <a:lnTo>
                        <a:pt x="291" y="269"/>
                      </a:lnTo>
                      <a:lnTo>
                        <a:pt x="292" y="268"/>
                      </a:lnTo>
                      <a:lnTo>
                        <a:pt x="292" y="268"/>
                      </a:lnTo>
                      <a:lnTo>
                        <a:pt x="293" y="267"/>
                      </a:lnTo>
                      <a:lnTo>
                        <a:pt x="292" y="267"/>
                      </a:lnTo>
                      <a:lnTo>
                        <a:pt x="295" y="265"/>
                      </a:lnTo>
                      <a:lnTo>
                        <a:pt x="296" y="265"/>
                      </a:lnTo>
                      <a:lnTo>
                        <a:pt x="296" y="264"/>
                      </a:lnTo>
                      <a:lnTo>
                        <a:pt x="297" y="263"/>
                      </a:lnTo>
                      <a:lnTo>
                        <a:pt x="297" y="262"/>
                      </a:lnTo>
                      <a:lnTo>
                        <a:pt x="298" y="262"/>
                      </a:lnTo>
                      <a:lnTo>
                        <a:pt x="299" y="261"/>
                      </a:lnTo>
                      <a:lnTo>
                        <a:pt x="300" y="260"/>
                      </a:lnTo>
                      <a:lnTo>
                        <a:pt x="301" y="257"/>
                      </a:lnTo>
                      <a:lnTo>
                        <a:pt x="300" y="256"/>
                      </a:lnTo>
                      <a:lnTo>
                        <a:pt x="300" y="255"/>
                      </a:lnTo>
                      <a:lnTo>
                        <a:pt x="300" y="254"/>
                      </a:lnTo>
                      <a:lnTo>
                        <a:pt x="300" y="253"/>
                      </a:lnTo>
                      <a:lnTo>
                        <a:pt x="301" y="252"/>
                      </a:lnTo>
                      <a:lnTo>
                        <a:pt x="301" y="252"/>
                      </a:lnTo>
                      <a:lnTo>
                        <a:pt x="302" y="252"/>
                      </a:lnTo>
                      <a:lnTo>
                        <a:pt x="302" y="251"/>
                      </a:lnTo>
                      <a:lnTo>
                        <a:pt x="302" y="251"/>
                      </a:lnTo>
                      <a:lnTo>
                        <a:pt x="302" y="251"/>
                      </a:lnTo>
                      <a:lnTo>
                        <a:pt x="302" y="252"/>
                      </a:lnTo>
                      <a:lnTo>
                        <a:pt x="302" y="252"/>
                      </a:lnTo>
                      <a:lnTo>
                        <a:pt x="301" y="253"/>
                      </a:lnTo>
                      <a:lnTo>
                        <a:pt x="302" y="254"/>
                      </a:lnTo>
                      <a:lnTo>
                        <a:pt x="303" y="254"/>
                      </a:lnTo>
                      <a:lnTo>
                        <a:pt x="304" y="253"/>
                      </a:lnTo>
                      <a:lnTo>
                        <a:pt x="305" y="253"/>
                      </a:lnTo>
                      <a:lnTo>
                        <a:pt x="305" y="253"/>
                      </a:lnTo>
                      <a:lnTo>
                        <a:pt x="305" y="252"/>
                      </a:lnTo>
                      <a:lnTo>
                        <a:pt x="306" y="252"/>
                      </a:lnTo>
                      <a:lnTo>
                        <a:pt x="306" y="251"/>
                      </a:lnTo>
                      <a:lnTo>
                        <a:pt x="306" y="251"/>
                      </a:lnTo>
                      <a:lnTo>
                        <a:pt x="307" y="251"/>
                      </a:lnTo>
                      <a:lnTo>
                        <a:pt x="308" y="251"/>
                      </a:lnTo>
                      <a:lnTo>
                        <a:pt x="308" y="250"/>
                      </a:lnTo>
                      <a:lnTo>
                        <a:pt x="309" y="250"/>
                      </a:lnTo>
                      <a:lnTo>
                        <a:pt x="309" y="249"/>
                      </a:lnTo>
                      <a:lnTo>
                        <a:pt x="309" y="249"/>
                      </a:lnTo>
                      <a:lnTo>
                        <a:pt x="309" y="250"/>
                      </a:lnTo>
                      <a:lnTo>
                        <a:pt x="310" y="250"/>
                      </a:lnTo>
                      <a:lnTo>
                        <a:pt x="310" y="250"/>
                      </a:lnTo>
                      <a:lnTo>
                        <a:pt x="312" y="249"/>
                      </a:lnTo>
                      <a:lnTo>
                        <a:pt x="314" y="248"/>
                      </a:lnTo>
                      <a:lnTo>
                        <a:pt x="314" y="248"/>
                      </a:lnTo>
                      <a:lnTo>
                        <a:pt x="314" y="248"/>
                      </a:lnTo>
                      <a:lnTo>
                        <a:pt x="314" y="247"/>
                      </a:lnTo>
                      <a:lnTo>
                        <a:pt x="314" y="246"/>
                      </a:lnTo>
                      <a:lnTo>
                        <a:pt x="315" y="246"/>
                      </a:lnTo>
                      <a:lnTo>
                        <a:pt x="315" y="244"/>
                      </a:lnTo>
                      <a:lnTo>
                        <a:pt x="316" y="244"/>
                      </a:lnTo>
                      <a:lnTo>
                        <a:pt x="319" y="243"/>
                      </a:lnTo>
                      <a:lnTo>
                        <a:pt x="319" y="242"/>
                      </a:lnTo>
                      <a:lnTo>
                        <a:pt x="320" y="242"/>
                      </a:lnTo>
                      <a:lnTo>
                        <a:pt x="321" y="239"/>
                      </a:lnTo>
                      <a:lnTo>
                        <a:pt x="322" y="239"/>
                      </a:lnTo>
                      <a:lnTo>
                        <a:pt x="323" y="239"/>
                      </a:lnTo>
                      <a:lnTo>
                        <a:pt x="323" y="238"/>
                      </a:lnTo>
                      <a:lnTo>
                        <a:pt x="323" y="238"/>
                      </a:lnTo>
                      <a:lnTo>
                        <a:pt x="324" y="238"/>
                      </a:lnTo>
                      <a:lnTo>
                        <a:pt x="324" y="238"/>
                      </a:lnTo>
                      <a:lnTo>
                        <a:pt x="325" y="239"/>
                      </a:lnTo>
                      <a:lnTo>
                        <a:pt x="326" y="239"/>
                      </a:lnTo>
                      <a:lnTo>
                        <a:pt x="327" y="239"/>
                      </a:lnTo>
                      <a:lnTo>
                        <a:pt x="327" y="238"/>
                      </a:lnTo>
                      <a:lnTo>
                        <a:pt x="328" y="237"/>
                      </a:lnTo>
                      <a:lnTo>
                        <a:pt x="328" y="237"/>
                      </a:lnTo>
                      <a:lnTo>
                        <a:pt x="328" y="237"/>
                      </a:lnTo>
                      <a:lnTo>
                        <a:pt x="327" y="238"/>
                      </a:lnTo>
                      <a:lnTo>
                        <a:pt x="326" y="238"/>
                      </a:lnTo>
                      <a:lnTo>
                        <a:pt x="326" y="239"/>
                      </a:lnTo>
                      <a:lnTo>
                        <a:pt x="324" y="238"/>
                      </a:lnTo>
                      <a:lnTo>
                        <a:pt x="323" y="237"/>
                      </a:lnTo>
                      <a:lnTo>
                        <a:pt x="322" y="238"/>
                      </a:lnTo>
                      <a:lnTo>
                        <a:pt x="321" y="238"/>
                      </a:lnTo>
                      <a:lnTo>
                        <a:pt x="320" y="239"/>
                      </a:lnTo>
                      <a:lnTo>
                        <a:pt x="319" y="239"/>
                      </a:lnTo>
                      <a:lnTo>
                        <a:pt x="319" y="240"/>
                      </a:lnTo>
                      <a:lnTo>
                        <a:pt x="319" y="240"/>
                      </a:lnTo>
                      <a:lnTo>
                        <a:pt x="317" y="242"/>
                      </a:lnTo>
                      <a:lnTo>
                        <a:pt x="316" y="243"/>
                      </a:lnTo>
                      <a:lnTo>
                        <a:pt x="316" y="243"/>
                      </a:lnTo>
                      <a:lnTo>
                        <a:pt x="315" y="243"/>
                      </a:lnTo>
                      <a:lnTo>
                        <a:pt x="315" y="243"/>
                      </a:lnTo>
                      <a:lnTo>
                        <a:pt x="315" y="243"/>
                      </a:lnTo>
                      <a:lnTo>
                        <a:pt x="314" y="243"/>
                      </a:lnTo>
                      <a:lnTo>
                        <a:pt x="313" y="243"/>
                      </a:lnTo>
                      <a:lnTo>
                        <a:pt x="313" y="244"/>
                      </a:lnTo>
                      <a:lnTo>
                        <a:pt x="313" y="244"/>
                      </a:lnTo>
                      <a:lnTo>
                        <a:pt x="312" y="244"/>
                      </a:lnTo>
                      <a:lnTo>
                        <a:pt x="312" y="245"/>
                      </a:lnTo>
                      <a:lnTo>
                        <a:pt x="309" y="245"/>
                      </a:lnTo>
                      <a:lnTo>
                        <a:pt x="308" y="245"/>
                      </a:lnTo>
                      <a:lnTo>
                        <a:pt x="307" y="245"/>
                      </a:lnTo>
                      <a:lnTo>
                        <a:pt x="306" y="246"/>
                      </a:lnTo>
                      <a:lnTo>
                        <a:pt x="306" y="248"/>
                      </a:lnTo>
                      <a:lnTo>
                        <a:pt x="305" y="249"/>
                      </a:lnTo>
                      <a:lnTo>
                        <a:pt x="304" y="249"/>
                      </a:lnTo>
                      <a:lnTo>
                        <a:pt x="303" y="250"/>
                      </a:lnTo>
                      <a:lnTo>
                        <a:pt x="302" y="250"/>
                      </a:lnTo>
                      <a:lnTo>
                        <a:pt x="302" y="250"/>
                      </a:lnTo>
                      <a:lnTo>
                        <a:pt x="302" y="250"/>
                      </a:lnTo>
                      <a:lnTo>
                        <a:pt x="301" y="249"/>
                      </a:lnTo>
                      <a:lnTo>
                        <a:pt x="301" y="249"/>
                      </a:lnTo>
                      <a:lnTo>
                        <a:pt x="300" y="249"/>
                      </a:lnTo>
                      <a:lnTo>
                        <a:pt x="299" y="249"/>
                      </a:lnTo>
                      <a:lnTo>
                        <a:pt x="299" y="248"/>
                      </a:lnTo>
                      <a:lnTo>
                        <a:pt x="298" y="247"/>
                      </a:lnTo>
                      <a:lnTo>
                        <a:pt x="298" y="246"/>
                      </a:lnTo>
                      <a:lnTo>
                        <a:pt x="298" y="245"/>
                      </a:lnTo>
                      <a:lnTo>
                        <a:pt x="297" y="245"/>
                      </a:lnTo>
                      <a:lnTo>
                        <a:pt x="297" y="244"/>
                      </a:lnTo>
                      <a:lnTo>
                        <a:pt x="297" y="243"/>
                      </a:lnTo>
                      <a:lnTo>
                        <a:pt x="296" y="243"/>
                      </a:lnTo>
                      <a:lnTo>
                        <a:pt x="296" y="242"/>
                      </a:lnTo>
                      <a:lnTo>
                        <a:pt x="296" y="239"/>
                      </a:lnTo>
                      <a:lnTo>
                        <a:pt x="295" y="238"/>
                      </a:lnTo>
                      <a:lnTo>
                        <a:pt x="294" y="237"/>
                      </a:lnTo>
                      <a:lnTo>
                        <a:pt x="293" y="236"/>
                      </a:lnTo>
                      <a:lnTo>
                        <a:pt x="292" y="235"/>
                      </a:lnTo>
                      <a:lnTo>
                        <a:pt x="292" y="234"/>
                      </a:lnTo>
                      <a:lnTo>
                        <a:pt x="292" y="233"/>
                      </a:lnTo>
                      <a:lnTo>
                        <a:pt x="291" y="232"/>
                      </a:lnTo>
                      <a:lnTo>
                        <a:pt x="291" y="232"/>
                      </a:lnTo>
                      <a:lnTo>
                        <a:pt x="289" y="230"/>
                      </a:lnTo>
                      <a:lnTo>
                        <a:pt x="288" y="229"/>
                      </a:lnTo>
                      <a:lnTo>
                        <a:pt x="287" y="227"/>
                      </a:lnTo>
                      <a:lnTo>
                        <a:pt x="287" y="227"/>
                      </a:lnTo>
                      <a:lnTo>
                        <a:pt x="287" y="227"/>
                      </a:lnTo>
                      <a:lnTo>
                        <a:pt x="286" y="225"/>
                      </a:lnTo>
                      <a:lnTo>
                        <a:pt x="285" y="224"/>
                      </a:lnTo>
                      <a:lnTo>
                        <a:pt x="284" y="223"/>
                      </a:lnTo>
                      <a:lnTo>
                        <a:pt x="283" y="222"/>
                      </a:lnTo>
                      <a:lnTo>
                        <a:pt x="283" y="221"/>
                      </a:lnTo>
                      <a:lnTo>
                        <a:pt x="283" y="221"/>
                      </a:lnTo>
                      <a:lnTo>
                        <a:pt x="282" y="219"/>
                      </a:lnTo>
                      <a:lnTo>
                        <a:pt x="282" y="219"/>
                      </a:lnTo>
                      <a:lnTo>
                        <a:pt x="281" y="218"/>
                      </a:lnTo>
                      <a:lnTo>
                        <a:pt x="281" y="217"/>
                      </a:lnTo>
                      <a:lnTo>
                        <a:pt x="281" y="216"/>
                      </a:lnTo>
                      <a:lnTo>
                        <a:pt x="281" y="216"/>
                      </a:lnTo>
                      <a:lnTo>
                        <a:pt x="281" y="216"/>
                      </a:lnTo>
                      <a:lnTo>
                        <a:pt x="282" y="215"/>
                      </a:lnTo>
                      <a:lnTo>
                        <a:pt x="282" y="215"/>
                      </a:lnTo>
                      <a:lnTo>
                        <a:pt x="283" y="214"/>
                      </a:lnTo>
                      <a:lnTo>
                        <a:pt x="283" y="214"/>
                      </a:lnTo>
                      <a:lnTo>
                        <a:pt x="284" y="213"/>
                      </a:lnTo>
                      <a:lnTo>
                        <a:pt x="285" y="213"/>
                      </a:lnTo>
                      <a:lnTo>
                        <a:pt x="286" y="212"/>
                      </a:lnTo>
                      <a:lnTo>
                        <a:pt x="286" y="211"/>
                      </a:lnTo>
                      <a:lnTo>
                        <a:pt x="286" y="211"/>
                      </a:lnTo>
                      <a:lnTo>
                        <a:pt x="286" y="212"/>
                      </a:lnTo>
                      <a:lnTo>
                        <a:pt x="286" y="212"/>
                      </a:lnTo>
                      <a:lnTo>
                        <a:pt x="286" y="213"/>
                      </a:lnTo>
                      <a:lnTo>
                        <a:pt x="285" y="213"/>
                      </a:lnTo>
                      <a:lnTo>
                        <a:pt x="285" y="213"/>
                      </a:lnTo>
                      <a:lnTo>
                        <a:pt x="285" y="213"/>
                      </a:lnTo>
                      <a:lnTo>
                        <a:pt x="286" y="213"/>
                      </a:lnTo>
                      <a:lnTo>
                        <a:pt x="286" y="214"/>
                      </a:lnTo>
                      <a:lnTo>
                        <a:pt x="287" y="214"/>
                      </a:lnTo>
                      <a:lnTo>
                        <a:pt x="287" y="213"/>
                      </a:lnTo>
                      <a:lnTo>
                        <a:pt x="288" y="213"/>
                      </a:lnTo>
                      <a:lnTo>
                        <a:pt x="288" y="211"/>
                      </a:lnTo>
                      <a:lnTo>
                        <a:pt x="288" y="211"/>
                      </a:lnTo>
                      <a:lnTo>
                        <a:pt x="289" y="211"/>
                      </a:lnTo>
                      <a:lnTo>
                        <a:pt x="289" y="211"/>
                      </a:lnTo>
                      <a:lnTo>
                        <a:pt x="288" y="211"/>
                      </a:lnTo>
                      <a:lnTo>
                        <a:pt x="288" y="211"/>
                      </a:lnTo>
                      <a:lnTo>
                        <a:pt x="287" y="211"/>
                      </a:lnTo>
                      <a:lnTo>
                        <a:pt x="287" y="211"/>
                      </a:lnTo>
                      <a:lnTo>
                        <a:pt x="286" y="211"/>
                      </a:lnTo>
                      <a:lnTo>
                        <a:pt x="286" y="210"/>
                      </a:lnTo>
                      <a:lnTo>
                        <a:pt x="286" y="210"/>
                      </a:lnTo>
                      <a:lnTo>
                        <a:pt x="286" y="210"/>
                      </a:lnTo>
                      <a:lnTo>
                        <a:pt x="286" y="209"/>
                      </a:lnTo>
                      <a:lnTo>
                        <a:pt x="287" y="208"/>
                      </a:lnTo>
                      <a:lnTo>
                        <a:pt x="287" y="207"/>
                      </a:lnTo>
                      <a:lnTo>
                        <a:pt x="288" y="206"/>
                      </a:lnTo>
                      <a:lnTo>
                        <a:pt x="288" y="204"/>
                      </a:lnTo>
                      <a:lnTo>
                        <a:pt x="287" y="201"/>
                      </a:lnTo>
                      <a:lnTo>
                        <a:pt x="287" y="201"/>
                      </a:lnTo>
                      <a:lnTo>
                        <a:pt x="286" y="198"/>
                      </a:lnTo>
                      <a:lnTo>
                        <a:pt x="285" y="198"/>
                      </a:lnTo>
                      <a:lnTo>
                        <a:pt x="285" y="196"/>
                      </a:lnTo>
                      <a:lnTo>
                        <a:pt x="284" y="196"/>
                      </a:lnTo>
                      <a:lnTo>
                        <a:pt x="284" y="195"/>
                      </a:lnTo>
                      <a:lnTo>
                        <a:pt x="283" y="193"/>
                      </a:lnTo>
                      <a:lnTo>
                        <a:pt x="283" y="191"/>
                      </a:lnTo>
                      <a:lnTo>
                        <a:pt x="282" y="191"/>
                      </a:lnTo>
                      <a:lnTo>
                        <a:pt x="282" y="189"/>
                      </a:lnTo>
                      <a:lnTo>
                        <a:pt x="283" y="189"/>
                      </a:lnTo>
                      <a:lnTo>
                        <a:pt x="284" y="188"/>
                      </a:lnTo>
                      <a:lnTo>
                        <a:pt x="284" y="188"/>
                      </a:lnTo>
                      <a:lnTo>
                        <a:pt x="285" y="188"/>
                      </a:lnTo>
                      <a:lnTo>
                        <a:pt x="286" y="188"/>
                      </a:lnTo>
                      <a:lnTo>
                        <a:pt x="287" y="187"/>
                      </a:lnTo>
                      <a:lnTo>
                        <a:pt x="288" y="187"/>
                      </a:lnTo>
                      <a:lnTo>
                        <a:pt x="289" y="187"/>
                      </a:lnTo>
                      <a:lnTo>
                        <a:pt x="290" y="186"/>
                      </a:lnTo>
                      <a:lnTo>
                        <a:pt x="295" y="186"/>
                      </a:lnTo>
                      <a:lnTo>
                        <a:pt x="295" y="186"/>
                      </a:lnTo>
                      <a:lnTo>
                        <a:pt x="296" y="186"/>
                      </a:lnTo>
                      <a:lnTo>
                        <a:pt x="296" y="186"/>
                      </a:lnTo>
                      <a:lnTo>
                        <a:pt x="296" y="186"/>
                      </a:lnTo>
                      <a:lnTo>
                        <a:pt x="297" y="185"/>
                      </a:lnTo>
                      <a:lnTo>
                        <a:pt x="299" y="184"/>
                      </a:lnTo>
                      <a:lnTo>
                        <a:pt x="299" y="183"/>
                      </a:lnTo>
                      <a:lnTo>
                        <a:pt x="298" y="183"/>
                      </a:lnTo>
                      <a:lnTo>
                        <a:pt x="299" y="182"/>
                      </a:lnTo>
                      <a:lnTo>
                        <a:pt x="299" y="181"/>
                      </a:lnTo>
                      <a:lnTo>
                        <a:pt x="300" y="181"/>
                      </a:lnTo>
                      <a:lnTo>
                        <a:pt x="300" y="180"/>
                      </a:lnTo>
                      <a:lnTo>
                        <a:pt x="301" y="179"/>
                      </a:lnTo>
                      <a:lnTo>
                        <a:pt x="301" y="178"/>
                      </a:lnTo>
                      <a:lnTo>
                        <a:pt x="301" y="178"/>
                      </a:lnTo>
                      <a:lnTo>
                        <a:pt x="302" y="178"/>
                      </a:lnTo>
                      <a:lnTo>
                        <a:pt x="302" y="178"/>
                      </a:lnTo>
                      <a:lnTo>
                        <a:pt x="303" y="177"/>
                      </a:lnTo>
                      <a:lnTo>
                        <a:pt x="303" y="177"/>
                      </a:lnTo>
                      <a:lnTo>
                        <a:pt x="304" y="176"/>
                      </a:lnTo>
                      <a:lnTo>
                        <a:pt x="304" y="175"/>
                      </a:lnTo>
                      <a:lnTo>
                        <a:pt x="305" y="175"/>
                      </a:lnTo>
                      <a:lnTo>
                        <a:pt x="307" y="174"/>
                      </a:lnTo>
                      <a:lnTo>
                        <a:pt x="307" y="174"/>
                      </a:lnTo>
                      <a:lnTo>
                        <a:pt x="308" y="174"/>
                      </a:lnTo>
                      <a:lnTo>
                        <a:pt x="308" y="174"/>
                      </a:lnTo>
                      <a:lnTo>
                        <a:pt x="308" y="173"/>
                      </a:lnTo>
                      <a:lnTo>
                        <a:pt x="308" y="173"/>
                      </a:lnTo>
                      <a:lnTo>
                        <a:pt x="307" y="173"/>
                      </a:lnTo>
                      <a:lnTo>
                        <a:pt x="306" y="174"/>
                      </a:lnTo>
                      <a:lnTo>
                        <a:pt x="306" y="174"/>
                      </a:lnTo>
                      <a:lnTo>
                        <a:pt x="305" y="174"/>
                      </a:lnTo>
                      <a:lnTo>
                        <a:pt x="304" y="175"/>
                      </a:lnTo>
                      <a:lnTo>
                        <a:pt x="304" y="176"/>
                      </a:lnTo>
                      <a:lnTo>
                        <a:pt x="303" y="177"/>
                      </a:lnTo>
                      <a:lnTo>
                        <a:pt x="302" y="177"/>
                      </a:lnTo>
                      <a:lnTo>
                        <a:pt x="302" y="177"/>
                      </a:lnTo>
                      <a:lnTo>
                        <a:pt x="301" y="178"/>
                      </a:lnTo>
                      <a:lnTo>
                        <a:pt x="300" y="178"/>
                      </a:lnTo>
                      <a:lnTo>
                        <a:pt x="300" y="178"/>
                      </a:lnTo>
                      <a:lnTo>
                        <a:pt x="297" y="179"/>
                      </a:lnTo>
                      <a:lnTo>
                        <a:pt x="295" y="180"/>
                      </a:lnTo>
                      <a:lnTo>
                        <a:pt x="295" y="180"/>
                      </a:lnTo>
                      <a:lnTo>
                        <a:pt x="294" y="181"/>
                      </a:lnTo>
                      <a:lnTo>
                        <a:pt x="294" y="181"/>
                      </a:lnTo>
                      <a:lnTo>
                        <a:pt x="294" y="181"/>
                      </a:lnTo>
                      <a:lnTo>
                        <a:pt x="293" y="182"/>
                      </a:lnTo>
                      <a:lnTo>
                        <a:pt x="292" y="182"/>
                      </a:lnTo>
                      <a:lnTo>
                        <a:pt x="292" y="183"/>
                      </a:lnTo>
                      <a:lnTo>
                        <a:pt x="291" y="183"/>
                      </a:lnTo>
                      <a:lnTo>
                        <a:pt x="291" y="183"/>
                      </a:lnTo>
                      <a:lnTo>
                        <a:pt x="290" y="183"/>
                      </a:lnTo>
                      <a:lnTo>
                        <a:pt x="289" y="183"/>
                      </a:lnTo>
                      <a:lnTo>
                        <a:pt x="289" y="182"/>
                      </a:lnTo>
                      <a:lnTo>
                        <a:pt x="290" y="181"/>
                      </a:lnTo>
                      <a:lnTo>
                        <a:pt x="290" y="180"/>
                      </a:lnTo>
                      <a:lnTo>
                        <a:pt x="290" y="180"/>
                      </a:lnTo>
                      <a:lnTo>
                        <a:pt x="292" y="179"/>
                      </a:lnTo>
                      <a:lnTo>
                        <a:pt x="292" y="178"/>
                      </a:lnTo>
                      <a:lnTo>
                        <a:pt x="291" y="178"/>
                      </a:lnTo>
                      <a:lnTo>
                        <a:pt x="291" y="177"/>
                      </a:lnTo>
                      <a:lnTo>
                        <a:pt x="290" y="177"/>
                      </a:lnTo>
                      <a:lnTo>
                        <a:pt x="290" y="178"/>
                      </a:lnTo>
                      <a:lnTo>
                        <a:pt x="289" y="178"/>
                      </a:lnTo>
                      <a:lnTo>
                        <a:pt x="289" y="177"/>
                      </a:lnTo>
                      <a:lnTo>
                        <a:pt x="288" y="177"/>
                      </a:lnTo>
                      <a:lnTo>
                        <a:pt x="288" y="177"/>
                      </a:lnTo>
                      <a:lnTo>
                        <a:pt x="287" y="177"/>
                      </a:lnTo>
                      <a:lnTo>
                        <a:pt x="287" y="177"/>
                      </a:lnTo>
                      <a:lnTo>
                        <a:pt x="286" y="177"/>
                      </a:lnTo>
                      <a:lnTo>
                        <a:pt x="286" y="178"/>
                      </a:lnTo>
                      <a:lnTo>
                        <a:pt x="287" y="178"/>
                      </a:lnTo>
                      <a:lnTo>
                        <a:pt x="287" y="178"/>
                      </a:lnTo>
                      <a:lnTo>
                        <a:pt x="287" y="178"/>
                      </a:lnTo>
                      <a:lnTo>
                        <a:pt x="287" y="179"/>
                      </a:lnTo>
                      <a:lnTo>
                        <a:pt x="286" y="179"/>
                      </a:lnTo>
                      <a:lnTo>
                        <a:pt x="286" y="181"/>
                      </a:lnTo>
                      <a:lnTo>
                        <a:pt x="285" y="181"/>
                      </a:lnTo>
                      <a:lnTo>
                        <a:pt x="285" y="182"/>
                      </a:lnTo>
                      <a:lnTo>
                        <a:pt x="284" y="182"/>
                      </a:lnTo>
                      <a:lnTo>
                        <a:pt x="284" y="183"/>
                      </a:lnTo>
                      <a:lnTo>
                        <a:pt x="283" y="183"/>
                      </a:lnTo>
                      <a:lnTo>
                        <a:pt x="283" y="183"/>
                      </a:lnTo>
                      <a:lnTo>
                        <a:pt x="281" y="183"/>
                      </a:lnTo>
                      <a:lnTo>
                        <a:pt x="281" y="183"/>
                      </a:lnTo>
                      <a:lnTo>
                        <a:pt x="280" y="184"/>
                      </a:lnTo>
                      <a:lnTo>
                        <a:pt x="281" y="184"/>
                      </a:lnTo>
                      <a:lnTo>
                        <a:pt x="281" y="184"/>
                      </a:lnTo>
                      <a:lnTo>
                        <a:pt x="281" y="184"/>
                      </a:lnTo>
                      <a:lnTo>
                        <a:pt x="277" y="184"/>
                      </a:lnTo>
                      <a:lnTo>
                        <a:pt x="276" y="184"/>
                      </a:lnTo>
                      <a:lnTo>
                        <a:pt x="275" y="183"/>
                      </a:lnTo>
                      <a:lnTo>
                        <a:pt x="275" y="183"/>
                      </a:lnTo>
                      <a:lnTo>
                        <a:pt x="273" y="182"/>
                      </a:lnTo>
                      <a:lnTo>
                        <a:pt x="272" y="182"/>
                      </a:lnTo>
                      <a:lnTo>
                        <a:pt x="272" y="182"/>
                      </a:lnTo>
                      <a:lnTo>
                        <a:pt x="271" y="182"/>
                      </a:lnTo>
                      <a:lnTo>
                        <a:pt x="271" y="182"/>
                      </a:lnTo>
                      <a:lnTo>
                        <a:pt x="270" y="182"/>
                      </a:lnTo>
                      <a:lnTo>
                        <a:pt x="269" y="181"/>
                      </a:lnTo>
                      <a:lnTo>
                        <a:pt x="267" y="181"/>
                      </a:lnTo>
                      <a:lnTo>
                        <a:pt x="267" y="180"/>
                      </a:lnTo>
                      <a:lnTo>
                        <a:pt x="265" y="180"/>
                      </a:lnTo>
                      <a:lnTo>
                        <a:pt x="265" y="180"/>
                      </a:lnTo>
                      <a:lnTo>
                        <a:pt x="265" y="180"/>
                      </a:lnTo>
                      <a:lnTo>
                        <a:pt x="264" y="180"/>
                      </a:lnTo>
                      <a:lnTo>
                        <a:pt x="265" y="180"/>
                      </a:lnTo>
                      <a:lnTo>
                        <a:pt x="264" y="182"/>
                      </a:lnTo>
                      <a:lnTo>
                        <a:pt x="262" y="181"/>
                      </a:lnTo>
                      <a:lnTo>
                        <a:pt x="260" y="182"/>
                      </a:lnTo>
                      <a:lnTo>
                        <a:pt x="259" y="182"/>
                      </a:lnTo>
                      <a:lnTo>
                        <a:pt x="259" y="182"/>
                      </a:lnTo>
                      <a:lnTo>
                        <a:pt x="259" y="183"/>
                      </a:lnTo>
                      <a:lnTo>
                        <a:pt x="257" y="183"/>
                      </a:lnTo>
                      <a:lnTo>
                        <a:pt x="257" y="183"/>
                      </a:lnTo>
                      <a:lnTo>
                        <a:pt x="257" y="183"/>
                      </a:lnTo>
                      <a:lnTo>
                        <a:pt x="256" y="183"/>
                      </a:lnTo>
                      <a:lnTo>
                        <a:pt x="255" y="183"/>
                      </a:lnTo>
                      <a:lnTo>
                        <a:pt x="255" y="183"/>
                      </a:lnTo>
                      <a:lnTo>
                        <a:pt x="254" y="183"/>
                      </a:lnTo>
                      <a:lnTo>
                        <a:pt x="253" y="183"/>
                      </a:lnTo>
                      <a:lnTo>
                        <a:pt x="253" y="183"/>
                      </a:lnTo>
                      <a:lnTo>
                        <a:pt x="252" y="183"/>
                      </a:lnTo>
                      <a:lnTo>
                        <a:pt x="252" y="183"/>
                      </a:lnTo>
                      <a:lnTo>
                        <a:pt x="249" y="183"/>
                      </a:lnTo>
                      <a:lnTo>
                        <a:pt x="249" y="183"/>
                      </a:lnTo>
                      <a:lnTo>
                        <a:pt x="248" y="183"/>
                      </a:lnTo>
                      <a:lnTo>
                        <a:pt x="247" y="184"/>
                      </a:lnTo>
                      <a:lnTo>
                        <a:pt x="246" y="184"/>
                      </a:lnTo>
                      <a:lnTo>
                        <a:pt x="246" y="184"/>
                      </a:lnTo>
                      <a:lnTo>
                        <a:pt x="245" y="184"/>
                      </a:lnTo>
                      <a:lnTo>
                        <a:pt x="245" y="185"/>
                      </a:lnTo>
                      <a:lnTo>
                        <a:pt x="245" y="187"/>
                      </a:lnTo>
                      <a:lnTo>
                        <a:pt x="244" y="188"/>
                      </a:lnTo>
                      <a:lnTo>
                        <a:pt x="244" y="188"/>
                      </a:lnTo>
                      <a:lnTo>
                        <a:pt x="245" y="188"/>
                      </a:lnTo>
                      <a:lnTo>
                        <a:pt x="245" y="189"/>
                      </a:lnTo>
                      <a:lnTo>
                        <a:pt x="245" y="189"/>
                      </a:lnTo>
                      <a:lnTo>
                        <a:pt x="244" y="190"/>
                      </a:lnTo>
                      <a:lnTo>
                        <a:pt x="243" y="189"/>
                      </a:lnTo>
                      <a:lnTo>
                        <a:pt x="243" y="189"/>
                      </a:lnTo>
                      <a:lnTo>
                        <a:pt x="239" y="188"/>
                      </a:lnTo>
                      <a:lnTo>
                        <a:pt x="236" y="188"/>
                      </a:lnTo>
                      <a:lnTo>
                        <a:pt x="235" y="188"/>
                      </a:lnTo>
                      <a:lnTo>
                        <a:pt x="234" y="188"/>
                      </a:lnTo>
                      <a:lnTo>
                        <a:pt x="232" y="188"/>
                      </a:lnTo>
                      <a:lnTo>
                        <a:pt x="230" y="188"/>
                      </a:lnTo>
                      <a:lnTo>
                        <a:pt x="229" y="189"/>
                      </a:lnTo>
                      <a:lnTo>
                        <a:pt x="228" y="190"/>
                      </a:lnTo>
                      <a:lnTo>
                        <a:pt x="228" y="190"/>
                      </a:lnTo>
                      <a:lnTo>
                        <a:pt x="228" y="190"/>
                      </a:lnTo>
                      <a:lnTo>
                        <a:pt x="228" y="191"/>
                      </a:lnTo>
                      <a:lnTo>
                        <a:pt x="228" y="192"/>
                      </a:lnTo>
                      <a:lnTo>
                        <a:pt x="227" y="191"/>
                      </a:lnTo>
                      <a:lnTo>
                        <a:pt x="227" y="190"/>
                      </a:lnTo>
                      <a:lnTo>
                        <a:pt x="227" y="190"/>
                      </a:lnTo>
                      <a:lnTo>
                        <a:pt x="227" y="190"/>
                      </a:lnTo>
                      <a:lnTo>
                        <a:pt x="227" y="189"/>
                      </a:lnTo>
                      <a:lnTo>
                        <a:pt x="227" y="189"/>
                      </a:lnTo>
                      <a:lnTo>
                        <a:pt x="225" y="191"/>
                      </a:lnTo>
                      <a:lnTo>
                        <a:pt x="225" y="191"/>
                      </a:lnTo>
                      <a:lnTo>
                        <a:pt x="225" y="191"/>
                      </a:lnTo>
                      <a:lnTo>
                        <a:pt x="225" y="192"/>
                      </a:lnTo>
                      <a:lnTo>
                        <a:pt x="226" y="192"/>
                      </a:lnTo>
                      <a:lnTo>
                        <a:pt x="227" y="192"/>
                      </a:lnTo>
                      <a:lnTo>
                        <a:pt x="228" y="192"/>
                      </a:lnTo>
                      <a:lnTo>
                        <a:pt x="229" y="192"/>
                      </a:lnTo>
                      <a:lnTo>
                        <a:pt x="229" y="192"/>
                      </a:lnTo>
                      <a:lnTo>
                        <a:pt x="229" y="191"/>
                      </a:lnTo>
                      <a:lnTo>
                        <a:pt x="229" y="191"/>
                      </a:lnTo>
                      <a:lnTo>
                        <a:pt x="229" y="192"/>
                      </a:lnTo>
                      <a:lnTo>
                        <a:pt x="229" y="193"/>
                      </a:lnTo>
                      <a:lnTo>
                        <a:pt x="226" y="193"/>
                      </a:lnTo>
                      <a:lnTo>
                        <a:pt x="224" y="193"/>
                      </a:lnTo>
                      <a:lnTo>
                        <a:pt x="223" y="193"/>
                      </a:lnTo>
                      <a:lnTo>
                        <a:pt x="220" y="194"/>
                      </a:lnTo>
                      <a:lnTo>
                        <a:pt x="220" y="194"/>
                      </a:lnTo>
                      <a:lnTo>
                        <a:pt x="219" y="195"/>
                      </a:lnTo>
                      <a:lnTo>
                        <a:pt x="217" y="196"/>
                      </a:lnTo>
                      <a:lnTo>
                        <a:pt x="217" y="196"/>
                      </a:lnTo>
                      <a:lnTo>
                        <a:pt x="216" y="196"/>
                      </a:lnTo>
                      <a:lnTo>
                        <a:pt x="215" y="197"/>
                      </a:lnTo>
                      <a:lnTo>
                        <a:pt x="215" y="199"/>
                      </a:lnTo>
                      <a:lnTo>
                        <a:pt x="214" y="199"/>
                      </a:lnTo>
                      <a:lnTo>
                        <a:pt x="213" y="201"/>
                      </a:lnTo>
                      <a:lnTo>
                        <a:pt x="212" y="202"/>
                      </a:lnTo>
                      <a:lnTo>
                        <a:pt x="214" y="204"/>
                      </a:lnTo>
                      <a:lnTo>
                        <a:pt x="214" y="205"/>
                      </a:lnTo>
                      <a:lnTo>
                        <a:pt x="213" y="206"/>
                      </a:lnTo>
                      <a:lnTo>
                        <a:pt x="212" y="206"/>
                      </a:lnTo>
                      <a:lnTo>
                        <a:pt x="212" y="206"/>
                      </a:lnTo>
                      <a:lnTo>
                        <a:pt x="209" y="208"/>
                      </a:lnTo>
                      <a:lnTo>
                        <a:pt x="208" y="209"/>
                      </a:lnTo>
                      <a:lnTo>
                        <a:pt x="208" y="210"/>
                      </a:lnTo>
                      <a:lnTo>
                        <a:pt x="208" y="211"/>
                      </a:lnTo>
                      <a:lnTo>
                        <a:pt x="207" y="211"/>
                      </a:lnTo>
                      <a:lnTo>
                        <a:pt x="207" y="212"/>
                      </a:lnTo>
                      <a:lnTo>
                        <a:pt x="208" y="212"/>
                      </a:lnTo>
                      <a:lnTo>
                        <a:pt x="209" y="213"/>
                      </a:lnTo>
                      <a:lnTo>
                        <a:pt x="209" y="213"/>
                      </a:lnTo>
                      <a:lnTo>
                        <a:pt x="208" y="214"/>
                      </a:lnTo>
                      <a:lnTo>
                        <a:pt x="207" y="215"/>
                      </a:lnTo>
                      <a:lnTo>
                        <a:pt x="208" y="216"/>
                      </a:lnTo>
                      <a:lnTo>
                        <a:pt x="208" y="217"/>
                      </a:lnTo>
                      <a:lnTo>
                        <a:pt x="209" y="218"/>
                      </a:lnTo>
                      <a:lnTo>
                        <a:pt x="210" y="218"/>
                      </a:lnTo>
                      <a:lnTo>
                        <a:pt x="210" y="218"/>
                      </a:lnTo>
                      <a:lnTo>
                        <a:pt x="211" y="218"/>
                      </a:lnTo>
                      <a:lnTo>
                        <a:pt x="211" y="218"/>
                      </a:lnTo>
                      <a:lnTo>
                        <a:pt x="211" y="218"/>
                      </a:lnTo>
                      <a:lnTo>
                        <a:pt x="211" y="219"/>
                      </a:lnTo>
                      <a:lnTo>
                        <a:pt x="212" y="220"/>
                      </a:lnTo>
                      <a:lnTo>
                        <a:pt x="211" y="221"/>
                      </a:lnTo>
                      <a:lnTo>
                        <a:pt x="211" y="223"/>
                      </a:lnTo>
                      <a:lnTo>
                        <a:pt x="210" y="223"/>
                      </a:lnTo>
                      <a:lnTo>
                        <a:pt x="210" y="224"/>
                      </a:lnTo>
                      <a:lnTo>
                        <a:pt x="210" y="224"/>
                      </a:lnTo>
                      <a:lnTo>
                        <a:pt x="209" y="224"/>
                      </a:lnTo>
                      <a:lnTo>
                        <a:pt x="209" y="224"/>
                      </a:lnTo>
                      <a:lnTo>
                        <a:pt x="209" y="223"/>
                      </a:lnTo>
                      <a:lnTo>
                        <a:pt x="208" y="223"/>
                      </a:lnTo>
                      <a:lnTo>
                        <a:pt x="208" y="223"/>
                      </a:lnTo>
                      <a:lnTo>
                        <a:pt x="205" y="224"/>
                      </a:lnTo>
                      <a:lnTo>
                        <a:pt x="204" y="224"/>
                      </a:lnTo>
                      <a:lnTo>
                        <a:pt x="204" y="225"/>
                      </a:lnTo>
                      <a:lnTo>
                        <a:pt x="204" y="226"/>
                      </a:lnTo>
                      <a:lnTo>
                        <a:pt x="204" y="227"/>
                      </a:lnTo>
                      <a:lnTo>
                        <a:pt x="204" y="227"/>
                      </a:lnTo>
                      <a:lnTo>
                        <a:pt x="204" y="227"/>
                      </a:lnTo>
                      <a:lnTo>
                        <a:pt x="204" y="227"/>
                      </a:lnTo>
                      <a:lnTo>
                        <a:pt x="203" y="228"/>
                      </a:lnTo>
                      <a:lnTo>
                        <a:pt x="203" y="228"/>
                      </a:lnTo>
                      <a:lnTo>
                        <a:pt x="202" y="229"/>
                      </a:lnTo>
                      <a:lnTo>
                        <a:pt x="202" y="229"/>
                      </a:lnTo>
                      <a:lnTo>
                        <a:pt x="201" y="228"/>
                      </a:lnTo>
                      <a:lnTo>
                        <a:pt x="200" y="227"/>
                      </a:lnTo>
                      <a:lnTo>
                        <a:pt x="200" y="227"/>
                      </a:lnTo>
                      <a:lnTo>
                        <a:pt x="198" y="227"/>
                      </a:lnTo>
                      <a:lnTo>
                        <a:pt x="198" y="226"/>
                      </a:lnTo>
                      <a:lnTo>
                        <a:pt x="198" y="226"/>
                      </a:lnTo>
                      <a:lnTo>
                        <a:pt x="198" y="225"/>
                      </a:lnTo>
                      <a:lnTo>
                        <a:pt x="198" y="224"/>
                      </a:lnTo>
                      <a:lnTo>
                        <a:pt x="198" y="224"/>
                      </a:lnTo>
                      <a:lnTo>
                        <a:pt x="198" y="223"/>
                      </a:lnTo>
                      <a:lnTo>
                        <a:pt x="198" y="223"/>
                      </a:lnTo>
                      <a:lnTo>
                        <a:pt x="200" y="223"/>
                      </a:lnTo>
                      <a:lnTo>
                        <a:pt x="200" y="223"/>
                      </a:lnTo>
                      <a:lnTo>
                        <a:pt x="200" y="223"/>
                      </a:lnTo>
                      <a:lnTo>
                        <a:pt x="200" y="222"/>
                      </a:lnTo>
                      <a:lnTo>
                        <a:pt x="200" y="222"/>
                      </a:lnTo>
                      <a:lnTo>
                        <a:pt x="200" y="222"/>
                      </a:lnTo>
                      <a:lnTo>
                        <a:pt x="200" y="221"/>
                      </a:lnTo>
                      <a:lnTo>
                        <a:pt x="200" y="220"/>
                      </a:lnTo>
                      <a:lnTo>
                        <a:pt x="198" y="220"/>
                      </a:lnTo>
                      <a:lnTo>
                        <a:pt x="198" y="220"/>
                      </a:lnTo>
                      <a:lnTo>
                        <a:pt x="198" y="219"/>
                      </a:lnTo>
                      <a:lnTo>
                        <a:pt x="197" y="219"/>
                      </a:lnTo>
                      <a:lnTo>
                        <a:pt x="196" y="218"/>
                      </a:lnTo>
                      <a:lnTo>
                        <a:pt x="194" y="217"/>
                      </a:lnTo>
                      <a:lnTo>
                        <a:pt x="194" y="216"/>
                      </a:lnTo>
                      <a:lnTo>
                        <a:pt x="193" y="216"/>
                      </a:lnTo>
                      <a:lnTo>
                        <a:pt x="192" y="215"/>
                      </a:lnTo>
                      <a:lnTo>
                        <a:pt x="191" y="215"/>
                      </a:lnTo>
                      <a:lnTo>
                        <a:pt x="189" y="214"/>
                      </a:lnTo>
                      <a:lnTo>
                        <a:pt x="186" y="213"/>
                      </a:lnTo>
                      <a:lnTo>
                        <a:pt x="185" y="213"/>
                      </a:lnTo>
                      <a:lnTo>
                        <a:pt x="184" y="214"/>
                      </a:lnTo>
                      <a:lnTo>
                        <a:pt x="184" y="214"/>
                      </a:lnTo>
                      <a:lnTo>
                        <a:pt x="183" y="215"/>
                      </a:lnTo>
                      <a:lnTo>
                        <a:pt x="183" y="215"/>
                      </a:lnTo>
                      <a:lnTo>
                        <a:pt x="183" y="216"/>
                      </a:lnTo>
                      <a:lnTo>
                        <a:pt x="182" y="216"/>
                      </a:lnTo>
                      <a:lnTo>
                        <a:pt x="182" y="216"/>
                      </a:lnTo>
                      <a:lnTo>
                        <a:pt x="182" y="217"/>
                      </a:lnTo>
                      <a:lnTo>
                        <a:pt x="182" y="218"/>
                      </a:lnTo>
                      <a:lnTo>
                        <a:pt x="180" y="219"/>
                      </a:lnTo>
                      <a:lnTo>
                        <a:pt x="180" y="220"/>
                      </a:lnTo>
                      <a:lnTo>
                        <a:pt x="179" y="220"/>
                      </a:lnTo>
                      <a:lnTo>
                        <a:pt x="178" y="221"/>
                      </a:lnTo>
                      <a:lnTo>
                        <a:pt x="177" y="221"/>
                      </a:lnTo>
                      <a:lnTo>
                        <a:pt x="176" y="222"/>
                      </a:lnTo>
                      <a:lnTo>
                        <a:pt x="176" y="220"/>
                      </a:lnTo>
                      <a:lnTo>
                        <a:pt x="175" y="220"/>
                      </a:lnTo>
                      <a:lnTo>
                        <a:pt x="174" y="219"/>
                      </a:lnTo>
                      <a:lnTo>
                        <a:pt x="174" y="219"/>
                      </a:lnTo>
                      <a:lnTo>
                        <a:pt x="172" y="220"/>
                      </a:lnTo>
                      <a:lnTo>
                        <a:pt x="172" y="221"/>
                      </a:lnTo>
                      <a:lnTo>
                        <a:pt x="171" y="221"/>
                      </a:lnTo>
                      <a:lnTo>
                        <a:pt x="170" y="221"/>
                      </a:lnTo>
                      <a:lnTo>
                        <a:pt x="170" y="222"/>
                      </a:lnTo>
                      <a:lnTo>
                        <a:pt x="169" y="222"/>
                      </a:lnTo>
                      <a:lnTo>
                        <a:pt x="169" y="223"/>
                      </a:lnTo>
                      <a:lnTo>
                        <a:pt x="169" y="223"/>
                      </a:lnTo>
                      <a:lnTo>
                        <a:pt x="168" y="223"/>
                      </a:lnTo>
                      <a:lnTo>
                        <a:pt x="167" y="223"/>
                      </a:lnTo>
                      <a:lnTo>
                        <a:pt x="167" y="222"/>
                      </a:lnTo>
                      <a:lnTo>
                        <a:pt x="168" y="222"/>
                      </a:lnTo>
                      <a:lnTo>
                        <a:pt x="167" y="221"/>
                      </a:lnTo>
                      <a:lnTo>
                        <a:pt x="167" y="221"/>
                      </a:lnTo>
                      <a:lnTo>
                        <a:pt x="165" y="220"/>
                      </a:lnTo>
                      <a:lnTo>
                        <a:pt x="163" y="220"/>
                      </a:lnTo>
                      <a:lnTo>
                        <a:pt x="161" y="220"/>
                      </a:lnTo>
                      <a:lnTo>
                        <a:pt x="160" y="221"/>
                      </a:lnTo>
                      <a:lnTo>
                        <a:pt x="160" y="222"/>
                      </a:lnTo>
                      <a:lnTo>
                        <a:pt x="160" y="222"/>
                      </a:lnTo>
                      <a:lnTo>
                        <a:pt x="160" y="224"/>
                      </a:lnTo>
                      <a:lnTo>
                        <a:pt x="159" y="226"/>
                      </a:lnTo>
                      <a:lnTo>
                        <a:pt x="159" y="226"/>
                      </a:lnTo>
                      <a:lnTo>
                        <a:pt x="159" y="227"/>
                      </a:lnTo>
                      <a:lnTo>
                        <a:pt x="158" y="228"/>
                      </a:lnTo>
                      <a:lnTo>
                        <a:pt x="158" y="228"/>
                      </a:lnTo>
                      <a:lnTo>
                        <a:pt x="158" y="227"/>
                      </a:lnTo>
                      <a:lnTo>
                        <a:pt x="157" y="227"/>
                      </a:lnTo>
                      <a:lnTo>
                        <a:pt x="157" y="226"/>
                      </a:lnTo>
                      <a:lnTo>
                        <a:pt x="157" y="227"/>
                      </a:lnTo>
                      <a:lnTo>
                        <a:pt x="156" y="227"/>
                      </a:lnTo>
                      <a:lnTo>
                        <a:pt x="155" y="226"/>
                      </a:lnTo>
                      <a:lnTo>
                        <a:pt x="155" y="226"/>
                      </a:lnTo>
                      <a:lnTo>
                        <a:pt x="155" y="226"/>
                      </a:lnTo>
                      <a:lnTo>
                        <a:pt x="154" y="225"/>
                      </a:lnTo>
                      <a:lnTo>
                        <a:pt x="153" y="225"/>
                      </a:lnTo>
                      <a:lnTo>
                        <a:pt x="153" y="225"/>
                      </a:lnTo>
                      <a:lnTo>
                        <a:pt x="152" y="224"/>
                      </a:lnTo>
                      <a:lnTo>
                        <a:pt x="152" y="223"/>
                      </a:lnTo>
                      <a:lnTo>
                        <a:pt x="151" y="223"/>
                      </a:lnTo>
                      <a:lnTo>
                        <a:pt x="151" y="223"/>
                      </a:lnTo>
                      <a:lnTo>
                        <a:pt x="151" y="222"/>
                      </a:lnTo>
                      <a:lnTo>
                        <a:pt x="151" y="222"/>
                      </a:lnTo>
                      <a:lnTo>
                        <a:pt x="152" y="222"/>
                      </a:lnTo>
                      <a:lnTo>
                        <a:pt x="152" y="221"/>
                      </a:lnTo>
                      <a:lnTo>
                        <a:pt x="152" y="220"/>
                      </a:lnTo>
                      <a:lnTo>
                        <a:pt x="153" y="220"/>
                      </a:lnTo>
                      <a:lnTo>
                        <a:pt x="153" y="220"/>
                      </a:lnTo>
                      <a:lnTo>
                        <a:pt x="154" y="219"/>
                      </a:lnTo>
                      <a:lnTo>
                        <a:pt x="154" y="219"/>
                      </a:lnTo>
                      <a:lnTo>
                        <a:pt x="154" y="218"/>
                      </a:lnTo>
                      <a:lnTo>
                        <a:pt x="154" y="218"/>
                      </a:lnTo>
                      <a:lnTo>
                        <a:pt x="154" y="218"/>
                      </a:lnTo>
                      <a:lnTo>
                        <a:pt x="154" y="216"/>
                      </a:lnTo>
                      <a:lnTo>
                        <a:pt x="155" y="215"/>
                      </a:lnTo>
                      <a:lnTo>
                        <a:pt x="157" y="214"/>
                      </a:lnTo>
                      <a:lnTo>
                        <a:pt x="156" y="213"/>
                      </a:lnTo>
                      <a:lnTo>
                        <a:pt x="157" y="213"/>
                      </a:lnTo>
                      <a:lnTo>
                        <a:pt x="157" y="212"/>
                      </a:lnTo>
                      <a:lnTo>
                        <a:pt x="157" y="212"/>
                      </a:lnTo>
                      <a:lnTo>
                        <a:pt x="157" y="212"/>
                      </a:lnTo>
                      <a:lnTo>
                        <a:pt x="158" y="211"/>
                      </a:lnTo>
                      <a:lnTo>
                        <a:pt x="158" y="211"/>
                      </a:lnTo>
                      <a:lnTo>
                        <a:pt x="157" y="211"/>
                      </a:lnTo>
                      <a:lnTo>
                        <a:pt x="159" y="210"/>
                      </a:lnTo>
                      <a:lnTo>
                        <a:pt x="159" y="209"/>
                      </a:lnTo>
                      <a:lnTo>
                        <a:pt x="160" y="209"/>
                      </a:lnTo>
                      <a:lnTo>
                        <a:pt x="160" y="209"/>
                      </a:lnTo>
                      <a:lnTo>
                        <a:pt x="160" y="209"/>
                      </a:lnTo>
                      <a:lnTo>
                        <a:pt x="160" y="208"/>
                      </a:lnTo>
                      <a:lnTo>
                        <a:pt x="160" y="208"/>
                      </a:lnTo>
                      <a:lnTo>
                        <a:pt x="160" y="207"/>
                      </a:lnTo>
                      <a:lnTo>
                        <a:pt x="160" y="206"/>
                      </a:lnTo>
                      <a:lnTo>
                        <a:pt x="159" y="206"/>
                      </a:lnTo>
                      <a:lnTo>
                        <a:pt x="160" y="204"/>
                      </a:lnTo>
                      <a:lnTo>
                        <a:pt x="160" y="202"/>
                      </a:lnTo>
                      <a:lnTo>
                        <a:pt x="160" y="202"/>
                      </a:lnTo>
                      <a:lnTo>
                        <a:pt x="159" y="202"/>
                      </a:lnTo>
                      <a:lnTo>
                        <a:pt x="160" y="202"/>
                      </a:lnTo>
                      <a:lnTo>
                        <a:pt x="160" y="201"/>
                      </a:lnTo>
                      <a:lnTo>
                        <a:pt x="161" y="201"/>
                      </a:lnTo>
                      <a:lnTo>
                        <a:pt x="161" y="201"/>
                      </a:lnTo>
                      <a:lnTo>
                        <a:pt x="163" y="201"/>
                      </a:lnTo>
                      <a:lnTo>
                        <a:pt x="163" y="201"/>
                      </a:lnTo>
                      <a:lnTo>
                        <a:pt x="163" y="201"/>
                      </a:lnTo>
                      <a:lnTo>
                        <a:pt x="164" y="201"/>
                      </a:lnTo>
                      <a:lnTo>
                        <a:pt x="164" y="200"/>
                      </a:lnTo>
                      <a:lnTo>
                        <a:pt x="164" y="200"/>
                      </a:lnTo>
                      <a:lnTo>
                        <a:pt x="165" y="200"/>
                      </a:lnTo>
                      <a:lnTo>
                        <a:pt x="165" y="200"/>
                      </a:lnTo>
                      <a:lnTo>
                        <a:pt x="165" y="200"/>
                      </a:lnTo>
                      <a:lnTo>
                        <a:pt x="167" y="200"/>
                      </a:lnTo>
                      <a:lnTo>
                        <a:pt x="167" y="199"/>
                      </a:lnTo>
                      <a:lnTo>
                        <a:pt x="167" y="197"/>
                      </a:lnTo>
                      <a:lnTo>
                        <a:pt x="168" y="196"/>
                      </a:lnTo>
                      <a:lnTo>
                        <a:pt x="168" y="195"/>
                      </a:lnTo>
                      <a:lnTo>
                        <a:pt x="168" y="195"/>
                      </a:lnTo>
                      <a:lnTo>
                        <a:pt x="169" y="194"/>
                      </a:lnTo>
                      <a:lnTo>
                        <a:pt x="170" y="195"/>
                      </a:lnTo>
                      <a:lnTo>
                        <a:pt x="171" y="194"/>
                      </a:lnTo>
                      <a:lnTo>
                        <a:pt x="172" y="193"/>
                      </a:lnTo>
                      <a:lnTo>
                        <a:pt x="172" y="193"/>
                      </a:lnTo>
                      <a:lnTo>
                        <a:pt x="173" y="192"/>
                      </a:lnTo>
                      <a:lnTo>
                        <a:pt x="173" y="191"/>
                      </a:lnTo>
                      <a:lnTo>
                        <a:pt x="172" y="190"/>
                      </a:lnTo>
                      <a:lnTo>
                        <a:pt x="173" y="190"/>
                      </a:lnTo>
                      <a:lnTo>
                        <a:pt x="174" y="189"/>
                      </a:lnTo>
                      <a:lnTo>
                        <a:pt x="174" y="188"/>
                      </a:lnTo>
                      <a:lnTo>
                        <a:pt x="174" y="188"/>
                      </a:lnTo>
                      <a:lnTo>
                        <a:pt x="175" y="187"/>
                      </a:lnTo>
                      <a:lnTo>
                        <a:pt x="175" y="186"/>
                      </a:lnTo>
                      <a:lnTo>
                        <a:pt x="176" y="185"/>
                      </a:lnTo>
                      <a:lnTo>
                        <a:pt x="176" y="185"/>
                      </a:lnTo>
                      <a:lnTo>
                        <a:pt x="176" y="185"/>
                      </a:lnTo>
                      <a:lnTo>
                        <a:pt x="176" y="185"/>
                      </a:lnTo>
                      <a:lnTo>
                        <a:pt x="176" y="184"/>
                      </a:lnTo>
                      <a:lnTo>
                        <a:pt x="177" y="184"/>
                      </a:lnTo>
                      <a:lnTo>
                        <a:pt x="177" y="184"/>
                      </a:lnTo>
                      <a:lnTo>
                        <a:pt x="178" y="185"/>
                      </a:lnTo>
                      <a:lnTo>
                        <a:pt x="178" y="184"/>
                      </a:lnTo>
                      <a:lnTo>
                        <a:pt x="179" y="184"/>
                      </a:lnTo>
                      <a:lnTo>
                        <a:pt x="179" y="184"/>
                      </a:lnTo>
                      <a:lnTo>
                        <a:pt x="180" y="184"/>
                      </a:lnTo>
                      <a:lnTo>
                        <a:pt x="180" y="183"/>
                      </a:lnTo>
                      <a:lnTo>
                        <a:pt x="181" y="183"/>
                      </a:lnTo>
                      <a:lnTo>
                        <a:pt x="182" y="181"/>
                      </a:lnTo>
                      <a:lnTo>
                        <a:pt x="182" y="180"/>
                      </a:lnTo>
                      <a:lnTo>
                        <a:pt x="182" y="179"/>
                      </a:lnTo>
                      <a:lnTo>
                        <a:pt x="182" y="179"/>
                      </a:lnTo>
                      <a:lnTo>
                        <a:pt x="183" y="178"/>
                      </a:lnTo>
                      <a:lnTo>
                        <a:pt x="183" y="178"/>
                      </a:lnTo>
                      <a:lnTo>
                        <a:pt x="184" y="178"/>
                      </a:lnTo>
                      <a:lnTo>
                        <a:pt x="184" y="178"/>
                      </a:lnTo>
                      <a:lnTo>
                        <a:pt x="185" y="177"/>
                      </a:lnTo>
                      <a:lnTo>
                        <a:pt x="185" y="177"/>
                      </a:lnTo>
                      <a:lnTo>
                        <a:pt x="186" y="177"/>
                      </a:lnTo>
                      <a:lnTo>
                        <a:pt x="186" y="177"/>
                      </a:lnTo>
                      <a:lnTo>
                        <a:pt x="187" y="177"/>
                      </a:lnTo>
                      <a:lnTo>
                        <a:pt x="187" y="177"/>
                      </a:lnTo>
                      <a:lnTo>
                        <a:pt x="188" y="177"/>
                      </a:lnTo>
                      <a:lnTo>
                        <a:pt x="188" y="176"/>
                      </a:lnTo>
                      <a:lnTo>
                        <a:pt x="190" y="175"/>
                      </a:lnTo>
                      <a:lnTo>
                        <a:pt x="190" y="174"/>
                      </a:lnTo>
                      <a:lnTo>
                        <a:pt x="190" y="174"/>
                      </a:lnTo>
                      <a:lnTo>
                        <a:pt x="190" y="173"/>
                      </a:lnTo>
                      <a:lnTo>
                        <a:pt x="191" y="173"/>
                      </a:lnTo>
                      <a:lnTo>
                        <a:pt x="191" y="173"/>
                      </a:lnTo>
                      <a:lnTo>
                        <a:pt x="192" y="173"/>
                      </a:lnTo>
                      <a:lnTo>
                        <a:pt x="192" y="171"/>
                      </a:lnTo>
                      <a:lnTo>
                        <a:pt x="193" y="171"/>
                      </a:lnTo>
                      <a:lnTo>
                        <a:pt x="193" y="170"/>
                      </a:lnTo>
                      <a:lnTo>
                        <a:pt x="193" y="170"/>
                      </a:lnTo>
                      <a:lnTo>
                        <a:pt x="194" y="170"/>
                      </a:lnTo>
                      <a:lnTo>
                        <a:pt x="194" y="170"/>
                      </a:lnTo>
                      <a:lnTo>
                        <a:pt x="193" y="170"/>
                      </a:lnTo>
                      <a:lnTo>
                        <a:pt x="194" y="171"/>
                      </a:lnTo>
                      <a:lnTo>
                        <a:pt x="193" y="171"/>
                      </a:lnTo>
                      <a:lnTo>
                        <a:pt x="193" y="171"/>
                      </a:lnTo>
                      <a:lnTo>
                        <a:pt x="193" y="172"/>
                      </a:lnTo>
                      <a:lnTo>
                        <a:pt x="193" y="172"/>
                      </a:lnTo>
                      <a:lnTo>
                        <a:pt x="193" y="173"/>
                      </a:lnTo>
                      <a:lnTo>
                        <a:pt x="194" y="173"/>
                      </a:lnTo>
                      <a:lnTo>
                        <a:pt x="195" y="173"/>
                      </a:lnTo>
                      <a:lnTo>
                        <a:pt x="197" y="173"/>
                      </a:lnTo>
                      <a:lnTo>
                        <a:pt x="197" y="173"/>
                      </a:lnTo>
                      <a:lnTo>
                        <a:pt x="200" y="173"/>
                      </a:lnTo>
                      <a:lnTo>
                        <a:pt x="200" y="172"/>
                      </a:lnTo>
                      <a:lnTo>
                        <a:pt x="201" y="172"/>
                      </a:lnTo>
                      <a:lnTo>
                        <a:pt x="200" y="172"/>
                      </a:lnTo>
                      <a:lnTo>
                        <a:pt x="201" y="174"/>
                      </a:lnTo>
                      <a:lnTo>
                        <a:pt x="202" y="173"/>
                      </a:lnTo>
                      <a:lnTo>
                        <a:pt x="204" y="172"/>
                      </a:lnTo>
                      <a:lnTo>
                        <a:pt x="205" y="172"/>
                      </a:lnTo>
                      <a:lnTo>
                        <a:pt x="205" y="171"/>
                      </a:lnTo>
                      <a:lnTo>
                        <a:pt x="206" y="170"/>
                      </a:lnTo>
                      <a:lnTo>
                        <a:pt x="206" y="170"/>
                      </a:lnTo>
                      <a:lnTo>
                        <a:pt x="206" y="170"/>
                      </a:lnTo>
                      <a:lnTo>
                        <a:pt x="207" y="169"/>
                      </a:lnTo>
                      <a:lnTo>
                        <a:pt x="207" y="169"/>
                      </a:lnTo>
                      <a:lnTo>
                        <a:pt x="207" y="169"/>
                      </a:lnTo>
                      <a:lnTo>
                        <a:pt x="208" y="169"/>
                      </a:lnTo>
                      <a:lnTo>
                        <a:pt x="209" y="168"/>
                      </a:lnTo>
                      <a:lnTo>
                        <a:pt x="209" y="167"/>
                      </a:lnTo>
                      <a:lnTo>
                        <a:pt x="211" y="164"/>
                      </a:lnTo>
                      <a:lnTo>
                        <a:pt x="210" y="164"/>
                      </a:lnTo>
                      <a:lnTo>
                        <a:pt x="211" y="163"/>
                      </a:lnTo>
                      <a:lnTo>
                        <a:pt x="211" y="163"/>
                      </a:lnTo>
                      <a:lnTo>
                        <a:pt x="212" y="163"/>
                      </a:lnTo>
                      <a:lnTo>
                        <a:pt x="212" y="162"/>
                      </a:lnTo>
                      <a:lnTo>
                        <a:pt x="213" y="163"/>
                      </a:lnTo>
                      <a:lnTo>
                        <a:pt x="214" y="162"/>
                      </a:lnTo>
                      <a:lnTo>
                        <a:pt x="214" y="161"/>
                      </a:lnTo>
                      <a:lnTo>
                        <a:pt x="214" y="161"/>
                      </a:lnTo>
                      <a:lnTo>
                        <a:pt x="214" y="161"/>
                      </a:lnTo>
                      <a:lnTo>
                        <a:pt x="215" y="160"/>
                      </a:lnTo>
                      <a:lnTo>
                        <a:pt x="215" y="159"/>
                      </a:lnTo>
                      <a:lnTo>
                        <a:pt x="216" y="159"/>
                      </a:lnTo>
                      <a:lnTo>
                        <a:pt x="216" y="157"/>
                      </a:lnTo>
                      <a:lnTo>
                        <a:pt x="216" y="157"/>
                      </a:lnTo>
                      <a:lnTo>
                        <a:pt x="217" y="157"/>
                      </a:lnTo>
                      <a:lnTo>
                        <a:pt x="217" y="156"/>
                      </a:lnTo>
                      <a:lnTo>
                        <a:pt x="219" y="154"/>
                      </a:lnTo>
                      <a:lnTo>
                        <a:pt x="219" y="154"/>
                      </a:lnTo>
                      <a:lnTo>
                        <a:pt x="220" y="153"/>
                      </a:lnTo>
                      <a:lnTo>
                        <a:pt x="220" y="152"/>
                      </a:lnTo>
                      <a:lnTo>
                        <a:pt x="220" y="152"/>
                      </a:lnTo>
                      <a:lnTo>
                        <a:pt x="220" y="151"/>
                      </a:lnTo>
                      <a:lnTo>
                        <a:pt x="224" y="151"/>
                      </a:lnTo>
                      <a:lnTo>
                        <a:pt x="224" y="151"/>
                      </a:lnTo>
                      <a:lnTo>
                        <a:pt x="224" y="152"/>
                      </a:lnTo>
                      <a:lnTo>
                        <a:pt x="224" y="152"/>
                      </a:lnTo>
                      <a:lnTo>
                        <a:pt x="225" y="151"/>
                      </a:lnTo>
                      <a:lnTo>
                        <a:pt x="225" y="152"/>
                      </a:lnTo>
                      <a:lnTo>
                        <a:pt x="226" y="152"/>
                      </a:lnTo>
                      <a:lnTo>
                        <a:pt x="227" y="151"/>
                      </a:lnTo>
                      <a:lnTo>
                        <a:pt x="227" y="151"/>
                      </a:lnTo>
                      <a:lnTo>
                        <a:pt x="227" y="150"/>
                      </a:lnTo>
                      <a:lnTo>
                        <a:pt x="228" y="149"/>
                      </a:lnTo>
                      <a:lnTo>
                        <a:pt x="230" y="148"/>
                      </a:lnTo>
                      <a:lnTo>
                        <a:pt x="230" y="146"/>
                      </a:lnTo>
                      <a:lnTo>
                        <a:pt x="231" y="146"/>
                      </a:lnTo>
                      <a:lnTo>
                        <a:pt x="232" y="145"/>
                      </a:lnTo>
                      <a:lnTo>
                        <a:pt x="234" y="144"/>
                      </a:lnTo>
                      <a:lnTo>
                        <a:pt x="234" y="142"/>
                      </a:lnTo>
                      <a:lnTo>
                        <a:pt x="235" y="142"/>
                      </a:lnTo>
                      <a:lnTo>
                        <a:pt x="236" y="141"/>
                      </a:lnTo>
                      <a:lnTo>
                        <a:pt x="236" y="140"/>
                      </a:lnTo>
                      <a:lnTo>
                        <a:pt x="238" y="140"/>
                      </a:lnTo>
                      <a:lnTo>
                        <a:pt x="239" y="138"/>
                      </a:lnTo>
                      <a:lnTo>
                        <a:pt x="240" y="137"/>
                      </a:lnTo>
                      <a:lnTo>
                        <a:pt x="240" y="136"/>
                      </a:lnTo>
                      <a:lnTo>
                        <a:pt x="240" y="136"/>
                      </a:lnTo>
                      <a:lnTo>
                        <a:pt x="240" y="135"/>
                      </a:lnTo>
                      <a:lnTo>
                        <a:pt x="241" y="135"/>
                      </a:lnTo>
                      <a:lnTo>
                        <a:pt x="241" y="133"/>
                      </a:lnTo>
                      <a:lnTo>
                        <a:pt x="242" y="124"/>
                      </a:lnTo>
                      <a:lnTo>
                        <a:pt x="242" y="123"/>
                      </a:lnTo>
                      <a:lnTo>
                        <a:pt x="242" y="122"/>
                      </a:lnTo>
                      <a:lnTo>
                        <a:pt x="240" y="115"/>
                      </a:lnTo>
                      <a:lnTo>
                        <a:pt x="240" y="111"/>
                      </a:lnTo>
                      <a:lnTo>
                        <a:pt x="242" y="108"/>
                      </a:lnTo>
                      <a:lnTo>
                        <a:pt x="244" y="108"/>
                      </a:lnTo>
                      <a:lnTo>
                        <a:pt x="244" y="108"/>
                      </a:lnTo>
                      <a:lnTo>
                        <a:pt x="244" y="109"/>
                      </a:lnTo>
                      <a:lnTo>
                        <a:pt x="246" y="109"/>
                      </a:lnTo>
                      <a:lnTo>
                        <a:pt x="246" y="109"/>
                      </a:lnTo>
                      <a:lnTo>
                        <a:pt x="244" y="110"/>
                      </a:lnTo>
                      <a:lnTo>
                        <a:pt x="243" y="111"/>
                      </a:lnTo>
                      <a:lnTo>
                        <a:pt x="245" y="114"/>
                      </a:lnTo>
                      <a:lnTo>
                        <a:pt x="245" y="116"/>
                      </a:lnTo>
                      <a:lnTo>
                        <a:pt x="245" y="117"/>
                      </a:lnTo>
                      <a:lnTo>
                        <a:pt x="246" y="117"/>
                      </a:lnTo>
                      <a:lnTo>
                        <a:pt x="246" y="116"/>
                      </a:lnTo>
                      <a:lnTo>
                        <a:pt x="246" y="116"/>
                      </a:lnTo>
                      <a:lnTo>
                        <a:pt x="247" y="114"/>
                      </a:lnTo>
                      <a:lnTo>
                        <a:pt x="248" y="114"/>
                      </a:lnTo>
                      <a:lnTo>
                        <a:pt x="248" y="114"/>
                      </a:lnTo>
                      <a:lnTo>
                        <a:pt x="247" y="114"/>
                      </a:lnTo>
                      <a:lnTo>
                        <a:pt x="247" y="113"/>
                      </a:lnTo>
                      <a:lnTo>
                        <a:pt x="247" y="111"/>
                      </a:lnTo>
                      <a:lnTo>
                        <a:pt x="247" y="110"/>
                      </a:lnTo>
                      <a:lnTo>
                        <a:pt x="247" y="110"/>
                      </a:lnTo>
                      <a:lnTo>
                        <a:pt x="247" y="107"/>
                      </a:lnTo>
                      <a:lnTo>
                        <a:pt x="248" y="107"/>
                      </a:lnTo>
                      <a:lnTo>
                        <a:pt x="248" y="106"/>
                      </a:lnTo>
                      <a:lnTo>
                        <a:pt x="249" y="105"/>
                      </a:lnTo>
                      <a:lnTo>
                        <a:pt x="249" y="105"/>
                      </a:lnTo>
                      <a:lnTo>
                        <a:pt x="250" y="104"/>
                      </a:lnTo>
                      <a:lnTo>
                        <a:pt x="253" y="103"/>
                      </a:lnTo>
                      <a:lnTo>
                        <a:pt x="254" y="103"/>
                      </a:lnTo>
                      <a:lnTo>
                        <a:pt x="254" y="101"/>
                      </a:lnTo>
                      <a:lnTo>
                        <a:pt x="254" y="100"/>
                      </a:lnTo>
                      <a:lnTo>
                        <a:pt x="255" y="100"/>
                      </a:lnTo>
                      <a:lnTo>
                        <a:pt x="257" y="97"/>
                      </a:lnTo>
                      <a:lnTo>
                        <a:pt x="258" y="95"/>
                      </a:lnTo>
                      <a:lnTo>
                        <a:pt x="261" y="93"/>
                      </a:lnTo>
                      <a:lnTo>
                        <a:pt x="261" y="92"/>
                      </a:lnTo>
                      <a:lnTo>
                        <a:pt x="266" y="88"/>
                      </a:lnTo>
                      <a:lnTo>
                        <a:pt x="266" y="88"/>
                      </a:lnTo>
                      <a:lnTo>
                        <a:pt x="268" y="87"/>
                      </a:lnTo>
                      <a:lnTo>
                        <a:pt x="268" y="86"/>
                      </a:lnTo>
                      <a:lnTo>
                        <a:pt x="268" y="85"/>
                      </a:lnTo>
                      <a:lnTo>
                        <a:pt x="268" y="85"/>
                      </a:lnTo>
                      <a:lnTo>
                        <a:pt x="268" y="83"/>
                      </a:lnTo>
                      <a:lnTo>
                        <a:pt x="268" y="82"/>
                      </a:lnTo>
                      <a:lnTo>
                        <a:pt x="268" y="82"/>
                      </a:lnTo>
                      <a:lnTo>
                        <a:pt x="268" y="80"/>
                      </a:lnTo>
                      <a:lnTo>
                        <a:pt x="268" y="80"/>
                      </a:lnTo>
                      <a:lnTo>
                        <a:pt x="269" y="79"/>
                      </a:lnTo>
                      <a:lnTo>
                        <a:pt x="270" y="78"/>
                      </a:lnTo>
                      <a:lnTo>
                        <a:pt x="270" y="78"/>
                      </a:lnTo>
                      <a:lnTo>
                        <a:pt x="272" y="76"/>
                      </a:lnTo>
                      <a:lnTo>
                        <a:pt x="273" y="76"/>
                      </a:lnTo>
                      <a:lnTo>
                        <a:pt x="276" y="75"/>
                      </a:lnTo>
                      <a:lnTo>
                        <a:pt x="279" y="74"/>
                      </a:lnTo>
                      <a:lnTo>
                        <a:pt x="279" y="74"/>
                      </a:lnTo>
                      <a:lnTo>
                        <a:pt x="280" y="74"/>
                      </a:lnTo>
                      <a:lnTo>
                        <a:pt x="282" y="71"/>
                      </a:lnTo>
                      <a:lnTo>
                        <a:pt x="283" y="71"/>
                      </a:lnTo>
                      <a:lnTo>
                        <a:pt x="284" y="70"/>
                      </a:lnTo>
                      <a:lnTo>
                        <a:pt x="287" y="68"/>
                      </a:lnTo>
                      <a:lnTo>
                        <a:pt x="286" y="67"/>
                      </a:lnTo>
                      <a:lnTo>
                        <a:pt x="287" y="67"/>
                      </a:lnTo>
                      <a:lnTo>
                        <a:pt x="287" y="69"/>
                      </a:lnTo>
                      <a:lnTo>
                        <a:pt x="288" y="69"/>
                      </a:lnTo>
                      <a:lnTo>
                        <a:pt x="288" y="70"/>
                      </a:lnTo>
                      <a:lnTo>
                        <a:pt x="288" y="70"/>
                      </a:lnTo>
                      <a:lnTo>
                        <a:pt x="289" y="70"/>
                      </a:lnTo>
                      <a:lnTo>
                        <a:pt x="289" y="70"/>
                      </a:lnTo>
                      <a:lnTo>
                        <a:pt x="289" y="69"/>
                      </a:lnTo>
                      <a:lnTo>
                        <a:pt x="290" y="69"/>
                      </a:lnTo>
                      <a:lnTo>
                        <a:pt x="290" y="70"/>
                      </a:lnTo>
                      <a:lnTo>
                        <a:pt x="291" y="70"/>
                      </a:lnTo>
                      <a:lnTo>
                        <a:pt x="292" y="69"/>
                      </a:lnTo>
                      <a:lnTo>
                        <a:pt x="294" y="69"/>
                      </a:lnTo>
                      <a:lnTo>
                        <a:pt x="294" y="69"/>
                      </a:lnTo>
                      <a:lnTo>
                        <a:pt x="295" y="69"/>
                      </a:lnTo>
                      <a:lnTo>
                        <a:pt x="294" y="70"/>
                      </a:lnTo>
                      <a:lnTo>
                        <a:pt x="295" y="71"/>
                      </a:lnTo>
                      <a:lnTo>
                        <a:pt x="295" y="71"/>
                      </a:lnTo>
                      <a:lnTo>
                        <a:pt x="296" y="71"/>
                      </a:lnTo>
                      <a:lnTo>
                        <a:pt x="296" y="71"/>
                      </a:lnTo>
                      <a:lnTo>
                        <a:pt x="297" y="70"/>
                      </a:lnTo>
                      <a:lnTo>
                        <a:pt x="299" y="69"/>
                      </a:lnTo>
                      <a:lnTo>
                        <a:pt x="302" y="70"/>
                      </a:lnTo>
                      <a:lnTo>
                        <a:pt x="303" y="69"/>
                      </a:lnTo>
                      <a:lnTo>
                        <a:pt x="304" y="69"/>
                      </a:lnTo>
                      <a:lnTo>
                        <a:pt x="306" y="68"/>
                      </a:lnTo>
                      <a:lnTo>
                        <a:pt x="306" y="68"/>
                      </a:lnTo>
                      <a:lnTo>
                        <a:pt x="307" y="68"/>
                      </a:lnTo>
                      <a:lnTo>
                        <a:pt x="307" y="67"/>
                      </a:lnTo>
                      <a:lnTo>
                        <a:pt x="310" y="66"/>
                      </a:lnTo>
                      <a:lnTo>
                        <a:pt x="312" y="65"/>
                      </a:lnTo>
                      <a:lnTo>
                        <a:pt x="313" y="65"/>
                      </a:lnTo>
                      <a:lnTo>
                        <a:pt x="313" y="64"/>
                      </a:lnTo>
                      <a:lnTo>
                        <a:pt x="313" y="64"/>
                      </a:lnTo>
                      <a:lnTo>
                        <a:pt x="313" y="63"/>
                      </a:lnTo>
                      <a:lnTo>
                        <a:pt x="314" y="63"/>
                      </a:lnTo>
                      <a:lnTo>
                        <a:pt x="315" y="62"/>
                      </a:lnTo>
                      <a:lnTo>
                        <a:pt x="316" y="62"/>
                      </a:lnTo>
                      <a:lnTo>
                        <a:pt x="316" y="62"/>
                      </a:lnTo>
                      <a:lnTo>
                        <a:pt x="316" y="62"/>
                      </a:lnTo>
                      <a:lnTo>
                        <a:pt x="317" y="61"/>
                      </a:lnTo>
                      <a:lnTo>
                        <a:pt x="317" y="61"/>
                      </a:lnTo>
                      <a:lnTo>
                        <a:pt x="317" y="61"/>
                      </a:lnTo>
                      <a:lnTo>
                        <a:pt x="317" y="61"/>
                      </a:lnTo>
                      <a:lnTo>
                        <a:pt x="317" y="61"/>
                      </a:lnTo>
                      <a:lnTo>
                        <a:pt x="318" y="61"/>
                      </a:lnTo>
                      <a:lnTo>
                        <a:pt x="319" y="60"/>
                      </a:lnTo>
                      <a:lnTo>
                        <a:pt x="320" y="60"/>
                      </a:lnTo>
                      <a:lnTo>
                        <a:pt x="320" y="60"/>
                      </a:lnTo>
                      <a:lnTo>
                        <a:pt x="321" y="59"/>
                      </a:lnTo>
                      <a:lnTo>
                        <a:pt x="322" y="59"/>
                      </a:lnTo>
                      <a:lnTo>
                        <a:pt x="323" y="58"/>
                      </a:lnTo>
                      <a:lnTo>
                        <a:pt x="326" y="58"/>
                      </a:lnTo>
                      <a:lnTo>
                        <a:pt x="327" y="58"/>
                      </a:lnTo>
                      <a:lnTo>
                        <a:pt x="328" y="57"/>
                      </a:lnTo>
                      <a:lnTo>
                        <a:pt x="329" y="57"/>
                      </a:lnTo>
                      <a:lnTo>
                        <a:pt x="329" y="56"/>
                      </a:lnTo>
                      <a:lnTo>
                        <a:pt x="330" y="56"/>
                      </a:lnTo>
                      <a:lnTo>
                        <a:pt x="331" y="55"/>
                      </a:lnTo>
                      <a:lnTo>
                        <a:pt x="331" y="55"/>
                      </a:lnTo>
                      <a:lnTo>
                        <a:pt x="334" y="53"/>
                      </a:lnTo>
                      <a:lnTo>
                        <a:pt x="336" y="52"/>
                      </a:lnTo>
                      <a:lnTo>
                        <a:pt x="338" y="49"/>
                      </a:lnTo>
                      <a:lnTo>
                        <a:pt x="338" y="49"/>
                      </a:lnTo>
                      <a:lnTo>
                        <a:pt x="339" y="50"/>
                      </a:lnTo>
                      <a:lnTo>
                        <a:pt x="340" y="50"/>
                      </a:lnTo>
                      <a:lnTo>
                        <a:pt x="341" y="50"/>
                      </a:lnTo>
                      <a:lnTo>
                        <a:pt x="341" y="49"/>
                      </a:lnTo>
                      <a:lnTo>
                        <a:pt x="342" y="49"/>
                      </a:lnTo>
                      <a:lnTo>
                        <a:pt x="343" y="49"/>
                      </a:lnTo>
                      <a:lnTo>
                        <a:pt x="343" y="49"/>
                      </a:lnTo>
                      <a:lnTo>
                        <a:pt x="343" y="48"/>
                      </a:lnTo>
                      <a:lnTo>
                        <a:pt x="343" y="48"/>
                      </a:lnTo>
                      <a:lnTo>
                        <a:pt x="344" y="48"/>
                      </a:lnTo>
                      <a:lnTo>
                        <a:pt x="344" y="47"/>
                      </a:lnTo>
                      <a:lnTo>
                        <a:pt x="346" y="47"/>
                      </a:lnTo>
                      <a:lnTo>
                        <a:pt x="347" y="47"/>
                      </a:lnTo>
                      <a:lnTo>
                        <a:pt x="347" y="45"/>
                      </a:lnTo>
                      <a:lnTo>
                        <a:pt x="346" y="43"/>
                      </a:lnTo>
                      <a:lnTo>
                        <a:pt x="345" y="39"/>
                      </a:lnTo>
                      <a:lnTo>
                        <a:pt x="345" y="39"/>
                      </a:lnTo>
                      <a:lnTo>
                        <a:pt x="344" y="38"/>
                      </a:lnTo>
                      <a:lnTo>
                        <a:pt x="343" y="37"/>
                      </a:lnTo>
                      <a:lnTo>
                        <a:pt x="343" y="37"/>
                      </a:lnTo>
                      <a:lnTo>
                        <a:pt x="341" y="36"/>
                      </a:lnTo>
                      <a:lnTo>
                        <a:pt x="338" y="35"/>
                      </a:lnTo>
                      <a:lnTo>
                        <a:pt x="338" y="33"/>
                      </a:lnTo>
                      <a:lnTo>
                        <a:pt x="339" y="32"/>
                      </a:lnTo>
                      <a:lnTo>
                        <a:pt x="340" y="32"/>
                      </a:lnTo>
                      <a:lnTo>
                        <a:pt x="340" y="31"/>
                      </a:lnTo>
                      <a:lnTo>
                        <a:pt x="341" y="31"/>
                      </a:lnTo>
                      <a:lnTo>
                        <a:pt x="342" y="32"/>
                      </a:lnTo>
                      <a:lnTo>
                        <a:pt x="343" y="32"/>
                      </a:lnTo>
                      <a:lnTo>
                        <a:pt x="344" y="32"/>
                      </a:lnTo>
                      <a:lnTo>
                        <a:pt x="346" y="33"/>
                      </a:lnTo>
                      <a:lnTo>
                        <a:pt x="347" y="33"/>
                      </a:lnTo>
                      <a:lnTo>
                        <a:pt x="347" y="33"/>
                      </a:lnTo>
                      <a:lnTo>
                        <a:pt x="348" y="33"/>
                      </a:lnTo>
                      <a:lnTo>
                        <a:pt x="348" y="33"/>
                      </a:lnTo>
                      <a:lnTo>
                        <a:pt x="348" y="35"/>
                      </a:lnTo>
                      <a:lnTo>
                        <a:pt x="348" y="35"/>
                      </a:lnTo>
                      <a:lnTo>
                        <a:pt x="350" y="36"/>
                      </a:lnTo>
                      <a:lnTo>
                        <a:pt x="350" y="36"/>
                      </a:lnTo>
                      <a:lnTo>
                        <a:pt x="348" y="37"/>
                      </a:lnTo>
                      <a:lnTo>
                        <a:pt x="350" y="38"/>
                      </a:lnTo>
                      <a:lnTo>
                        <a:pt x="351" y="38"/>
                      </a:lnTo>
                      <a:lnTo>
                        <a:pt x="352" y="38"/>
                      </a:lnTo>
                      <a:lnTo>
                        <a:pt x="354" y="38"/>
                      </a:lnTo>
                      <a:lnTo>
                        <a:pt x="358" y="37"/>
                      </a:lnTo>
                      <a:lnTo>
                        <a:pt x="358" y="37"/>
                      </a:lnTo>
                      <a:lnTo>
                        <a:pt x="359" y="37"/>
                      </a:lnTo>
                      <a:lnTo>
                        <a:pt x="359" y="36"/>
                      </a:lnTo>
                      <a:lnTo>
                        <a:pt x="361" y="36"/>
                      </a:lnTo>
                      <a:lnTo>
                        <a:pt x="361" y="36"/>
                      </a:lnTo>
                      <a:lnTo>
                        <a:pt x="361" y="36"/>
                      </a:lnTo>
                      <a:lnTo>
                        <a:pt x="361" y="37"/>
                      </a:lnTo>
                      <a:lnTo>
                        <a:pt x="361" y="37"/>
                      </a:lnTo>
                      <a:lnTo>
                        <a:pt x="362" y="38"/>
                      </a:lnTo>
                      <a:lnTo>
                        <a:pt x="362" y="39"/>
                      </a:lnTo>
                      <a:lnTo>
                        <a:pt x="363" y="40"/>
                      </a:lnTo>
                      <a:lnTo>
                        <a:pt x="364" y="40"/>
                      </a:lnTo>
                      <a:lnTo>
                        <a:pt x="365" y="40"/>
                      </a:lnTo>
                      <a:lnTo>
                        <a:pt x="368" y="41"/>
                      </a:lnTo>
                      <a:lnTo>
                        <a:pt x="368" y="42"/>
                      </a:lnTo>
                      <a:lnTo>
                        <a:pt x="368" y="44"/>
                      </a:lnTo>
                      <a:lnTo>
                        <a:pt x="368" y="45"/>
                      </a:lnTo>
                      <a:lnTo>
                        <a:pt x="369" y="45"/>
                      </a:lnTo>
                      <a:lnTo>
                        <a:pt x="369" y="46"/>
                      </a:lnTo>
                      <a:lnTo>
                        <a:pt x="370" y="46"/>
                      </a:lnTo>
                      <a:lnTo>
                        <a:pt x="373" y="48"/>
                      </a:lnTo>
                      <a:lnTo>
                        <a:pt x="376" y="48"/>
                      </a:lnTo>
                      <a:lnTo>
                        <a:pt x="379" y="48"/>
                      </a:lnTo>
                      <a:lnTo>
                        <a:pt x="380" y="48"/>
                      </a:lnTo>
                      <a:lnTo>
                        <a:pt x="381" y="48"/>
                      </a:lnTo>
                      <a:lnTo>
                        <a:pt x="383" y="48"/>
                      </a:lnTo>
                      <a:lnTo>
                        <a:pt x="384" y="48"/>
                      </a:lnTo>
                      <a:lnTo>
                        <a:pt x="389" y="48"/>
                      </a:lnTo>
                      <a:lnTo>
                        <a:pt x="390" y="48"/>
                      </a:lnTo>
                      <a:lnTo>
                        <a:pt x="391" y="48"/>
                      </a:lnTo>
                      <a:lnTo>
                        <a:pt x="392" y="48"/>
                      </a:lnTo>
                      <a:lnTo>
                        <a:pt x="392" y="48"/>
                      </a:lnTo>
                      <a:lnTo>
                        <a:pt x="392" y="49"/>
                      </a:lnTo>
                      <a:lnTo>
                        <a:pt x="392" y="48"/>
                      </a:lnTo>
                      <a:lnTo>
                        <a:pt x="392" y="49"/>
                      </a:lnTo>
                      <a:lnTo>
                        <a:pt x="393" y="49"/>
                      </a:lnTo>
                      <a:lnTo>
                        <a:pt x="393" y="49"/>
                      </a:lnTo>
                      <a:lnTo>
                        <a:pt x="396" y="49"/>
                      </a:lnTo>
                      <a:lnTo>
                        <a:pt x="398" y="48"/>
                      </a:lnTo>
                      <a:lnTo>
                        <a:pt x="399" y="48"/>
                      </a:lnTo>
                      <a:lnTo>
                        <a:pt x="399" y="48"/>
                      </a:lnTo>
                      <a:lnTo>
                        <a:pt x="400" y="48"/>
                      </a:lnTo>
                      <a:lnTo>
                        <a:pt x="402" y="47"/>
                      </a:lnTo>
                      <a:lnTo>
                        <a:pt x="403" y="47"/>
                      </a:lnTo>
                      <a:lnTo>
                        <a:pt x="403" y="46"/>
                      </a:lnTo>
                      <a:lnTo>
                        <a:pt x="406" y="45"/>
                      </a:lnTo>
                      <a:lnTo>
                        <a:pt x="407" y="45"/>
                      </a:lnTo>
                      <a:lnTo>
                        <a:pt x="407" y="45"/>
                      </a:lnTo>
                      <a:lnTo>
                        <a:pt x="407" y="44"/>
                      </a:lnTo>
                      <a:lnTo>
                        <a:pt x="408" y="44"/>
                      </a:lnTo>
                      <a:lnTo>
                        <a:pt x="408" y="44"/>
                      </a:lnTo>
                      <a:lnTo>
                        <a:pt x="409" y="44"/>
                      </a:lnTo>
                      <a:lnTo>
                        <a:pt x="410" y="43"/>
                      </a:lnTo>
                      <a:lnTo>
                        <a:pt x="411" y="42"/>
                      </a:lnTo>
                      <a:lnTo>
                        <a:pt x="413" y="41"/>
                      </a:lnTo>
                      <a:lnTo>
                        <a:pt x="413" y="41"/>
                      </a:lnTo>
                      <a:lnTo>
                        <a:pt x="414" y="40"/>
                      </a:lnTo>
                      <a:lnTo>
                        <a:pt x="416" y="40"/>
                      </a:lnTo>
                      <a:lnTo>
                        <a:pt x="416" y="40"/>
                      </a:lnTo>
                      <a:lnTo>
                        <a:pt x="416" y="41"/>
                      </a:lnTo>
                      <a:lnTo>
                        <a:pt x="416" y="41"/>
                      </a:lnTo>
                      <a:lnTo>
                        <a:pt x="416" y="41"/>
                      </a:lnTo>
                      <a:lnTo>
                        <a:pt x="416" y="42"/>
                      </a:lnTo>
                      <a:lnTo>
                        <a:pt x="417" y="43"/>
                      </a:lnTo>
                      <a:lnTo>
                        <a:pt x="418" y="43"/>
                      </a:lnTo>
                      <a:lnTo>
                        <a:pt x="418" y="44"/>
                      </a:lnTo>
                      <a:lnTo>
                        <a:pt x="419" y="45"/>
                      </a:lnTo>
                      <a:lnTo>
                        <a:pt x="419" y="46"/>
                      </a:lnTo>
                      <a:lnTo>
                        <a:pt x="420" y="46"/>
                      </a:lnTo>
                      <a:lnTo>
                        <a:pt x="420" y="46"/>
                      </a:lnTo>
                      <a:lnTo>
                        <a:pt x="421" y="46"/>
                      </a:lnTo>
                      <a:lnTo>
                        <a:pt x="422" y="47"/>
                      </a:lnTo>
                      <a:lnTo>
                        <a:pt x="423" y="48"/>
                      </a:lnTo>
                      <a:lnTo>
                        <a:pt x="423" y="48"/>
                      </a:lnTo>
                      <a:lnTo>
                        <a:pt x="421" y="47"/>
                      </a:lnTo>
                      <a:lnTo>
                        <a:pt x="421" y="46"/>
                      </a:lnTo>
                      <a:lnTo>
                        <a:pt x="420" y="45"/>
                      </a:lnTo>
                      <a:lnTo>
                        <a:pt x="418" y="43"/>
                      </a:lnTo>
                      <a:lnTo>
                        <a:pt x="417" y="43"/>
                      </a:lnTo>
                      <a:lnTo>
                        <a:pt x="417" y="42"/>
                      </a:lnTo>
                      <a:lnTo>
                        <a:pt x="417" y="42"/>
                      </a:lnTo>
                      <a:lnTo>
                        <a:pt x="417" y="42"/>
                      </a:lnTo>
                      <a:lnTo>
                        <a:pt x="417" y="42"/>
                      </a:lnTo>
                      <a:lnTo>
                        <a:pt x="418" y="42"/>
                      </a:lnTo>
                      <a:lnTo>
                        <a:pt x="417" y="41"/>
                      </a:lnTo>
                      <a:lnTo>
                        <a:pt x="417" y="41"/>
                      </a:lnTo>
                      <a:lnTo>
                        <a:pt x="417" y="41"/>
                      </a:lnTo>
                      <a:lnTo>
                        <a:pt x="418" y="39"/>
                      </a:lnTo>
                      <a:lnTo>
                        <a:pt x="418" y="39"/>
                      </a:lnTo>
                      <a:lnTo>
                        <a:pt x="419" y="38"/>
                      </a:lnTo>
                      <a:lnTo>
                        <a:pt x="420" y="37"/>
                      </a:lnTo>
                      <a:lnTo>
                        <a:pt x="422" y="36"/>
                      </a:lnTo>
                      <a:lnTo>
                        <a:pt x="425" y="36"/>
                      </a:lnTo>
                      <a:lnTo>
                        <a:pt x="425" y="36"/>
                      </a:lnTo>
                      <a:lnTo>
                        <a:pt x="426" y="36"/>
                      </a:lnTo>
                      <a:lnTo>
                        <a:pt x="426" y="36"/>
                      </a:lnTo>
                      <a:lnTo>
                        <a:pt x="427" y="35"/>
                      </a:lnTo>
                      <a:lnTo>
                        <a:pt x="426" y="36"/>
                      </a:lnTo>
                      <a:lnTo>
                        <a:pt x="427" y="36"/>
                      </a:lnTo>
                      <a:lnTo>
                        <a:pt x="427" y="36"/>
                      </a:lnTo>
                      <a:lnTo>
                        <a:pt x="427" y="36"/>
                      </a:lnTo>
                      <a:lnTo>
                        <a:pt x="429" y="36"/>
                      </a:lnTo>
                      <a:lnTo>
                        <a:pt x="430" y="36"/>
                      </a:lnTo>
                      <a:lnTo>
                        <a:pt x="430" y="35"/>
                      </a:lnTo>
                      <a:lnTo>
                        <a:pt x="431" y="34"/>
                      </a:lnTo>
                      <a:lnTo>
                        <a:pt x="434" y="33"/>
                      </a:lnTo>
                      <a:lnTo>
                        <a:pt x="435" y="32"/>
                      </a:lnTo>
                      <a:lnTo>
                        <a:pt x="436" y="32"/>
                      </a:lnTo>
                      <a:lnTo>
                        <a:pt x="439" y="30"/>
                      </a:lnTo>
                      <a:lnTo>
                        <a:pt x="441" y="30"/>
                      </a:lnTo>
                      <a:lnTo>
                        <a:pt x="442" y="29"/>
                      </a:lnTo>
                      <a:lnTo>
                        <a:pt x="443" y="29"/>
                      </a:lnTo>
                      <a:lnTo>
                        <a:pt x="444" y="29"/>
                      </a:lnTo>
                      <a:lnTo>
                        <a:pt x="444" y="28"/>
                      </a:lnTo>
                      <a:lnTo>
                        <a:pt x="449" y="29"/>
                      </a:lnTo>
                      <a:lnTo>
                        <a:pt x="451" y="28"/>
                      </a:lnTo>
                      <a:lnTo>
                        <a:pt x="452" y="27"/>
                      </a:lnTo>
                      <a:lnTo>
                        <a:pt x="453" y="27"/>
                      </a:lnTo>
                      <a:lnTo>
                        <a:pt x="455" y="27"/>
                      </a:lnTo>
                      <a:lnTo>
                        <a:pt x="455" y="27"/>
                      </a:lnTo>
                      <a:lnTo>
                        <a:pt x="456" y="27"/>
                      </a:lnTo>
                      <a:close/>
                      <a:moveTo>
                        <a:pt x="223" y="0"/>
                      </a:moveTo>
                      <a:lnTo>
                        <a:pt x="224" y="1"/>
                      </a:lnTo>
                      <a:lnTo>
                        <a:pt x="225" y="2"/>
                      </a:lnTo>
                      <a:lnTo>
                        <a:pt x="226" y="2"/>
                      </a:lnTo>
                      <a:lnTo>
                        <a:pt x="226" y="1"/>
                      </a:lnTo>
                      <a:lnTo>
                        <a:pt x="227" y="2"/>
                      </a:lnTo>
                      <a:lnTo>
                        <a:pt x="228" y="2"/>
                      </a:lnTo>
                      <a:lnTo>
                        <a:pt x="227" y="3"/>
                      </a:lnTo>
                      <a:lnTo>
                        <a:pt x="228" y="3"/>
                      </a:lnTo>
                      <a:lnTo>
                        <a:pt x="228" y="3"/>
                      </a:lnTo>
                      <a:lnTo>
                        <a:pt x="228" y="3"/>
                      </a:lnTo>
                      <a:lnTo>
                        <a:pt x="228" y="3"/>
                      </a:lnTo>
                      <a:lnTo>
                        <a:pt x="229" y="3"/>
                      </a:lnTo>
                      <a:lnTo>
                        <a:pt x="229" y="2"/>
                      </a:lnTo>
                      <a:lnTo>
                        <a:pt x="229" y="2"/>
                      </a:lnTo>
                      <a:lnTo>
                        <a:pt x="230" y="2"/>
                      </a:lnTo>
                      <a:lnTo>
                        <a:pt x="230" y="2"/>
                      </a:lnTo>
                      <a:lnTo>
                        <a:pt x="230" y="3"/>
                      </a:lnTo>
                      <a:lnTo>
                        <a:pt x="232" y="2"/>
                      </a:lnTo>
                      <a:lnTo>
                        <a:pt x="232" y="2"/>
                      </a:lnTo>
                      <a:lnTo>
                        <a:pt x="233" y="2"/>
                      </a:lnTo>
                      <a:lnTo>
                        <a:pt x="235" y="2"/>
                      </a:lnTo>
                      <a:lnTo>
                        <a:pt x="235" y="3"/>
                      </a:lnTo>
                      <a:lnTo>
                        <a:pt x="235" y="3"/>
                      </a:lnTo>
                      <a:lnTo>
                        <a:pt x="236" y="4"/>
                      </a:lnTo>
                      <a:lnTo>
                        <a:pt x="236" y="5"/>
                      </a:lnTo>
                      <a:lnTo>
                        <a:pt x="236" y="5"/>
                      </a:lnTo>
                      <a:lnTo>
                        <a:pt x="236" y="5"/>
                      </a:lnTo>
                      <a:lnTo>
                        <a:pt x="238" y="6"/>
                      </a:lnTo>
                      <a:lnTo>
                        <a:pt x="239" y="6"/>
                      </a:lnTo>
                      <a:lnTo>
                        <a:pt x="240" y="5"/>
                      </a:lnTo>
                      <a:lnTo>
                        <a:pt x="241" y="5"/>
                      </a:lnTo>
                      <a:lnTo>
                        <a:pt x="242" y="4"/>
                      </a:lnTo>
                      <a:lnTo>
                        <a:pt x="242" y="4"/>
                      </a:lnTo>
                      <a:lnTo>
                        <a:pt x="243" y="5"/>
                      </a:lnTo>
                      <a:lnTo>
                        <a:pt x="244" y="5"/>
                      </a:lnTo>
                      <a:lnTo>
                        <a:pt x="244" y="5"/>
                      </a:lnTo>
                      <a:lnTo>
                        <a:pt x="245" y="5"/>
                      </a:lnTo>
                      <a:lnTo>
                        <a:pt x="246" y="5"/>
                      </a:lnTo>
                      <a:lnTo>
                        <a:pt x="246" y="5"/>
                      </a:lnTo>
                      <a:lnTo>
                        <a:pt x="248" y="5"/>
                      </a:lnTo>
                      <a:lnTo>
                        <a:pt x="249" y="6"/>
                      </a:lnTo>
                      <a:lnTo>
                        <a:pt x="249" y="6"/>
                      </a:lnTo>
                      <a:lnTo>
                        <a:pt x="249" y="6"/>
                      </a:lnTo>
                      <a:lnTo>
                        <a:pt x="250" y="6"/>
                      </a:lnTo>
                      <a:lnTo>
                        <a:pt x="252" y="7"/>
                      </a:lnTo>
                      <a:lnTo>
                        <a:pt x="252" y="5"/>
                      </a:lnTo>
                      <a:lnTo>
                        <a:pt x="253" y="5"/>
                      </a:lnTo>
                      <a:lnTo>
                        <a:pt x="252" y="6"/>
                      </a:lnTo>
                      <a:lnTo>
                        <a:pt x="253" y="6"/>
                      </a:lnTo>
                      <a:lnTo>
                        <a:pt x="253" y="7"/>
                      </a:lnTo>
                      <a:lnTo>
                        <a:pt x="254" y="7"/>
                      </a:lnTo>
                      <a:lnTo>
                        <a:pt x="253" y="9"/>
                      </a:lnTo>
                      <a:lnTo>
                        <a:pt x="254" y="9"/>
                      </a:lnTo>
                      <a:lnTo>
                        <a:pt x="254" y="9"/>
                      </a:lnTo>
                      <a:lnTo>
                        <a:pt x="255" y="9"/>
                      </a:lnTo>
                      <a:lnTo>
                        <a:pt x="255" y="10"/>
                      </a:lnTo>
                      <a:lnTo>
                        <a:pt x="255" y="10"/>
                      </a:lnTo>
                      <a:lnTo>
                        <a:pt x="255" y="10"/>
                      </a:lnTo>
                      <a:lnTo>
                        <a:pt x="255" y="11"/>
                      </a:lnTo>
                      <a:lnTo>
                        <a:pt x="255" y="12"/>
                      </a:lnTo>
                      <a:lnTo>
                        <a:pt x="256" y="12"/>
                      </a:lnTo>
                      <a:lnTo>
                        <a:pt x="256" y="15"/>
                      </a:lnTo>
                      <a:lnTo>
                        <a:pt x="256" y="15"/>
                      </a:lnTo>
                      <a:lnTo>
                        <a:pt x="256" y="17"/>
                      </a:lnTo>
                      <a:lnTo>
                        <a:pt x="255" y="19"/>
                      </a:lnTo>
                      <a:lnTo>
                        <a:pt x="255" y="19"/>
                      </a:lnTo>
                      <a:lnTo>
                        <a:pt x="254" y="20"/>
                      </a:lnTo>
                      <a:lnTo>
                        <a:pt x="255" y="20"/>
                      </a:lnTo>
                      <a:lnTo>
                        <a:pt x="256" y="20"/>
                      </a:lnTo>
                      <a:lnTo>
                        <a:pt x="256" y="21"/>
                      </a:lnTo>
                      <a:lnTo>
                        <a:pt x="256" y="21"/>
                      </a:lnTo>
                      <a:lnTo>
                        <a:pt x="256" y="22"/>
                      </a:lnTo>
                      <a:lnTo>
                        <a:pt x="257" y="22"/>
                      </a:lnTo>
                      <a:lnTo>
                        <a:pt x="257" y="22"/>
                      </a:lnTo>
                      <a:lnTo>
                        <a:pt x="257" y="22"/>
                      </a:lnTo>
                      <a:lnTo>
                        <a:pt x="257" y="23"/>
                      </a:lnTo>
                      <a:lnTo>
                        <a:pt x="257" y="23"/>
                      </a:lnTo>
                      <a:lnTo>
                        <a:pt x="257" y="24"/>
                      </a:lnTo>
                      <a:lnTo>
                        <a:pt x="257" y="25"/>
                      </a:lnTo>
                      <a:lnTo>
                        <a:pt x="257" y="26"/>
                      </a:lnTo>
                      <a:lnTo>
                        <a:pt x="259" y="26"/>
                      </a:lnTo>
                      <a:lnTo>
                        <a:pt x="259" y="25"/>
                      </a:lnTo>
                      <a:lnTo>
                        <a:pt x="260" y="25"/>
                      </a:lnTo>
                      <a:lnTo>
                        <a:pt x="260" y="26"/>
                      </a:lnTo>
                      <a:lnTo>
                        <a:pt x="262" y="26"/>
                      </a:lnTo>
                      <a:lnTo>
                        <a:pt x="262" y="26"/>
                      </a:lnTo>
                      <a:lnTo>
                        <a:pt x="263" y="27"/>
                      </a:lnTo>
                      <a:lnTo>
                        <a:pt x="263" y="27"/>
                      </a:lnTo>
                      <a:lnTo>
                        <a:pt x="264" y="26"/>
                      </a:lnTo>
                      <a:lnTo>
                        <a:pt x="264" y="27"/>
                      </a:lnTo>
                      <a:lnTo>
                        <a:pt x="264" y="27"/>
                      </a:lnTo>
                      <a:lnTo>
                        <a:pt x="263" y="28"/>
                      </a:lnTo>
                      <a:lnTo>
                        <a:pt x="263" y="29"/>
                      </a:lnTo>
                      <a:lnTo>
                        <a:pt x="263" y="30"/>
                      </a:lnTo>
                      <a:lnTo>
                        <a:pt x="264" y="30"/>
                      </a:lnTo>
                      <a:lnTo>
                        <a:pt x="264" y="30"/>
                      </a:lnTo>
                      <a:lnTo>
                        <a:pt x="265" y="31"/>
                      </a:lnTo>
                      <a:lnTo>
                        <a:pt x="265" y="31"/>
                      </a:lnTo>
                      <a:lnTo>
                        <a:pt x="264" y="32"/>
                      </a:lnTo>
                      <a:lnTo>
                        <a:pt x="264" y="32"/>
                      </a:lnTo>
                      <a:lnTo>
                        <a:pt x="264" y="33"/>
                      </a:lnTo>
                      <a:lnTo>
                        <a:pt x="265" y="33"/>
                      </a:lnTo>
                      <a:lnTo>
                        <a:pt x="265" y="33"/>
                      </a:lnTo>
                      <a:lnTo>
                        <a:pt x="265" y="33"/>
                      </a:lnTo>
                      <a:lnTo>
                        <a:pt x="266" y="33"/>
                      </a:lnTo>
                      <a:lnTo>
                        <a:pt x="266" y="35"/>
                      </a:lnTo>
                      <a:lnTo>
                        <a:pt x="266" y="36"/>
                      </a:lnTo>
                      <a:lnTo>
                        <a:pt x="266" y="37"/>
                      </a:lnTo>
                      <a:lnTo>
                        <a:pt x="266" y="37"/>
                      </a:lnTo>
                      <a:lnTo>
                        <a:pt x="267" y="40"/>
                      </a:lnTo>
                      <a:lnTo>
                        <a:pt x="269" y="41"/>
                      </a:lnTo>
                      <a:lnTo>
                        <a:pt x="270" y="41"/>
                      </a:lnTo>
                      <a:lnTo>
                        <a:pt x="270" y="42"/>
                      </a:lnTo>
                      <a:lnTo>
                        <a:pt x="269" y="44"/>
                      </a:lnTo>
                      <a:lnTo>
                        <a:pt x="268" y="45"/>
                      </a:lnTo>
                      <a:lnTo>
                        <a:pt x="268" y="46"/>
                      </a:lnTo>
                      <a:lnTo>
                        <a:pt x="268" y="47"/>
                      </a:lnTo>
                      <a:lnTo>
                        <a:pt x="269" y="48"/>
                      </a:lnTo>
                      <a:lnTo>
                        <a:pt x="271" y="48"/>
                      </a:lnTo>
                      <a:lnTo>
                        <a:pt x="271" y="47"/>
                      </a:lnTo>
                      <a:lnTo>
                        <a:pt x="275" y="47"/>
                      </a:lnTo>
                      <a:lnTo>
                        <a:pt x="276" y="47"/>
                      </a:lnTo>
                      <a:lnTo>
                        <a:pt x="277" y="47"/>
                      </a:lnTo>
                      <a:lnTo>
                        <a:pt x="279" y="46"/>
                      </a:lnTo>
                      <a:lnTo>
                        <a:pt x="279" y="45"/>
                      </a:lnTo>
                      <a:lnTo>
                        <a:pt x="282" y="45"/>
                      </a:lnTo>
                      <a:lnTo>
                        <a:pt x="283" y="45"/>
                      </a:lnTo>
                      <a:lnTo>
                        <a:pt x="284" y="43"/>
                      </a:lnTo>
                      <a:lnTo>
                        <a:pt x="284" y="42"/>
                      </a:lnTo>
                      <a:lnTo>
                        <a:pt x="285" y="41"/>
                      </a:lnTo>
                      <a:lnTo>
                        <a:pt x="287" y="40"/>
                      </a:lnTo>
                      <a:lnTo>
                        <a:pt x="288" y="40"/>
                      </a:lnTo>
                      <a:lnTo>
                        <a:pt x="288" y="40"/>
                      </a:lnTo>
                      <a:lnTo>
                        <a:pt x="291" y="40"/>
                      </a:lnTo>
                      <a:lnTo>
                        <a:pt x="291" y="40"/>
                      </a:lnTo>
                      <a:lnTo>
                        <a:pt x="292" y="40"/>
                      </a:lnTo>
                      <a:lnTo>
                        <a:pt x="294" y="41"/>
                      </a:lnTo>
                      <a:lnTo>
                        <a:pt x="295" y="41"/>
                      </a:lnTo>
                      <a:lnTo>
                        <a:pt x="295" y="41"/>
                      </a:lnTo>
                      <a:lnTo>
                        <a:pt x="297" y="41"/>
                      </a:lnTo>
                      <a:lnTo>
                        <a:pt x="297" y="42"/>
                      </a:lnTo>
                      <a:lnTo>
                        <a:pt x="299" y="42"/>
                      </a:lnTo>
                      <a:lnTo>
                        <a:pt x="299" y="41"/>
                      </a:lnTo>
                      <a:lnTo>
                        <a:pt x="301" y="41"/>
                      </a:lnTo>
                      <a:lnTo>
                        <a:pt x="302" y="41"/>
                      </a:lnTo>
                      <a:lnTo>
                        <a:pt x="303" y="42"/>
                      </a:lnTo>
                      <a:lnTo>
                        <a:pt x="303" y="42"/>
                      </a:lnTo>
                      <a:lnTo>
                        <a:pt x="304" y="42"/>
                      </a:lnTo>
                      <a:lnTo>
                        <a:pt x="304" y="42"/>
                      </a:lnTo>
                      <a:lnTo>
                        <a:pt x="304" y="42"/>
                      </a:lnTo>
                      <a:lnTo>
                        <a:pt x="304" y="42"/>
                      </a:lnTo>
                      <a:lnTo>
                        <a:pt x="304" y="42"/>
                      </a:lnTo>
                      <a:lnTo>
                        <a:pt x="303" y="44"/>
                      </a:lnTo>
                      <a:lnTo>
                        <a:pt x="303" y="44"/>
                      </a:lnTo>
                      <a:lnTo>
                        <a:pt x="302" y="45"/>
                      </a:lnTo>
                      <a:lnTo>
                        <a:pt x="301" y="45"/>
                      </a:lnTo>
                      <a:lnTo>
                        <a:pt x="301" y="45"/>
                      </a:lnTo>
                      <a:lnTo>
                        <a:pt x="301" y="45"/>
                      </a:lnTo>
                      <a:lnTo>
                        <a:pt x="301" y="48"/>
                      </a:lnTo>
                      <a:lnTo>
                        <a:pt x="300" y="48"/>
                      </a:lnTo>
                      <a:lnTo>
                        <a:pt x="300" y="48"/>
                      </a:lnTo>
                      <a:lnTo>
                        <a:pt x="299" y="48"/>
                      </a:lnTo>
                      <a:lnTo>
                        <a:pt x="299" y="48"/>
                      </a:lnTo>
                      <a:lnTo>
                        <a:pt x="298" y="49"/>
                      </a:lnTo>
                      <a:lnTo>
                        <a:pt x="298" y="52"/>
                      </a:lnTo>
                      <a:lnTo>
                        <a:pt x="297" y="54"/>
                      </a:lnTo>
                      <a:lnTo>
                        <a:pt x="295" y="56"/>
                      </a:lnTo>
                      <a:lnTo>
                        <a:pt x="295" y="57"/>
                      </a:lnTo>
                      <a:lnTo>
                        <a:pt x="295" y="59"/>
                      </a:lnTo>
                      <a:lnTo>
                        <a:pt x="295" y="60"/>
                      </a:lnTo>
                      <a:lnTo>
                        <a:pt x="292" y="61"/>
                      </a:lnTo>
                      <a:lnTo>
                        <a:pt x="292" y="62"/>
                      </a:lnTo>
                      <a:lnTo>
                        <a:pt x="292" y="63"/>
                      </a:lnTo>
                      <a:lnTo>
                        <a:pt x="291" y="63"/>
                      </a:lnTo>
                      <a:lnTo>
                        <a:pt x="289" y="64"/>
                      </a:lnTo>
                      <a:lnTo>
                        <a:pt x="289" y="64"/>
                      </a:lnTo>
                      <a:lnTo>
                        <a:pt x="288" y="65"/>
                      </a:lnTo>
                      <a:lnTo>
                        <a:pt x="287" y="65"/>
                      </a:lnTo>
                      <a:lnTo>
                        <a:pt x="285" y="67"/>
                      </a:lnTo>
                      <a:lnTo>
                        <a:pt x="284" y="68"/>
                      </a:lnTo>
                      <a:lnTo>
                        <a:pt x="283" y="69"/>
                      </a:lnTo>
                      <a:lnTo>
                        <a:pt x="282" y="69"/>
                      </a:lnTo>
                      <a:lnTo>
                        <a:pt x="280" y="70"/>
                      </a:lnTo>
                      <a:lnTo>
                        <a:pt x="279" y="74"/>
                      </a:lnTo>
                      <a:lnTo>
                        <a:pt x="279" y="74"/>
                      </a:lnTo>
                      <a:lnTo>
                        <a:pt x="278" y="74"/>
                      </a:lnTo>
                      <a:lnTo>
                        <a:pt x="278" y="73"/>
                      </a:lnTo>
                      <a:lnTo>
                        <a:pt x="276" y="73"/>
                      </a:lnTo>
                      <a:lnTo>
                        <a:pt x="275" y="75"/>
                      </a:lnTo>
                      <a:lnTo>
                        <a:pt x="275" y="75"/>
                      </a:lnTo>
                      <a:lnTo>
                        <a:pt x="275" y="75"/>
                      </a:lnTo>
                      <a:lnTo>
                        <a:pt x="275" y="75"/>
                      </a:lnTo>
                      <a:lnTo>
                        <a:pt x="273" y="75"/>
                      </a:lnTo>
                      <a:lnTo>
                        <a:pt x="273" y="76"/>
                      </a:lnTo>
                      <a:lnTo>
                        <a:pt x="271" y="76"/>
                      </a:lnTo>
                      <a:lnTo>
                        <a:pt x="270" y="76"/>
                      </a:lnTo>
                      <a:lnTo>
                        <a:pt x="268" y="78"/>
                      </a:lnTo>
                      <a:lnTo>
                        <a:pt x="268" y="80"/>
                      </a:lnTo>
                      <a:lnTo>
                        <a:pt x="267" y="82"/>
                      </a:lnTo>
                      <a:lnTo>
                        <a:pt x="268" y="83"/>
                      </a:lnTo>
                      <a:lnTo>
                        <a:pt x="267" y="85"/>
                      </a:lnTo>
                      <a:lnTo>
                        <a:pt x="267" y="85"/>
                      </a:lnTo>
                      <a:lnTo>
                        <a:pt x="267" y="86"/>
                      </a:lnTo>
                      <a:lnTo>
                        <a:pt x="266" y="86"/>
                      </a:lnTo>
                      <a:lnTo>
                        <a:pt x="265" y="87"/>
                      </a:lnTo>
                      <a:lnTo>
                        <a:pt x="265" y="87"/>
                      </a:lnTo>
                      <a:lnTo>
                        <a:pt x="264" y="88"/>
                      </a:lnTo>
                      <a:lnTo>
                        <a:pt x="263" y="88"/>
                      </a:lnTo>
                      <a:lnTo>
                        <a:pt x="261" y="88"/>
                      </a:lnTo>
                      <a:lnTo>
                        <a:pt x="261" y="90"/>
                      </a:lnTo>
                      <a:lnTo>
                        <a:pt x="259" y="91"/>
                      </a:lnTo>
                      <a:lnTo>
                        <a:pt x="258" y="92"/>
                      </a:lnTo>
                      <a:lnTo>
                        <a:pt x="257" y="93"/>
                      </a:lnTo>
                      <a:lnTo>
                        <a:pt x="257" y="94"/>
                      </a:lnTo>
                      <a:lnTo>
                        <a:pt x="256" y="94"/>
                      </a:lnTo>
                      <a:lnTo>
                        <a:pt x="255" y="94"/>
                      </a:lnTo>
                      <a:lnTo>
                        <a:pt x="254" y="96"/>
                      </a:lnTo>
                      <a:lnTo>
                        <a:pt x="254" y="97"/>
                      </a:lnTo>
                      <a:lnTo>
                        <a:pt x="252" y="98"/>
                      </a:lnTo>
                      <a:lnTo>
                        <a:pt x="250" y="100"/>
                      </a:lnTo>
                      <a:lnTo>
                        <a:pt x="246" y="101"/>
                      </a:lnTo>
                      <a:lnTo>
                        <a:pt x="245" y="101"/>
                      </a:lnTo>
                      <a:lnTo>
                        <a:pt x="245" y="101"/>
                      </a:lnTo>
                      <a:lnTo>
                        <a:pt x="245" y="100"/>
                      </a:lnTo>
                      <a:lnTo>
                        <a:pt x="245" y="100"/>
                      </a:lnTo>
                      <a:lnTo>
                        <a:pt x="244" y="100"/>
                      </a:lnTo>
                      <a:lnTo>
                        <a:pt x="243" y="100"/>
                      </a:lnTo>
                      <a:lnTo>
                        <a:pt x="242" y="100"/>
                      </a:lnTo>
                      <a:lnTo>
                        <a:pt x="241" y="100"/>
                      </a:lnTo>
                      <a:lnTo>
                        <a:pt x="242" y="100"/>
                      </a:lnTo>
                      <a:lnTo>
                        <a:pt x="242" y="101"/>
                      </a:lnTo>
                      <a:lnTo>
                        <a:pt x="242" y="102"/>
                      </a:lnTo>
                      <a:lnTo>
                        <a:pt x="239" y="104"/>
                      </a:lnTo>
                      <a:lnTo>
                        <a:pt x="238" y="104"/>
                      </a:lnTo>
                      <a:lnTo>
                        <a:pt x="238" y="105"/>
                      </a:lnTo>
                      <a:lnTo>
                        <a:pt x="238" y="105"/>
                      </a:lnTo>
                      <a:lnTo>
                        <a:pt x="239" y="105"/>
                      </a:lnTo>
                      <a:lnTo>
                        <a:pt x="239" y="105"/>
                      </a:lnTo>
                      <a:lnTo>
                        <a:pt x="241" y="105"/>
                      </a:lnTo>
                      <a:lnTo>
                        <a:pt x="243" y="106"/>
                      </a:lnTo>
                      <a:lnTo>
                        <a:pt x="244" y="106"/>
                      </a:lnTo>
                      <a:lnTo>
                        <a:pt x="244" y="107"/>
                      </a:lnTo>
                      <a:lnTo>
                        <a:pt x="244" y="107"/>
                      </a:lnTo>
                      <a:lnTo>
                        <a:pt x="244" y="107"/>
                      </a:lnTo>
                      <a:lnTo>
                        <a:pt x="243" y="106"/>
                      </a:lnTo>
                      <a:lnTo>
                        <a:pt x="242" y="106"/>
                      </a:lnTo>
                      <a:lnTo>
                        <a:pt x="238" y="106"/>
                      </a:lnTo>
                      <a:lnTo>
                        <a:pt x="234" y="104"/>
                      </a:lnTo>
                      <a:lnTo>
                        <a:pt x="233" y="103"/>
                      </a:lnTo>
                      <a:lnTo>
                        <a:pt x="231" y="102"/>
                      </a:lnTo>
                      <a:lnTo>
                        <a:pt x="229" y="101"/>
                      </a:lnTo>
                      <a:lnTo>
                        <a:pt x="228" y="101"/>
                      </a:lnTo>
                      <a:lnTo>
                        <a:pt x="227" y="101"/>
                      </a:lnTo>
                      <a:lnTo>
                        <a:pt x="227" y="102"/>
                      </a:lnTo>
                      <a:lnTo>
                        <a:pt x="227" y="103"/>
                      </a:lnTo>
                      <a:lnTo>
                        <a:pt x="227" y="103"/>
                      </a:lnTo>
                      <a:lnTo>
                        <a:pt x="226" y="103"/>
                      </a:lnTo>
                      <a:lnTo>
                        <a:pt x="226" y="104"/>
                      </a:lnTo>
                      <a:lnTo>
                        <a:pt x="226" y="105"/>
                      </a:lnTo>
                      <a:lnTo>
                        <a:pt x="225" y="105"/>
                      </a:lnTo>
                      <a:lnTo>
                        <a:pt x="225" y="105"/>
                      </a:lnTo>
                      <a:lnTo>
                        <a:pt x="225" y="103"/>
                      </a:lnTo>
                      <a:lnTo>
                        <a:pt x="226" y="103"/>
                      </a:lnTo>
                      <a:lnTo>
                        <a:pt x="226" y="102"/>
                      </a:lnTo>
                      <a:lnTo>
                        <a:pt x="226" y="102"/>
                      </a:lnTo>
                      <a:lnTo>
                        <a:pt x="227" y="101"/>
                      </a:lnTo>
                      <a:lnTo>
                        <a:pt x="225" y="98"/>
                      </a:lnTo>
                      <a:lnTo>
                        <a:pt x="225" y="96"/>
                      </a:lnTo>
                      <a:lnTo>
                        <a:pt x="225" y="96"/>
                      </a:lnTo>
                      <a:lnTo>
                        <a:pt x="225" y="95"/>
                      </a:lnTo>
                      <a:lnTo>
                        <a:pt x="226" y="94"/>
                      </a:lnTo>
                      <a:lnTo>
                        <a:pt x="227" y="94"/>
                      </a:lnTo>
                      <a:lnTo>
                        <a:pt x="227" y="94"/>
                      </a:lnTo>
                      <a:lnTo>
                        <a:pt x="229" y="93"/>
                      </a:lnTo>
                      <a:lnTo>
                        <a:pt x="229" y="93"/>
                      </a:lnTo>
                      <a:lnTo>
                        <a:pt x="229" y="93"/>
                      </a:lnTo>
                      <a:lnTo>
                        <a:pt x="231" y="93"/>
                      </a:lnTo>
                      <a:lnTo>
                        <a:pt x="231" y="92"/>
                      </a:lnTo>
                      <a:lnTo>
                        <a:pt x="232" y="91"/>
                      </a:lnTo>
                      <a:lnTo>
                        <a:pt x="232" y="88"/>
                      </a:lnTo>
                      <a:lnTo>
                        <a:pt x="232" y="86"/>
                      </a:lnTo>
                      <a:lnTo>
                        <a:pt x="231" y="84"/>
                      </a:lnTo>
                      <a:lnTo>
                        <a:pt x="231" y="84"/>
                      </a:lnTo>
                      <a:lnTo>
                        <a:pt x="231" y="85"/>
                      </a:lnTo>
                      <a:lnTo>
                        <a:pt x="229" y="85"/>
                      </a:lnTo>
                      <a:lnTo>
                        <a:pt x="228" y="87"/>
                      </a:lnTo>
                      <a:lnTo>
                        <a:pt x="228" y="88"/>
                      </a:lnTo>
                      <a:lnTo>
                        <a:pt x="227" y="90"/>
                      </a:lnTo>
                      <a:lnTo>
                        <a:pt x="226" y="90"/>
                      </a:lnTo>
                      <a:lnTo>
                        <a:pt x="226" y="91"/>
                      </a:lnTo>
                      <a:lnTo>
                        <a:pt x="226" y="92"/>
                      </a:lnTo>
                      <a:lnTo>
                        <a:pt x="226" y="92"/>
                      </a:lnTo>
                      <a:lnTo>
                        <a:pt x="224" y="93"/>
                      </a:lnTo>
                      <a:lnTo>
                        <a:pt x="224" y="93"/>
                      </a:lnTo>
                      <a:lnTo>
                        <a:pt x="223" y="94"/>
                      </a:lnTo>
                      <a:lnTo>
                        <a:pt x="223" y="96"/>
                      </a:lnTo>
                      <a:lnTo>
                        <a:pt x="222" y="96"/>
                      </a:lnTo>
                      <a:lnTo>
                        <a:pt x="221" y="97"/>
                      </a:lnTo>
                      <a:lnTo>
                        <a:pt x="221" y="97"/>
                      </a:lnTo>
                      <a:lnTo>
                        <a:pt x="220" y="97"/>
                      </a:lnTo>
                      <a:lnTo>
                        <a:pt x="220" y="98"/>
                      </a:lnTo>
                      <a:lnTo>
                        <a:pt x="220" y="98"/>
                      </a:lnTo>
                      <a:lnTo>
                        <a:pt x="219" y="97"/>
                      </a:lnTo>
                      <a:lnTo>
                        <a:pt x="220" y="97"/>
                      </a:lnTo>
                      <a:lnTo>
                        <a:pt x="220" y="96"/>
                      </a:lnTo>
                      <a:lnTo>
                        <a:pt x="219" y="96"/>
                      </a:lnTo>
                      <a:lnTo>
                        <a:pt x="219" y="95"/>
                      </a:lnTo>
                      <a:lnTo>
                        <a:pt x="218" y="95"/>
                      </a:lnTo>
                      <a:lnTo>
                        <a:pt x="217" y="95"/>
                      </a:lnTo>
                      <a:lnTo>
                        <a:pt x="217" y="95"/>
                      </a:lnTo>
                      <a:lnTo>
                        <a:pt x="218" y="94"/>
                      </a:lnTo>
                      <a:lnTo>
                        <a:pt x="218" y="92"/>
                      </a:lnTo>
                      <a:lnTo>
                        <a:pt x="217" y="93"/>
                      </a:lnTo>
                      <a:lnTo>
                        <a:pt x="216" y="91"/>
                      </a:lnTo>
                      <a:lnTo>
                        <a:pt x="217" y="88"/>
                      </a:lnTo>
                      <a:lnTo>
                        <a:pt x="215" y="87"/>
                      </a:lnTo>
                      <a:lnTo>
                        <a:pt x="215" y="88"/>
                      </a:lnTo>
                      <a:lnTo>
                        <a:pt x="215" y="87"/>
                      </a:lnTo>
                      <a:lnTo>
                        <a:pt x="213" y="88"/>
                      </a:lnTo>
                      <a:lnTo>
                        <a:pt x="213" y="88"/>
                      </a:lnTo>
                      <a:lnTo>
                        <a:pt x="212" y="88"/>
                      </a:lnTo>
                      <a:lnTo>
                        <a:pt x="211" y="90"/>
                      </a:lnTo>
                      <a:lnTo>
                        <a:pt x="211" y="90"/>
                      </a:lnTo>
                      <a:lnTo>
                        <a:pt x="211" y="90"/>
                      </a:lnTo>
                      <a:lnTo>
                        <a:pt x="210" y="90"/>
                      </a:lnTo>
                      <a:lnTo>
                        <a:pt x="210" y="88"/>
                      </a:lnTo>
                      <a:lnTo>
                        <a:pt x="210" y="88"/>
                      </a:lnTo>
                      <a:lnTo>
                        <a:pt x="210" y="87"/>
                      </a:lnTo>
                      <a:lnTo>
                        <a:pt x="210" y="87"/>
                      </a:lnTo>
                      <a:lnTo>
                        <a:pt x="210" y="86"/>
                      </a:lnTo>
                      <a:lnTo>
                        <a:pt x="210" y="86"/>
                      </a:lnTo>
                      <a:lnTo>
                        <a:pt x="210" y="87"/>
                      </a:lnTo>
                      <a:lnTo>
                        <a:pt x="209" y="87"/>
                      </a:lnTo>
                      <a:lnTo>
                        <a:pt x="209" y="86"/>
                      </a:lnTo>
                      <a:lnTo>
                        <a:pt x="206" y="86"/>
                      </a:lnTo>
                      <a:lnTo>
                        <a:pt x="206" y="85"/>
                      </a:lnTo>
                      <a:lnTo>
                        <a:pt x="207" y="85"/>
                      </a:lnTo>
                      <a:lnTo>
                        <a:pt x="207" y="85"/>
                      </a:lnTo>
                      <a:lnTo>
                        <a:pt x="207" y="84"/>
                      </a:lnTo>
                      <a:lnTo>
                        <a:pt x="206" y="84"/>
                      </a:lnTo>
                      <a:lnTo>
                        <a:pt x="207" y="83"/>
                      </a:lnTo>
                      <a:lnTo>
                        <a:pt x="207" y="82"/>
                      </a:lnTo>
                      <a:lnTo>
                        <a:pt x="207" y="81"/>
                      </a:lnTo>
                      <a:lnTo>
                        <a:pt x="208" y="81"/>
                      </a:lnTo>
                      <a:lnTo>
                        <a:pt x="208" y="79"/>
                      </a:lnTo>
                      <a:lnTo>
                        <a:pt x="209" y="79"/>
                      </a:lnTo>
                      <a:lnTo>
                        <a:pt x="209" y="79"/>
                      </a:lnTo>
                      <a:lnTo>
                        <a:pt x="207" y="79"/>
                      </a:lnTo>
                      <a:lnTo>
                        <a:pt x="207" y="78"/>
                      </a:lnTo>
                      <a:lnTo>
                        <a:pt x="208" y="78"/>
                      </a:lnTo>
                      <a:lnTo>
                        <a:pt x="207" y="76"/>
                      </a:lnTo>
                      <a:lnTo>
                        <a:pt x="206" y="75"/>
                      </a:lnTo>
                      <a:lnTo>
                        <a:pt x="205" y="74"/>
                      </a:lnTo>
                      <a:lnTo>
                        <a:pt x="204" y="74"/>
                      </a:lnTo>
                      <a:lnTo>
                        <a:pt x="203" y="73"/>
                      </a:lnTo>
                      <a:lnTo>
                        <a:pt x="203" y="72"/>
                      </a:lnTo>
                      <a:lnTo>
                        <a:pt x="203" y="71"/>
                      </a:lnTo>
                      <a:lnTo>
                        <a:pt x="204" y="71"/>
                      </a:lnTo>
                      <a:lnTo>
                        <a:pt x="204" y="70"/>
                      </a:lnTo>
                      <a:lnTo>
                        <a:pt x="202" y="69"/>
                      </a:lnTo>
                      <a:lnTo>
                        <a:pt x="202" y="69"/>
                      </a:lnTo>
                      <a:lnTo>
                        <a:pt x="201" y="69"/>
                      </a:lnTo>
                      <a:lnTo>
                        <a:pt x="200" y="67"/>
                      </a:lnTo>
                      <a:lnTo>
                        <a:pt x="197" y="66"/>
                      </a:lnTo>
                      <a:lnTo>
                        <a:pt x="197" y="66"/>
                      </a:lnTo>
                      <a:lnTo>
                        <a:pt x="197" y="66"/>
                      </a:lnTo>
                      <a:lnTo>
                        <a:pt x="197" y="65"/>
                      </a:lnTo>
                      <a:lnTo>
                        <a:pt x="196" y="65"/>
                      </a:lnTo>
                      <a:lnTo>
                        <a:pt x="196" y="64"/>
                      </a:lnTo>
                      <a:lnTo>
                        <a:pt x="196" y="63"/>
                      </a:lnTo>
                      <a:lnTo>
                        <a:pt x="197" y="63"/>
                      </a:lnTo>
                      <a:lnTo>
                        <a:pt x="196" y="63"/>
                      </a:lnTo>
                      <a:lnTo>
                        <a:pt x="196" y="62"/>
                      </a:lnTo>
                      <a:lnTo>
                        <a:pt x="195" y="62"/>
                      </a:lnTo>
                      <a:lnTo>
                        <a:pt x="195" y="61"/>
                      </a:lnTo>
                      <a:lnTo>
                        <a:pt x="195" y="61"/>
                      </a:lnTo>
                      <a:lnTo>
                        <a:pt x="195" y="60"/>
                      </a:lnTo>
                      <a:lnTo>
                        <a:pt x="196" y="59"/>
                      </a:lnTo>
                      <a:lnTo>
                        <a:pt x="196" y="58"/>
                      </a:lnTo>
                      <a:lnTo>
                        <a:pt x="196" y="58"/>
                      </a:lnTo>
                      <a:lnTo>
                        <a:pt x="195" y="59"/>
                      </a:lnTo>
                      <a:lnTo>
                        <a:pt x="195" y="59"/>
                      </a:lnTo>
                      <a:lnTo>
                        <a:pt x="195" y="60"/>
                      </a:lnTo>
                      <a:lnTo>
                        <a:pt x="194" y="59"/>
                      </a:lnTo>
                      <a:lnTo>
                        <a:pt x="194" y="58"/>
                      </a:lnTo>
                      <a:lnTo>
                        <a:pt x="194" y="58"/>
                      </a:lnTo>
                      <a:lnTo>
                        <a:pt x="193" y="58"/>
                      </a:lnTo>
                      <a:lnTo>
                        <a:pt x="194" y="57"/>
                      </a:lnTo>
                      <a:lnTo>
                        <a:pt x="193" y="57"/>
                      </a:lnTo>
                      <a:lnTo>
                        <a:pt x="194" y="57"/>
                      </a:lnTo>
                      <a:lnTo>
                        <a:pt x="193" y="57"/>
                      </a:lnTo>
                      <a:lnTo>
                        <a:pt x="194" y="56"/>
                      </a:lnTo>
                      <a:lnTo>
                        <a:pt x="193" y="56"/>
                      </a:lnTo>
                      <a:lnTo>
                        <a:pt x="193" y="56"/>
                      </a:lnTo>
                      <a:lnTo>
                        <a:pt x="192" y="56"/>
                      </a:lnTo>
                      <a:lnTo>
                        <a:pt x="192" y="57"/>
                      </a:lnTo>
                      <a:lnTo>
                        <a:pt x="192" y="57"/>
                      </a:lnTo>
                      <a:lnTo>
                        <a:pt x="192" y="57"/>
                      </a:lnTo>
                      <a:lnTo>
                        <a:pt x="192" y="56"/>
                      </a:lnTo>
                      <a:lnTo>
                        <a:pt x="192" y="56"/>
                      </a:lnTo>
                      <a:lnTo>
                        <a:pt x="192" y="56"/>
                      </a:lnTo>
                      <a:lnTo>
                        <a:pt x="192" y="56"/>
                      </a:lnTo>
                      <a:lnTo>
                        <a:pt x="192" y="55"/>
                      </a:lnTo>
                      <a:lnTo>
                        <a:pt x="191" y="56"/>
                      </a:lnTo>
                      <a:lnTo>
                        <a:pt x="191" y="56"/>
                      </a:lnTo>
                      <a:lnTo>
                        <a:pt x="190" y="55"/>
                      </a:lnTo>
                      <a:lnTo>
                        <a:pt x="190" y="54"/>
                      </a:lnTo>
                      <a:lnTo>
                        <a:pt x="190" y="54"/>
                      </a:lnTo>
                      <a:lnTo>
                        <a:pt x="190" y="54"/>
                      </a:lnTo>
                      <a:lnTo>
                        <a:pt x="189" y="54"/>
                      </a:lnTo>
                      <a:lnTo>
                        <a:pt x="189" y="54"/>
                      </a:lnTo>
                      <a:lnTo>
                        <a:pt x="189" y="54"/>
                      </a:lnTo>
                      <a:lnTo>
                        <a:pt x="189" y="53"/>
                      </a:lnTo>
                      <a:lnTo>
                        <a:pt x="190" y="53"/>
                      </a:lnTo>
                      <a:lnTo>
                        <a:pt x="190" y="53"/>
                      </a:lnTo>
                      <a:lnTo>
                        <a:pt x="191" y="52"/>
                      </a:lnTo>
                      <a:lnTo>
                        <a:pt x="191" y="50"/>
                      </a:lnTo>
                      <a:lnTo>
                        <a:pt x="192" y="50"/>
                      </a:lnTo>
                      <a:lnTo>
                        <a:pt x="193" y="48"/>
                      </a:lnTo>
                      <a:lnTo>
                        <a:pt x="195" y="47"/>
                      </a:lnTo>
                      <a:lnTo>
                        <a:pt x="195" y="46"/>
                      </a:lnTo>
                      <a:lnTo>
                        <a:pt x="195" y="46"/>
                      </a:lnTo>
                      <a:lnTo>
                        <a:pt x="195" y="47"/>
                      </a:lnTo>
                      <a:lnTo>
                        <a:pt x="196" y="47"/>
                      </a:lnTo>
                      <a:lnTo>
                        <a:pt x="196" y="46"/>
                      </a:lnTo>
                      <a:lnTo>
                        <a:pt x="197" y="46"/>
                      </a:lnTo>
                      <a:lnTo>
                        <a:pt x="198" y="46"/>
                      </a:lnTo>
                      <a:lnTo>
                        <a:pt x="198" y="45"/>
                      </a:lnTo>
                      <a:lnTo>
                        <a:pt x="198" y="44"/>
                      </a:lnTo>
                      <a:lnTo>
                        <a:pt x="200" y="44"/>
                      </a:lnTo>
                      <a:lnTo>
                        <a:pt x="200" y="43"/>
                      </a:lnTo>
                      <a:lnTo>
                        <a:pt x="198" y="43"/>
                      </a:lnTo>
                      <a:lnTo>
                        <a:pt x="197" y="45"/>
                      </a:lnTo>
                      <a:lnTo>
                        <a:pt x="196" y="45"/>
                      </a:lnTo>
                      <a:lnTo>
                        <a:pt x="196" y="45"/>
                      </a:lnTo>
                      <a:lnTo>
                        <a:pt x="196" y="44"/>
                      </a:lnTo>
                      <a:lnTo>
                        <a:pt x="195" y="44"/>
                      </a:lnTo>
                      <a:lnTo>
                        <a:pt x="195" y="46"/>
                      </a:lnTo>
                      <a:lnTo>
                        <a:pt x="194" y="46"/>
                      </a:lnTo>
                      <a:lnTo>
                        <a:pt x="194" y="46"/>
                      </a:lnTo>
                      <a:lnTo>
                        <a:pt x="194" y="44"/>
                      </a:lnTo>
                      <a:lnTo>
                        <a:pt x="194" y="43"/>
                      </a:lnTo>
                      <a:lnTo>
                        <a:pt x="195" y="42"/>
                      </a:lnTo>
                      <a:lnTo>
                        <a:pt x="194" y="41"/>
                      </a:lnTo>
                      <a:lnTo>
                        <a:pt x="194" y="40"/>
                      </a:lnTo>
                      <a:lnTo>
                        <a:pt x="193" y="40"/>
                      </a:lnTo>
                      <a:lnTo>
                        <a:pt x="193" y="39"/>
                      </a:lnTo>
                      <a:lnTo>
                        <a:pt x="192" y="38"/>
                      </a:lnTo>
                      <a:lnTo>
                        <a:pt x="191" y="38"/>
                      </a:lnTo>
                      <a:lnTo>
                        <a:pt x="191" y="38"/>
                      </a:lnTo>
                      <a:lnTo>
                        <a:pt x="191" y="38"/>
                      </a:lnTo>
                      <a:lnTo>
                        <a:pt x="190" y="37"/>
                      </a:lnTo>
                      <a:lnTo>
                        <a:pt x="191" y="36"/>
                      </a:lnTo>
                      <a:lnTo>
                        <a:pt x="190" y="36"/>
                      </a:lnTo>
                      <a:lnTo>
                        <a:pt x="190" y="36"/>
                      </a:lnTo>
                      <a:lnTo>
                        <a:pt x="190" y="35"/>
                      </a:lnTo>
                      <a:lnTo>
                        <a:pt x="190" y="35"/>
                      </a:lnTo>
                      <a:lnTo>
                        <a:pt x="190" y="34"/>
                      </a:lnTo>
                      <a:lnTo>
                        <a:pt x="191" y="35"/>
                      </a:lnTo>
                      <a:lnTo>
                        <a:pt x="192" y="35"/>
                      </a:lnTo>
                      <a:lnTo>
                        <a:pt x="193" y="34"/>
                      </a:lnTo>
                      <a:lnTo>
                        <a:pt x="193" y="33"/>
                      </a:lnTo>
                      <a:lnTo>
                        <a:pt x="192" y="32"/>
                      </a:lnTo>
                      <a:lnTo>
                        <a:pt x="192" y="32"/>
                      </a:lnTo>
                      <a:lnTo>
                        <a:pt x="193" y="31"/>
                      </a:lnTo>
                      <a:lnTo>
                        <a:pt x="193" y="31"/>
                      </a:lnTo>
                      <a:lnTo>
                        <a:pt x="193" y="31"/>
                      </a:lnTo>
                      <a:lnTo>
                        <a:pt x="193" y="31"/>
                      </a:lnTo>
                      <a:lnTo>
                        <a:pt x="193" y="30"/>
                      </a:lnTo>
                      <a:lnTo>
                        <a:pt x="193" y="30"/>
                      </a:lnTo>
                      <a:lnTo>
                        <a:pt x="193" y="29"/>
                      </a:lnTo>
                      <a:lnTo>
                        <a:pt x="194" y="28"/>
                      </a:lnTo>
                      <a:lnTo>
                        <a:pt x="192" y="28"/>
                      </a:lnTo>
                      <a:lnTo>
                        <a:pt x="193" y="28"/>
                      </a:lnTo>
                      <a:lnTo>
                        <a:pt x="194" y="26"/>
                      </a:lnTo>
                      <a:lnTo>
                        <a:pt x="195" y="26"/>
                      </a:lnTo>
                      <a:lnTo>
                        <a:pt x="195" y="25"/>
                      </a:lnTo>
                      <a:lnTo>
                        <a:pt x="195" y="24"/>
                      </a:lnTo>
                      <a:lnTo>
                        <a:pt x="195" y="21"/>
                      </a:lnTo>
                      <a:lnTo>
                        <a:pt x="196" y="21"/>
                      </a:lnTo>
                      <a:lnTo>
                        <a:pt x="195" y="20"/>
                      </a:lnTo>
                      <a:lnTo>
                        <a:pt x="194" y="20"/>
                      </a:lnTo>
                      <a:lnTo>
                        <a:pt x="194" y="19"/>
                      </a:lnTo>
                      <a:lnTo>
                        <a:pt x="194" y="18"/>
                      </a:lnTo>
                      <a:lnTo>
                        <a:pt x="194" y="18"/>
                      </a:lnTo>
                      <a:lnTo>
                        <a:pt x="193" y="18"/>
                      </a:lnTo>
                      <a:lnTo>
                        <a:pt x="193" y="17"/>
                      </a:lnTo>
                      <a:lnTo>
                        <a:pt x="194" y="16"/>
                      </a:lnTo>
                      <a:lnTo>
                        <a:pt x="194" y="16"/>
                      </a:lnTo>
                      <a:lnTo>
                        <a:pt x="193" y="15"/>
                      </a:lnTo>
                      <a:lnTo>
                        <a:pt x="192" y="15"/>
                      </a:lnTo>
                      <a:lnTo>
                        <a:pt x="192" y="14"/>
                      </a:lnTo>
                      <a:lnTo>
                        <a:pt x="192" y="14"/>
                      </a:lnTo>
                      <a:lnTo>
                        <a:pt x="192" y="14"/>
                      </a:lnTo>
                      <a:lnTo>
                        <a:pt x="192" y="14"/>
                      </a:lnTo>
                      <a:lnTo>
                        <a:pt x="192" y="12"/>
                      </a:lnTo>
                      <a:lnTo>
                        <a:pt x="191" y="11"/>
                      </a:lnTo>
                      <a:lnTo>
                        <a:pt x="191" y="10"/>
                      </a:lnTo>
                      <a:lnTo>
                        <a:pt x="192" y="10"/>
                      </a:lnTo>
                      <a:lnTo>
                        <a:pt x="194" y="8"/>
                      </a:lnTo>
                      <a:lnTo>
                        <a:pt x="195" y="8"/>
                      </a:lnTo>
                      <a:lnTo>
                        <a:pt x="195" y="9"/>
                      </a:lnTo>
                      <a:lnTo>
                        <a:pt x="195" y="9"/>
                      </a:lnTo>
                      <a:lnTo>
                        <a:pt x="197" y="9"/>
                      </a:lnTo>
                      <a:lnTo>
                        <a:pt x="197" y="9"/>
                      </a:lnTo>
                      <a:lnTo>
                        <a:pt x="198" y="8"/>
                      </a:lnTo>
                      <a:lnTo>
                        <a:pt x="198" y="9"/>
                      </a:lnTo>
                      <a:lnTo>
                        <a:pt x="201" y="9"/>
                      </a:lnTo>
                      <a:lnTo>
                        <a:pt x="201" y="8"/>
                      </a:lnTo>
                      <a:lnTo>
                        <a:pt x="202" y="8"/>
                      </a:lnTo>
                      <a:lnTo>
                        <a:pt x="202" y="8"/>
                      </a:lnTo>
                      <a:lnTo>
                        <a:pt x="202" y="8"/>
                      </a:lnTo>
                      <a:lnTo>
                        <a:pt x="202" y="7"/>
                      </a:lnTo>
                      <a:lnTo>
                        <a:pt x="203" y="6"/>
                      </a:lnTo>
                      <a:lnTo>
                        <a:pt x="203" y="7"/>
                      </a:lnTo>
                      <a:lnTo>
                        <a:pt x="204" y="7"/>
                      </a:lnTo>
                      <a:lnTo>
                        <a:pt x="205" y="6"/>
                      </a:lnTo>
                      <a:lnTo>
                        <a:pt x="206" y="5"/>
                      </a:lnTo>
                      <a:lnTo>
                        <a:pt x="206" y="5"/>
                      </a:lnTo>
                      <a:lnTo>
                        <a:pt x="206" y="6"/>
                      </a:lnTo>
                      <a:lnTo>
                        <a:pt x="206" y="6"/>
                      </a:lnTo>
                      <a:lnTo>
                        <a:pt x="205" y="6"/>
                      </a:lnTo>
                      <a:lnTo>
                        <a:pt x="205" y="7"/>
                      </a:lnTo>
                      <a:lnTo>
                        <a:pt x="207" y="8"/>
                      </a:lnTo>
                      <a:lnTo>
                        <a:pt x="207" y="8"/>
                      </a:lnTo>
                      <a:lnTo>
                        <a:pt x="207" y="7"/>
                      </a:lnTo>
                      <a:lnTo>
                        <a:pt x="208" y="6"/>
                      </a:lnTo>
                      <a:lnTo>
                        <a:pt x="209" y="6"/>
                      </a:lnTo>
                      <a:lnTo>
                        <a:pt x="209" y="7"/>
                      </a:lnTo>
                      <a:lnTo>
                        <a:pt x="210" y="7"/>
                      </a:lnTo>
                      <a:lnTo>
                        <a:pt x="210" y="7"/>
                      </a:lnTo>
                      <a:lnTo>
                        <a:pt x="211" y="7"/>
                      </a:lnTo>
                      <a:lnTo>
                        <a:pt x="210" y="6"/>
                      </a:lnTo>
                      <a:lnTo>
                        <a:pt x="211" y="5"/>
                      </a:lnTo>
                      <a:lnTo>
                        <a:pt x="210" y="4"/>
                      </a:lnTo>
                      <a:lnTo>
                        <a:pt x="211" y="4"/>
                      </a:lnTo>
                      <a:lnTo>
                        <a:pt x="211" y="4"/>
                      </a:lnTo>
                      <a:lnTo>
                        <a:pt x="212" y="4"/>
                      </a:lnTo>
                      <a:lnTo>
                        <a:pt x="212" y="3"/>
                      </a:lnTo>
                      <a:lnTo>
                        <a:pt x="213" y="3"/>
                      </a:lnTo>
                      <a:lnTo>
                        <a:pt x="214" y="3"/>
                      </a:lnTo>
                      <a:lnTo>
                        <a:pt x="214" y="4"/>
                      </a:lnTo>
                      <a:lnTo>
                        <a:pt x="213" y="5"/>
                      </a:lnTo>
                      <a:lnTo>
                        <a:pt x="215" y="5"/>
                      </a:lnTo>
                      <a:lnTo>
                        <a:pt x="215" y="5"/>
                      </a:lnTo>
                      <a:lnTo>
                        <a:pt x="215" y="6"/>
                      </a:lnTo>
                      <a:lnTo>
                        <a:pt x="215" y="6"/>
                      </a:lnTo>
                      <a:lnTo>
                        <a:pt x="215" y="5"/>
                      </a:lnTo>
                      <a:lnTo>
                        <a:pt x="215" y="5"/>
                      </a:lnTo>
                      <a:lnTo>
                        <a:pt x="216" y="5"/>
                      </a:lnTo>
                      <a:lnTo>
                        <a:pt x="217" y="5"/>
                      </a:lnTo>
                      <a:lnTo>
                        <a:pt x="218" y="6"/>
                      </a:lnTo>
                      <a:lnTo>
                        <a:pt x="219" y="6"/>
                      </a:lnTo>
                      <a:lnTo>
                        <a:pt x="219" y="6"/>
                      </a:lnTo>
                      <a:lnTo>
                        <a:pt x="219" y="6"/>
                      </a:lnTo>
                      <a:lnTo>
                        <a:pt x="218" y="5"/>
                      </a:lnTo>
                      <a:lnTo>
                        <a:pt x="219" y="4"/>
                      </a:lnTo>
                      <a:lnTo>
                        <a:pt x="219" y="3"/>
                      </a:lnTo>
                      <a:lnTo>
                        <a:pt x="218" y="4"/>
                      </a:lnTo>
                      <a:lnTo>
                        <a:pt x="218" y="4"/>
                      </a:lnTo>
                      <a:lnTo>
                        <a:pt x="218" y="3"/>
                      </a:lnTo>
                      <a:lnTo>
                        <a:pt x="218" y="3"/>
                      </a:lnTo>
                      <a:lnTo>
                        <a:pt x="218" y="3"/>
                      </a:lnTo>
                      <a:lnTo>
                        <a:pt x="220" y="3"/>
                      </a:lnTo>
                      <a:lnTo>
                        <a:pt x="220" y="2"/>
                      </a:lnTo>
                      <a:lnTo>
                        <a:pt x="220" y="2"/>
                      </a:lnTo>
                      <a:lnTo>
                        <a:pt x="221" y="2"/>
                      </a:lnTo>
                      <a:lnTo>
                        <a:pt x="221" y="1"/>
                      </a:lnTo>
                      <a:lnTo>
                        <a:pt x="222" y="2"/>
                      </a:lnTo>
                      <a:lnTo>
                        <a:pt x="222" y="1"/>
                      </a:lnTo>
                      <a:lnTo>
                        <a:pt x="223" y="0"/>
                      </a:lnTo>
                      <a:close/>
                    </a:path>
                  </a:pathLst>
                </a:custGeom>
                <a:grpFill/>
                <a:ln w="317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900" dirty="0"/>
                </a:p>
              </p:txBody>
            </p:sp>
            <p:sp>
              <p:nvSpPr>
                <p:cNvPr id="138" name="Scotland" descr="{&quot;Key&quot;:&quot;scotland&quot;,&quot;Name&quot;:&quot;Scotland&quot;,&quot;Value&quot;:1.0,&quot;Formula&quot;:&quot;&quot;,&quot;Text&quot;:&quot;1&quot;,&quot;HasValue&quot;:true}">
                  <a:extLst>
                    <a:ext uri="{FF2B5EF4-FFF2-40B4-BE49-F238E27FC236}">
                      <a16:creationId xmlns:a16="http://schemas.microsoft.com/office/drawing/2014/main" id="{9F22FD60-8FF1-1A73-3D64-39BBBA825B0E}"/>
                    </a:ext>
                  </a:extLst>
                </p:cNvPr>
                <p:cNvSpPr>
                  <a:spLocks noEditPoints="1"/>
                </p:cNvSpPr>
                <p:nvPr/>
              </p:nvSpPr>
              <p:spPr bwMode="auto">
                <a:xfrm>
                  <a:off x="5037213" y="3175"/>
                  <a:ext cx="2309814" cy="3895725"/>
                </a:xfrm>
                <a:custGeom>
                  <a:avLst/>
                  <a:gdLst>
                    <a:gd name="T0" fmla="*/ 555 w 1455"/>
                    <a:gd name="T1" fmla="*/ 2051 h 2454"/>
                    <a:gd name="T2" fmla="*/ 297 w 1455"/>
                    <a:gd name="T3" fmla="*/ 2031 h 2454"/>
                    <a:gd name="T4" fmla="*/ 305 w 1455"/>
                    <a:gd name="T5" fmla="*/ 1936 h 2454"/>
                    <a:gd name="T6" fmla="*/ 367 w 1455"/>
                    <a:gd name="T7" fmla="*/ 1962 h 2454"/>
                    <a:gd name="T8" fmla="*/ 262 w 1455"/>
                    <a:gd name="T9" fmla="*/ 1824 h 2454"/>
                    <a:gd name="T10" fmla="*/ 461 w 1455"/>
                    <a:gd name="T11" fmla="*/ 1743 h 2454"/>
                    <a:gd name="T12" fmla="*/ 336 w 1455"/>
                    <a:gd name="T13" fmla="*/ 1836 h 2454"/>
                    <a:gd name="T14" fmla="*/ 320 w 1455"/>
                    <a:gd name="T15" fmla="*/ 1789 h 2454"/>
                    <a:gd name="T16" fmla="*/ 308 w 1455"/>
                    <a:gd name="T17" fmla="*/ 1709 h 2454"/>
                    <a:gd name="T18" fmla="*/ 317 w 1455"/>
                    <a:gd name="T19" fmla="*/ 1618 h 2454"/>
                    <a:gd name="T20" fmla="*/ 31 w 1455"/>
                    <a:gd name="T21" fmla="*/ 1579 h 2454"/>
                    <a:gd name="T22" fmla="*/ 355 w 1455"/>
                    <a:gd name="T23" fmla="*/ 1462 h 2454"/>
                    <a:gd name="T24" fmla="*/ 89 w 1455"/>
                    <a:gd name="T25" fmla="*/ 1505 h 2454"/>
                    <a:gd name="T26" fmla="*/ 86 w 1455"/>
                    <a:gd name="T27" fmla="*/ 1388 h 2454"/>
                    <a:gd name="T28" fmla="*/ 92 w 1455"/>
                    <a:gd name="T29" fmla="*/ 1374 h 2454"/>
                    <a:gd name="T30" fmla="*/ 355 w 1455"/>
                    <a:gd name="T31" fmla="*/ 1367 h 2454"/>
                    <a:gd name="T32" fmla="*/ 109 w 1455"/>
                    <a:gd name="T33" fmla="*/ 1329 h 2454"/>
                    <a:gd name="T34" fmla="*/ 50 w 1455"/>
                    <a:gd name="T35" fmla="*/ 1314 h 2454"/>
                    <a:gd name="T36" fmla="*/ 322 w 1455"/>
                    <a:gd name="T37" fmla="*/ 1449 h 2454"/>
                    <a:gd name="T38" fmla="*/ 356 w 1455"/>
                    <a:gd name="T39" fmla="*/ 1517 h 2454"/>
                    <a:gd name="T40" fmla="*/ 266 w 1455"/>
                    <a:gd name="T41" fmla="*/ 1431 h 2454"/>
                    <a:gd name="T42" fmla="*/ 240 w 1455"/>
                    <a:gd name="T43" fmla="*/ 1357 h 2454"/>
                    <a:gd name="T44" fmla="*/ 106 w 1455"/>
                    <a:gd name="T45" fmla="*/ 1165 h 2454"/>
                    <a:gd name="T46" fmla="*/ 286 w 1455"/>
                    <a:gd name="T47" fmla="*/ 1070 h 2454"/>
                    <a:gd name="T48" fmla="*/ 252 w 1455"/>
                    <a:gd name="T49" fmla="*/ 1140 h 2454"/>
                    <a:gd name="T50" fmla="*/ 208 w 1455"/>
                    <a:gd name="T51" fmla="*/ 1162 h 2454"/>
                    <a:gd name="T52" fmla="*/ 146 w 1455"/>
                    <a:gd name="T53" fmla="*/ 1283 h 2454"/>
                    <a:gd name="T54" fmla="*/ 133 w 1455"/>
                    <a:gd name="T55" fmla="*/ 1156 h 2454"/>
                    <a:gd name="T56" fmla="*/ 188 w 1455"/>
                    <a:gd name="T57" fmla="*/ 1100 h 2454"/>
                    <a:gd name="T58" fmla="*/ 586 w 1455"/>
                    <a:gd name="T59" fmla="*/ 2009 h 2454"/>
                    <a:gd name="T60" fmla="*/ 543 w 1455"/>
                    <a:gd name="T61" fmla="*/ 1988 h 2454"/>
                    <a:gd name="T62" fmla="*/ 482 w 1455"/>
                    <a:gd name="T63" fmla="*/ 2002 h 2454"/>
                    <a:gd name="T64" fmla="*/ 430 w 1455"/>
                    <a:gd name="T65" fmla="*/ 1990 h 2454"/>
                    <a:gd name="T66" fmla="*/ 456 w 1455"/>
                    <a:gd name="T67" fmla="*/ 1847 h 2454"/>
                    <a:gd name="T68" fmla="*/ 474 w 1455"/>
                    <a:gd name="T69" fmla="*/ 1752 h 2454"/>
                    <a:gd name="T70" fmla="*/ 453 w 1455"/>
                    <a:gd name="T71" fmla="*/ 1728 h 2454"/>
                    <a:gd name="T72" fmla="*/ 319 w 1455"/>
                    <a:gd name="T73" fmla="*/ 1661 h 2454"/>
                    <a:gd name="T74" fmla="*/ 381 w 1455"/>
                    <a:gd name="T75" fmla="*/ 1590 h 2454"/>
                    <a:gd name="T76" fmla="*/ 475 w 1455"/>
                    <a:gd name="T77" fmla="*/ 1480 h 2454"/>
                    <a:gd name="T78" fmla="*/ 384 w 1455"/>
                    <a:gd name="T79" fmla="*/ 1346 h 2454"/>
                    <a:gd name="T80" fmla="*/ 415 w 1455"/>
                    <a:gd name="T81" fmla="*/ 1228 h 2454"/>
                    <a:gd name="T82" fmla="*/ 529 w 1455"/>
                    <a:gd name="T83" fmla="*/ 1218 h 2454"/>
                    <a:gd name="T84" fmla="*/ 508 w 1455"/>
                    <a:gd name="T85" fmla="*/ 1072 h 2454"/>
                    <a:gd name="T86" fmla="*/ 539 w 1455"/>
                    <a:gd name="T87" fmla="*/ 985 h 2454"/>
                    <a:gd name="T88" fmla="*/ 683 w 1455"/>
                    <a:gd name="T89" fmla="*/ 958 h 2454"/>
                    <a:gd name="T90" fmla="*/ 977 w 1455"/>
                    <a:gd name="T91" fmla="*/ 921 h 2454"/>
                    <a:gd name="T92" fmla="*/ 784 w 1455"/>
                    <a:gd name="T93" fmla="*/ 1239 h 2454"/>
                    <a:gd name="T94" fmla="*/ 705 w 1455"/>
                    <a:gd name="T95" fmla="*/ 1380 h 2454"/>
                    <a:gd name="T96" fmla="*/ 1139 w 1455"/>
                    <a:gd name="T97" fmla="*/ 1304 h 2454"/>
                    <a:gd name="T98" fmla="*/ 1100 w 1455"/>
                    <a:gd name="T99" fmla="*/ 1691 h 2454"/>
                    <a:gd name="T100" fmla="*/ 924 w 1455"/>
                    <a:gd name="T101" fmla="*/ 1930 h 2454"/>
                    <a:gd name="T102" fmla="*/ 1189 w 1455"/>
                    <a:gd name="T103" fmla="*/ 2021 h 2454"/>
                    <a:gd name="T104" fmla="*/ 691 w 1455"/>
                    <a:gd name="T105" fmla="*/ 2358 h 2454"/>
                    <a:gd name="T106" fmla="*/ 557 w 1455"/>
                    <a:gd name="T107" fmla="*/ 2352 h 2454"/>
                    <a:gd name="T108" fmla="*/ 937 w 1455"/>
                    <a:gd name="T109" fmla="*/ 864 h 2454"/>
                    <a:gd name="T110" fmla="*/ 995 w 1455"/>
                    <a:gd name="T111" fmla="*/ 773 h 2454"/>
                    <a:gd name="T112" fmla="*/ 988 w 1455"/>
                    <a:gd name="T113" fmla="*/ 852 h 2454"/>
                    <a:gd name="T114" fmla="*/ 909 w 1455"/>
                    <a:gd name="T115" fmla="*/ 790 h 2454"/>
                    <a:gd name="T116" fmla="*/ 967 w 1455"/>
                    <a:gd name="T117" fmla="*/ 692 h 2454"/>
                    <a:gd name="T118" fmla="*/ 992 w 1455"/>
                    <a:gd name="T119" fmla="*/ 632 h 2454"/>
                    <a:gd name="T120" fmla="*/ 1406 w 1455"/>
                    <a:gd name="T121" fmla="*/ 221 h 2454"/>
                    <a:gd name="T122" fmla="*/ 1324 w 1455"/>
                    <a:gd name="T123" fmla="*/ 396 h 2454"/>
                    <a:gd name="T124" fmla="*/ 1431 w 1455"/>
                    <a:gd name="T125" fmla="*/ 117 h 2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5" h="2454">
                      <a:moveTo>
                        <a:pt x="626" y="2442"/>
                      </a:moveTo>
                      <a:lnTo>
                        <a:pt x="626" y="2442"/>
                      </a:lnTo>
                      <a:lnTo>
                        <a:pt x="626" y="2443"/>
                      </a:lnTo>
                      <a:lnTo>
                        <a:pt x="625" y="2443"/>
                      </a:lnTo>
                      <a:lnTo>
                        <a:pt x="626" y="2442"/>
                      </a:lnTo>
                      <a:close/>
                      <a:moveTo>
                        <a:pt x="507" y="2053"/>
                      </a:moveTo>
                      <a:lnTo>
                        <a:pt x="513" y="2055"/>
                      </a:lnTo>
                      <a:lnTo>
                        <a:pt x="515" y="2057"/>
                      </a:lnTo>
                      <a:lnTo>
                        <a:pt x="516" y="2057"/>
                      </a:lnTo>
                      <a:lnTo>
                        <a:pt x="517" y="2058"/>
                      </a:lnTo>
                      <a:lnTo>
                        <a:pt x="520" y="2059"/>
                      </a:lnTo>
                      <a:lnTo>
                        <a:pt x="522" y="2062"/>
                      </a:lnTo>
                      <a:lnTo>
                        <a:pt x="522" y="2064"/>
                      </a:lnTo>
                      <a:lnTo>
                        <a:pt x="523" y="2064"/>
                      </a:lnTo>
                      <a:lnTo>
                        <a:pt x="525" y="2066"/>
                      </a:lnTo>
                      <a:lnTo>
                        <a:pt x="527" y="2067"/>
                      </a:lnTo>
                      <a:lnTo>
                        <a:pt x="529" y="2069"/>
                      </a:lnTo>
                      <a:lnTo>
                        <a:pt x="529" y="2071"/>
                      </a:lnTo>
                      <a:lnTo>
                        <a:pt x="529" y="2072"/>
                      </a:lnTo>
                      <a:lnTo>
                        <a:pt x="530" y="2072"/>
                      </a:lnTo>
                      <a:lnTo>
                        <a:pt x="530" y="2072"/>
                      </a:lnTo>
                      <a:lnTo>
                        <a:pt x="530" y="2073"/>
                      </a:lnTo>
                      <a:lnTo>
                        <a:pt x="531" y="2074"/>
                      </a:lnTo>
                      <a:lnTo>
                        <a:pt x="531" y="2075"/>
                      </a:lnTo>
                      <a:lnTo>
                        <a:pt x="530" y="2075"/>
                      </a:lnTo>
                      <a:lnTo>
                        <a:pt x="530" y="2075"/>
                      </a:lnTo>
                      <a:lnTo>
                        <a:pt x="531" y="2077"/>
                      </a:lnTo>
                      <a:lnTo>
                        <a:pt x="531" y="2079"/>
                      </a:lnTo>
                      <a:lnTo>
                        <a:pt x="532" y="2080"/>
                      </a:lnTo>
                      <a:lnTo>
                        <a:pt x="533" y="2081"/>
                      </a:lnTo>
                      <a:lnTo>
                        <a:pt x="533" y="2082"/>
                      </a:lnTo>
                      <a:lnTo>
                        <a:pt x="533" y="2085"/>
                      </a:lnTo>
                      <a:lnTo>
                        <a:pt x="534" y="2087"/>
                      </a:lnTo>
                      <a:lnTo>
                        <a:pt x="535" y="2089"/>
                      </a:lnTo>
                      <a:lnTo>
                        <a:pt x="535" y="2091"/>
                      </a:lnTo>
                      <a:lnTo>
                        <a:pt x="535" y="2092"/>
                      </a:lnTo>
                      <a:lnTo>
                        <a:pt x="535" y="2094"/>
                      </a:lnTo>
                      <a:lnTo>
                        <a:pt x="535" y="2095"/>
                      </a:lnTo>
                      <a:lnTo>
                        <a:pt x="535" y="2096"/>
                      </a:lnTo>
                      <a:lnTo>
                        <a:pt x="535" y="2099"/>
                      </a:lnTo>
                      <a:lnTo>
                        <a:pt x="534" y="2099"/>
                      </a:lnTo>
                      <a:lnTo>
                        <a:pt x="533" y="2100"/>
                      </a:lnTo>
                      <a:lnTo>
                        <a:pt x="532" y="2100"/>
                      </a:lnTo>
                      <a:lnTo>
                        <a:pt x="532" y="2102"/>
                      </a:lnTo>
                      <a:lnTo>
                        <a:pt x="530" y="2102"/>
                      </a:lnTo>
                      <a:lnTo>
                        <a:pt x="530" y="2102"/>
                      </a:lnTo>
                      <a:lnTo>
                        <a:pt x="530" y="2104"/>
                      </a:lnTo>
                      <a:lnTo>
                        <a:pt x="530" y="2104"/>
                      </a:lnTo>
                      <a:lnTo>
                        <a:pt x="531" y="2105"/>
                      </a:lnTo>
                      <a:lnTo>
                        <a:pt x="530" y="2106"/>
                      </a:lnTo>
                      <a:lnTo>
                        <a:pt x="531" y="2107"/>
                      </a:lnTo>
                      <a:lnTo>
                        <a:pt x="532" y="2107"/>
                      </a:lnTo>
                      <a:lnTo>
                        <a:pt x="533" y="2107"/>
                      </a:lnTo>
                      <a:lnTo>
                        <a:pt x="533" y="2107"/>
                      </a:lnTo>
                      <a:lnTo>
                        <a:pt x="533" y="2107"/>
                      </a:lnTo>
                      <a:lnTo>
                        <a:pt x="535" y="2107"/>
                      </a:lnTo>
                      <a:lnTo>
                        <a:pt x="539" y="2109"/>
                      </a:lnTo>
                      <a:lnTo>
                        <a:pt x="540" y="2110"/>
                      </a:lnTo>
                      <a:lnTo>
                        <a:pt x="540" y="2111"/>
                      </a:lnTo>
                      <a:lnTo>
                        <a:pt x="540" y="2111"/>
                      </a:lnTo>
                      <a:lnTo>
                        <a:pt x="541" y="2111"/>
                      </a:lnTo>
                      <a:lnTo>
                        <a:pt x="541" y="2112"/>
                      </a:lnTo>
                      <a:lnTo>
                        <a:pt x="543" y="2114"/>
                      </a:lnTo>
                      <a:lnTo>
                        <a:pt x="545" y="2116"/>
                      </a:lnTo>
                      <a:lnTo>
                        <a:pt x="545" y="2117"/>
                      </a:lnTo>
                      <a:lnTo>
                        <a:pt x="545" y="2117"/>
                      </a:lnTo>
                      <a:lnTo>
                        <a:pt x="543" y="2117"/>
                      </a:lnTo>
                      <a:lnTo>
                        <a:pt x="542" y="2119"/>
                      </a:lnTo>
                      <a:lnTo>
                        <a:pt x="541" y="2119"/>
                      </a:lnTo>
                      <a:lnTo>
                        <a:pt x="541" y="2120"/>
                      </a:lnTo>
                      <a:lnTo>
                        <a:pt x="539" y="2120"/>
                      </a:lnTo>
                      <a:lnTo>
                        <a:pt x="538" y="2120"/>
                      </a:lnTo>
                      <a:lnTo>
                        <a:pt x="537" y="2121"/>
                      </a:lnTo>
                      <a:lnTo>
                        <a:pt x="537" y="2122"/>
                      </a:lnTo>
                      <a:lnTo>
                        <a:pt x="535" y="2124"/>
                      </a:lnTo>
                      <a:lnTo>
                        <a:pt x="536" y="2126"/>
                      </a:lnTo>
                      <a:lnTo>
                        <a:pt x="537" y="2126"/>
                      </a:lnTo>
                      <a:lnTo>
                        <a:pt x="538" y="2127"/>
                      </a:lnTo>
                      <a:lnTo>
                        <a:pt x="539" y="2128"/>
                      </a:lnTo>
                      <a:lnTo>
                        <a:pt x="541" y="2130"/>
                      </a:lnTo>
                      <a:lnTo>
                        <a:pt x="542" y="2130"/>
                      </a:lnTo>
                      <a:lnTo>
                        <a:pt x="544" y="2131"/>
                      </a:lnTo>
                      <a:lnTo>
                        <a:pt x="545" y="2131"/>
                      </a:lnTo>
                      <a:lnTo>
                        <a:pt x="545" y="2132"/>
                      </a:lnTo>
                      <a:lnTo>
                        <a:pt x="545" y="2133"/>
                      </a:lnTo>
                      <a:lnTo>
                        <a:pt x="545" y="2134"/>
                      </a:lnTo>
                      <a:lnTo>
                        <a:pt x="544" y="2134"/>
                      </a:lnTo>
                      <a:lnTo>
                        <a:pt x="544" y="2135"/>
                      </a:lnTo>
                      <a:lnTo>
                        <a:pt x="543" y="2135"/>
                      </a:lnTo>
                      <a:lnTo>
                        <a:pt x="543" y="2137"/>
                      </a:lnTo>
                      <a:lnTo>
                        <a:pt x="543" y="2137"/>
                      </a:lnTo>
                      <a:lnTo>
                        <a:pt x="543" y="2139"/>
                      </a:lnTo>
                      <a:lnTo>
                        <a:pt x="543" y="2142"/>
                      </a:lnTo>
                      <a:lnTo>
                        <a:pt x="543" y="2142"/>
                      </a:lnTo>
                      <a:lnTo>
                        <a:pt x="543" y="2143"/>
                      </a:lnTo>
                      <a:lnTo>
                        <a:pt x="544" y="2144"/>
                      </a:lnTo>
                      <a:lnTo>
                        <a:pt x="544" y="2146"/>
                      </a:lnTo>
                      <a:lnTo>
                        <a:pt x="545" y="2149"/>
                      </a:lnTo>
                      <a:lnTo>
                        <a:pt x="545" y="2149"/>
                      </a:lnTo>
                      <a:lnTo>
                        <a:pt x="545" y="2151"/>
                      </a:lnTo>
                      <a:lnTo>
                        <a:pt x="544" y="2153"/>
                      </a:lnTo>
                      <a:lnTo>
                        <a:pt x="542" y="2154"/>
                      </a:lnTo>
                      <a:lnTo>
                        <a:pt x="542" y="2156"/>
                      </a:lnTo>
                      <a:lnTo>
                        <a:pt x="541" y="2156"/>
                      </a:lnTo>
                      <a:lnTo>
                        <a:pt x="540" y="2157"/>
                      </a:lnTo>
                      <a:lnTo>
                        <a:pt x="540" y="2158"/>
                      </a:lnTo>
                      <a:lnTo>
                        <a:pt x="538" y="2158"/>
                      </a:lnTo>
                      <a:lnTo>
                        <a:pt x="537" y="2158"/>
                      </a:lnTo>
                      <a:lnTo>
                        <a:pt x="536" y="2157"/>
                      </a:lnTo>
                      <a:lnTo>
                        <a:pt x="534" y="2157"/>
                      </a:lnTo>
                      <a:lnTo>
                        <a:pt x="533" y="2157"/>
                      </a:lnTo>
                      <a:lnTo>
                        <a:pt x="533" y="2157"/>
                      </a:lnTo>
                      <a:lnTo>
                        <a:pt x="529" y="2157"/>
                      </a:lnTo>
                      <a:lnTo>
                        <a:pt x="529" y="2158"/>
                      </a:lnTo>
                      <a:lnTo>
                        <a:pt x="528" y="2158"/>
                      </a:lnTo>
                      <a:lnTo>
                        <a:pt x="528" y="2159"/>
                      </a:lnTo>
                      <a:lnTo>
                        <a:pt x="527" y="2159"/>
                      </a:lnTo>
                      <a:lnTo>
                        <a:pt x="526" y="2160"/>
                      </a:lnTo>
                      <a:lnTo>
                        <a:pt x="524" y="2160"/>
                      </a:lnTo>
                      <a:lnTo>
                        <a:pt x="519" y="2160"/>
                      </a:lnTo>
                      <a:lnTo>
                        <a:pt x="517" y="2159"/>
                      </a:lnTo>
                      <a:lnTo>
                        <a:pt x="516" y="2159"/>
                      </a:lnTo>
                      <a:lnTo>
                        <a:pt x="509" y="2158"/>
                      </a:lnTo>
                      <a:lnTo>
                        <a:pt x="508" y="2157"/>
                      </a:lnTo>
                      <a:lnTo>
                        <a:pt x="508" y="2157"/>
                      </a:lnTo>
                      <a:lnTo>
                        <a:pt x="507" y="2156"/>
                      </a:lnTo>
                      <a:lnTo>
                        <a:pt x="506" y="2155"/>
                      </a:lnTo>
                      <a:lnTo>
                        <a:pt x="501" y="2153"/>
                      </a:lnTo>
                      <a:lnTo>
                        <a:pt x="501" y="2152"/>
                      </a:lnTo>
                      <a:lnTo>
                        <a:pt x="498" y="2150"/>
                      </a:lnTo>
                      <a:lnTo>
                        <a:pt x="497" y="2150"/>
                      </a:lnTo>
                      <a:lnTo>
                        <a:pt x="496" y="2149"/>
                      </a:lnTo>
                      <a:lnTo>
                        <a:pt x="494" y="2143"/>
                      </a:lnTo>
                      <a:lnTo>
                        <a:pt x="493" y="2140"/>
                      </a:lnTo>
                      <a:lnTo>
                        <a:pt x="493" y="2139"/>
                      </a:lnTo>
                      <a:lnTo>
                        <a:pt x="494" y="2139"/>
                      </a:lnTo>
                      <a:lnTo>
                        <a:pt x="494" y="2137"/>
                      </a:lnTo>
                      <a:lnTo>
                        <a:pt x="493" y="2137"/>
                      </a:lnTo>
                      <a:lnTo>
                        <a:pt x="493" y="2137"/>
                      </a:lnTo>
                      <a:lnTo>
                        <a:pt x="492" y="2137"/>
                      </a:lnTo>
                      <a:lnTo>
                        <a:pt x="492" y="2135"/>
                      </a:lnTo>
                      <a:lnTo>
                        <a:pt x="491" y="2134"/>
                      </a:lnTo>
                      <a:lnTo>
                        <a:pt x="488" y="2133"/>
                      </a:lnTo>
                      <a:lnTo>
                        <a:pt x="488" y="2133"/>
                      </a:lnTo>
                      <a:lnTo>
                        <a:pt x="488" y="2132"/>
                      </a:lnTo>
                      <a:lnTo>
                        <a:pt x="488" y="2132"/>
                      </a:lnTo>
                      <a:lnTo>
                        <a:pt x="489" y="2130"/>
                      </a:lnTo>
                      <a:lnTo>
                        <a:pt x="489" y="2130"/>
                      </a:lnTo>
                      <a:lnTo>
                        <a:pt x="488" y="2129"/>
                      </a:lnTo>
                      <a:lnTo>
                        <a:pt x="488" y="2127"/>
                      </a:lnTo>
                      <a:lnTo>
                        <a:pt x="488" y="2125"/>
                      </a:lnTo>
                      <a:lnTo>
                        <a:pt x="489" y="2121"/>
                      </a:lnTo>
                      <a:lnTo>
                        <a:pt x="490" y="2119"/>
                      </a:lnTo>
                      <a:lnTo>
                        <a:pt x="490" y="2117"/>
                      </a:lnTo>
                      <a:lnTo>
                        <a:pt x="490" y="2116"/>
                      </a:lnTo>
                      <a:lnTo>
                        <a:pt x="490" y="2116"/>
                      </a:lnTo>
                      <a:lnTo>
                        <a:pt x="490" y="2115"/>
                      </a:lnTo>
                      <a:lnTo>
                        <a:pt x="489" y="2112"/>
                      </a:lnTo>
                      <a:lnTo>
                        <a:pt x="489" y="2110"/>
                      </a:lnTo>
                      <a:lnTo>
                        <a:pt x="489" y="2109"/>
                      </a:lnTo>
                      <a:lnTo>
                        <a:pt x="488" y="2108"/>
                      </a:lnTo>
                      <a:lnTo>
                        <a:pt x="487" y="2107"/>
                      </a:lnTo>
                      <a:lnTo>
                        <a:pt x="485" y="2105"/>
                      </a:lnTo>
                      <a:lnTo>
                        <a:pt x="482" y="2099"/>
                      </a:lnTo>
                      <a:lnTo>
                        <a:pt x="481" y="2096"/>
                      </a:lnTo>
                      <a:lnTo>
                        <a:pt x="480" y="2095"/>
                      </a:lnTo>
                      <a:lnTo>
                        <a:pt x="479" y="2094"/>
                      </a:lnTo>
                      <a:lnTo>
                        <a:pt x="479" y="2093"/>
                      </a:lnTo>
                      <a:lnTo>
                        <a:pt x="479" y="2090"/>
                      </a:lnTo>
                      <a:lnTo>
                        <a:pt x="479" y="2089"/>
                      </a:lnTo>
                      <a:lnTo>
                        <a:pt x="479" y="2088"/>
                      </a:lnTo>
                      <a:lnTo>
                        <a:pt x="480" y="2087"/>
                      </a:lnTo>
                      <a:lnTo>
                        <a:pt x="481" y="2086"/>
                      </a:lnTo>
                      <a:lnTo>
                        <a:pt x="481" y="2086"/>
                      </a:lnTo>
                      <a:lnTo>
                        <a:pt x="481" y="2085"/>
                      </a:lnTo>
                      <a:lnTo>
                        <a:pt x="482" y="2082"/>
                      </a:lnTo>
                      <a:lnTo>
                        <a:pt x="483" y="2077"/>
                      </a:lnTo>
                      <a:lnTo>
                        <a:pt x="483" y="2075"/>
                      </a:lnTo>
                      <a:lnTo>
                        <a:pt x="484" y="2073"/>
                      </a:lnTo>
                      <a:lnTo>
                        <a:pt x="484" y="2071"/>
                      </a:lnTo>
                      <a:lnTo>
                        <a:pt x="486" y="2069"/>
                      </a:lnTo>
                      <a:lnTo>
                        <a:pt x="487" y="2068"/>
                      </a:lnTo>
                      <a:lnTo>
                        <a:pt x="488" y="2068"/>
                      </a:lnTo>
                      <a:lnTo>
                        <a:pt x="489" y="2067"/>
                      </a:lnTo>
                      <a:lnTo>
                        <a:pt x="490" y="2066"/>
                      </a:lnTo>
                      <a:lnTo>
                        <a:pt x="493" y="2066"/>
                      </a:lnTo>
                      <a:lnTo>
                        <a:pt x="493" y="2064"/>
                      </a:lnTo>
                      <a:lnTo>
                        <a:pt x="493" y="2063"/>
                      </a:lnTo>
                      <a:lnTo>
                        <a:pt x="494" y="2062"/>
                      </a:lnTo>
                      <a:lnTo>
                        <a:pt x="494" y="2061"/>
                      </a:lnTo>
                      <a:lnTo>
                        <a:pt x="495" y="2058"/>
                      </a:lnTo>
                      <a:lnTo>
                        <a:pt x="499" y="2057"/>
                      </a:lnTo>
                      <a:lnTo>
                        <a:pt x="499" y="2058"/>
                      </a:lnTo>
                      <a:lnTo>
                        <a:pt x="500" y="2059"/>
                      </a:lnTo>
                      <a:lnTo>
                        <a:pt x="501" y="2058"/>
                      </a:lnTo>
                      <a:lnTo>
                        <a:pt x="501" y="2059"/>
                      </a:lnTo>
                      <a:lnTo>
                        <a:pt x="502" y="2059"/>
                      </a:lnTo>
                      <a:lnTo>
                        <a:pt x="502" y="2059"/>
                      </a:lnTo>
                      <a:lnTo>
                        <a:pt x="502" y="2058"/>
                      </a:lnTo>
                      <a:lnTo>
                        <a:pt x="502" y="2058"/>
                      </a:lnTo>
                      <a:lnTo>
                        <a:pt x="501" y="2058"/>
                      </a:lnTo>
                      <a:lnTo>
                        <a:pt x="500" y="2057"/>
                      </a:lnTo>
                      <a:lnTo>
                        <a:pt x="500" y="2056"/>
                      </a:lnTo>
                      <a:lnTo>
                        <a:pt x="500" y="2056"/>
                      </a:lnTo>
                      <a:lnTo>
                        <a:pt x="501" y="2054"/>
                      </a:lnTo>
                      <a:lnTo>
                        <a:pt x="502" y="2054"/>
                      </a:lnTo>
                      <a:lnTo>
                        <a:pt x="503" y="2053"/>
                      </a:lnTo>
                      <a:lnTo>
                        <a:pt x="507" y="2053"/>
                      </a:lnTo>
                      <a:close/>
                      <a:moveTo>
                        <a:pt x="410" y="2050"/>
                      </a:moveTo>
                      <a:lnTo>
                        <a:pt x="411" y="2050"/>
                      </a:lnTo>
                      <a:lnTo>
                        <a:pt x="411" y="2050"/>
                      </a:lnTo>
                      <a:lnTo>
                        <a:pt x="411" y="2050"/>
                      </a:lnTo>
                      <a:lnTo>
                        <a:pt x="411" y="2051"/>
                      </a:lnTo>
                      <a:lnTo>
                        <a:pt x="411" y="2051"/>
                      </a:lnTo>
                      <a:lnTo>
                        <a:pt x="411" y="2052"/>
                      </a:lnTo>
                      <a:lnTo>
                        <a:pt x="412" y="2052"/>
                      </a:lnTo>
                      <a:lnTo>
                        <a:pt x="412" y="2051"/>
                      </a:lnTo>
                      <a:lnTo>
                        <a:pt x="412" y="2051"/>
                      </a:lnTo>
                      <a:lnTo>
                        <a:pt x="413" y="2052"/>
                      </a:lnTo>
                      <a:lnTo>
                        <a:pt x="413" y="2053"/>
                      </a:lnTo>
                      <a:lnTo>
                        <a:pt x="412" y="2053"/>
                      </a:lnTo>
                      <a:lnTo>
                        <a:pt x="412" y="2054"/>
                      </a:lnTo>
                      <a:lnTo>
                        <a:pt x="411" y="2055"/>
                      </a:lnTo>
                      <a:lnTo>
                        <a:pt x="410" y="2055"/>
                      </a:lnTo>
                      <a:lnTo>
                        <a:pt x="410" y="2056"/>
                      </a:lnTo>
                      <a:lnTo>
                        <a:pt x="409" y="2056"/>
                      </a:lnTo>
                      <a:lnTo>
                        <a:pt x="409" y="2057"/>
                      </a:lnTo>
                      <a:lnTo>
                        <a:pt x="409" y="2058"/>
                      </a:lnTo>
                      <a:lnTo>
                        <a:pt x="408" y="2058"/>
                      </a:lnTo>
                      <a:lnTo>
                        <a:pt x="408" y="2059"/>
                      </a:lnTo>
                      <a:lnTo>
                        <a:pt x="409" y="2059"/>
                      </a:lnTo>
                      <a:lnTo>
                        <a:pt x="409" y="2059"/>
                      </a:lnTo>
                      <a:lnTo>
                        <a:pt x="409" y="2059"/>
                      </a:lnTo>
                      <a:lnTo>
                        <a:pt x="410" y="2059"/>
                      </a:lnTo>
                      <a:lnTo>
                        <a:pt x="410" y="2062"/>
                      </a:lnTo>
                      <a:lnTo>
                        <a:pt x="410" y="2061"/>
                      </a:lnTo>
                      <a:lnTo>
                        <a:pt x="410" y="2061"/>
                      </a:lnTo>
                      <a:lnTo>
                        <a:pt x="410" y="2061"/>
                      </a:lnTo>
                      <a:lnTo>
                        <a:pt x="410" y="2062"/>
                      </a:lnTo>
                      <a:lnTo>
                        <a:pt x="410" y="2062"/>
                      </a:lnTo>
                      <a:lnTo>
                        <a:pt x="411" y="2062"/>
                      </a:lnTo>
                      <a:lnTo>
                        <a:pt x="410" y="2062"/>
                      </a:lnTo>
                      <a:lnTo>
                        <a:pt x="410" y="2063"/>
                      </a:lnTo>
                      <a:lnTo>
                        <a:pt x="409" y="2063"/>
                      </a:lnTo>
                      <a:lnTo>
                        <a:pt x="409" y="2065"/>
                      </a:lnTo>
                      <a:lnTo>
                        <a:pt x="409" y="2065"/>
                      </a:lnTo>
                      <a:lnTo>
                        <a:pt x="409" y="2065"/>
                      </a:lnTo>
                      <a:lnTo>
                        <a:pt x="409" y="2066"/>
                      </a:lnTo>
                      <a:lnTo>
                        <a:pt x="408" y="2068"/>
                      </a:lnTo>
                      <a:lnTo>
                        <a:pt x="408" y="2068"/>
                      </a:lnTo>
                      <a:lnTo>
                        <a:pt x="409" y="2067"/>
                      </a:lnTo>
                      <a:lnTo>
                        <a:pt x="409" y="2068"/>
                      </a:lnTo>
                      <a:lnTo>
                        <a:pt x="409" y="2067"/>
                      </a:lnTo>
                      <a:lnTo>
                        <a:pt x="410" y="2067"/>
                      </a:lnTo>
                      <a:lnTo>
                        <a:pt x="410" y="2067"/>
                      </a:lnTo>
                      <a:lnTo>
                        <a:pt x="410" y="2066"/>
                      </a:lnTo>
                      <a:lnTo>
                        <a:pt x="410" y="2066"/>
                      </a:lnTo>
                      <a:lnTo>
                        <a:pt x="410" y="2067"/>
                      </a:lnTo>
                      <a:lnTo>
                        <a:pt x="411" y="2067"/>
                      </a:lnTo>
                      <a:lnTo>
                        <a:pt x="411" y="2066"/>
                      </a:lnTo>
                      <a:lnTo>
                        <a:pt x="411" y="2066"/>
                      </a:lnTo>
                      <a:lnTo>
                        <a:pt x="411" y="2066"/>
                      </a:lnTo>
                      <a:lnTo>
                        <a:pt x="412" y="2066"/>
                      </a:lnTo>
                      <a:lnTo>
                        <a:pt x="411" y="2068"/>
                      </a:lnTo>
                      <a:lnTo>
                        <a:pt x="411" y="2068"/>
                      </a:lnTo>
                      <a:lnTo>
                        <a:pt x="410" y="2068"/>
                      </a:lnTo>
                      <a:lnTo>
                        <a:pt x="410" y="2069"/>
                      </a:lnTo>
                      <a:lnTo>
                        <a:pt x="410" y="2069"/>
                      </a:lnTo>
                      <a:lnTo>
                        <a:pt x="410" y="2069"/>
                      </a:lnTo>
                      <a:lnTo>
                        <a:pt x="409" y="2069"/>
                      </a:lnTo>
                      <a:lnTo>
                        <a:pt x="409" y="2069"/>
                      </a:lnTo>
                      <a:lnTo>
                        <a:pt x="409" y="2069"/>
                      </a:lnTo>
                      <a:lnTo>
                        <a:pt x="408" y="2070"/>
                      </a:lnTo>
                      <a:lnTo>
                        <a:pt x="408" y="2070"/>
                      </a:lnTo>
                      <a:lnTo>
                        <a:pt x="408" y="2070"/>
                      </a:lnTo>
                      <a:lnTo>
                        <a:pt x="408" y="2071"/>
                      </a:lnTo>
                      <a:lnTo>
                        <a:pt x="407" y="2071"/>
                      </a:lnTo>
                      <a:lnTo>
                        <a:pt x="408" y="2071"/>
                      </a:lnTo>
                      <a:lnTo>
                        <a:pt x="407" y="2072"/>
                      </a:lnTo>
                      <a:lnTo>
                        <a:pt x="408" y="2072"/>
                      </a:lnTo>
                      <a:lnTo>
                        <a:pt x="408" y="2073"/>
                      </a:lnTo>
                      <a:lnTo>
                        <a:pt x="408" y="2073"/>
                      </a:lnTo>
                      <a:lnTo>
                        <a:pt x="408" y="2073"/>
                      </a:lnTo>
                      <a:lnTo>
                        <a:pt x="408" y="2073"/>
                      </a:lnTo>
                      <a:lnTo>
                        <a:pt x="408" y="2072"/>
                      </a:lnTo>
                      <a:lnTo>
                        <a:pt x="409" y="2072"/>
                      </a:lnTo>
                      <a:lnTo>
                        <a:pt x="409" y="2073"/>
                      </a:lnTo>
                      <a:lnTo>
                        <a:pt x="409" y="2074"/>
                      </a:lnTo>
                      <a:lnTo>
                        <a:pt x="409" y="2074"/>
                      </a:lnTo>
                      <a:lnTo>
                        <a:pt x="409" y="2074"/>
                      </a:lnTo>
                      <a:lnTo>
                        <a:pt x="409" y="2075"/>
                      </a:lnTo>
                      <a:lnTo>
                        <a:pt x="409" y="2075"/>
                      </a:lnTo>
                      <a:lnTo>
                        <a:pt x="409" y="2075"/>
                      </a:lnTo>
                      <a:lnTo>
                        <a:pt x="408" y="2077"/>
                      </a:lnTo>
                      <a:lnTo>
                        <a:pt x="407" y="2077"/>
                      </a:lnTo>
                      <a:lnTo>
                        <a:pt x="406" y="2077"/>
                      </a:lnTo>
                      <a:lnTo>
                        <a:pt x="406" y="2078"/>
                      </a:lnTo>
                      <a:lnTo>
                        <a:pt x="406" y="2078"/>
                      </a:lnTo>
                      <a:lnTo>
                        <a:pt x="405" y="2079"/>
                      </a:lnTo>
                      <a:lnTo>
                        <a:pt x="404" y="2079"/>
                      </a:lnTo>
                      <a:lnTo>
                        <a:pt x="404" y="2079"/>
                      </a:lnTo>
                      <a:lnTo>
                        <a:pt x="404" y="2081"/>
                      </a:lnTo>
                      <a:lnTo>
                        <a:pt x="402" y="2082"/>
                      </a:lnTo>
                      <a:lnTo>
                        <a:pt x="402" y="2082"/>
                      </a:lnTo>
                      <a:lnTo>
                        <a:pt x="402" y="2080"/>
                      </a:lnTo>
                      <a:lnTo>
                        <a:pt x="401" y="2080"/>
                      </a:lnTo>
                      <a:lnTo>
                        <a:pt x="401" y="2078"/>
                      </a:lnTo>
                      <a:lnTo>
                        <a:pt x="401" y="2077"/>
                      </a:lnTo>
                      <a:lnTo>
                        <a:pt x="401" y="2076"/>
                      </a:lnTo>
                      <a:lnTo>
                        <a:pt x="401" y="2076"/>
                      </a:lnTo>
                      <a:lnTo>
                        <a:pt x="402" y="2076"/>
                      </a:lnTo>
                      <a:lnTo>
                        <a:pt x="402" y="2076"/>
                      </a:lnTo>
                      <a:lnTo>
                        <a:pt x="402" y="2075"/>
                      </a:lnTo>
                      <a:lnTo>
                        <a:pt x="402" y="2075"/>
                      </a:lnTo>
                      <a:lnTo>
                        <a:pt x="402" y="2074"/>
                      </a:lnTo>
                      <a:lnTo>
                        <a:pt x="402" y="2074"/>
                      </a:lnTo>
                      <a:lnTo>
                        <a:pt x="403" y="2074"/>
                      </a:lnTo>
                      <a:lnTo>
                        <a:pt x="403" y="2074"/>
                      </a:lnTo>
                      <a:lnTo>
                        <a:pt x="402" y="2073"/>
                      </a:lnTo>
                      <a:lnTo>
                        <a:pt x="402" y="2073"/>
                      </a:lnTo>
                      <a:lnTo>
                        <a:pt x="401" y="2073"/>
                      </a:lnTo>
                      <a:lnTo>
                        <a:pt x="402" y="2073"/>
                      </a:lnTo>
                      <a:lnTo>
                        <a:pt x="401" y="2073"/>
                      </a:lnTo>
                      <a:lnTo>
                        <a:pt x="401" y="2073"/>
                      </a:lnTo>
                      <a:lnTo>
                        <a:pt x="401" y="2074"/>
                      </a:lnTo>
                      <a:lnTo>
                        <a:pt x="400" y="2074"/>
                      </a:lnTo>
                      <a:lnTo>
                        <a:pt x="400" y="2073"/>
                      </a:lnTo>
                      <a:lnTo>
                        <a:pt x="400" y="2073"/>
                      </a:lnTo>
                      <a:lnTo>
                        <a:pt x="400" y="2072"/>
                      </a:lnTo>
                      <a:lnTo>
                        <a:pt x="399" y="2072"/>
                      </a:lnTo>
                      <a:lnTo>
                        <a:pt x="399" y="2071"/>
                      </a:lnTo>
                      <a:lnTo>
                        <a:pt x="400" y="2069"/>
                      </a:lnTo>
                      <a:lnTo>
                        <a:pt x="401" y="2069"/>
                      </a:lnTo>
                      <a:lnTo>
                        <a:pt x="401" y="2067"/>
                      </a:lnTo>
                      <a:lnTo>
                        <a:pt x="402" y="2066"/>
                      </a:lnTo>
                      <a:lnTo>
                        <a:pt x="404" y="2063"/>
                      </a:lnTo>
                      <a:lnTo>
                        <a:pt x="404" y="2062"/>
                      </a:lnTo>
                      <a:lnTo>
                        <a:pt x="405" y="2061"/>
                      </a:lnTo>
                      <a:lnTo>
                        <a:pt x="405" y="2061"/>
                      </a:lnTo>
                      <a:lnTo>
                        <a:pt x="405" y="2059"/>
                      </a:lnTo>
                      <a:lnTo>
                        <a:pt x="405" y="2059"/>
                      </a:lnTo>
                      <a:lnTo>
                        <a:pt x="405" y="2058"/>
                      </a:lnTo>
                      <a:lnTo>
                        <a:pt x="405" y="2058"/>
                      </a:lnTo>
                      <a:lnTo>
                        <a:pt x="405" y="2058"/>
                      </a:lnTo>
                      <a:lnTo>
                        <a:pt x="405" y="2057"/>
                      </a:lnTo>
                      <a:lnTo>
                        <a:pt x="406" y="2057"/>
                      </a:lnTo>
                      <a:lnTo>
                        <a:pt x="406" y="2058"/>
                      </a:lnTo>
                      <a:lnTo>
                        <a:pt x="407" y="2058"/>
                      </a:lnTo>
                      <a:lnTo>
                        <a:pt x="407" y="2058"/>
                      </a:lnTo>
                      <a:lnTo>
                        <a:pt x="407" y="2057"/>
                      </a:lnTo>
                      <a:lnTo>
                        <a:pt x="407" y="2056"/>
                      </a:lnTo>
                      <a:lnTo>
                        <a:pt x="407" y="2055"/>
                      </a:lnTo>
                      <a:lnTo>
                        <a:pt x="407" y="2054"/>
                      </a:lnTo>
                      <a:lnTo>
                        <a:pt x="408" y="2053"/>
                      </a:lnTo>
                      <a:lnTo>
                        <a:pt x="408" y="2053"/>
                      </a:lnTo>
                      <a:lnTo>
                        <a:pt x="406" y="2054"/>
                      </a:lnTo>
                      <a:lnTo>
                        <a:pt x="406" y="2054"/>
                      </a:lnTo>
                      <a:lnTo>
                        <a:pt x="406" y="2053"/>
                      </a:lnTo>
                      <a:lnTo>
                        <a:pt x="407" y="2051"/>
                      </a:lnTo>
                      <a:lnTo>
                        <a:pt x="407" y="2051"/>
                      </a:lnTo>
                      <a:lnTo>
                        <a:pt x="407" y="2051"/>
                      </a:lnTo>
                      <a:lnTo>
                        <a:pt x="408" y="2052"/>
                      </a:lnTo>
                      <a:lnTo>
                        <a:pt x="408" y="2052"/>
                      </a:lnTo>
                      <a:lnTo>
                        <a:pt x="408" y="2052"/>
                      </a:lnTo>
                      <a:lnTo>
                        <a:pt x="409" y="2052"/>
                      </a:lnTo>
                      <a:lnTo>
                        <a:pt x="409" y="2051"/>
                      </a:lnTo>
                      <a:lnTo>
                        <a:pt x="409" y="2050"/>
                      </a:lnTo>
                      <a:lnTo>
                        <a:pt x="410" y="2050"/>
                      </a:lnTo>
                      <a:close/>
                      <a:moveTo>
                        <a:pt x="582" y="2027"/>
                      </a:moveTo>
                      <a:lnTo>
                        <a:pt x="583" y="2027"/>
                      </a:lnTo>
                      <a:lnTo>
                        <a:pt x="585" y="2027"/>
                      </a:lnTo>
                      <a:lnTo>
                        <a:pt x="585" y="2029"/>
                      </a:lnTo>
                      <a:lnTo>
                        <a:pt x="583" y="2029"/>
                      </a:lnTo>
                      <a:lnTo>
                        <a:pt x="583" y="2030"/>
                      </a:lnTo>
                      <a:lnTo>
                        <a:pt x="583" y="2035"/>
                      </a:lnTo>
                      <a:lnTo>
                        <a:pt x="585" y="2036"/>
                      </a:lnTo>
                      <a:lnTo>
                        <a:pt x="585" y="2036"/>
                      </a:lnTo>
                      <a:lnTo>
                        <a:pt x="585" y="2037"/>
                      </a:lnTo>
                      <a:lnTo>
                        <a:pt x="585" y="2038"/>
                      </a:lnTo>
                      <a:lnTo>
                        <a:pt x="583" y="2040"/>
                      </a:lnTo>
                      <a:lnTo>
                        <a:pt x="583" y="2040"/>
                      </a:lnTo>
                      <a:lnTo>
                        <a:pt x="583" y="2041"/>
                      </a:lnTo>
                      <a:lnTo>
                        <a:pt x="583" y="2041"/>
                      </a:lnTo>
                      <a:lnTo>
                        <a:pt x="583" y="2042"/>
                      </a:lnTo>
                      <a:lnTo>
                        <a:pt x="582" y="2042"/>
                      </a:lnTo>
                      <a:lnTo>
                        <a:pt x="582" y="2042"/>
                      </a:lnTo>
                      <a:lnTo>
                        <a:pt x="582" y="2042"/>
                      </a:lnTo>
                      <a:lnTo>
                        <a:pt x="582" y="2043"/>
                      </a:lnTo>
                      <a:lnTo>
                        <a:pt x="581" y="2044"/>
                      </a:lnTo>
                      <a:lnTo>
                        <a:pt x="581" y="2044"/>
                      </a:lnTo>
                      <a:lnTo>
                        <a:pt x="580" y="2045"/>
                      </a:lnTo>
                      <a:lnTo>
                        <a:pt x="580" y="2044"/>
                      </a:lnTo>
                      <a:lnTo>
                        <a:pt x="580" y="2042"/>
                      </a:lnTo>
                      <a:lnTo>
                        <a:pt x="580" y="2041"/>
                      </a:lnTo>
                      <a:lnTo>
                        <a:pt x="579" y="2041"/>
                      </a:lnTo>
                      <a:lnTo>
                        <a:pt x="579" y="2041"/>
                      </a:lnTo>
                      <a:lnTo>
                        <a:pt x="577" y="2041"/>
                      </a:lnTo>
                      <a:lnTo>
                        <a:pt x="577" y="2042"/>
                      </a:lnTo>
                      <a:lnTo>
                        <a:pt x="576" y="2043"/>
                      </a:lnTo>
                      <a:lnTo>
                        <a:pt x="575" y="2043"/>
                      </a:lnTo>
                      <a:lnTo>
                        <a:pt x="575" y="2044"/>
                      </a:lnTo>
                      <a:lnTo>
                        <a:pt x="575" y="2044"/>
                      </a:lnTo>
                      <a:lnTo>
                        <a:pt x="575" y="2045"/>
                      </a:lnTo>
                      <a:lnTo>
                        <a:pt x="575" y="2045"/>
                      </a:lnTo>
                      <a:lnTo>
                        <a:pt x="574" y="2045"/>
                      </a:lnTo>
                      <a:lnTo>
                        <a:pt x="574" y="2045"/>
                      </a:lnTo>
                      <a:lnTo>
                        <a:pt x="573" y="2045"/>
                      </a:lnTo>
                      <a:lnTo>
                        <a:pt x="573" y="2044"/>
                      </a:lnTo>
                      <a:lnTo>
                        <a:pt x="573" y="2044"/>
                      </a:lnTo>
                      <a:lnTo>
                        <a:pt x="572" y="2043"/>
                      </a:lnTo>
                      <a:lnTo>
                        <a:pt x="573" y="2041"/>
                      </a:lnTo>
                      <a:lnTo>
                        <a:pt x="573" y="2040"/>
                      </a:lnTo>
                      <a:lnTo>
                        <a:pt x="574" y="2039"/>
                      </a:lnTo>
                      <a:lnTo>
                        <a:pt x="574" y="2036"/>
                      </a:lnTo>
                      <a:lnTo>
                        <a:pt x="575" y="2035"/>
                      </a:lnTo>
                      <a:lnTo>
                        <a:pt x="575" y="2035"/>
                      </a:lnTo>
                      <a:lnTo>
                        <a:pt x="575" y="2035"/>
                      </a:lnTo>
                      <a:lnTo>
                        <a:pt x="576" y="2034"/>
                      </a:lnTo>
                      <a:lnTo>
                        <a:pt x="576" y="2033"/>
                      </a:lnTo>
                      <a:lnTo>
                        <a:pt x="577" y="2032"/>
                      </a:lnTo>
                      <a:lnTo>
                        <a:pt x="576" y="2032"/>
                      </a:lnTo>
                      <a:lnTo>
                        <a:pt x="577" y="2032"/>
                      </a:lnTo>
                      <a:lnTo>
                        <a:pt x="577" y="2031"/>
                      </a:lnTo>
                      <a:lnTo>
                        <a:pt x="577" y="2030"/>
                      </a:lnTo>
                      <a:lnTo>
                        <a:pt x="577" y="2029"/>
                      </a:lnTo>
                      <a:lnTo>
                        <a:pt x="577" y="2029"/>
                      </a:lnTo>
                      <a:lnTo>
                        <a:pt x="578" y="2028"/>
                      </a:lnTo>
                      <a:lnTo>
                        <a:pt x="578" y="2028"/>
                      </a:lnTo>
                      <a:lnTo>
                        <a:pt x="579" y="2028"/>
                      </a:lnTo>
                      <a:lnTo>
                        <a:pt x="580" y="2027"/>
                      </a:lnTo>
                      <a:lnTo>
                        <a:pt x="581" y="2027"/>
                      </a:lnTo>
                      <a:lnTo>
                        <a:pt x="582" y="2027"/>
                      </a:lnTo>
                      <a:lnTo>
                        <a:pt x="582" y="2027"/>
                      </a:lnTo>
                      <a:lnTo>
                        <a:pt x="582" y="2027"/>
                      </a:lnTo>
                      <a:close/>
                      <a:moveTo>
                        <a:pt x="501" y="2005"/>
                      </a:moveTo>
                      <a:lnTo>
                        <a:pt x="502" y="2006"/>
                      </a:lnTo>
                      <a:lnTo>
                        <a:pt x="501" y="2006"/>
                      </a:lnTo>
                      <a:lnTo>
                        <a:pt x="501" y="2005"/>
                      </a:lnTo>
                      <a:lnTo>
                        <a:pt x="501" y="2005"/>
                      </a:lnTo>
                      <a:lnTo>
                        <a:pt x="501" y="2005"/>
                      </a:lnTo>
                      <a:close/>
                      <a:moveTo>
                        <a:pt x="523" y="1976"/>
                      </a:moveTo>
                      <a:lnTo>
                        <a:pt x="524" y="1977"/>
                      </a:lnTo>
                      <a:lnTo>
                        <a:pt x="525" y="1976"/>
                      </a:lnTo>
                      <a:lnTo>
                        <a:pt x="526" y="1977"/>
                      </a:lnTo>
                      <a:lnTo>
                        <a:pt x="527" y="1978"/>
                      </a:lnTo>
                      <a:lnTo>
                        <a:pt x="527" y="1978"/>
                      </a:lnTo>
                      <a:lnTo>
                        <a:pt x="527" y="1978"/>
                      </a:lnTo>
                      <a:lnTo>
                        <a:pt x="528" y="1978"/>
                      </a:lnTo>
                      <a:lnTo>
                        <a:pt x="528" y="1978"/>
                      </a:lnTo>
                      <a:lnTo>
                        <a:pt x="529" y="1978"/>
                      </a:lnTo>
                      <a:lnTo>
                        <a:pt x="529" y="1978"/>
                      </a:lnTo>
                      <a:lnTo>
                        <a:pt x="530" y="1980"/>
                      </a:lnTo>
                      <a:lnTo>
                        <a:pt x="530" y="1980"/>
                      </a:lnTo>
                      <a:lnTo>
                        <a:pt x="530" y="1980"/>
                      </a:lnTo>
                      <a:lnTo>
                        <a:pt x="531" y="1981"/>
                      </a:lnTo>
                      <a:lnTo>
                        <a:pt x="533" y="1983"/>
                      </a:lnTo>
                      <a:lnTo>
                        <a:pt x="536" y="1987"/>
                      </a:lnTo>
                      <a:lnTo>
                        <a:pt x="537" y="1988"/>
                      </a:lnTo>
                      <a:lnTo>
                        <a:pt x="538" y="1989"/>
                      </a:lnTo>
                      <a:lnTo>
                        <a:pt x="538" y="1989"/>
                      </a:lnTo>
                      <a:lnTo>
                        <a:pt x="538" y="1989"/>
                      </a:lnTo>
                      <a:lnTo>
                        <a:pt x="539" y="1989"/>
                      </a:lnTo>
                      <a:lnTo>
                        <a:pt x="539" y="1990"/>
                      </a:lnTo>
                      <a:lnTo>
                        <a:pt x="540" y="1991"/>
                      </a:lnTo>
                      <a:lnTo>
                        <a:pt x="542" y="1991"/>
                      </a:lnTo>
                      <a:lnTo>
                        <a:pt x="543" y="1992"/>
                      </a:lnTo>
                      <a:lnTo>
                        <a:pt x="543" y="1993"/>
                      </a:lnTo>
                      <a:lnTo>
                        <a:pt x="544" y="1993"/>
                      </a:lnTo>
                      <a:lnTo>
                        <a:pt x="545" y="1993"/>
                      </a:lnTo>
                      <a:lnTo>
                        <a:pt x="546" y="1995"/>
                      </a:lnTo>
                      <a:lnTo>
                        <a:pt x="546" y="1996"/>
                      </a:lnTo>
                      <a:lnTo>
                        <a:pt x="546" y="1997"/>
                      </a:lnTo>
                      <a:lnTo>
                        <a:pt x="545" y="1998"/>
                      </a:lnTo>
                      <a:lnTo>
                        <a:pt x="545" y="1998"/>
                      </a:lnTo>
                      <a:lnTo>
                        <a:pt x="544" y="1999"/>
                      </a:lnTo>
                      <a:lnTo>
                        <a:pt x="543" y="1999"/>
                      </a:lnTo>
                      <a:lnTo>
                        <a:pt x="543" y="2000"/>
                      </a:lnTo>
                      <a:lnTo>
                        <a:pt x="543" y="2001"/>
                      </a:lnTo>
                      <a:lnTo>
                        <a:pt x="544" y="2001"/>
                      </a:lnTo>
                      <a:lnTo>
                        <a:pt x="545" y="2001"/>
                      </a:lnTo>
                      <a:lnTo>
                        <a:pt x="545" y="2001"/>
                      </a:lnTo>
                      <a:lnTo>
                        <a:pt x="548" y="2001"/>
                      </a:lnTo>
                      <a:lnTo>
                        <a:pt x="549" y="2001"/>
                      </a:lnTo>
                      <a:lnTo>
                        <a:pt x="550" y="2001"/>
                      </a:lnTo>
                      <a:lnTo>
                        <a:pt x="550" y="2006"/>
                      </a:lnTo>
                      <a:lnTo>
                        <a:pt x="550" y="2007"/>
                      </a:lnTo>
                      <a:lnTo>
                        <a:pt x="550" y="2008"/>
                      </a:lnTo>
                      <a:lnTo>
                        <a:pt x="551" y="2009"/>
                      </a:lnTo>
                      <a:lnTo>
                        <a:pt x="551" y="2009"/>
                      </a:lnTo>
                      <a:lnTo>
                        <a:pt x="551" y="2009"/>
                      </a:lnTo>
                      <a:lnTo>
                        <a:pt x="552" y="2009"/>
                      </a:lnTo>
                      <a:lnTo>
                        <a:pt x="554" y="2008"/>
                      </a:lnTo>
                      <a:lnTo>
                        <a:pt x="555" y="2007"/>
                      </a:lnTo>
                      <a:lnTo>
                        <a:pt x="557" y="2007"/>
                      </a:lnTo>
                      <a:lnTo>
                        <a:pt x="557" y="2007"/>
                      </a:lnTo>
                      <a:lnTo>
                        <a:pt x="558" y="2008"/>
                      </a:lnTo>
                      <a:lnTo>
                        <a:pt x="558" y="2011"/>
                      </a:lnTo>
                      <a:lnTo>
                        <a:pt x="558" y="2013"/>
                      </a:lnTo>
                      <a:lnTo>
                        <a:pt x="558" y="2014"/>
                      </a:lnTo>
                      <a:lnTo>
                        <a:pt x="558" y="2014"/>
                      </a:lnTo>
                      <a:lnTo>
                        <a:pt x="558" y="2015"/>
                      </a:lnTo>
                      <a:lnTo>
                        <a:pt x="558" y="2018"/>
                      </a:lnTo>
                      <a:lnTo>
                        <a:pt x="558" y="2018"/>
                      </a:lnTo>
                      <a:lnTo>
                        <a:pt x="558" y="2020"/>
                      </a:lnTo>
                      <a:lnTo>
                        <a:pt x="559" y="2021"/>
                      </a:lnTo>
                      <a:lnTo>
                        <a:pt x="559" y="2023"/>
                      </a:lnTo>
                      <a:lnTo>
                        <a:pt x="560" y="2024"/>
                      </a:lnTo>
                      <a:lnTo>
                        <a:pt x="560" y="2028"/>
                      </a:lnTo>
                      <a:lnTo>
                        <a:pt x="560" y="2028"/>
                      </a:lnTo>
                      <a:lnTo>
                        <a:pt x="560" y="2029"/>
                      </a:lnTo>
                      <a:lnTo>
                        <a:pt x="560" y="2030"/>
                      </a:lnTo>
                      <a:lnTo>
                        <a:pt x="561" y="2032"/>
                      </a:lnTo>
                      <a:lnTo>
                        <a:pt x="562" y="2033"/>
                      </a:lnTo>
                      <a:lnTo>
                        <a:pt x="562" y="2033"/>
                      </a:lnTo>
                      <a:lnTo>
                        <a:pt x="562" y="2034"/>
                      </a:lnTo>
                      <a:lnTo>
                        <a:pt x="562" y="2036"/>
                      </a:lnTo>
                      <a:lnTo>
                        <a:pt x="561" y="2038"/>
                      </a:lnTo>
                      <a:lnTo>
                        <a:pt x="558" y="2038"/>
                      </a:lnTo>
                      <a:lnTo>
                        <a:pt x="557" y="2038"/>
                      </a:lnTo>
                      <a:lnTo>
                        <a:pt x="556" y="2039"/>
                      </a:lnTo>
                      <a:lnTo>
                        <a:pt x="556" y="2041"/>
                      </a:lnTo>
                      <a:lnTo>
                        <a:pt x="560" y="2044"/>
                      </a:lnTo>
                      <a:lnTo>
                        <a:pt x="561" y="2045"/>
                      </a:lnTo>
                      <a:lnTo>
                        <a:pt x="561" y="2046"/>
                      </a:lnTo>
                      <a:lnTo>
                        <a:pt x="561" y="2048"/>
                      </a:lnTo>
                      <a:lnTo>
                        <a:pt x="562" y="2049"/>
                      </a:lnTo>
                      <a:lnTo>
                        <a:pt x="562" y="2050"/>
                      </a:lnTo>
                      <a:lnTo>
                        <a:pt x="561" y="2049"/>
                      </a:lnTo>
                      <a:lnTo>
                        <a:pt x="561" y="2051"/>
                      </a:lnTo>
                      <a:lnTo>
                        <a:pt x="559" y="2051"/>
                      </a:lnTo>
                      <a:lnTo>
                        <a:pt x="559" y="2052"/>
                      </a:lnTo>
                      <a:lnTo>
                        <a:pt x="558" y="2052"/>
                      </a:lnTo>
                      <a:lnTo>
                        <a:pt x="558" y="2052"/>
                      </a:lnTo>
                      <a:lnTo>
                        <a:pt x="557" y="2052"/>
                      </a:lnTo>
                      <a:lnTo>
                        <a:pt x="557" y="2053"/>
                      </a:lnTo>
                      <a:lnTo>
                        <a:pt x="556" y="2053"/>
                      </a:lnTo>
                      <a:lnTo>
                        <a:pt x="554" y="2051"/>
                      </a:lnTo>
                      <a:lnTo>
                        <a:pt x="555" y="2051"/>
                      </a:lnTo>
                      <a:lnTo>
                        <a:pt x="554" y="2050"/>
                      </a:lnTo>
                      <a:lnTo>
                        <a:pt x="551" y="2049"/>
                      </a:lnTo>
                      <a:lnTo>
                        <a:pt x="551" y="2048"/>
                      </a:lnTo>
                      <a:lnTo>
                        <a:pt x="552" y="2048"/>
                      </a:lnTo>
                      <a:lnTo>
                        <a:pt x="552" y="2047"/>
                      </a:lnTo>
                      <a:lnTo>
                        <a:pt x="552" y="2047"/>
                      </a:lnTo>
                      <a:lnTo>
                        <a:pt x="551" y="2046"/>
                      </a:lnTo>
                      <a:lnTo>
                        <a:pt x="551" y="2046"/>
                      </a:lnTo>
                      <a:lnTo>
                        <a:pt x="551" y="2045"/>
                      </a:lnTo>
                      <a:lnTo>
                        <a:pt x="551" y="2045"/>
                      </a:lnTo>
                      <a:lnTo>
                        <a:pt x="551" y="2045"/>
                      </a:lnTo>
                      <a:lnTo>
                        <a:pt x="550" y="2044"/>
                      </a:lnTo>
                      <a:lnTo>
                        <a:pt x="550" y="2042"/>
                      </a:lnTo>
                      <a:lnTo>
                        <a:pt x="550" y="2041"/>
                      </a:lnTo>
                      <a:lnTo>
                        <a:pt x="550" y="2041"/>
                      </a:lnTo>
                      <a:lnTo>
                        <a:pt x="550" y="2039"/>
                      </a:lnTo>
                      <a:lnTo>
                        <a:pt x="550" y="2038"/>
                      </a:lnTo>
                      <a:lnTo>
                        <a:pt x="548" y="2038"/>
                      </a:lnTo>
                      <a:lnTo>
                        <a:pt x="548" y="2038"/>
                      </a:lnTo>
                      <a:lnTo>
                        <a:pt x="548" y="2038"/>
                      </a:lnTo>
                      <a:lnTo>
                        <a:pt x="546" y="2036"/>
                      </a:lnTo>
                      <a:lnTo>
                        <a:pt x="544" y="2036"/>
                      </a:lnTo>
                      <a:lnTo>
                        <a:pt x="543" y="2035"/>
                      </a:lnTo>
                      <a:lnTo>
                        <a:pt x="542" y="2034"/>
                      </a:lnTo>
                      <a:lnTo>
                        <a:pt x="542" y="2033"/>
                      </a:lnTo>
                      <a:lnTo>
                        <a:pt x="542" y="2032"/>
                      </a:lnTo>
                      <a:lnTo>
                        <a:pt x="540" y="2032"/>
                      </a:lnTo>
                      <a:lnTo>
                        <a:pt x="540" y="2033"/>
                      </a:lnTo>
                      <a:lnTo>
                        <a:pt x="540" y="2033"/>
                      </a:lnTo>
                      <a:lnTo>
                        <a:pt x="539" y="2033"/>
                      </a:lnTo>
                      <a:lnTo>
                        <a:pt x="538" y="2035"/>
                      </a:lnTo>
                      <a:lnTo>
                        <a:pt x="537" y="2034"/>
                      </a:lnTo>
                      <a:lnTo>
                        <a:pt x="537" y="2034"/>
                      </a:lnTo>
                      <a:lnTo>
                        <a:pt x="537" y="2032"/>
                      </a:lnTo>
                      <a:lnTo>
                        <a:pt x="536" y="2031"/>
                      </a:lnTo>
                      <a:lnTo>
                        <a:pt x="535" y="2028"/>
                      </a:lnTo>
                      <a:lnTo>
                        <a:pt x="535" y="2027"/>
                      </a:lnTo>
                      <a:lnTo>
                        <a:pt x="536" y="2026"/>
                      </a:lnTo>
                      <a:lnTo>
                        <a:pt x="536" y="2025"/>
                      </a:lnTo>
                      <a:lnTo>
                        <a:pt x="536" y="2024"/>
                      </a:lnTo>
                      <a:lnTo>
                        <a:pt x="536" y="2023"/>
                      </a:lnTo>
                      <a:lnTo>
                        <a:pt x="536" y="2020"/>
                      </a:lnTo>
                      <a:lnTo>
                        <a:pt x="535" y="2020"/>
                      </a:lnTo>
                      <a:lnTo>
                        <a:pt x="534" y="2020"/>
                      </a:lnTo>
                      <a:lnTo>
                        <a:pt x="534" y="2021"/>
                      </a:lnTo>
                      <a:lnTo>
                        <a:pt x="534" y="2023"/>
                      </a:lnTo>
                      <a:lnTo>
                        <a:pt x="533" y="2024"/>
                      </a:lnTo>
                      <a:lnTo>
                        <a:pt x="533" y="2023"/>
                      </a:lnTo>
                      <a:lnTo>
                        <a:pt x="533" y="2020"/>
                      </a:lnTo>
                      <a:lnTo>
                        <a:pt x="533" y="2020"/>
                      </a:lnTo>
                      <a:lnTo>
                        <a:pt x="532" y="2019"/>
                      </a:lnTo>
                      <a:lnTo>
                        <a:pt x="533" y="2018"/>
                      </a:lnTo>
                      <a:lnTo>
                        <a:pt x="532" y="2016"/>
                      </a:lnTo>
                      <a:lnTo>
                        <a:pt x="533" y="2016"/>
                      </a:lnTo>
                      <a:lnTo>
                        <a:pt x="533" y="2014"/>
                      </a:lnTo>
                      <a:lnTo>
                        <a:pt x="533" y="2010"/>
                      </a:lnTo>
                      <a:lnTo>
                        <a:pt x="533" y="2009"/>
                      </a:lnTo>
                      <a:lnTo>
                        <a:pt x="535" y="2009"/>
                      </a:lnTo>
                      <a:lnTo>
                        <a:pt x="535" y="2008"/>
                      </a:lnTo>
                      <a:lnTo>
                        <a:pt x="535" y="2007"/>
                      </a:lnTo>
                      <a:lnTo>
                        <a:pt x="534" y="2006"/>
                      </a:lnTo>
                      <a:lnTo>
                        <a:pt x="534" y="2006"/>
                      </a:lnTo>
                      <a:lnTo>
                        <a:pt x="533" y="2005"/>
                      </a:lnTo>
                      <a:lnTo>
                        <a:pt x="532" y="2005"/>
                      </a:lnTo>
                      <a:lnTo>
                        <a:pt x="531" y="2005"/>
                      </a:lnTo>
                      <a:lnTo>
                        <a:pt x="530" y="2006"/>
                      </a:lnTo>
                      <a:lnTo>
                        <a:pt x="529" y="2006"/>
                      </a:lnTo>
                      <a:lnTo>
                        <a:pt x="529" y="2006"/>
                      </a:lnTo>
                      <a:lnTo>
                        <a:pt x="529" y="2006"/>
                      </a:lnTo>
                      <a:lnTo>
                        <a:pt x="528" y="2005"/>
                      </a:lnTo>
                      <a:lnTo>
                        <a:pt x="527" y="2004"/>
                      </a:lnTo>
                      <a:lnTo>
                        <a:pt x="526" y="2004"/>
                      </a:lnTo>
                      <a:lnTo>
                        <a:pt x="525" y="2000"/>
                      </a:lnTo>
                      <a:lnTo>
                        <a:pt x="523" y="1999"/>
                      </a:lnTo>
                      <a:lnTo>
                        <a:pt x="522" y="1999"/>
                      </a:lnTo>
                      <a:lnTo>
                        <a:pt x="519" y="1993"/>
                      </a:lnTo>
                      <a:lnTo>
                        <a:pt x="519" y="1993"/>
                      </a:lnTo>
                      <a:lnTo>
                        <a:pt x="518" y="1993"/>
                      </a:lnTo>
                      <a:lnTo>
                        <a:pt x="518" y="1992"/>
                      </a:lnTo>
                      <a:lnTo>
                        <a:pt x="518" y="1988"/>
                      </a:lnTo>
                      <a:lnTo>
                        <a:pt x="517" y="1987"/>
                      </a:lnTo>
                      <a:lnTo>
                        <a:pt x="516" y="1987"/>
                      </a:lnTo>
                      <a:lnTo>
                        <a:pt x="516" y="1986"/>
                      </a:lnTo>
                      <a:lnTo>
                        <a:pt x="517" y="1985"/>
                      </a:lnTo>
                      <a:lnTo>
                        <a:pt x="517" y="1985"/>
                      </a:lnTo>
                      <a:lnTo>
                        <a:pt x="518" y="1985"/>
                      </a:lnTo>
                      <a:lnTo>
                        <a:pt x="518" y="1982"/>
                      </a:lnTo>
                      <a:lnTo>
                        <a:pt x="519" y="1982"/>
                      </a:lnTo>
                      <a:lnTo>
                        <a:pt x="519" y="1981"/>
                      </a:lnTo>
                      <a:lnTo>
                        <a:pt x="520" y="1981"/>
                      </a:lnTo>
                      <a:lnTo>
                        <a:pt x="520" y="1981"/>
                      </a:lnTo>
                      <a:lnTo>
                        <a:pt x="521" y="1980"/>
                      </a:lnTo>
                      <a:lnTo>
                        <a:pt x="521" y="1979"/>
                      </a:lnTo>
                      <a:lnTo>
                        <a:pt x="521" y="1979"/>
                      </a:lnTo>
                      <a:lnTo>
                        <a:pt x="522" y="1979"/>
                      </a:lnTo>
                      <a:lnTo>
                        <a:pt x="523" y="1978"/>
                      </a:lnTo>
                      <a:lnTo>
                        <a:pt x="523" y="1977"/>
                      </a:lnTo>
                      <a:lnTo>
                        <a:pt x="523" y="1976"/>
                      </a:lnTo>
                      <a:close/>
                      <a:moveTo>
                        <a:pt x="326" y="1972"/>
                      </a:moveTo>
                      <a:lnTo>
                        <a:pt x="327" y="1973"/>
                      </a:lnTo>
                      <a:lnTo>
                        <a:pt x="327" y="1975"/>
                      </a:lnTo>
                      <a:lnTo>
                        <a:pt x="327" y="1979"/>
                      </a:lnTo>
                      <a:lnTo>
                        <a:pt x="327" y="1980"/>
                      </a:lnTo>
                      <a:lnTo>
                        <a:pt x="326" y="1980"/>
                      </a:lnTo>
                      <a:lnTo>
                        <a:pt x="326" y="1982"/>
                      </a:lnTo>
                      <a:lnTo>
                        <a:pt x="326" y="1982"/>
                      </a:lnTo>
                      <a:lnTo>
                        <a:pt x="326" y="1983"/>
                      </a:lnTo>
                      <a:lnTo>
                        <a:pt x="326" y="1985"/>
                      </a:lnTo>
                      <a:lnTo>
                        <a:pt x="325" y="1987"/>
                      </a:lnTo>
                      <a:lnTo>
                        <a:pt x="325" y="1988"/>
                      </a:lnTo>
                      <a:lnTo>
                        <a:pt x="325" y="1988"/>
                      </a:lnTo>
                      <a:lnTo>
                        <a:pt x="325" y="1989"/>
                      </a:lnTo>
                      <a:lnTo>
                        <a:pt x="324" y="1990"/>
                      </a:lnTo>
                      <a:lnTo>
                        <a:pt x="325" y="1991"/>
                      </a:lnTo>
                      <a:lnTo>
                        <a:pt x="325" y="1992"/>
                      </a:lnTo>
                      <a:lnTo>
                        <a:pt x="326" y="1993"/>
                      </a:lnTo>
                      <a:lnTo>
                        <a:pt x="326" y="1993"/>
                      </a:lnTo>
                      <a:lnTo>
                        <a:pt x="326" y="1993"/>
                      </a:lnTo>
                      <a:lnTo>
                        <a:pt x="327" y="1993"/>
                      </a:lnTo>
                      <a:lnTo>
                        <a:pt x="327" y="1993"/>
                      </a:lnTo>
                      <a:lnTo>
                        <a:pt x="327" y="1994"/>
                      </a:lnTo>
                      <a:lnTo>
                        <a:pt x="328" y="1996"/>
                      </a:lnTo>
                      <a:lnTo>
                        <a:pt x="328" y="1997"/>
                      </a:lnTo>
                      <a:lnTo>
                        <a:pt x="328" y="1998"/>
                      </a:lnTo>
                      <a:lnTo>
                        <a:pt x="329" y="1999"/>
                      </a:lnTo>
                      <a:lnTo>
                        <a:pt x="329" y="1999"/>
                      </a:lnTo>
                      <a:lnTo>
                        <a:pt x="329" y="2000"/>
                      </a:lnTo>
                      <a:lnTo>
                        <a:pt x="329" y="2003"/>
                      </a:lnTo>
                      <a:lnTo>
                        <a:pt x="329" y="2004"/>
                      </a:lnTo>
                      <a:lnTo>
                        <a:pt x="330" y="2004"/>
                      </a:lnTo>
                      <a:lnTo>
                        <a:pt x="330" y="2005"/>
                      </a:lnTo>
                      <a:lnTo>
                        <a:pt x="330" y="2005"/>
                      </a:lnTo>
                      <a:lnTo>
                        <a:pt x="330" y="2005"/>
                      </a:lnTo>
                      <a:lnTo>
                        <a:pt x="330" y="2006"/>
                      </a:lnTo>
                      <a:lnTo>
                        <a:pt x="331" y="2006"/>
                      </a:lnTo>
                      <a:lnTo>
                        <a:pt x="331" y="2009"/>
                      </a:lnTo>
                      <a:lnTo>
                        <a:pt x="330" y="2010"/>
                      </a:lnTo>
                      <a:lnTo>
                        <a:pt x="330" y="2012"/>
                      </a:lnTo>
                      <a:lnTo>
                        <a:pt x="330" y="2012"/>
                      </a:lnTo>
                      <a:lnTo>
                        <a:pt x="331" y="2015"/>
                      </a:lnTo>
                      <a:lnTo>
                        <a:pt x="330" y="2015"/>
                      </a:lnTo>
                      <a:lnTo>
                        <a:pt x="330" y="2016"/>
                      </a:lnTo>
                      <a:lnTo>
                        <a:pt x="330" y="2018"/>
                      </a:lnTo>
                      <a:lnTo>
                        <a:pt x="331" y="2019"/>
                      </a:lnTo>
                      <a:lnTo>
                        <a:pt x="331" y="2019"/>
                      </a:lnTo>
                      <a:lnTo>
                        <a:pt x="331" y="2020"/>
                      </a:lnTo>
                      <a:lnTo>
                        <a:pt x="332" y="2023"/>
                      </a:lnTo>
                      <a:lnTo>
                        <a:pt x="332" y="2023"/>
                      </a:lnTo>
                      <a:lnTo>
                        <a:pt x="332" y="2024"/>
                      </a:lnTo>
                      <a:lnTo>
                        <a:pt x="333" y="2024"/>
                      </a:lnTo>
                      <a:lnTo>
                        <a:pt x="333" y="2025"/>
                      </a:lnTo>
                      <a:lnTo>
                        <a:pt x="333" y="2025"/>
                      </a:lnTo>
                      <a:lnTo>
                        <a:pt x="333" y="2026"/>
                      </a:lnTo>
                      <a:lnTo>
                        <a:pt x="333" y="2026"/>
                      </a:lnTo>
                      <a:lnTo>
                        <a:pt x="333" y="2027"/>
                      </a:lnTo>
                      <a:lnTo>
                        <a:pt x="333" y="2029"/>
                      </a:lnTo>
                      <a:lnTo>
                        <a:pt x="334" y="2028"/>
                      </a:lnTo>
                      <a:lnTo>
                        <a:pt x="334" y="2029"/>
                      </a:lnTo>
                      <a:lnTo>
                        <a:pt x="334" y="2030"/>
                      </a:lnTo>
                      <a:lnTo>
                        <a:pt x="335" y="2031"/>
                      </a:lnTo>
                      <a:lnTo>
                        <a:pt x="336" y="2032"/>
                      </a:lnTo>
                      <a:lnTo>
                        <a:pt x="336" y="2032"/>
                      </a:lnTo>
                      <a:lnTo>
                        <a:pt x="337" y="2032"/>
                      </a:lnTo>
                      <a:lnTo>
                        <a:pt x="337" y="2032"/>
                      </a:lnTo>
                      <a:lnTo>
                        <a:pt x="337" y="2033"/>
                      </a:lnTo>
                      <a:lnTo>
                        <a:pt x="338" y="2033"/>
                      </a:lnTo>
                      <a:lnTo>
                        <a:pt x="338" y="2033"/>
                      </a:lnTo>
                      <a:lnTo>
                        <a:pt x="339" y="2033"/>
                      </a:lnTo>
                      <a:lnTo>
                        <a:pt x="339" y="2034"/>
                      </a:lnTo>
                      <a:lnTo>
                        <a:pt x="339" y="2034"/>
                      </a:lnTo>
                      <a:lnTo>
                        <a:pt x="340" y="2035"/>
                      </a:lnTo>
                      <a:lnTo>
                        <a:pt x="341" y="2036"/>
                      </a:lnTo>
                      <a:lnTo>
                        <a:pt x="341" y="2036"/>
                      </a:lnTo>
                      <a:lnTo>
                        <a:pt x="341" y="2037"/>
                      </a:lnTo>
                      <a:lnTo>
                        <a:pt x="341" y="2037"/>
                      </a:lnTo>
                      <a:lnTo>
                        <a:pt x="341" y="2037"/>
                      </a:lnTo>
                      <a:lnTo>
                        <a:pt x="342" y="2037"/>
                      </a:lnTo>
                      <a:lnTo>
                        <a:pt x="342" y="2038"/>
                      </a:lnTo>
                      <a:lnTo>
                        <a:pt x="342" y="2039"/>
                      </a:lnTo>
                      <a:lnTo>
                        <a:pt x="342" y="2040"/>
                      </a:lnTo>
                      <a:lnTo>
                        <a:pt x="342" y="2041"/>
                      </a:lnTo>
                      <a:lnTo>
                        <a:pt x="342" y="2041"/>
                      </a:lnTo>
                      <a:lnTo>
                        <a:pt x="342" y="2042"/>
                      </a:lnTo>
                      <a:lnTo>
                        <a:pt x="342" y="2042"/>
                      </a:lnTo>
                      <a:lnTo>
                        <a:pt x="342" y="2042"/>
                      </a:lnTo>
                      <a:lnTo>
                        <a:pt x="342" y="2043"/>
                      </a:lnTo>
                      <a:lnTo>
                        <a:pt x="341" y="2043"/>
                      </a:lnTo>
                      <a:lnTo>
                        <a:pt x="341" y="2044"/>
                      </a:lnTo>
                      <a:lnTo>
                        <a:pt x="341" y="2045"/>
                      </a:lnTo>
                      <a:lnTo>
                        <a:pt x="341" y="2046"/>
                      </a:lnTo>
                      <a:lnTo>
                        <a:pt x="342" y="2047"/>
                      </a:lnTo>
                      <a:lnTo>
                        <a:pt x="341" y="2047"/>
                      </a:lnTo>
                      <a:lnTo>
                        <a:pt x="342" y="2049"/>
                      </a:lnTo>
                      <a:lnTo>
                        <a:pt x="343" y="2049"/>
                      </a:lnTo>
                      <a:lnTo>
                        <a:pt x="343" y="2049"/>
                      </a:lnTo>
                      <a:lnTo>
                        <a:pt x="343" y="2050"/>
                      </a:lnTo>
                      <a:lnTo>
                        <a:pt x="344" y="2050"/>
                      </a:lnTo>
                      <a:lnTo>
                        <a:pt x="344" y="2050"/>
                      </a:lnTo>
                      <a:lnTo>
                        <a:pt x="345" y="2050"/>
                      </a:lnTo>
                      <a:lnTo>
                        <a:pt x="345" y="2050"/>
                      </a:lnTo>
                      <a:lnTo>
                        <a:pt x="345" y="2050"/>
                      </a:lnTo>
                      <a:lnTo>
                        <a:pt x="345" y="2050"/>
                      </a:lnTo>
                      <a:lnTo>
                        <a:pt x="345" y="2051"/>
                      </a:lnTo>
                      <a:lnTo>
                        <a:pt x="346" y="2052"/>
                      </a:lnTo>
                      <a:lnTo>
                        <a:pt x="346" y="2053"/>
                      </a:lnTo>
                      <a:lnTo>
                        <a:pt x="345" y="2053"/>
                      </a:lnTo>
                      <a:lnTo>
                        <a:pt x="345" y="2054"/>
                      </a:lnTo>
                      <a:lnTo>
                        <a:pt x="344" y="2055"/>
                      </a:lnTo>
                      <a:lnTo>
                        <a:pt x="345" y="2056"/>
                      </a:lnTo>
                      <a:lnTo>
                        <a:pt x="345" y="2056"/>
                      </a:lnTo>
                      <a:lnTo>
                        <a:pt x="344" y="2057"/>
                      </a:lnTo>
                      <a:lnTo>
                        <a:pt x="343" y="2058"/>
                      </a:lnTo>
                      <a:lnTo>
                        <a:pt x="343" y="2059"/>
                      </a:lnTo>
                      <a:lnTo>
                        <a:pt x="343" y="2061"/>
                      </a:lnTo>
                      <a:lnTo>
                        <a:pt x="344" y="2061"/>
                      </a:lnTo>
                      <a:lnTo>
                        <a:pt x="344" y="2061"/>
                      </a:lnTo>
                      <a:lnTo>
                        <a:pt x="345" y="2061"/>
                      </a:lnTo>
                      <a:lnTo>
                        <a:pt x="345" y="2062"/>
                      </a:lnTo>
                      <a:lnTo>
                        <a:pt x="345" y="2063"/>
                      </a:lnTo>
                      <a:lnTo>
                        <a:pt x="344" y="2063"/>
                      </a:lnTo>
                      <a:lnTo>
                        <a:pt x="344" y="2063"/>
                      </a:lnTo>
                      <a:lnTo>
                        <a:pt x="344" y="2064"/>
                      </a:lnTo>
                      <a:lnTo>
                        <a:pt x="344" y="2064"/>
                      </a:lnTo>
                      <a:lnTo>
                        <a:pt x="345" y="2064"/>
                      </a:lnTo>
                      <a:lnTo>
                        <a:pt x="345" y="2064"/>
                      </a:lnTo>
                      <a:lnTo>
                        <a:pt x="346" y="2064"/>
                      </a:lnTo>
                      <a:lnTo>
                        <a:pt x="347" y="2064"/>
                      </a:lnTo>
                      <a:lnTo>
                        <a:pt x="347" y="2064"/>
                      </a:lnTo>
                      <a:lnTo>
                        <a:pt x="347" y="2065"/>
                      </a:lnTo>
                      <a:lnTo>
                        <a:pt x="346" y="2065"/>
                      </a:lnTo>
                      <a:lnTo>
                        <a:pt x="347" y="2066"/>
                      </a:lnTo>
                      <a:lnTo>
                        <a:pt x="347" y="2066"/>
                      </a:lnTo>
                      <a:lnTo>
                        <a:pt x="346" y="2067"/>
                      </a:lnTo>
                      <a:lnTo>
                        <a:pt x="346" y="2067"/>
                      </a:lnTo>
                      <a:lnTo>
                        <a:pt x="346" y="2068"/>
                      </a:lnTo>
                      <a:lnTo>
                        <a:pt x="346" y="2068"/>
                      </a:lnTo>
                      <a:lnTo>
                        <a:pt x="346" y="2068"/>
                      </a:lnTo>
                      <a:lnTo>
                        <a:pt x="346" y="2068"/>
                      </a:lnTo>
                      <a:lnTo>
                        <a:pt x="346" y="2068"/>
                      </a:lnTo>
                      <a:lnTo>
                        <a:pt x="347" y="2067"/>
                      </a:lnTo>
                      <a:lnTo>
                        <a:pt x="348" y="2067"/>
                      </a:lnTo>
                      <a:lnTo>
                        <a:pt x="347" y="2068"/>
                      </a:lnTo>
                      <a:lnTo>
                        <a:pt x="346" y="2069"/>
                      </a:lnTo>
                      <a:lnTo>
                        <a:pt x="346" y="2070"/>
                      </a:lnTo>
                      <a:lnTo>
                        <a:pt x="345" y="2071"/>
                      </a:lnTo>
                      <a:lnTo>
                        <a:pt x="345" y="2071"/>
                      </a:lnTo>
                      <a:lnTo>
                        <a:pt x="344" y="2072"/>
                      </a:lnTo>
                      <a:lnTo>
                        <a:pt x="343" y="2072"/>
                      </a:lnTo>
                      <a:lnTo>
                        <a:pt x="344" y="2072"/>
                      </a:lnTo>
                      <a:lnTo>
                        <a:pt x="344" y="2071"/>
                      </a:lnTo>
                      <a:lnTo>
                        <a:pt x="343" y="2071"/>
                      </a:lnTo>
                      <a:lnTo>
                        <a:pt x="343" y="2071"/>
                      </a:lnTo>
                      <a:lnTo>
                        <a:pt x="343" y="2072"/>
                      </a:lnTo>
                      <a:lnTo>
                        <a:pt x="342" y="2072"/>
                      </a:lnTo>
                      <a:lnTo>
                        <a:pt x="342" y="2073"/>
                      </a:lnTo>
                      <a:lnTo>
                        <a:pt x="342" y="2074"/>
                      </a:lnTo>
                      <a:lnTo>
                        <a:pt x="342" y="2074"/>
                      </a:lnTo>
                      <a:lnTo>
                        <a:pt x="341" y="2073"/>
                      </a:lnTo>
                      <a:lnTo>
                        <a:pt x="341" y="2073"/>
                      </a:lnTo>
                      <a:lnTo>
                        <a:pt x="340" y="2074"/>
                      </a:lnTo>
                      <a:lnTo>
                        <a:pt x="340" y="2075"/>
                      </a:lnTo>
                      <a:lnTo>
                        <a:pt x="341" y="2075"/>
                      </a:lnTo>
                      <a:lnTo>
                        <a:pt x="341" y="2075"/>
                      </a:lnTo>
                      <a:lnTo>
                        <a:pt x="342" y="2075"/>
                      </a:lnTo>
                      <a:lnTo>
                        <a:pt x="342" y="2075"/>
                      </a:lnTo>
                      <a:lnTo>
                        <a:pt x="342" y="2075"/>
                      </a:lnTo>
                      <a:lnTo>
                        <a:pt x="341" y="2076"/>
                      </a:lnTo>
                      <a:lnTo>
                        <a:pt x="341" y="2076"/>
                      </a:lnTo>
                      <a:lnTo>
                        <a:pt x="341" y="2077"/>
                      </a:lnTo>
                      <a:lnTo>
                        <a:pt x="340" y="2077"/>
                      </a:lnTo>
                      <a:lnTo>
                        <a:pt x="340" y="2078"/>
                      </a:lnTo>
                      <a:lnTo>
                        <a:pt x="339" y="2077"/>
                      </a:lnTo>
                      <a:lnTo>
                        <a:pt x="340" y="2077"/>
                      </a:lnTo>
                      <a:lnTo>
                        <a:pt x="339" y="2077"/>
                      </a:lnTo>
                      <a:lnTo>
                        <a:pt x="339" y="2077"/>
                      </a:lnTo>
                      <a:lnTo>
                        <a:pt x="339" y="2077"/>
                      </a:lnTo>
                      <a:lnTo>
                        <a:pt x="338" y="2077"/>
                      </a:lnTo>
                      <a:lnTo>
                        <a:pt x="338" y="2078"/>
                      </a:lnTo>
                      <a:lnTo>
                        <a:pt x="338" y="2078"/>
                      </a:lnTo>
                      <a:lnTo>
                        <a:pt x="337" y="2077"/>
                      </a:lnTo>
                      <a:lnTo>
                        <a:pt x="337" y="2076"/>
                      </a:lnTo>
                      <a:lnTo>
                        <a:pt x="338" y="2076"/>
                      </a:lnTo>
                      <a:lnTo>
                        <a:pt x="338" y="2076"/>
                      </a:lnTo>
                      <a:lnTo>
                        <a:pt x="337" y="2075"/>
                      </a:lnTo>
                      <a:lnTo>
                        <a:pt x="336" y="2076"/>
                      </a:lnTo>
                      <a:lnTo>
                        <a:pt x="336" y="2076"/>
                      </a:lnTo>
                      <a:lnTo>
                        <a:pt x="337" y="2076"/>
                      </a:lnTo>
                      <a:lnTo>
                        <a:pt x="337" y="2076"/>
                      </a:lnTo>
                      <a:lnTo>
                        <a:pt x="337" y="2077"/>
                      </a:lnTo>
                      <a:lnTo>
                        <a:pt x="336" y="2077"/>
                      </a:lnTo>
                      <a:lnTo>
                        <a:pt x="336" y="2076"/>
                      </a:lnTo>
                      <a:lnTo>
                        <a:pt x="336" y="2077"/>
                      </a:lnTo>
                      <a:lnTo>
                        <a:pt x="336" y="2078"/>
                      </a:lnTo>
                      <a:lnTo>
                        <a:pt x="337" y="2078"/>
                      </a:lnTo>
                      <a:lnTo>
                        <a:pt x="337" y="2078"/>
                      </a:lnTo>
                      <a:lnTo>
                        <a:pt x="336" y="2080"/>
                      </a:lnTo>
                      <a:lnTo>
                        <a:pt x="337" y="2080"/>
                      </a:lnTo>
                      <a:lnTo>
                        <a:pt x="337" y="2080"/>
                      </a:lnTo>
                      <a:lnTo>
                        <a:pt x="336" y="2081"/>
                      </a:lnTo>
                      <a:lnTo>
                        <a:pt x="337" y="2082"/>
                      </a:lnTo>
                      <a:lnTo>
                        <a:pt x="336" y="2083"/>
                      </a:lnTo>
                      <a:lnTo>
                        <a:pt x="335" y="2084"/>
                      </a:lnTo>
                      <a:lnTo>
                        <a:pt x="335" y="2083"/>
                      </a:lnTo>
                      <a:lnTo>
                        <a:pt x="335" y="2084"/>
                      </a:lnTo>
                      <a:lnTo>
                        <a:pt x="334" y="2084"/>
                      </a:lnTo>
                      <a:lnTo>
                        <a:pt x="333" y="2084"/>
                      </a:lnTo>
                      <a:lnTo>
                        <a:pt x="333" y="2085"/>
                      </a:lnTo>
                      <a:lnTo>
                        <a:pt x="333" y="2084"/>
                      </a:lnTo>
                      <a:lnTo>
                        <a:pt x="333" y="2084"/>
                      </a:lnTo>
                      <a:lnTo>
                        <a:pt x="333" y="2083"/>
                      </a:lnTo>
                      <a:lnTo>
                        <a:pt x="333" y="2083"/>
                      </a:lnTo>
                      <a:lnTo>
                        <a:pt x="333" y="2082"/>
                      </a:lnTo>
                      <a:lnTo>
                        <a:pt x="334" y="2083"/>
                      </a:lnTo>
                      <a:lnTo>
                        <a:pt x="334" y="2083"/>
                      </a:lnTo>
                      <a:lnTo>
                        <a:pt x="334" y="2081"/>
                      </a:lnTo>
                      <a:lnTo>
                        <a:pt x="334" y="2081"/>
                      </a:lnTo>
                      <a:lnTo>
                        <a:pt x="334" y="2081"/>
                      </a:lnTo>
                      <a:lnTo>
                        <a:pt x="334" y="2081"/>
                      </a:lnTo>
                      <a:lnTo>
                        <a:pt x="333" y="2081"/>
                      </a:lnTo>
                      <a:lnTo>
                        <a:pt x="333" y="2082"/>
                      </a:lnTo>
                      <a:lnTo>
                        <a:pt x="332" y="2082"/>
                      </a:lnTo>
                      <a:lnTo>
                        <a:pt x="331" y="2083"/>
                      </a:lnTo>
                      <a:lnTo>
                        <a:pt x="331" y="2084"/>
                      </a:lnTo>
                      <a:lnTo>
                        <a:pt x="330" y="2084"/>
                      </a:lnTo>
                      <a:lnTo>
                        <a:pt x="329" y="2084"/>
                      </a:lnTo>
                      <a:lnTo>
                        <a:pt x="329" y="2085"/>
                      </a:lnTo>
                      <a:lnTo>
                        <a:pt x="328" y="2085"/>
                      </a:lnTo>
                      <a:lnTo>
                        <a:pt x="328" y="2086"/>
                      </a:lnTo>
                      <a:lnTo>
                        <a:pt x="327" y="2086"/>
                      </a:lnTo>
                      <a:lnTo>
                        <a:pt x="327" y="2086"/>
                      </a:lnTo>
                      <a:lnTo>
                        <a:pt x="326" y="2086"/>
                      </a:lnTo>
                      <a:lnTo>
                        <a:pt x="326" y="2086"/>
                      </a:lnTo>
                      <a:lnTo>
                        <a:pt x="325" y="2086"/>
                      </a:lnTo>
                      <a:lnTo>
                        <a:pt x="325" y="2086"/>
                      </a:lnTo>
                      <a:lnTo>
                        <a:pt x="325" y="2086"/>
                      </a:lnTo>
                      <a:lnTo>
                        <a:pt x="325" y="2087"/>
                      </a:lnTo>
                      <a:lnTo>
                        <a:pt x="325" y="2087"/>
                      </a:lnTo>
                      <a:lnTo>
                        <a:pt x="324" y="2087"/>
                      </a:lnTo>
                      <a:lnTo>
                        <a:pt x="322" y="2088"/>
                      </a:lnTo>
                      <a:lnTo>
                        <a:pt x="322" y="2088"/>
                      </a:lnTo>
                      <a:lnTo>
                        <a:pt x="320" y="2089"/>
                      </a:lnTo>
                      <a:lnTo>
                        <a:pt x="319" y="2089"/>
                      </a:lnTo>
                      <a:lnTo>
                        <a:pt x="320" y="2088"/>
                      </a:lnTo>
                      <a:lnTo>
                        <a:pt x="318" y="2088"/>
                      </a:lnTo>
                      <a:lnTo>
                        <a:pt x="318" y="2088"/>
                      </a:lnTo>
                      <a:lnTo>
                        <a:pt x="317" y="2087"/>
                      </a:lnTo>
                      <a:lnTo>
                        <a:pt x="316" y="2088"/>
                      </a:lnTo>
                      <a:lnTo>
                        <a:pt x="315" y="2088"/>
                      </a:lnTo>
                      <a:lnTo>
                        <a:pt x="315" y="2089"/>
                      </a:lnTo>
                      <a:lnTo>
                        <a:pt x="315" y="2089"/>
                      </a:lnTo>
                      <a:lnTo>
                        <a:pt x="314" y="2090"/>
                      </a:lnTo>
                      <a:lnTo>
                        <a:pt x="313" y="2090"/>
                      </a:lnTo>
                      <a:lnTo>
                        <a:pt x="313" y="2090"/>
                      </a:lnTo>
                      <a:lnTo>
                        <a:pt x="312" y="2090"/>
                      </a:lnTo>
                      <a:lnTo>
                        <a:pt x="312" y="2089"/>
                      </a:lnTo>
                      <a:lnTo>
                        <a:pt x="313" y="2089"/>
                      </a:lnTo>
                      <a:lnTo>
                        <a:pt x="313" y="2088"/>
                      </a:lnTo>
                      <a:lnTo>
                        <a:pt x="313" y="2088"/>
                      </a:lnTo>
                      <a:lnTo>
                        <a:pt x="312" y="2088"/>
                      </a:lnTo>
                      <a:lnTo>
                        <a:pt x="312" y="2088"/>
                      </a:lnTo>
                      <a:lnTo>
                        <a:pt x="311" y="2089"/>
                      </a:lnTo>
                      <a:lnTo>
                        <a:pt x="311" y="2086"/>
                      </a:lnTo>
                      <a:lnTo>
                        <a:pt x="309" y="2086"/>
                      </a:lnTo>
                      <a:lnTo>
                        <a:pt x="309" y="2087"/>
                      </a:lnTo>
                      <a:lnTo>
                        <a:pt x="308" y="2087"/>
                      </a:lnTo>
                      <a:lnTo>
                        <a:pt x="308" y="2087"/>
                      </a:lnTo>
                      <a:lnTo>
                        <a:pt x="306" y="2087"/>
                      </a:lnTo>
                      <a:lnTo>
                        <a:pt x="306" y="2088"/>
                      </a:lnTo>
                      <a:lnTo>
                        <a:pt x="305" y="2089"/>
                      </a:lnTo>
                      <a:lnTo>
                        <a:pt x="306" y="2089"/>
                      </a:lnTo>
                      <a:lnTo>
                        <a:pt x="306" y="2090"/>
                      </a:lnTo>
                      <a:lnTo>
                        <a:pt x="306" y="2090"/>
                      </a:lnTo>
                      <a:lnTo>
                        <a:pt x="307" y="2090"/>
                      </a:lnTo>
                      <a:lnTo>
                        <a:pt x="307" y="2091"/>
                      </a:lnTo>
                      <a:lnTo>
                        <a:pt x="307" y="2091"/>
                      </a:lnTo>
                      <a:lnTo>
                        <a:pt x="307" y="2091"/>
                      </a:lnTo>
                      <a:lnTo>
                        <a:pt x="307" y="2092"/>
                      </a:lnTo>
                      <a:lnTo>
                        <a:pt x="306" y="2092"/>
                      </a:lnTo>
                      <a:lnTo>
                        <a:pt x="306" y="2093"/>
                      </a:lnTo>
                      <a:lnTo>
                        <a:pt x="305" y="2093"/>
                      </a:lnTo>
                      <a:lnTo>
                        <a:pt x="305" y="2094"/>
                      </a:lnTo>
                      <a:lnTo>
                        <a:pt x="305" y="2094"/>
                      </a:lnTo>
                      <a:lnTo>
                        <a:pt x="305" y="2095"/>
                      </a:lnTo>
                      <a:lnTo>
                        <a:pt x="305" y="2095"/>
                      </a:lnTo>
                      <a:lnTo>
                        <a:pt x="304" y="2096"/>
                      </a:lnTo>
                      <a:lnTo>
                        <a:pt x="303" y="2096"/>
                      </a:lnTo>
                      <a:lnTo>
                        <a:pt x="303" y="2097"/>
                      </a:lnTo>
                      <a:lnTo>
                        <a:pt x="302" y="2099"/>
                      </a:lnTo>
                      <a:lnTo>
                        <a:pt x="302" y="2101"/>
                      </a:lnTo>
                      <a:lnTo>
                        <a:pt x="302" y="2101"/>
                      </a:lnTo>
                      <a:lnTo>
                        <a:pt x="302" y="2101"/>
                      </a:lnTo>
                      <a:lnTo>
                        <a:pt x="302" y="2102"/>
                      </a:lnTo>
                      <a:lnTo>
                        <a:pt x="300" y="2103"/>
                      </a:lnTo>
                      <a:lnTo>
                        <a:pt x="299" y="2103"/>
                      </a:lnTo>
                      <a:lnTo>
                        <a:pt x="298" y="2103"/>
                      </a:lnTo>
                      <a:lnTo>
                        <a:pt x="297" y="2104"/>
                      </a:lnTo>
                      <a:lnTo>
                        <a:pt x="297" y="2104"/>
                      </a:lnTo>
                      <a:lnTo>
                        <a:pt x="297" y="2106"/>
                      </a:lnTo>
                      <a:lnTo>
                        <a:pt x="296" y="2106"/>
                      </a:lnTo>
                      <a:lnTo>
                        <a:pt x="296" y="2107"/>
                      </a:lnTo>
                      <a:lnTo>
                        <a:pt x="294" y="2107"/>
                      </a:lnTo>
                      <a:lnTo>
                        <a:pt x="294" y="2107"/>
                      </a:lnTo>
                      <a:lnTo>
                        <a:pt x="292" y="2107"/>
                      </a:lnTo>
                      <a:lnTo>
                        <a:pt x="292" y="2106"/>
                      </a:lnTo>
                      <a:lnTo>
                        <a:pt x="290" y="2107"/>
                      </a:lnTo>
                      <a:lnTo>
                        <a:pt x="289" y="2106"/>
                      </a:lnTo>
                      <a:lnTo>
                        <a:pt x="288" y="2105"/>
                      </a:lnTo>
                      <a:lnTo>
                        <a:pt x="287" y="2106"/>
                      </a:lnTo>
                      <a:lnTo>
                        <a:pt x="287" y="2106"/>
                      </a:lnTo>
                      <a:lnTo>
                        <a:pt x="286" y="2106"/>
                      </a:lnTo>
                      <a:lnTo>
                        <a:pt x="286" y="2104"/>
                      </a:lnTo>
                      <a:lnTo>
                        <a:pt x="284" y="2104"/>
                      </a:lnTo>
                      <a:lnTo>
                        <a:pt x="284" y="2104"/>
                      </a:lnTo>
                      <a:lnTo>
                        <a:pt x="282" y="2104"/>
                      </a:lnTo>
                      <a:lnTo>
                        <a:pt x="282" y="2103"/>
                      </a:lnTo>
                      <a:lnTo>
                        <a:pt x="281" y="2104"/>
                      </a:lnTo>
                      <a:lnTo>
                        <a:pt x="280" y="2103"/>
                      </a:lnTo>
                      <a:lnTo>
                        <a:pt x="280" y="2102"/>
                      </a:lnTo>
                      <a:lnTo>
                        <a:pt x="281" y="2102"/>
                      </a:lnTo>
                      <a:lnTo>
                        <a:pt x="281" y="2101"/>
                      </a:lnTo>
                      <a:lnTo>
                        <a:pt x="281" y="2101"/>
                      </a:lnTo>
                      <a:lnTo>
                        <a:pt x="281" y="2099"/>
                      </a:lnTo>
                      <a:lnTo>
                        <a:pt x="281" y="2099"/>
                      </a:lnTo>
                      <a:lnTo>
                        <a:pt x="281" y="2097"/>
                      </a:lnTo>
                      <a:lnTo>
                        <a:pt x="281" y="2096"/>
                      </a:lnTo>
                      <a:lnTo>
                        <a:pt x="281" y="2096"/>
                      </a:lnTo>
                      <a:lnTo>
                        <a:pt x="282" y="2095"/>
                      </a:lnTo>
                      <a:lnTo>
                        <a:pt x="282" y="2095"/>
                      </a:lnTo>
                      <a:lnTo>
                        <a:pt x="281" y="2094"/>
                      </a:lnTo>
                      <a:lnTo>
                        <a:pt x="281" y="2094"/>
                      </a:lnTo>
                      <a:lnTo>
                        <a:pt x="282" y="2094"/>
                      </a:lnTo>
                      <a:lnTo>
                        <a:pt x="281" y="2093"/>
                      </a:lnTo>
                      <a:lnTo>
                        <a:pt x="282" y="2092"/>
                      </a:lnTo>
                      <a:lnTo>
                        <a:pt x="281" y="2092"/>
                      </a:lnTo>
                      <a:lnTo>
                        <a:pt x="281" y="2091"/>
                      </a:lnTo>
                      <a:lnTo>
                        <a:pt x="281" y="2091"/>
                      </a:lnTo>
                      <a:lnTo>
                        <a:pt x="282" y="2091"/>
                      </a:lnTo>
                      <a:lnTo>
                        <a:pt x="282" y="2089"/>
                      </a:lnTo>
                      <a:lnTo>
                        <a:pt x="283" y="2089"/>
                      </a:lnTo>
                      <a:lnTo>
                        <a:pt x="283" y="2088"/>
                      </a:lnTo>
                      <a:lnTo>
                        <a:pt x="283" y="2088"/>
                      </a:lnTo>
                      <a:lnTo>
                        <a:pt x="283" y="2087"/>
                      </a:lnTo>
                      <a:lnTo>
                        <a:pt x="283" y="2087"/>
                      </a:lnTo>
                      <a:lnTo>
                        <a:pt x="283" y="2087"/>
                      </a:lnTo>
                      <a:lnTo>
                        <a:pt x="284" y="2086"/>
                      </a:lnTo>
                      <a:lnTo>
                        <a:pt x="284" y="2086"/>
                      </a:lnTo>
                      <a:lnTo>
                        <a:pt x="286" y="2086"/>
                      </a:lnTo>
                      <a:lnTo>
                        <a:pt x="286" y="2084"/>
                      </a:lnTo>
                      <a:lnTo>
                        <a:pt x="287" y="2084"/>
                      </a:lnTo>
                      <a:lnTo>
                        <a:pt x="287" y="2082"/>
                      </a:lnTo>
                      <a:lnTo>
                        <a:pt x="287" y="2082"/>
                      </a:lnTo>
                      <a:lnTo>
                        <a:pt x="288" y="2082"/>
                      </a:lnTo>
                      <a:lnTo>
                        <a:pt x="288" y="2081"/>
                      </a:lnTo>
                      <a:lnTo>
                        <a:pt x="288" y="2081"/>
                      </a:lnTo>
                      <a:lnTo>
                        <a:pt x="289" y="2080"/>
                      </a:lnTo>
                      <a:lnTo>
                        <a:pt x="289" y="2080"/>
                      </a:lnTo>
                      <a:lnTo>
                        <a:pt x="289" y="2080"/>
                      </a:lnTo>
                      <a:lnTo>
                        <a:pt x="289" y="2080"/>
                      </a:lnTo>
                      <a:lnTo>
                        <a:pt x="292" y="2080"/>
                      </a:lnTo>
                      <a:lnTo>
                        <a:pt x="292" y="2079"/>
                      </a:lnTo>
                      <a:lnTo>
                        <a:pt x="293" y="2080"/>
                      </a:lnTo>
                      <a:lnTo>
                        <a:pt x="294" y="2080"/>
                      </a:lnTo>
                      <a:lnTo>
                        <a:pt x="295" y="2080"/>
                      </a:lnTo>
                      <a:lnTo>
                        <a:pt x="296" y="2078"/>
                      </a:lnTo>
                      <a:lnTo>
                        <a:pt x="297" y="2078"/>
                      </a:lnTo>
                      <a:lnTo>
                        <a:pt x="297" y="2077"/>
                      </a:lnTo>
                      <a:lnTo>
                        <a:pt x="297" y="2074"/>
                      </a:lnTo>
                      <a:lnTo>
                        <a:pt x="297" y="2073"/>
                      </a:lnTo>
                      <a:lnTo>
                        <a:pt x="296" y="2072"/>
                      </a:lnTo>
                      <a:lnTo>
                        <a:pt x="296" y="2072"/>
                      </a:lnTo>
                      <a:lnTo>
                        <a:pt x="296" y="2072"/>
                      </a:lnTo>
                      <a:lnTo>
                        <a:pt x="296" y="2071"/>
                      </a:lnTo>
                      <a:lnTo>
                        <a:pt x="296" y="2071"/>
                      </a:lnTo>
                      <a:lnTo>
                        <a:pt x="296" y="2070"/>
                      </a:lnTo>
                      <a:lnTo>
                        <a:pt x="296" y="2070"/>
                      </a:lnTo>
                      <a:lnTo>
                        <a:pt x="296" y="2070"/>
                      </a:lnTo>
                      <a:lnTo>
                        <a:pt x="295" y="2070"/>
                      </a:lnTo>
                      <a:lnTo>
                        <a:pt x="295" y="2069"/>
                      </a:lnTo>
                      <a:lnTo>
                        <a:pt x="296" y="2068"/>
                      </a:lnTo>
                      <a:lnTo>
                        <a:pt x="296" y="2068"/>
                      </a:lnTo>
                      <a:lnTo>
                        <a:pt x="295" y="2067"/>
                      </a:lnTo>
                      <a:lnTo>
                        <a:pt x="295" y="2067"/>
                      </a:lnTo>
                      <a:lnTo>
                        <a:pt x="295" y="2067"/>
                      </a:lnTo>
                      <a:lnTo>
                        <a:pt x="293" y="2064"/>
                      </a:lnTo>
                      <a:lnTo>
                        <a:pt x="292" y="2061"/>
                      </a:lnTo>
                      <a:lnTo>
                        <a:pt x="288" y="2056"/>
                      </a:lnTo>
                      <a:lnTo>
                        <a:pt x="286" y="2055"/>
                      </a:lnTo>
                      <a:lnTo>
                        <a:pt x="284" y="2055"/>
                      </a:lnTo>
                      <a:lnTo>
                        <a:pt x="284" y="2055"/>
                      </a:lnTo>
                      <a:lnTo>
                        <a:pt x="283" y="2055"/>
                      </a:lnTo>
                      <a:lnTo>
                        <a:pt x="283" y="2056"/>
                      </a:lnTo>
                      <a:lnTo>
                        <a:pt x="283" y="2056"/>
                      </a:lnTo>
                      <a:lnTo>
                        <a:pt x="282" y="2056"/>
                      </a:lnTo>
                      <a:lnTo>
                        <a:pt x="281" y="2056"/>
                      </a:lnTo>
                      <a:lnTo>
                        <a:pt x="281" y="2056"/>
                      </a:lnTo>
                      <a:lnTo>
                        <a:pt x="280" y="2056"/>
                      </a:lnTo>
                      <a:lnTo>
                        <a:pt x="279" y="2055"/>
                      </a:lnTo>
                      <a:lnTo>
                        <a:pt x="279" y="2054"/>
                      </a:lnTo>
                      <a:lnTo>
                        <a:pt x="280" y="2054"/>
                      </a:lnTo>
                      <a:lnTo>
                        <a:pt x="280" y="2053"/>
                      </a:lnTo>
                      <a:lnTo>
                        <a:pt x="280" y="2052"/>
                      </a:lnTo>
                      <a:lnTo>
                        <a:pt x="280" y="2052"/>
                      </a:lnTo>
                      <a:lnTo>
                        <a:pt x="280" y="2051"/>
                      </a:lnTo>
                      <a:lnTo>
                        <a:pt x="280" y="2051"/>
                      </a:lnTo>
                      <a:lnTo>
                        <a:pt x="279" y="2050"/>
                      </a:lnTo>
                      <a:lnTo>
                        <a:pt x="281" y="2049"/>
                      </a:lnTo>
                      <a:lnTo>
                        <a:pt x="281" y="2048"/>
                      </a:lnTo>
                      <a:lnTo>
                        <a:pt x="281" y="2046"/>
                      </a:lnTo>
                      <a:lnTo>
                        <a:pt x="281" y="2046"/>
                      </a:lnTo>
                      <a:lnTo>
                        <a:pt x="282" y="2045"/>
                      </a:lnTo>
                      <a:lnTo>
                        <a:pt x="282" y="2045"/>
                      </a:lnTo>
                      <a:lnTo>
                        <a:pt x="283" y="2045"/>
                      </a:lnTo>
                      <a:lnTo>
                        <a:pt x="283" y="2044"/>
                      </a:lnTo>
                      <a:lnTo>
                        <a:pt x="283" y="2045"/>
                      </a:lnTo>
                      <a:lnTo>
                        <a:pt x="284" y="2044"/>
                      </a:lnTo>
                      <a:lnTo>
                        <a:pt x="284" y="2044"/>
                      </a:lnTo>
                      <a:lnTo>
                        <a:pt x="286" y="2044"/>
                      </a:lnTo>
                      <a:lnTo>
                        <a:pt x="286" y="2043"/>
                      </a:lnTo>
                      <a:lnTo>
                        <a:pt x="287" y="2043"/>
                      </a:lnTo>
                      <a:lnTo>
                        <a:pt x="289" y="2042"/>
                      </a:lnTo>
                      <a:lnTo>
                        <a:pt x="290" y="2041"/>
                      </a:lnTo>
                      <a:lnTo>
                        <a:pt x="290" y="2040"/>
                      </a:lnTo>
                      <a:lnTo>
                        <a:pt x="290" y="2040"/>
                      </a:lnTo>
                      <a:lnTo>
                        <a:pt x="291" y="2040"/>
                      </a:lnTo>
                      <a:lnTo>
                        <a:pt x="291" y="2040"/>
                      </a:lnTo>
                      <a:lnTo>
                        <a:pt x="292" y="2040"/>
                      </a:lnTo>
                      <a:lnTo>
                        <a:pt x="292" y="2039"/>
                      </a:lnTo>
                      <a:lnTo>
                        <a:pt x="294" y="2039"/>
                      </a:lnTo>
                      <a:lnTo>
                        <a:pt x="295" y="2038"/>
                      </a:lnTo>
                      <a:lnTo>
                        <a:pt x="297" y="2037"/>
                      </a:lnTo>
                      <a:lnTo>
                        <a:pt x="297" y="2035"/>
                      </a:lnTo>
                      <a:lnTo>
                        <a:pt x="297" y="2035"/>
                      </a:lnTo>
                      <a:lnTo>
                        <a:pt x="298" y="2035"/>
                      </a:lnTo>
                      <a:lnTo>
                        <a:pt x="299" y="2034"/>
                      </a:lnTo>
                      <a:lnTo>
                        <a:pt x="299" y="2033"/>
                      </a:lnTo>
                      <a:lnTo>
                        <a:pt x="297" y="2032"/>
                      </a:lnTo>
                      <a:lnTo>
                        <a:pt x="297" y="2032"/>
                      </a:lnTo>
                      <a:lnTo>
                        <a:pt x="297" y="2031"/>
                      </a:lnTo>
                      <a:lnTo>
                        <a:pt x="296" y="2031"/>
                      </a:lnTo>
                      <a:lnTo>
                        <a:pt x="296" y="2030"/>
                      </a:lnTo>
                      <a:lnTo>
                        <a:pt x="294" y="2031"/>
                      </a:lnTo>
                      <a:lnTo>
                        <a:pt x="294" y="2031"/>
                      </a:lnTo>
                      <a:lnTo>
                        <a:pt x="293" y="2031"/>
                      </a:lnTo>
                      <a:lnTo>
                        <a:pt x="293" y="2031"/>
                      </a:lnTo>
                      <a:lnTo>
                        <a:pt x="292" y="2031"/>
                      </a:lnTo>
                      <a:lnTo>
                        <a:pt x="291" y="2030"/>
                      </a:lnTo>
                      <a:lnTo>
                        <a:pt x="289" y="2030"/>
                      </a:lnTo>
                      <a:lnTo>
                        <a:pt x="289" y="2030"/>
                      </a:lnTo>
                      <a:lnTo>
                        <a:pt x="288" y="2031"/>
                      </a:lnTo>
                      <a:lnTo>
                        <a:pt x="288" y="2031"/>
                      </a:lnTo>
                      <a:lnTo>
                        <a:pt x="286" y="2030"/>
                      </a:lnTo>
                      <a:lnTo>
                        <a:pt x="283" y="2029"/>
                      </a:lnTo>
                      <a:lnTo>
                        <a:pt x="279" y="2030"/>
                      </a:lnTo>
                      <a:lnTo>
                        <a:pt x="278" y="2030"/>
                      </a:lnTo>
                      <a:lnTo>
                        <a:pt x="277" y="2031"/>
                      </a:lnTo>
                      <a:lnTo>
                        <a:pt x="277" y="2032"/>
                      </a:lnTo>
                      <a:lnTo>
                        <a:pt x="277" y="2032"/>
                      </a:lnTo>
                      <a:lnTo>
                        <a:pt x="277" y="2032"/>
                      </a:lnTo>
                      <a:lnTo>
                        <a:pt x="277" y="2034"/>
                      </a:lnTo>
                      <a:lnTo>
                        <a:pt x="276" y="2035"/>
                      </a:lnTo>
                      <a:lnTo>
                        <a:pt x="276" y="2036"/>
                      </a:lnTo>
                      <a:lnTo>
                        <a:pt x="275" y="2037"/>
                      </a:lnTo>
                      <a:lnTo>
                        <a:pt x="275" y="2037"/>
                      </a:lnTo>
                      <a:lnTo>
                        <a:pt x="276" y="2038"/>
                      </a:lnTo>
                      <a:lnTo>
                        <a:pt x="275" y="2039"/>
                      </a:lnTo>
                      <a:lnTo>
                        <a:pt x="275" y="2039"/>
                      </a:lnTo>
                      <a:lnTo>
                        <a:pt x="275" y="2040"/>
                      </a:lnTo>
                      <a:lnTo>
                        <a:pt x="274" y="2040"/>
                      </a:lnTo>
                      <a:lnTo>
                        <a:pt x="274" y="2040"/>
                      </a:lnTo>
                      <a:lnTo>
                        <a:pt x="274" y="2040"/>
                      </a:lnTo>
                      <a:lnTo>
                        <a:pt x="274" y="2042"/>
                      </a:lnTo>
                      <a:lnTo>
                        <a:pt x="273" y="2042"/>
                      </a:lnTo>
                      <a:lnTo>
                        <a:pt x="273" y="2045"/>
                      </a:lnTo>
                      <a:lnTo>
                        <a:pt x="272" y="2046"/>
                      </a:lnTo>
                      <a:lnTo>
                        <a:pt x="272" y="2046"/>
                      </a:lnTo>
                      <a:lnTo>
                        <a:pt x="272" y="2047"/>
                      </a:lnTo>
                      <a:lnTo>
                        <a:pt x="272" y="2047"/>
                      </a:lnTo>
                      <a:lnTo>
                        <a:pt x="271" y="2048"/>
                      </a:lnTo>
                      <a:lnTo>
                        <a:pt x="271" y="2050"/>
                      </a:lnTo>
                      <a:lnTo>
                        <a:pt x="270" y="2050"/>
                      </a:lnTo>
                      <a:lnTo>
                        <a:pt x="269" y="2051"/>
                      </a:lnTo>
                      <a:lnTo>
                        <a:pt x="268" y="2052"/>
                      </a:lnTo>
                      <a:lnTo>
                        <a:pt x="268" y="2054"/>
                      </a:lnTo>
                      <a:lnTo>
                        <a:pt x="267" y="2054"/>
                      </a:lnTo>
                      <a:lnTo>
                        <a:pt x="267" y="2055"/>
                      </a:lnTo>
                      <a:lnTo>
                        <a:pt x="266" y="2056"/>
                      </a:lnTo>
                      <a:lnTo>
                        <a:pt x="266" y="2057"/>
                      </a:lnTo>
                      <a:lnTo>
                        <a:pt x="265" y="2057"/>
                      </a:lnTo>
                      <a:lnTo>
                        <a:pt x="265" y="2058"/>
                      </a:lnTo>
                      <a:lnTo>
                        <a:pt x="265" y="2059"/>
                      </a:lnTo>
                      <a:lnTo>
                        <a:pt x="264" y="2059"/>
                      </a:lnTo>
                      <a:lnTo>
                        <a:pt x="263" y="2061"/>
                      </a:lnTo>
                      <a:lnTo>
                        <a:pt x="262" y="2062"/>
                      </a:lnTo>
                      <a:lnTo>
                        <a:pt x="261" y="2064"/>
                      </a:lnTo>
                      <a:lnTo>
                        <a:pt x="260" y="2064"/>
                      </a:lnTo>
                      <a:lnTo>
                        <a:pt x="259" y="2065"/>
                      </a:lnTo>
                      <a:lnTo>
                        <a:pt x="259" y="2065"/>
                      </a:lnTo>
                      <a:lnTo>
                        <a:pt x="258" y="2066"/>
                      </a:lnTo>
                      <a:lnTo>
                        <a:pt x="257" y="2066"/>
                      </a:lnTo>
                      <a:lnTo>
                        <a:pt x="257" y="2066"/>
                      </a:lnTo>
                      <a:lnTo>
                        <a:pt x="256" y="2067"/>
                      </a:lnTo>
                      <a:lnTo>
                        <a:pt x="256" y="2067"/>
                      </a:lnTo>
                      <a:lnTo>
                        <a:pt x="255" y="2068"/>
                      </a:lnTo>
                      <a:lnTo>
                        <a:pt x="254" y="2069"/>
                      </a:lnTo>
                      <a:lnTo>
                        <a:pt x="254" y="2069"/>
                      </a:lnTo>
                      <a:lnTo>
                        <a:pt x="253" y="2069"/>
                      </a:lnTo>
                      <a:lnTo>
                        <a:pt x="252" y="2070"/>
                      </a:lnTo>
                      <a:lnTo>
                        <a:pt x="252" y="2070"/>
                      </a:lnTo>
                      <a:lnTo>
                        <a:pt x="252" y="2071"/>
                      </a:lnTo>
                      <a:lnTo>
                        <a:pt x="251" y="2071"/>
                      </a:lnTo>
                      <a:lnTo>
                        <a:pt x="251" y="2072"/>
                      </a:lnTo>
                      <a:lnTo>
                        <a:pt x="250" y="2072"/>
                      </a:lnTo>
                      <a:lnTo>
                        <a:pt x="249" y="2073"/>
                      </a:lnTo>
                      <a:lnTo>
                        <a:pt x="249" y="2073"/>
                      </a:lnTo>
                      <a:lnTo>
                        <a:pt x="247" y="2072"/>
                      </a:lnTo>
                      <a:lnTo>
                        <a:pt x="246" y="2072"/>
                      </a:lnTo>
                      <a:lnTo>
                        <a:pt x="246" y="2071"/>
                      </a:lnTo>
                      <a:lnTo>
                        <a:pt x="244" y="2071"/>
                      </a:lnTo>
                      <a:lnTo>
                        <a:pt x="244" y="2070"/>
                      </a:lnTo>
                      <a:lnTo>
                        <a:pt x="244" y="2070"/>
                      </a:lnTo>
                      <a:lnTo>
                        <a:pt x="244" y="2069"/>
                      </a:lnTo>
                      <a:lnTo>
                        <a:pt x="243" y="2069"/>
                      </a:lnTo>
                      <a:lnTo>
                        <a:pt x="243" y="2069"/>
                      </a:lnTo>
                      <a:lnTo>
                        <a:pt x="243" y="2068"/>
                      </a:lnTo>
                      <a:lnTo>
                        <a:pt x="242" y="2067"/>
                      </a:lnTo>
                      <a:lnTo>
                        <a:pt x="243" y="2066"/>
                      </a:lnTo>
                      <a:lnTo>
                        <a:pt x="242" y="2066"/>
                      </a:lnTo>
                      <a:lnTo>
                        <a:pt x="241" y="2066"/>
                      </a:lnTo>
                      <a:lnTo>
                        <a:pt x="241" y="2066"/>
                      </a:lnTo>
                      <a:lnTo>
                        <a:pt x="241" y="2066"/>
                      </a:lnTo>
                      <a:lnTo>
                        <a:pt x="241" y="2065"/>
                      </a:lnTo>
                      <a:lnTo>
                        <a:pt x="241" y="2065"/>
                      </a:lnTo>
                      <a:lnTo>
                        <a:pt x="241" y="2064"/>
                      </a:lnTo>
                      <a:lnTo>
                        <a:pt x="241" y="2064"/>
                      </a:lnTo>
                      <a:lnTo>
                        <a:pt x="241" y="2064"/>
                      </a:lnTo>
                      <a:lnTo>
                        <a:pt x="241" y="2063"/>
                      </a:lnTo>
                      <a:lnTo>
                        <a:pt x="241" y="2064"/>
                      </a:lnTo>
                      <a:lnTo>
                        <a:pt x="242" y="2063"/>
                      </a:lnTo>
                      <a:lnTo>
                        <a:pt x="243" y="2062"/>
                      </a:lnTo>
                      <a:lnTo>
                        <a:pt x="243" y="2062"/>
                      </a:lnTo>
                      <a:lnTo>
                        <a:pt x="244" y="2061"/>
                      </a:lnTo>
                      <a:lnTo>
                        <a:pt x="246" y="2059"/>
                      </a:lnTo>
                      <a:lnTo>
                        <a:pt x="246" y="2058"/>
                      </a:lnTo>
                      <a:lnTo>
                        <a:pt x="246" y="2057"/>
                      </a:lnTo>
                      <a:lnTo>
                        <a:pt x="246" y="2056"/>
                      </a:lnTo>
                      <a:lnTo>
                        <a:pt x="247" y="2056"/>
                      </a:lnTo>
                      <a:lnTo>
                        <a:pt x="249" y="2056"/>
                      </a:lnTo>
                      <a:lnTo>
                        <a:pt x="249" y="2055"/>
                      </a:lnTo>
                      <a:lnTo>
                        <a:pt x="247" y="2055"/>
                      </a:lnTo>
                      <a:lnTo>
                        <a:pt x="247" y="2055"/>
                      </a:lnTo>
                      <a:lnTo>
                        <a:pt x="247" y="2055"/>
                      </a:lnTo>
                      <a:lnTo>
                        <a:pt x="247" y="2055"/>
                      </a:lnTo>
                      <a:lnTo>
                        <a:pt x="246" y="2055"/>
                      </a:lnTo>
                      <a:lnTo>
                        <a:pt x="245" y="2055"/>
                      </a:lnTo>
                      <a:lnTo>
                        <a:pt x="245" y="2055"/>
                      </a:lnTo>
                      <a:lnTo>
                        <a:pt x="245" y="2054"/>
                      </a:lnTo>
                      <a:lnTo>
                        <a:pt x="244" y="2054"/>
                      </a:lnTo>
                      <a:lnTo>
                        <a:pt x="244" y="2054"/>
                      </a:lnTo>
                      <a:lnTo>
                        <a:pt x="244" y="2054"/>
                      </a:lnTo>
                      <a:lnTo>
                        <a:pt x="245" y="2053"/>
                      </a:lnTo>
                      <a:lnTo>
                        <a:pt x="245" y="2052"/>
                      </a:lnTo>
                      <a:lnTo>
                        <a:pt x="245" y="2052"/>
                      </a:lnTo>
                      <a:lnTo>
                        <a:pt x="245" y="2051"/>
                      </a:lnTo>
                      <a:lnTo>
                        <a:pt x="246" y="2050"/>
                      </a:lnTo>
                      <a:lnTo>
                        <a:pt x="246" y="2049"/>
                      </a:lnTo>
                      <a:lnTo>
                        <a:pt x="246" y="2049"/>
                      </a:lnTo>
                      <a:lnTo>
                        <a:pt x="246" y="2047"/>
                      </a:lnTo>
                      <a:lnTo>
                        <a:pt x="247" y="2047"/>
                      </a:lnTo>
                      <a:lnTo>
                        <a:pt x="249" y="2046"/>
                      </a:lnTo>
                      <a:lnTo>
                        <a:pt x="249" y="2046"/>
                      </a:lnTo>
                      <a:lnTo>
                        <a:pt x="250" y="2045"/>
                      </a:lnTo>
                      <a:lnTo>
                        <a:pt x="250" y="2045"/>
                      </a:lnTo>
                      <a:lnTo>
                        <a:pt x="251" y="2044"/>
                      </a:lnTo>
                      <a:lnTo>
                        <a:pt x="253" y="2042"/>
                      </a:lnTo>
                      <a:lnTo>
                        <a:pt x="253" y="2042"/>
                      </a:lnTo>
                      <a:lnTo>
                        <a:pt x="254" y="2042"/>
                      </a:lnTo>
                      <a:lnTo>
                        <a:pt x="255" y="2042"/>
                      </a:lnTo>
                      <a:lnTo>
                        <a:pt x="255" y="2042"/>
                      </a:lnTo>
                      <a:lnTo>
                        <a:pt x="254" y="2042"/>
                      </a:lnTo>
                      <a:lnTo>
                        <a:pt x="254" y="2042"/>
                      </a:lnTo>
                      <a:lnTo>
                        <a:pt x="253" y="2041"/>
                      </a:lnTo>
                      <a:lnTo>
                        <a:pt x="253" y="2041"/>
                      </a:lnTo>
                      <a:lnTo>
                        <a:pt x="253" y="2041"/>
                      </a:lnTo>
                      <a:lnTo>
                        <a:pt x="253" y="2041"/>
                      </a:lnTo>
                      <a:lnTo>
                        <a:pt x="253" y="2040"/>
                      </a:lnTo>
                      <a:lnTo>
                        <a:pt x="253" y="2040"/>
                      </a:lnTo>
                      <a:lnTo>
                        <a:pt x="253" y="2038"/>
                      </a:lnTo>
                      <a:lnTo>
                        <a:pt x="253" y="2038"/>
                      </a:lnTo>
                      <a:lnTo>
                        <a:pt x="254" y="2037"/>
                      </a:lnTo>
                      <a:lnTo>
                        <a:pt x="254" y="2037"/>
                      </a:lnTo>
                      <a:lnTo>
                        <a:pt x="255" y="2036"/>
                      </a:lnTo>
                      <a:lnTo>
                        <a:pt x="255" y="2035"/>
                      </a:lnTo>
                      <a:lnTo>
                        <a:pt x="256" y="2034"/>
                      </a:lnTo>
                      <a:lnTo>
                        <a:pt x="256" y="2030"/>
                      </a:lnTo>
                      <a:lnTo>
                        <a:pt x="255" y="2029"/>
                      </a:lnTo>
                      <a:lnTo>
                        <a:pt x="254" y="2029"/>
                      </a:lnTo>
                      <a:lnTo>
                        <a:pt x="254" y="2029"/>
                      </a:lnTo>
                      <a:lnTo>
                        <a:pt x="253" y="2030"/>
                      </a:lnTo>
                      <a:lnTo>
                        <a:pt x="252" y="2030"/>
                      </a:lnTo>
                      <a:lnTo>
                        <a:pt x="251" y="2029"/>
                      </a:lnTo>
                      <a:lnTo>
                        <a:pt x="250" y="2029"/>
                      </a:lnTo>
                      <a:lnTo>
                        <a:pt x="250" y="2029"/>
                      </a:lnTo>
                      <a:lnTo>
                        <a:pt x="250" y="2028"/>
                      </a:lnTo>
                      <a:lnTo>
                        <a:pt x="250" y="2028"/>
                      </a:lnTo>
                      <a:lnTo>
                        <a:pt x="250" y="2028"/>
                      </a:lnTo>
                      <a:lnTo>
                        <a:pt x="250" y="2028"/>
                      </a:lnTo>
                      <a:lnTo>
                        <a:pt x="249" y="2028"/>
                      </a:lnTo>
                      <a:lnTo>
                        <a:pt x="249" y="2027"/>
                      </a:lnTo>
                      <a:lnTo>
                        <a:pt x="250" y="2027"/>
                      </a:lnTo>
                      <a:lnTo>
                        <a:pt x="250" y="2026"/>
                      </a:lnTo>
                      <a:lnTo>
                        <a:pt x="250" y="2026"/>
                      </a:lnTo>
                      <a:lnTo>
                        <a:pt x="250" y="2026"/>
                      </a:lnTo>
                      <a:lnTo>
                        <a:pt x="250" y="2026"/>
                      </a:lnTo>
                      <a:lnTo>
                        <a:pt x="250" y="2025"/>
                      </a:lnTo>
                      <a:lnTo>
                        <a:pt x="251" y="2025"/>
                      </a:lnTo>
                      <a:lnTo>
                        <a:pt x="252" y="2023"/>
                      </a:lnTo>
                      <a:lnTo>
                        <a:pt x="253" y="2023"/>
                      </a:lnTo>
                      <a:lnTo>
                        <a:pt x="254" y="2020"/>
                      </a:lnTo>
                      <a:lnTo>
                        <a:pt x="255" y="2020"/>
                      </a:lnTo>
                      <a:lnTo>
                        <a:pt x="256" y="2020"/>
                      </a:lnTo>
                      <a:lnTo>
                        <a:pt x="256" y="2019"/>
                      </a:lnTo>
                      <a:lnTo>
                        <a:pt x="255" y="2018"/>
                      </a:lnTo>
                      <a:lnTo>
                        <a:pt x="255" y="2017"/>
                      </a:lnTo>
                      <a:lnTo>
                        <a:pt x="256" y="2017"/>
                      </a:lnTo>
                      <a:lnTo>
                        <a:pt x="256" y="2017"/>
                      </a:lnTo>
                      <a:lnTo>
                        <a:pt x="255" y="2017"/>
                      </a:lnTo>
                      <a:lnTo>
                        <a:pt x="255" y="2016"/>
                      </a:lnTo>
                      <a:lnTo>
                        <a:pt x="255" y="2016"/>
                      </a:lnTo>
                      <a:lnTo>
                        <a:pt x="255" y="2015"/>
                      </a:lnTo>
                      <a:lnTo>
                        <a:pt x="255" y="2015"/>
                      </a:lnTo>
                      <a:lnTo>
                        <a:pt x="255" y="2014"/>
                      </a:lnTo>
                      <a:lnTo>
                        <a:pt x="255" y="2013"/>
                      </a:lnTo>
                      <a:lnTo>
                        <a:pt x="254" y="2013"/>
                      </a:lnTo>
                      <a:lnTo>
                        <a:pt x="254" y="2013"/>
                      </a:lnTo>
                      <a:lnTo>
                        <a:pt x="254" y="2013"/>
                      </a:lnTo>
                      <a:lnTo>
                        <a:pt x="255" y="2012"/>
                      </a:lnTo>
                      <a:lnTo>
                        <a:pt x="256" y="2012"/>
                      </a:lnTo>
                      <a:lnTo>
                        <a:pt x="255" y="2011"/>
                      </a:lnTo>
                      <a:lnTo>
                        <a:pt x="256" y="2010"/>
                      </a:lnTo>
                      <a:lnTo>
                        <a:pt x="256" y="2009"/>
                      </a:lnTo>
                      <a:lnTo>
                        <a:pt x="255" y="2010"/>
                      </a:lnTo>
                      <a:lnTo>
                        <a:pt x="255" y="2009"/>
                      </a:lnTo>
                      <a:lnTo>
                        <a:pt x="255" y="2009"/>
                      </a:lnTo>
                      <a:lnTo>
                        <a:pt x="255" y="2008"/>
                      </a:lnTo>
                      <a:lnTo>
                        <a:pt x="256" y="2008"/>
                      </a:lnTo>
                      <a:lnTo>
                        <a:pt x="255" y="2007"/>
                      </a:lnTo>
                      <a:lnTo>
                        <a:pt x="256" y="2007"/>
                      </a:lnTo>
                      <a:lnTo>
                        <a:pt x="256" y="2007"/>
                      </a:lnTo>
                      <a:lnTo>
                        <a:pt x="256" y="2006"/>
                      </a:lnTo>
                      <a:lnTo>
                        <a:pt x="256" y="2005"/>
                      </a:lnTo>
                      <a:lnTo>
                        <a:pt x="256" y="2004"/>
                      </a:lnTo>
                      <a:lnTo>
                        <a:pt x="257" y="2004"/>
                      </a:lnTo>
                      <a:lnTo>
                        <a:pt x="257" y="2003"/>
                      </a:lnTo>
                      <a:lnTo>
                        <a:pt x="258" y="2003"/>
                      </a:lnTo>
                      <a:lnTo>
                        <a:pt x="258" y="2003"/>
                      </a:lnTo>
                      <a:lnTo>
                        <a:pt x="259" y="2003"/>
                      </a:lnTo>
                      <a:lnTo>
                        <a:pt x="260" y="2003"/>
                      </a:lnTo>
                      <a:lnTo>
                        <a:pt x="260" y="2002"/>
                      </a:lnTo>
                      <a:lnTo>
                        <a:pt x="261" y="2001"/>
                      </a:lnTo>
                      <a:lnTo>
                        <a:pt x="262" y="2001"/>
                      </a:lnTo>
                      <a:lnTo>
                        <a:pt x="262" y="2001"/>
                      </a:lnTo>
                      <a:lnTo>
                        <a:pt x="263" y="2001"/>
                      </a:lnTo>
                      <a:lnTo>
                        <a:pt x="263" y="2002"/>
                      </a:lnTo>
                      <a:lnTo>
                        <a:pt x="262" y="2003"/>
                      </a:lnTo>
                      <a:lnTo>
                        <a:pt x="263" y="2003"/>
                      </a:lnTo>
                      <a:lnTo>
                        <a:pt x="263" y="2003"/>
                      </a:lnTo>
                      <a:lnTo>
                        <a:pt x="263" y="2003"/>
                      </a:lnTo>
                      <a:lnTo>
                        <a:pt x="264" y="2003"/>
                      </a:lnTo>
                      <a:lnTo>
                        <a:pt x="264" y="2004"/>
                      </a:lnTo>
                      <a:lnTo>
                        <a:pt x="264" y="2004"/>
                      </a:lnTo>
                      <a:lnTo>
                        <a:pt x="265" y="2004"/>
                      </a:lnTo>
                      <a:lnTo>
                        <a:pt x="265" y="2003"/>
                      </a:lnTo>
                      <a:lnTo>
                        <a:pt x="266" y="2002"/>
                      </a:lnTo>
                      <a:lnTo>
                        <a:pt x="268" y="2002"/>
                      </a:lnTo>
                      <a:lnTo>
                        <a:pt x="269" y="2002"/>
                      </a:lnTo>
                      <a:lnTo>
                        <a:pt x="270" y="1999"/>
                      </a:lnTo>
                      <a:lnTo>
                        <a:pt x="271" y="1998"/>
                      </a:lnTo>
                      <a:lnTo>
                        <a:pt x="272" y="1998"/>
                      </a:lnTo>
                      <a:lnTo>
                        <a:pt x="272" y="1997"/>
                      </a:lnTo>
                      <a:lnTo>
                        <a:pt x="273" y="1997"/>
                      </a:lnTo>
                      <a:lnTo>
                        <a:pt x="273" y="1996"/>
                      </a:lnTo>
                      <a:lnTo>
                        <a:pt x="274" y="1995"/>
                      </a:lnTo>
                      <a:lnTo>
                        <a:pt x="276" y="1996"/>
                      </a:lnTo>
                      <a:lnTo>
                        <a:pt x="276" y="1995"/>
                      </a:lnTo>
                      <a:lnTo>
                        <a:pt x="275" y="1995"/>
                      </a:lnTo>
                      <a:lnTo>
                        <a:pt x="275" y="1995"/>
                      </a:lnTo>
                      <a:lnTo>
                        <a:pt x="276" y="1995"/>
                      </a:lnTo>
                      <a:lnTo>
                        <a:pt x="277" y="1994"/>
                      </a:lnTo>
                      <a:lnTo>
                        <a:pt x="277" y="1993"/>
                      </a:lnTo>
                      <a:lnTo>
                        <a:pt x="277" y="1994"/>
                      </a:lnTo>
                      <a:lnTo>
                        <a:pt x="277" y="1994"/>
                      </a:lnTo>
                      <a:lnTo>
                        <a:pt x="278" y="1992"/>
                      </a:lnTo>
                      <a:lnTo>
                        <a:pt x="279" y="1991"/>
                      </a:lnTo>
                      <a:lnTo>
                        <a:pt x="280" y="1991"/>
                      </a:lnTo>
                      <a:lnTo>
                        <a:pt x="281" y="1990"/>
                      </a:lnTo>
                      <a:lnTo>
                        <a:pt x="281" y="1990"/>
                      </a:lnTo>
                      <a:lnTo>
                        <a:pt x="283" y="1990"/>
                      </a:lnTo>
                      <a:lnTo>
                        <a:pt x="283" y="1991"/>
                      </a:lnTo>
                      <a:lnTo>
                        <a:pt x="283" y="1992"/>
                      </a:lnTo>
                      <a:lnTo>
                        <a:pt x="283" y="1993"/>
                      </a:lnTo>
                      <a:lnTo>
                        <a:pt x="283" y="1994"/>
                      </a:lnTo>
                      <a:lnTo>
                        <a:pt x="283" y="1994"/>
                      </a:lnTo>
                      <a:lnTo>
                        <a:pt x="283" y="1995"/>
                      </a:lnTo>
                      <a:lnTo>
                        <a:pt x="282" y="1996"/>
                      </a:lnTo>
                      <a:lnTo>
                        <a:pt x="282" y="1996"/>
                      </a:lnTo>
                      <a:lnTo>
                        <a:pt x="281" y="1997"/>
                      </a:lnTo>
                      <a:lnTo>
                        <a:pt x="281" y="1998"/>
                      </a:lnTo>
                      <a:lnTo>
                        <a:pt x="281" y="1998"/>
                      </a:lnTo>
                      <a:lnTo>
                        <a:pt x="280" y="1999"/>
                      </a:lnTo>
                      <a:lnTo>
                        <a:pt x="280" y="2004"/>
                      </a:lnTo>
                      <a:lnTo>
                        <a:pt x="280" y="2004"/>
                      </a:lnTo>
                      <a:lnTo>
                        <a:pt x="280" y="2004"/>
                      </a:lnTo>
                      <a:lnTo>
                        <a:pt x="280" y="2006"/>
                      </a:lnTo>
                      <a:lnTo>
                        <a:pt x="279" y="2006"/>
                      </a:lnTo>
                      <a:lnTo>
                        <a:pt x="279" y="2006"/>
                      </a:lnTo>
                      <a:lnTo>
                        <a:pt x="280" y="2007"/>
                      </a:lnTo>
                      <a:lnTo>
                        <a:pt x="279" y="2007"/>
                      </a:lnTo>
                      <a:lnTo>
                        <a:pt x="279" y="2008"/>
                      </a:lnTo>
                      <a:lnTo>
                        <a:pt x="279" y="2008"/>
                      </a:lnTo>
                      <a:lnTo>
                        <a:pt x="279" y="2009"/>
                      </a:lnTo>
                      <a:lnTo>
                        <a:pt x="279" y="2009"/>
                      </a:lnTo>
                      <a:lnTo>
                        <a:pt x="278" y="2010"/>
                      </a:lnTo>
                      <a:lnTo>
                        <a:pt x="278" y="2011"/>
                      </a:lnTo>
                      <a:lnTo>
                        <a:pt x="279" y="2011"/>
                      </a:lnTo>
                      <a:lnTo>
                        <a:pt x="279" y="2012"/>
                      </a:lnTo>
                      <a:lnTo>
                        <a:pt x="279" y="2012"/>
                      </a:lnTo>
                      <a:lnTo>
                        <a:pt x="280" y="2013"/>
                      </a:lnTo>
                      <a:lnTo>
                        <a:pt x="280" y="2014"/>
                      </a:lnTo>
                      <a:lnTo>
                        <a:pt x="281" y="2014"/>
                      </a:lnTo>
                      <a:lnTo>
                        <a:pt x="282" y="2014"/>
                      </a:lnTo>
                      <a:lnTo>
                        <a:pt x="283" y="2014"/>
                      </a:lnTo>
                      <a:lnTo>
                        <a:pt x="283" y="2014"/>
                      </a:lnTo>
                      <a:lnTo>
                        <a:pt x="283" y="2013"/>
                      </a:lnTo>
                      <a:lnTo>
                        <a:pt x="283" y="2013"/>
                      </a:lnTo>
                      <a:lnTo>
                        <a:pt x="283" y="2012"/>
                      </a:lnTo>
                      <a:lnTo>
                        <a:pt x="282" y="2011"/>
                      </a:lnTo>
                      <a:lnTo>
                        <a:pt x="282" y="2010"/>
                      </a:lnTo>
                      <a:lnTo>
                        <a:pt x="283" y="2009"/>
                      </a:lnTo>
                      <a:lnTo>
                        <a:pt x="283" y="2009"/>
                      </a:lnTo>
                      <a:lnTo>
                        <a:pt x="283" y="2008"/>
                      </a:lnTo>
                      <a:lnTo>
                        <a:pt x="284" y="2008"/>
                      </a:lnTo>
                      <a:lnTo>
                        <a:pt x="284" y="2005"/>
                      </a:lnTo>
                      <a:lnTo>
                        <a:pt x="284" y="2004"/>
                      </a:lnTo>
                      <a:lnTo>
                        <a:pt x="284" y="2003"/>
                      </a:lnTo>
                      <a:lnTo>
                        <a:pt x="287" y="2002"/>
                      </a:lnTo>
                      <a:lnTo>
                        <a:pt x="287" y="2002"/>
                      </a:lnTo>
                      <a:lnTo>
                        <a:pt x="287" y="2001"/>
                      </a:lnTo>
                      <a:lnTo>
                        <a:pt x="287" y="2000"/>
                      </a:lnTo>
                      <a:lnTo>
                        <a:pt x="288" y="1999"/>
                      </a:lnTo>
                      <a:lnTo>
                        <a:pt x="287" y="1998"/>
                      </a:lnTo>
                      <a:lnTo>
                        <a:pt x="286" y="1996"/>
                      </a:lnTo>
                      <a:lnTo>
                        <a:pt x="287" y="1996"/>
                      </a:lnTo>
                      <a:lnTo>
                        <a:pt x="290" y="1996"/>
                      </a:lnTo>
                      <a:lnTo>
                        <a:pt x="291" y="1996"/>
                      </a:lnTo>
                      <a:lnTo>
                        <a:pt x="291" y="1995"/>
                      </a:lnTo>
                      <a:lnTo>
                        <a:pt x="292" y="1995"/>
                      </a:lnTo>
                      <a:lnTo>
                        <a:pt x="292" y="1995"/>
                      </a:lnTo>
                      <a:lnTo>
                        <a:pt x="292" y="1995"/>
                      </a:lnTo>
                      <a:lnTo>
                        <a:pt x="293" y="1995"/>
                      </a:lnTo>
                      <a:lnTo>
                        <a:pt x="293" y="1995"/>
                      </a:lnTo>
                      <a:lnTo>
                        <a:pt x="293" y="1995"/>
                      </a:lnTo>
                      <a:lnTo>
                        <a:pt x="294" y="1994"/>
                      </a:lnTo>
                      <a:lnTo>
                        <a:pt x="294" y="1994"/>
                      </a:lnTo>
                      <a:lnTo>
                        <a:pt x="295" y="1993"/>
                      </a:lnTo>
                      <a:lnTo>
                        <a:pt x="296" y="1993"/>
                      </a:lnTo>
                      <a:lnTo>
                        <a:pt x="296" y="1991"/>
                      </a:lnTo>
                      <a:lnTo>
                        <a:pt x="295" y="1991"/>
                      </a:lnTo>
                      <a:lnTo>
                        <a:pt x="295" y="1990"/>
                      </a:lnTo>
                      <a:lnTo>
                        <a:pt x="296" y="1990"/>
                      </a:lnTo>
                      <a:lnTo>
                        <a:pt x="296" y="1990"/>
                      </a:lnTo>
                      <a:lnTo>
                        <a:pt x="297" y="1990"/>
                      </a:lnTo>
                      <a:lnTo>
                        <a:pt x="298" y="1989"/>
                      </a:lnTo>
                      <a:lnTo>
                        <a:pt x="298" y="1989"/>
                      </a:lnTo>
                      <a:lnTo>
                        <a:pt x="300" y="1988"/>
                      </a:lnTo>
                      <a:lnTo>
                        <a:pt x="300" y="1988"/>
                      </a:lnTo>
                      <a:lnTo>
                        <a:pt x="301" y="1987"/>
                      </a:lnTo>
                      <a:lnTo>
                        <a:pt x="301" y="1987"/>
                      </a:lnTo>
                      <a:lnTo>
                        <a:pt x="302" y="1987"/>
                      </a:lnTo>
                      <a:lnTo>
                        <a:pt x="302" y="1986"/>
                      </a:lnTo>
                      <a:lnTo>
                        <a:pt x="302" y="1986"/>
                      </a:lnTo>
                      <a:lnTo>
                        <a:pt x="303" y="1985"/>
                      </a:lnTo>
                      <a:lnTo>
                        <a:pt x="303" y="1983"/>
                      </a:lnTo>
                      <a:lnTo>
                        <a:pt x="304" y="1983"/>
                      </a:lnTo>
                      <a:lnTo>
                        <a:pt x="304" y="1982"/>
                      </a:lnTo>
                      <a:lnTo>
                        <a:pt x="304" y="1982"/>
                      </a:lnTo>
                      <a:lnTo>
                        <a:pt x="304" y="1982"/>
                      </a:lnTo>
                      <a:lnTo>
                        <a:pt x="305" y="1982"/>
                      </a:lnTo>
                      <a:lnTo>
                        <a:pt x="305" y="1981"/>
                      </a:lnTo>
                      <a:lnTo>
                        <a:pt x="307" y="1981"/>
                      </a:lnTo>
                      <a:lnTo>
                        <a:pt x="307" y="1980"/>
                      </a:lnTo>
                      <a:lnTo>
                        <a:pt x="308" y="1980"/>
                      </a:lnTo>
                      <a:lnTo>
                        <a:pt x="308" y="1978"/>
                      </a:lnTo>
                      <a:lnTo>
                        <a:pt x="309" y="1978"/>
                      </a:lnTo>
                      <a:lnTo>
                        <a:pt x="309" y="1977"/>
                      </a:lnTo>
                      <a:lnTo>
                        <a:pt x="309" y="1977"/>
                      </a:lnTo>
                      <a:lnTo>
                        <a:pt x="310" y="1977"/>
                      </a:lnTo>
                      <a:lnTo>
                        <a:pt x="310" y="1976"/>
                      </a:lnTo>
                      <a:lnTo>
                        <a:pt x="311" y="1976"/>
                      </a:lnTo>
                      <a:lnTo>
                        <a:pt x="311" y="1976"/>
                      </a:lnTo>
                      <a:lnTo>
                        <a:pt x="311" y="1976"/>
                      </a:lnTo>
                      <a:lnTo>
                        <a:pt x="313" y="1976"/>
                      </a:lnTo>
                      <a:lnTo>
                        <a:pt x="315" y="1976"/>
                      </a:lnTo>
                      <a:lnTo>
                        <a:pt x="315" y="1975"/>
                      </a:lnTo>
                      <a:lnTo>
                        <a:pt x="316" y="1975"/>
                      </a:lnTo>
                      <a:lnTo>
                        <a:pt x="316" y="1975"/>
                      </a:lnTo>
                      <a:lnTo>
                        <a:pt x="316" y="1975"/>
                      </a:lnTo>
                      <a:lnTo>
                        <a:pt x="316" y="1974"/>
                      </a:lnTo>
                      <a:lnTo>
                        <a:pt x="317" y="1974"/>
                      </a:lnTo>
                      <a:lnTo>
                        <a:pt x="317" y="1974"/>
                      </a:lnTo>
                      <a:lnTo>
                        <a:pt x="317" y="1973"/>
                      </a:lnTo>
                      <a:lnTo>
                        <a:pt x="318" y="1973"/>
                      </a:lnTo>
                      <a:lnTo>
                        <a:pt x="319" y="1973"/>
                      </a:lnTo>
                      <a:lnTo>
                        <a:pt x="319" y="1973"/>
                      </a:lnTo>
                      <a:lnTo>
                        <a:pt x="319" y="1973"/>
                      </a:lnTo>
                      <a:lnTo>
                        <a:pt x="321" y="1973"/>
                      </a:lnTo>
                      <a:lnTo>
                        <a:pt x="321" y="1973"/>
                      </a:lnTo>
                      <a:lnTo>
                        <a:pt x="321" y="1973"/>
                      </a:lnTo>
                      <a:lnTo>
                        <a:pt x="322" y="1973"/>
                      </a:lnTo>
                      <a:lnTo>
                        <a:pt x="321" y="1973"/>
                      </a:lnTo>
                      <a:lnTo>
                        <a:pt x="324" y="1972"/>
                      </a:lnTo>
                      <a:lnTo>
                        <a:pt x="326" y="1972"/>
                      </a:lnTo>
                      <a:close/>
                      <a:moveTo>
                        <a:pt x="633" y="1966"/>
                      </a:moveTo>
                      <a:lnTo>
                        <a:pt x="633" y="1967"/>
                      </a:lnTo>
                      <a:lnTo>
                        <a:pt x="632" y="1967"/>
                      </a:lnTo>
                      <a:lnTo>
                        <a:pt x="632" y="1967"/>
                      </a:lnTo>
                      <a:lnTo>
                        <a:pt x="632" y="1966"/>
                      </a:lnTo>
                      <a:lnTo>
                        <a:pt x="633" y="1966"/>
                      </a:lnTo>
                      <a:close/>
                      <a:moveTo>
                        <a:pt x="304" y="1938"/>
                      </a:moveTo>
                      <a:lnTo>
                        <a:pt x="305" y="1938"/>
                      </a:lnTo>
                      <a:lnTo>
                        <a:pt x="305" y="1938"/>
                      </a:lnTo>
                      <a:lnTo>
                        <a:pt x="306" y="1938"/>
                      </a:lnTo>
                      <a:lnTo>
                        <a:pt x="308" y="1938"/>
                      </a:lnTo>
                      <a:lnTo>
                        <a:pt x="308" y="1939"/>
                      </a:lnTo>
                      <a:lnTo>
                        <a:pt x="307" y="1939"/>
                      </a:lnTo>
                      <a:lnTo>
                        <a:pt x="307" y="1939"/>
                      </a:lnTo>
                      <a:lnTo>
                        <a:pt x="308" y="1940"/>
                      </a:lnTo>
                      <a:lnTo>
                        <a:pt x="308" y="1941"/>
                      </a:lnTo>
                      <a:lnTo>
                        <a:pt x="308" y="1941"/>
                      </a:lnTo>
                      <a:lnTo>
                        <a:pt x="308" y="1941"/>
                      </a:lnTo>
                      <a:lnTo>
                        <a:pt x="308" y="1941"/>
                      </a:lnTo>
                      <a:lnTo>
                        <a:pt x="307" y="1941"/>
                      </a:lnTo>
                      <a:lnTo>
                        <a:pt x="307" y="1941"/>
                      </a:lnTo>
                      <a:lnTo>
                        <a:pt x="307" y="1941"/>
                      </a:lnTo>
                      <a:lnTo>
                        <a:pt x="307" y="1940"/>
                      </a:lnTo>
                      <a:lnTo>
                        <a:pt x="306" y="1941"/>
                      </a:lnTo>
                      <a:lnTo>
                        <a:pt x="306" y="1941"/>
                      </a:lnTo>
                      <a:lnTo>
                        <a:pt x="305" y="1941"/>
                      </a:lnTo>
                      <a:lnTo>
                        <a:pt x="303" y="1941"/>
                      </a:lnTo>
                      <a:lnTo>
                        <a:pt x="303" y="1942"/>
                      </a:lnTo>
                      <a:lnTo>
                        <a:pt x="302" y="1942"/>
                      </a:lnTo>
                      <a:lnTo>
                        <a:pt x="302" y="1944"/>
                      </a:lnTo>
                      <a:lnTo>
                        <a:pt x="302" y="1945"/>
                      </a:lnTo>
                      <a:lnTo>
                        <a:pt x="302" y="1945"/>
                      </a:lnTo>
                      <a:lnTo>
                        <a:pt x="302" y="1945"/>
                      </a:lnTo>
                      <a:lnTo>
                        <a:pt x="301" y="1947"/>
                      </a:lnTo>
                      <a:lnTo>
                        <a:pt x="301" y="1947"/>
                      </a:lnTo>
                      <a:lnTo>
                        <a:pt x="300" y="1948"/>
                      </a:lnTo>
                      <a:lnTo>
                        <a:pt x="300" y="1948"/>
                      </a:lnTo>
                      <a:lnTo>
                        <a:pt x="300" y="1948"/>
                      </a:lnTo>
                      <a:lnTo>
                        <a:pt x="299" y="1949"/>
                      </a:lnTo>
                      <a:lnTo>
                        <a:pt x="298" y="1949"/>
                      </a:lnTo>
                      <a:lnTo>
                        <a:pt x="298" y="1948"/>
                      </a:lnTo>
                      <a:lnTo>
                        <a:pt x="297" y="1948"/>
                      </a:lnTo>
                      <a:lnTo>
                        <a:pt x="297" y="1947"/>
                      </a:lnTo>
                      <a:lnTo>
                        <a:pt x="298" y="1947"/>
                      </a:lnTo>
                      <a:lnTo>
                        <a:pt x="298" y="1945"/>
                      </a:lnTo>
                      <a:lnTo>
                        <a:pt x="299" y="1944"/>
                      </a:lnTo>
                      <a:lnTo>
                        <a:pt x="299" y="1943"/>
                      </a:lnTo>
                      <a:lnTo>
                        <a:pt x="298" y="1942"/>
                      </a:lnTo>
                      <a:lnTo>
                        <a:pt x="296" y="1942"/>
                      </a:lnTo>
                      <a:lnTo>
                        <a:pt x="296" y="1943"/>
                      </a:lnTo>
                      <a:lnTo>
                        <a:pt x="295" y="1943"/>
                      </a:lnTo>
                      <a:lnTo>
                        <a:pt x="294" y="1942"/>
                      </a:lnTo>
                      <a:lnTo>
                        <a:pt x="293" y="1942"/>
                      </a:lnTo>
                      <a:lnTo>
                        <a:pt x="293" y="1942"/>
                      </a:lnTo>
                      <a:lnTo>
                        <a:pt x="294" y="1941"/>
                      </a:lnTo>
                      <a:lnTo>
                        <a:pt x="297" y="1942"/>
                      </a:lnTo>
                      <a:lnTo>
                        <a:pt x="297" y="1941"/>
                      </a:lnTo>
                      <a:lnTo>
                        <a:pt x="297" y="1941"/>
                      </a:lnTo>
                      <a:lnTo>
                        <a:pt x="294" y="1941"/>
                      </a:lnTo>
                      <a:lnTo>
                        <a:pt x="295" y="1940"/>
                      </a:lnTo>
                      <a:lnTo>
                        <a:pt x="295" y="1940"/>
                      </a:lnTo>
                      <a:lnTo>
                        <a:pt x="295" y="1939"/>
                      </a:lnTo>
                      <a:lnTo>
                        <a:pt x="295" y="1939"/>
                      </a:lnTo>
                      <a:lnTo>
                        <a:pt x="298" y="1939"/>
                      </a:lnTo>
                      <a:lnTo>
                        <a:pt x="299" y="1939"/>
                      </a:lnTo>
                      <a:lnTo>
                        <a:pt x="301" y="1939"/>
                      </a:lnTo>
                      <a:lnTo>
                        <a:pt x="301" y="1938"/>
                      </a:lnTo>
                      <a:lnTo>
                        <a:pt x="301" y="1938"/>
                      </a:lnTo>
                      <a:lnTo>
                        <a:pt x="302" y="1939"/>
                      </a:lnTo>
                      <a:lnTo>
                        <a:pt x="302" y="1939"/>
                      </a:lnTo>
                      <a:lnTo>
                        <a:pt x="302" y="1939"/>
                      </a:lnTo>
                      <a:lnTo>
                        <a:pt x="303" y="1939"/>
                      </a:lnTo>
                      <a:lnTo>
                        <a:pt x="303" y="1938"/>
                      </a:lnTo>
                      <a:lnTo>
                        <a:pt x="304" y="1938"/>
                      </a:lnTo>
                      <a:close/>
                      <a:moveTo>
                        <a:pt x="321" y="1899"/>
                      </a:moveTo>
                      <a:lnTo>
                        <a:pt x="321" y="1900"/>
                      </a:lnTo>
                      <a:lnTo>
                        <a:pt x="322" y="1900"/>
                      </a:lnTo>
                      <a:lnTo>
                        <a:pt x="322" y="1900"/>
                      </a:lnTo>
                      <a:lnTo>
                        <a:pt x="322" y="1901"/>
                      </a:lnTo>
                      <a:lnTo>
                        <a:pt x="322" y="1902"/>
                      </a:lnTo>
                      <a:lnTo>
                        <a:pt x="322" y="1902"/>
                      </a:lnTo>
                      <a:lnTo>
                        <a:pt x="324" y="1902"/>
                      </a:lnTo>
                      <a:lnTo>
                        <a:pt x="324" y="1903"/>
                      </a:lnTo>
                      <a:lnTo>
                        <a:pt x="324" y="1904"/>
                      </a:lnTo>
                      <a:lnTo>
                        <a:pt x="322" y="1905"/>
                      </a:lnTo>
                      <a:lnTo>
                        <a:pt x="322" y="1905"/>
                      </a:lnTo>
                      <a:lnTo>
                        <a:pt x="322" y="1906"/>
                      </a:lnTo>
                      <a:lnTo>
                        <a:pt x="321" y="1906"/>
                      </a:lnTo>
                      <a:lnTo>
                        <a:pt x="321" y="1907"/>
                      </a:lnTo>
                      <a:lnTo>
                        <a:pt x="321" y="1909"/>
                      </a:lnTo>
                      <a:lnTo>
                        <a:pt x="320" y="1910"/>
                      </a:lnTo>
                      <a:lnTo>
                        <a:pt x="320" y="1910"/>
                      </a:lnTo>
                      <a:lnTo>
                        <a:pt x="320" y="1911"/>
                      </a:lnTo>
                      <a:lnTo>
                        <a:pt x="320" y="1911"/>
                      </a:lnTo>
                      <a:lnTo>
                        <a:pt x="320" y="1912"/>
                      </a:lnTo>
                      <a:lnTo>
                        <a:pt x="319" y="1912"/>
                      </a:lnTo>
                      <a:lnTo>
                        <a:pt x="319" y="1913"/>
                      </a:lnTo>
                      <a:lnTo>
                        <a:pt x="319" y="1913"/>
                      </a:lnTo>
                      <a:lnTo>
                        <a:pt x="318" y="1913"/>
                      </a:lnTo>
                      <a:lnTo>
                        <a:pt x="318" y="1914"/>
                      </a:lnTo>
                      <a:lnTo>
                        <a:pt x="318" y="1915"/>
                      </a:lnTo>
                      <a:lnTo>
                        <a:pt x="318" y="1914"/>
                      </a:lnTo>
                      <a:lnTo>
                        <a:pt x="317" y="1915"/>
                      </a:lnTo>
                      <a:lnTo>
                        <a:pt x="317" y="1917"/>
                      </a:lnTo>
                      <a:lnTo>
                        <a:pt x="317" y="1918"/>
                      </a:lnTo>
                      <a:lnTo>
                        <a:pt x="316" y="1918"/>
                      </a:lnTo>
                      <a:lnTo>
                        <a:pt x="316" y="1919"/>
                      </a:lnTo>
                      <a:lnTo>
                        <a:pt x="316" y="1920"/>
                      </a:lnTo>
                      <a:lnTo>
                        <a:pt x="316" y="1920"/>
                      </a:lnTo>
                      <a:lnTo>
                        <a:pt x="315" y="1920"/>
                      </a:lnTo>
                      <a:lnTo>
                        <a:pt x="315" y="1921"/>
                      </a:lnTo>
                      <a:lnTo>
                        <a:pt x="314" y="1921"/>
                      </a:lnTo>
                      <a:lnTo>
                        <a:pt x="313" y="1922"/>
                      </a:lnTo>
                      <a:lnTo>
                        <a:pt x="313" y="1922"/>
                      </a:lnTo>
                      <a:lnTo>
                        <a:pt x="313" y="1923"/>
                      </a:lnTo>
                      <a:lnTo>
                        <a:pt x="313" y="1923"/>
                      </a:lnTo>
                      <a:lnTo>
                        <a:pt x="313" y="1923"/>
                      </a:lnTo>
                      <a:lnTo>
                        <a:pt x="314" y="1924"/>
                      </a:lnTo>
                      <a:lnTo>
                        <a:pt x="313" y="1924"/>
                      </a:lnTo>
                      <a:lnTo>
                        <a:pt x="313" y="1925"/>
                      </a:lnTo>
                      <a:lnTo>
                        <a:pt x="313" y="1925"/>
                      </a:lnTo>
                      <a:lnTo>
                        <a:pt x="311" y="1925"/>
                      </a:lnTo>
                      <a:lnTo>
                        <a:pt x="311" y="1926"/>
                      </a:lnTo>
                      <a:lnTo>
                        <a:pt x="310" y="1926"/>
                      </a:lnTo>
                      <a:lnTo>
                        <a:pt x="311" y="1926"/>
                      </a:lnTo>
                      <a:lnTo>
                        <a:pt x="312" y="1927"/>
                      </a:lnTo>
                      <a:lnTo>
                        <a:pt x="312" y="1928"/>
                      </a:lnTo>
                      <a:lnTo>
                        <a:pt x="313" y="1928"/>
                      </a:lnTo>
                      <a:lnTo>
                        <a:pt x="314" y="1929"/>
                      </a:lnTo>
                      <a:lnTo>
                        <a:pt x="314" y="1930"/>
                      </a:lnTo>
                      <a:lnTo>
                        <a:pt x="313" y="1930"/>
                      </a:lnTo>
                      <a:lnTo>
                        <a:pt x="313" y="1930"/>
                      </a:lnTo>
                      <a:lnTo>
                        <a:pt x="312" y="1931"/>
                      </a:lnTo>
                      <a:lnTo>
                        <a:pt x="312" y="1931"/>
                      </a:lnTo>
                      <a:lnTo>
                        <a:pt x="313" y="1931"/>
                      </a:lnTo>
                      <a:lnTo>
                        <a:pt x="313" y="1932"/>
                      </a:lnTo>
                      <a:lnTo>
                        <a:pt x="312" y="1933"/>
                      </a:lnTo>
                      <a:lnTo>
                        <a:pt x="312" y="1933"/>
                      </a:lnTo>
                      <a:lnTo>
                        <a:pt x="312" y="1934"/>
                      </a:lnTo>
                      <a:lnTo>
                        <a:pt x="311" y="1935"/>
                      </a:lnTo>
                      <a:lnTo>
                        <a:pt x="311" y="1935"/>
                      </a:lnTo>
                      <a:lnTo>
                        <a:pt x="311" y="1935"/>
                      </a:lnTo>
                      <a:lnTo>
                        <a:pt x="310" y="1935"/>
                      </a:lnTo>
                      <a:lnTo>
                        <a:pt x="310" y="1936"/>
                      </a:lnTo>
                      <a:lnTo>
                        <a:pt x="309" y="1936"/>
                      </a:lnTo>
                      <a:lnTo>
                        <a:pt x="309" y="1937"/>
                      </a:lnTo>
                      <a:lnTo>
                        <a:pt x="309" y="1937"/>
                      </a:lnTo>
                      <a:lnTo>
                        <a:pt x="308" y="1937"/>
                      </a:lnTo>
                      <a:lnTo>
                        <a:pt x="307" y="1938"/>
                      </a:lnTo>
                      <a:lnTo>
                        <a:pt x="307" y="1938"/>
                      </a:lnTo>
                      <a:lnTo>
                        <a:pt x="306" y="1938"/>
                      </a:lnTo>
                      <a:lnTo>
                        <a:pt x="305" y="1938"/>
                      </a:lnTo>
                      <a:lnTo>
                        <a:pt x="306" y="1937"/>
                      </a:lnTo>
                      <a:lnTo>
                        <a:pt x="305" y="1937"/>
                      </a:lnTo>
                      <a:lnTo>
                        <a:pt x="305" y="1936"/>
                      </a:lnTo>
                      <a:lnTo>
                        <a:pt x="305" y="1936"/>
                      </a:lnTo>
                      <a:lnTo>
                        <a:pt x="306" y="1936"/>
                      </a:lnTo>
                      <a:lnTo>
                        <a:pt x="306" y="1935"/>
                      </a:lnTo>
                      <a:lnTo>
                        <a:pt x="305" y="1934"/>
                      </a:lnTo>
                      <a:lnTo>
                        <a:pt x="305" y="1934"/>
                      </a:lnTo>
                      <a:lnTo>
                        <a:pt x="305" y="1934"/>
                      </a:lnTo>
                      <a:lnTo>
                        <a:pt x="304" y="1934"/>
                      </a:lnTo>
                      <a:lnTo>
                        <a:pt x="304" y="1935"/>
                      </a:lnTo>
                      <a:lnTo>
                        <a:pt x="304" y="1936"/>
                      </a:lnTo>
                      <a:lnTo>
                        <a:pt x="304" y="1936"/>
                      </a:lnTo>
                      <a:lnTo>
                        <a:pt x="304" y="1936"/>
                      </a:lnTo>
                      <a:lnTo>
                        <a:pt x="302" y="1936"/>
                      </a:lnTo>
                      <a:lnTo>
                        <a:pt x="302" y="1936"/>
                      </a:lnTo>
                      <a:lnTo>
                        <a:pt x="302" y="1937"/>
                      </a:lnTo>
                      <a:lnTo>
                        <a:pt x="301" y="1937"/>
                      </a:lnTo>
                      <a:lnTo>
                        <a:pt x="301" y="1936"/>
                      </a:lnTo>
                      <a:lnTo>
                        <a:pt x="299" y="1936"/>
                      </a:lnTo>
                      <a:lnTo>
                        <a:pt x="299" y="1936"/>
                      </a:lnTo>
                      <a:lnTo>
                        <a:pt x="298" y="1936"/>
                      </a:lnTo>
                      <a:lnTo>
                        <a:pt x="298" y="1935"/>
                      </a:lnTo>
                      <a:lnTo>
                        <a:pt x="299" y="1935"/>
                      </a:lnTo>
                      <a:lnTo>
                        <a:pt x="299" y="1935"/>
                      </a:lnTo>
                      <a:lnTo>
                        <a:pt x="299" y="1935"/>
                      </a:lnTo>
                      <a:lnTo>
                        <a:pt x="299" y="1934"/>
                      </a:lnTo>
                      <a:lnTo>
                        <a:pt x="301" y="1934"/>
                      </a:lnTo>
                      <a:lnTo>
                        <a:pt x="301" y="1933"/>
                      </a:lnTo>
                      <a:lnTo>
                        <a:pt x="301" y="1933"/>
                      </a:lnTo>
                      <a:lnTo>
                        <a:pt x="301" y="1932"/>
                      </a:lnTo>
                      <a:lnTo>
                        <a:pt x="300" y="1932"/>
                      </a:lnTo>
                      <a:lnTo>
                        <a:pt x="299" y="1932"/>
                      </a:lnTo>
                      <a:lnTo>
                        <a:pt x="299" y="1933"/>
                      </a:lnTo>
                      <a:lnTo>
                        <a:pt x="299" y="1933"/>
                      </a:lnTo>
                      <a:lnTo>
                        <a:pt x="298" y="1934"/>
                      </a:lnTo>
                      <a:lnTo>
                        <a:pt x="297" y="1934"/>
                      </a:lnTo>
                      <a:lnTo>
                        <a:pt x="297" y="1934"/>
                      </a:lnTo>
                      <a:lnTo>
                        <a:pt x="297" y="1935"/>
                      </a:lnTo>
                      <a:lnTo>
                        <a:pt x="296" y="1935"/>
                      </a:lnTo>
                      <a:lnTo>
                        <a:pt x="296" y="1935"/>
                      </a:lnTo>
                      <a:lnTo>
                        <a:pt x="296" y="1935"/>
                      </a:lnTo>
                      <a:lnTo>
                        <a:pt x="295" y="1936"/>
                      </a:lnTo>
                      <a:lnTo>
                        <a:pt x="294" y="1936"/>
                      </a:lnTo>
                      <a:lnTo>
                        <a:pt x="293" y="1935"/>
                      </a:lnTo>
                      <a:lnTo>
                        <a:pt x="293" y="1934"/>
                      </a:lnTo>
                      <a:lnTo>
                        <a:pt x="295" y="1934"/>
                      </a:lnTo>
                      <a:lnTo>
                        <a:pt x="295" y="1933"/>
                      </a:lnTo>
                      <a:lnTo>
                        <a:pt x="295" y="1932"/>
                      </a:lnTo>
                      <a:lnTo>
                        <a:pt x="296" y="1932"/>
                      </a:lnTo>
                      <a:lnTo>
                        <a:pt x="297" y="1931"/>
                      </a:lnTo>
                      <a:lnTo>
                        <a:pt x="298" y="1931"/>
                      </a:lnTo>
                      <a:lnTo>
                        <a:pt x="298" y="1931"/>
                      </a:lnTo>
                      <a:lnTo>
                        <a:pt x="298" y="1929"/>
                      </a:lnTo>
                      <a:lnTo>
                        <a:pt x="298" y="1928"/>
                      </a:lnTo>
                      <a:lnTo>
                        <a:pt x="300" y="1928"/>
                      </a:lnTo>
                      <a:lnTo>
                        <a:pt x="300" y="1928"/>
                      </a:lnTo>
                      <a:lnTo>
                        <a:pt x="300" y="1928"/>
                      </a:lnTo>
                      <a:lnTo>
                        <a:pt x="300" y="1928"/>
                      </a:lnTo>
                      <a:lnTo>
                        <a:pt x="299" y="1928"/>
                      </a:lnTo>
                      <a:lnTo>
                        <a:pt x="299" y="1928"/>
                      </a:lnTo>
                      <a:lnTo>
                        <a:pt x="298" y="1928"/>
                      </a:lnTo>
                      <a:lnTo>
                        <a:pt x="297" y="1928"/>
                      </a:lnTo>
                      <a:lnTo>
                        <a:pt x="297" y="1928"/>
                      </a:lnTo>
                      <a:lnTo>
                        <a:pt x="297" y="1927"/>
                      </a:lnTo>
                      <a:lnTo>
                        <a:pt x="297" y="1927"/>
                      </a:lnTo>
                      <a:lnTo>
                        <a:pt x="298" y="1927"/>
                      </a:lnTo>
                      <a:lnTo>
                        <a:pt x="298" y="1926"/>
                      </a:lnTo>
                      <a:lnTo>
                        <a:pt x="300" y="1926"/>
                      </a:lnTo>
                      <a:lnTo>
                        <a:pt x="300" y="1925"/>
                      </a:lnTo>
                      <a:lnTo>
                        <a:pt x="299" y="1925"/>
                      </a:lnTo>
                      <a:lnTo>
                        <a:pt x="298" y="1925"/>
                      </a:lnTo>
                      <a:lnTo>
                        <a:pt x="297" y="1925"/>
                      </a:lnTo>
                      <a:lnTo>
                        <a:pt x="297" y="1925"/>
                      </a:lnTo>
                      <a:lnTo>
                        <a:pt x="297" y="1925"/>
                      </a:lnTo>
                      <a:lnTo>
                        <a:pt x="298" y="1924"/>
                      </a:lnTo>
                      <a:lnTo>
                        <a:pt x="299" y="1924"/>
                      </a:lnTo>
                      <a:lnTo>
                        <a:pt x="299" y="1924"/>
                      </a:lnTo>
                      <a:lnTo>
                        <a:pt x="299" y="1924"/>
                      </a:lnTo>
                      <a:lnTo>
                        <a:pt x="300" y="1923"/>
                      </a:lnTo>
                      <a:lnTo>
                        <a:pt x="301" y="1922"/>
                      </a:lnTo>
                      <a:lnTo>
                        <a:pt x="300" y="1921"/>
                      </a:lnTo>
                      <a:lnTo>
                        <a:pt x="299" y="1921"/>
                      </a:lnTo>
                      <a:lnTo>
                        <a:pt x="299" y="1921"/>
                      </a:lnTo>
                      <a:lnTo>
                        <a:pt x="299" y="1920"/>
                      </a:lnTo>
                      <a:lnTo>
                        <a:pt x="299" y="1919"/>
                      </a:lnTo>
                      <a:lnTo>
                        <a:pt x="300" y="1917"/>
                      </a:lnTo>
                      <a:lnTo>
                        <a:pt x="300" y="1917"/>
                      </a:lnTo>
                      <a:lnTo>
                        <a:pt x="301" y="1917"/>
                      </a:lnTo>
                      <a:lnTo>
                        <a:pt x="302" y="1915"/>
                      </a:lnTo>
                      <a:lnTo>
                        <a:pt x="302" y="1915"/>
                      </a:lnTo>
                      <a:lnTo>
                        <a:pt x="302" y="1914"/>
                      </a:lnTo>
                      <a:lnTo>
                        <a:pt x="303" y="1914"/>
                      </a:lnTo>
                      <a:lnTo>
                        <a:pt x="303" y="1914"/>
                      </a:lnTo>
                      <a:lnTo>
                        <a:pt x="304" y="1914"/>
                      </a:lnTo>
                      <a:lnTo>
                        <a:pt x="305" y="1912"/>
                      </a:lnTo>
                      <a:lnTo>
                        <a:pt x="305" y="1912"/>
                      </a:lnTo>
                      <a:lnTo>
                        <a:pt x="306" y="1912"/>
                      </a:lnTo>
                      <a:lnTo>
                        <a:pt x="306" y="1912"/>
                      </a:lnTo>
                      <a:lnTo>
                        <a:pt x="307" y="1911"/>
                      </a:lnTo>
                      <a:lnTo>
                        <a:pt x="307" y="1911"/>
                      </a:lnTo>
                      <a:lnTo>
                        <a:pt x="307" y="1911"/>
                      </a:lnTo>
                      <a:lnTo>
                        <a:pt x="307" y="1910"/>
                      </a:lnTo>
                      <a:lnTo>
                        <a:pt x="307" y="1909"/>
                      </a:lnTo>
                      <a:lnTo>
                        <a:pt x="307" y="1910"/>
                      </a:lnTo>
                      <a:lnTo>
                        <a:pt x="308" y="1909"/>
                      </a:lnTo>
                      <a:lnTo>
                        <a:pt x="308" y="1909"/>
                      </a:lnTo>
                      <a:lnTo>
                        <a:pt x="308" y="1909"/>
                      </a:lnTo>
                      <a:lnTo>
                        <a:pt x="309" y="1907"/>
                      </a:lnTo>
                      <a:lnTo>
                        <a:pt x="309" y="1909"/>
                      </a:lnTo>
                      <a:lnTo>
                        <a:pt x="309" y="1909"/>
                      </a:lnTo>
                      <a:lnTo>
                        <a:pt x="310" y="1909"/>
                      </a:lnTo>
                      <a:lnTo>
                        <a:pt x="310" y="1909"/>
                      </a:lnTo>
                      <a:lnTo>
                        <a:pt x="311" y="1909"/>
                      </a:lnTo>
                      <a:lnTo>
                        <a:pt x="311" y="1910"/>
                      </a:lnTo>
                      <a:lnTo>
                        <a:pt x="311" y="1910"/>
                      </a:lnTo>
                      <a:lnTo>
                        <a:pt x="312" y="1911"/>
                      </a:lnTo>
                      <a:lnTo>
                        <a:pt x="313" y="1910"/>
                      </a:lnTo>
                      <a:lnTo>
                        <a:pt x="314" y="1910"/>
                      </a:lnTo>
                      <a:lnTo>
                        <a:pt x="314" y="1909"/>
                      </a:lnTo>
                      <a:lnTo>
                        <a:pt x="314" y="1907"/>
                      </a:lnTo>
                      <a:lnTo>
                        <a:pt x="314" y="1907"/>
                      </a:lnTo>
                      <a:lnTo>
                        <a:pt x="313" y="1906"/>
                      </a:lnTo>
                      <a:lnTo>
                        <a:pt x="314" y="1906"/>
                      </a:lnTo>
                      <a:lnTo>
                        <a:pt x="314" y="1905"/>
                      </a:lnTo>
                      <a:lnTo>
                        <a:pt x="313" y="1906"/>
                      </a:lnTo>
                      <a:lnTo>
                        <a:pt x="313" y="1905"/>
                      </a:lnTo>
                      <a:lnTo>
                        <a:pt x="313" y="1905"/>
                      </a:lnTo>
                      <a:lnTo>
                        <a:pt x="314" y="1903"/>
                      </a:lnTo>
                      <a:lnTo>
                        <a:pt x="315" y="1903"/>
                      </a:lnTo>
                      <a:lnTo>
                        <a:pt x="315" y="1904"/>
                      </a:lnTo>
                      <a:lnTo>
                        <a:pt x="316" y="1903"/>
                      </a:lnTo>
                      <a:lnTo>
                        <a:pt x="316" y="1903"/>
                      </a:lnTo>
                      <a:lnTo>
                        <a:pt x="316" y="1902"/>
                      </a:lnTo>
                      <a:lnTo>
                        <a:pt x="316" y="1902"/>
                      </a:lnTo>
                      <a:lnTo>
                        <a:pt x="317" y="1902"/>
                      </a:lnTo>
                      <a:lnTo>
                        <a:pt x="318" y="1902"/>
                      </a:lnTo>
                      <a:lnTo>
                        <a:pt x="318" y="1902"/>
                      </a:lnTo>
                      <a:lnTo>
                        <a:pt x="318" y="1901"/>
                      </a:lnTo>
                      <a:lnTo>
                        <a:pt x="319" y="1900"/>
                      </a:lnTo>
                      <a:lnTo>
                        <a:pt x="320" y="1900"/>
                      </a:lnTo>
                      <a:lnTo>
                        <a:pt x="320" y="1900"/>
                      </a:lnTo>
                      <a:lnTo>
                        <a:pt x="319" y="1899"/>
                      </a:lnTo>
                      <a:lnTo>
                        <a:pt x="319" y="1899"/>
                      </a:lnTo>
                      <a:lnTo>
                        <a:pt x="321" y="1899"/>
                      </a:lnTo>
                      <a:lnTo>
                        <a:pt x="321" y="1899"/>
                      </a:lnTo>
                      <a:close/>
                      <a:moveTo>
                        <a:pt x="413" y="1893"/>
                      </a:moveTo>
                      <a:lnTo>
                        <a:pt x="414" y="1893"/>
                      </a:lnTo>
                      <a:lnTo>
                        <a:pt x="414" y="1893"/>
                      </a:lnTo>
                      <a:lnTo>
                        <a:pt x="415" y="1894"/>
                      </a:lnTo>
                      <a:lnTo>
                        <a:pt x="416" y="1895"/>
                      </a:lnTo>
                      <a:lnTo>
                        <a:pt x="416" y="1895"/>
                      </a:lnTo>
                      <a:lnTo>
                        <a:pt x="416" y="1896"/>
                      </a:lnTo>
                      <a:lnTo>
                        <a:pt x="417" y="1897"/>
                      </a:lnTo>
                      <a:lnTo>
                        <a:pt x="417" y="1898"/>
                      </a:lnTo>
                      <a:lnTo>
                        <a:pt x="417" y="1900"/>
                      </a:lnTo>
                      <a:lnTo>
                        <a:pt x="418" y="1900"/>
                      </a:lnTo>
                      <a:lnTo>
                        <a:pt x="417" y="1902"/>
                      </a:lnTo>
                      <a:lnTo>
                        <a:pt x="416" y="1902"/>
                      </a:lnTo>
                      <a:lnTo>
                        <a:pt x="416" y="1903"/>
                      </a:lnTo>
                      <a:lnTo>
                        <a:pt x="417" y="1903"/>
                      </a:lnTo>
                      <a:lnTo>
                        <a:pt x="417" y="1905"/>
                      </a:lnTo>
                      <a:lnTo>
                        <a:pt x="418" y="1905"/>
                      </a:lnTo>
                      <a:lnTo>
                        <a:pt x="417" y="1907"/>
                      </a:lnTo>
                      <a:lnTo>
                        <a:pt x="417" y="1909"/>
                      </a:lnTo>
                      <a:lnTo>
                        <a:pt x="416" y="1909"/>
                      </a:lnTo>
                      <a:lnTo>
                        <a:pt x="416" y="1909"/>
                      </a:lnTo>
                      <a:lnTo>
                        <a:pt x="416" y="1911"/>
                      </a:lnTo>
                      <a:lnTo>
                        <a:pt x="415" y="1912"/>
                      </a:lnTo>
                      <a:lnTo>
                        <a:pt x="415" y="1912"/>
                      </a:lnTo>
                      <a:lnTo>
                        <a:pt x="414" y="1913"/>
                      </a:lnTo>
                      <a:lnTo>
                        <a:pt x="414" y="1913"/>
                      </a:lnTo>
                      <a:lnTo>
                        <a:pt x="413" y="1914"/>
                      </a:lnTo>
                      <a:lnTo>
                        <a:pt x="413" y="1915"/>
                      </a:lnTo>
                      <a:lnTo>
                        <a:pt x="412" y="1916"/>
                      </a:lnTo>
                      <a:lnTo>
                        <a:pt x="411" y="1919"/>
                      </a:lnTo>
                      <a:lnTo>
                        <a:pt x="410" y="1919"/>
                      </a:lnTo>
                      <a:lnTo>
                        <a:pt x="410" y="1920"/>
                      </a:lnTo>
                      <a:lnTo>
                        <a:pt x="409" y="1921"/>
                      </a:lnTo>
                      <a:lnTo>
                        <a:pt x="408" y="1923"/>
                      </a:lnTo>
                      <a:lnTo>
                        <a:pt x="407" y="1925"/>
                      </a:lnTo>
                      <a:lnTo>
                        <a:pt x="406" y="1928"/>
                      </a:lnTo>
                      <a:lnTo>
                        <a:pt x="406" y="1928"/>
                      </a:lnTo>
                      <a:lnTo>
                        <a:pt x="404" y="1930"/>
                      </a:lnTo>
                      <a:lnTo>
                        <a:pt x="404" y="1931"/>
                      </a:lnTo>
                      <a:lnTo>
                        <a:pt x="404" y="1931"/>
                      </a:lnTo>
                      <a:lnTo>
                        <a:pt x="404" y="1932"/>
                      </a:lnTo>
                      <a:lnTo>
                        <a:pt x="403" y="1933"/>
                      </a:lnTo>
                      <a:lnTo>
                        <a:pt x="404" y="1933"/>
                      </a:lnTo>
                      <a:lnTo>
                        <a:pt x="404" y="1934"/>
                      </a:lnTo>
                      <a:lnTo>
                        <a:pt x="403" y="1935"/>
                      </a:lnTo>
                      <a:lnTo>
                        <a:pt x="402" y="1935"/>
                      </a:lnTo>
                      <a:lnTo>
                        <a:pt x="402" y="1937"/>
                      </a:lnTo>
                      <a:lnTo>
                        <a:pt x="401" y="1938"/>
                      </a:lnTo>
                      <a:lnTo>
                        <a:pt x="401" y="1938"/>
                      </a:lnTo>
                      <a:lnTo>
                        <a:pt x="401" y="1939"/>
                      </a:lnTo>
                      <a:lnTo>
                        <a:pt x="401" y="1940"/>
                      </a:lnTo>
                      <a:lnTo>
                        <a:pt x="400" y="1941"/>
                      </a:lnTo>
                      <a:lnTo>
                        <a:pt x="399" y="1942"/>
                      </a:lnTo>
                      <a:lnTo>
                        <a:pt x="399" y="1942"/>
                      </a:lnTo>
                      <a:lnTo>
                        <a:pt x="399" y="1943"/>
                      </a:lnTo>
                      <a:lnTo>
                        <a:pt x="397" y="1943"/>
                      </a:lnTo>
                      <a:lnTo>
                        <a:pt x="397" y="1943"/>
                      </a:lnTo>
                      <a:lnTo>
                        <a:pt x="397" y="1943"/>
                      </a:lnTo>
                      <a:lnTo>
                        <a:pt x="397" y="1943"/>
                      </a:lnTo>
                      <a:lnTo>
                        <a:pt x="396" y="1943"/>
                      </a:lnTo>
                      <a:lnTo>
                        <a:pt x="395" y="1943"/>
                      </a:lnTo>
                      <a:lnTo>
                        <a:pt x="395" y="1943"/>
                      </a:lnTo>
                      <a:lnTo>
                        <a:pt x="395" y="1945"/>
                      </a:lnTo>
                      <a:lnTo>
                        <a:pt x="394" y="1945"/>
                      </a:lnTo>
                      <a:lnTo>
                        <a:pt x="394" y="1948"/>
                      </a:lnTo>
                      <a:lnTo>
                        <a:pt x="394" y="1948"/>
                      </a:lnTo>
                      <a:lnTo>
                        <a:pt x="394" y="1949"/>
                      </a:lnTo>
                      <a:lnTo>
                        <a:pt x="393" y="1949"/>
                      </a:lnTo>
                      <a:lnTo>
                        <a:pt x="393" y="1950"/>
                      </a:lnTo>
                      <a:lnTo>
                        <a:pt x="392" y="1951"/>
                      </a:lnTo>
                      <a:lnTo>
                        <a:pt x="392" y="1951"/>
                      </a:lnTo>
                      <a:lnTo>
                        <a:pt x="392" y="1954"/>
                      </a:lnTo>
                      <a:lnTo>
                        <a:pt x="392" y="1955"/>
                      </a:lnTo>
                      <a:lnTo>
                        <a:pt x="391" y="1955"/>
                      </a:lnTo>
                      <a:lnTo>
                        <a:pt x="391" y="1955"/>
                      </a:lnTo>
                      <a:lnTo>
                        <a:pt x="391" y="1956"/>
                      </a:lnTo>
                      <a:lnTo>
                        <a:pt x="391" y="1956"/>
                      </a:lnTo>
                      <a:lnTo>
                        <a:pt x="390" y="1958"/>
                      </a:lnTo>
                      <a:lnTo>
                        <a:pt x="389" y="1960"/>
                      </a:lnTo>
                      <a:lnTo>
                        <a:pt x="388" y="1960"/>
                      </a:lnTo>
                      <a:lnTo>
                        <a:pt x="389" y="1960"/>
                      </a:lnTo>
                      <a:lnTo>
                        <a:pt x="388" y="1961"/>
                      </a:lnTo>
                      <a:lnTo>
                        <a:pt x="387" y="1961"/>
                      </a:lnTo>
                      <a:lnTo>
                        <a:pt x="387" y="1960"/>
                      </a:lnTo>
                      <a:lnTo>
                        <a:pt x="386" y="1960"/>
                      </a:lnTo>
                      <a:lnTo>
                        <a:pt x="386" y="1960"/>
                      </a:lnTo>
                      <a:lnTo>
                        <a:pt x="386" y="1961"/>
                      </a:lnTo>
                      <a:lnTo>
                        <a:pt x="387" y="1961"/>
                      </a:lnTo>
                      <a:lnTo>
                        <a:pt x="387" y="1961"/>
                      </a:lnTo>
                      <a:lnTo>
                        <a:pt x="386" y="1961"/>
                      </a:lnTo>
                      <a:lnTo>
                        <a:pt x="386" y="1962"/>
                      </a:lnTo>
                      <a:lnTo>
                        <a:pt x="386" y="1966"/>
                      </a:lnTo>
                      <a:lnTo>
                        <a:pt x="385" y="1968"/>
                      </a:lnTo>
                      <a:lnTo>
                        <a:pt x="384" y="1969"/>
                      </a:lnTo>
                      <a:lnTo>
                        <a:pt x="383" y="1970"/>
                      </a:lnTo>
                      <a:lnTo>
                        <a:pt x="383" y="1971"/>
                      </a:lnTo>
                      <a:lnTo>
                        <a:pt x="383" y="1972"/>
                      </a:lnTo>
                      <a:lnTo>
                        <a:pt x="384" y="1971"/>
                      </a:lnTo>
                      <a:lnTo>
                        <a:pt x="384" y="1971"/>
                      </a:lnTo>
                      <a:lnTo>
                        <a:pt x="384" y="1971"/>
                      </a:lnTo>
                      <a:lnTo>
                        <a:pt x="384" y="1972"/>
                      </a:lnTo>
                      <a:lnTo>
                        <a:pt x="383" y="1974"/>
                      </a:lnTo>
                      <a:lnTo>
                        <a:pt x="383" y="1974"/>
                      </a:lnTo>
                      <a:lnTo>
                        <a:pt x="383" y="1974"/>
                      </a:lnTo>
                      <a:lnTo>
                        <a:pt x="383" y="1976"/>
                      </a:lnTo>
                      <a:lnTo>
                        <a:pt x="382" y="1977"/>
                      </a:lnTo>
                      <a:lnTo>
                        <a:pt x="381" y="1978"/>
                      </a:lnTo>
                      <a:lnTo>
                        <a:pt x="381" y="1979"/>
                      </a:lnTo>
                      <a:lnTo>
                        <a:pt x="380" y="1980"/>
                      </a:lnTo>
                      <a:lnTo>
                        <a:pt x="380" y="1981"/>
                      </a:lnTo>
                      <a:lnTo>
                        <a:pt x="379" y="1982"/>
                      </a:lnTo>
                      <a:lnTo>
                        <a:pt x="379" y="1982"/>
                      </a:lnTo>
                      <a:lnTo>
                        <a:pt x="379" y="1982"/>
                      </a:lnTo>
                      <a:lnTo>
                        <a:pt x="379" y="1983"/>
                      </a:lnTo>
                      <a:lnTo>
                        <a:pt x="378" y="1985"/>
                      </a:lnTo>
                      <a:lnTo>
                        <a:pt x="378" y="1986"/>
                      </a:lnTo>
                      <a:lnTo>
                        <a:pt x="378" y="1986"/>
                      </a:lnTo>
                      <a:lnTo>
                        <a:pt x="378" y="1986"/>
                      </a:lnTo>
                      <a:lnTo>
                        <a:pt x="378" y="1987"/>
                      </a:lnTo>
                      <a:lnTo>
                        <a:pt x="378" y="1988"/>
                      </a:lnTo>
                      <a:lnTo>
                        <a:pt x="378" y="1988"/>
                      </a:lnTo>
                      <a:lnTo>
                        <a:pt x="378" y="1989"/>
                      </a:lnTo>
                      <a:lnTo>
                        <a:pt x="378" y="1989"/>
                      </a:lnTo>
                      <a:lnTo>
                        <a:pt x="378" y="1990"/>
                      </a:lnTo>
                      <a:lnTo>
                        <a:pt x="378" y="1990"/>
                      </a:lnTo>
                      <a:lnTo>
                        <a:pt x="379" y="1990"/>
                      </a:lnTo>
                      <a:lnTo>
                        <a:pt x="379" y="1990"/>
                      </a:lnTo>
                      <a:lnTo>
                        <a:pt x="376" y="1994"/>
                      </a:lnTo>
                      <a:lnTo>
                        <a:pt x="376" y="1994"/>
                      </a:lnTo>
                      <a:lnTo>
                        <a:pt x="376" y="1994"/>
                      </a:lnTo>
                      <a:lnTo>
                        <a:pt x="377" y="1992"/>
                      </a:lnTo>
                      <a:lnTo>
                        <a:pt x="377" y="1990"/>
                      </a:lnTo>
                      <a:lnTo>
                        <a:pt x="376" y="1990"/>
                      </a:lnTo>
                      <a:lnTo>
                        <a:pt x="375" y="1990"/>
                      </a:lnTo>
                      <a:lnTo>
                        <a:pt x="375" y="1990"/>
                      </a:lnTo>
                      <a:lnTo>
                        <a:pt x="374" y="1990"/>
                      </a:lnTo>
                      <a:lnTo>
                        <a:pt x="374" y="1990"/>
                      </a:lnTo>
                      <a:lnTo>
                        <a:pt x="374" y="1991"/>
                      </a:lnTo>
                      <a:lnTo>
                        <a:pt x="374" y="1991"/>
                      </a:lnTo>
                      <a:lnTo>
                        <a:pt x="374" y="1991"/>
                      </a:lnTo>
                      <a:lnTo>
                        <a:pt x="374" y="1992"/>
                      </a:lnTo>
                      <a:lnTo>
                        <a:pt x="373" y="1993"/>
                      </a:lnTo>
                      <a:lnTo>
                        <a:pt x="373" y="1994"/>
                      </a:lnTo>
                      <a:lnTo>
                        <a:pt x="374" y="1995"/>
                      </a:lnTo>
                      <a:lnTo>
                        <a:pt x="374" y="1995"/>
                      </a:lnTo>
                      <a:lnTo>
                        <a:pt x="374" y="1996"/>
                      </a:lnTo>
                      <a:lnTo>
                        <a:pt x="374" y="1996"/>
                      </a:lnTo>
                      <a:lnTo>
                        <a:pt x="374" y="1997"/>
                      </a:lnTo>
                      <a:lnTo>
                        <a:pt x="375" y="1997"/>
                      </a:lnTo>
                      <a:lnTo>
                        <a:pt x="374" y="1997"/>
                      </a:lnTo>
                      <a:lnTo>
                        <a:pt x="374" y="1998"/>
                      </a:lnTo>
                      <a:lnTo>
                        <a:pt x="374" y="1998"/>
                      </a:lnTo>
                      <a:lnTo>
                        <a:pt x="374" y="1998"/>
                      </a:lnTo>
                      <a:lnTo>
                        <a:pt x="373" y="1998"/>
                      </a:lnTo>
                      <a:lnTo>
                        <a:pt x="373" y="1999"/>
                      </a:lnTo>
                      <a:lnTo>
                        <a:pt x="372" y="1999"/>
                      </a:lnTo>
                      <a:lnTo>
                        <a:pt x="373" y="1998"/>
                      </a:lnTo>
                      <a:lnTo>
                        <a:pt x="372" y="1998"/>
                      </a:lnTo>
                      <a:lnTo>
                        <a:pt x="372" y="1999"/>
                      </a:lnTo>
                      <a:lnTo>
                        <a:pt x="372" y="1998"/>
                      </a:lnTo>
                      <a:lnTo>
                        <a:pt x="372" y="1997"/>
                      </a:lnTo>
                      <a:lnTo>
                        <a:pt x="371" y="1997"/>
                      </a:lnTo>
                      <a:lnTo>
                        <a:pt x="371" y="1997"/>
                      </a:lnTo>
                      <a:lnTo>
                        <a:pt x="371" y="1997"/>
                      </a:lnTo>
                      <a:lnTo>
                        <a:pt x="369" y="1997"/>
                      </a:lnTo>
                      <a:lnTo>
                        <a:pt x="368" y="1998"/>
                      </a:lnTo>
                      <a:lnTo>
                        <a:pt x="367" y="1998"/>
                      </a:lnTo>
                      <a:lnTo>
                        <a:pt x="366" y="1999"/>
                      </a:lnTo>
                      <a:lnTo>
                        <a:pt x="365" y="2001"/>
                      </a:lnTo>
                      <a:lnTo>
                        <a:pt x="365" y="2003"/>
                      </a:lnTo>
                      <a:lnTo>
                        <a:pt x="365" y="2004"/>
                      </a:lnTo>
                      <a:lnTo>
                        <a:pt x="364" y="2005"/>
                      </a:lnTo>
                      <a:lnTo>
                        <a:pt x="364" y="2005"/>
                      </a:lnTo>
                      <a:lnTo>
                        <a:pt x="363" y="2010"/>
                      </a:lnTo>
                      <a:lnTo>
                        <a:pt x="363" y="2011"/>
                      </a:lnTo>
                      <a:lnTo>
                        <a:pt x="364" y="2011"/>
                      </a:lnTo>
                      <a:lnTo>
                        <a:pt x="364" y="2011"/>
                      </a:lnTo>
                      <a:lnTo>
                        <a:pt x="364" y="2012"/>
                      </a:lnTo>
                      <a:lnTo>
                        <a:pt x="365" y="2012"/>
                      </a:lnTo>
                      <a:lnTo>
                        <a:pt x="365" y="2012"/>
                      </a:lnTo>
                      <a:lnTo>
                        <a:pt x="364" y="2013"/>
                      </a:lnTo>
                      <a:lnTo>
                        <a:pt x="365" y="2013"/>
                      </a:lnTo>
                      <a:lnTo>
                        <a:pt x="365" y="2014"/>
                      </a:lnTo>
                      <a:lnTo>
                        <a:pt x="365" y="2014"/>
                      </a:lnTo>
                      <a:lnTo>
                        <a:pt x="365" y="2014"/>
                      </a:lnTo>
                      <a:lnTo>
                        <a:pt x="365" y="2015"/>
                      </a:lnTo>
                      <a:lnTo>
                        <a:pt x="364" y="2015"/>
                      </a:lnTo>
                      <a:lnTo>
                        <a:pt x="364" y="2016"/>
                      </a:lnTo>
                      <a:lnTo>
                        <a:pt x="362" y="2017"/>
                      </a:lnTo>
                      <a:lnTo>
                        <a:pt x="362" y="2018"/>
                      </a:lnTo>
                      <a:lnTo>
                        <a:pt x="363" y="2018"/>
                      </a:lnTo>
                      <a:lnTo>
                        <a:pt x="363" y="2018"/>
                      </a:lnTo>
                      <a:lnTo>
                        <a:pt x="362" y="2020"/>
                      </a:lnTo>
                      <a:lnTo>
                        <a:pt x="362" y="2020"/>
                      </a:lnTo>
                      <a:lnTo>
                        <a:pt x="361" y="2021"/>
                      </a:lnTo>
                      <a:lnTo>
                        <a:pt x="361" y="2023"/>
                      </a:lnTo>
                      <a:lnTo>
                        <a:pt x="362" y="2023"/>
                      </a:lnTo>
                      <a:lnTo>
                        <a:pt x="362" y="2024"/>
                      </a:lnTo>
                      <a:lnTo>
                        <a:pt x="361" y="2024"/>
                      </a:lnTo>
                      <a:lnTo>
                        <a:pt x="361" y="2025"/>
                      </a:lnTo>
                      <a:lnTo>
                        <a:pt x="359" y="2026"/>
                      </a:lnTo>
                      <a:lnTo>
                        <a:pt x="359" y="2027"/>
                      </a:lnTo>
                      <a:lnTo>
                        <a:pt x="358" y="2027"/>
                      </a:lnTo>
                      <a:lnTo>
                        <a:pt x="357" y="2027"/>
                      </a:lnTo>
                      <a:lnTo>
                        <a:pt x="356" y="2027"/>
                      </a:lnTo>
                      <a:lnTo>
                        <a:pt x="356" y="2027"/>
                      </a:lnTo>
                      <a:lnTo>
                        <a:pt x="356" y="2027"/>
                      </a:lnTo>
                      <a:lnTo>
                        <a:pt x="356" y="2026"/>
                      </a:lnTo>
                      <a:lnTo>
                        <a:pt x="354" y="2026"/>
                      </a:lnTo>
                      <a:lnTo>
                        <a:pt x="354" y="2027"/>
                      </a:lnTo>
                      <a:lnTo>
                        <a:pt x="353" y="2026"/>
                      </a:lnTo>
                      <a:lnTo>
                        <a:pt x="352" y="2026"/>
                      </a:lnTo>
                      <a:lnTo>
                        <a:pt x="352" y="2026"/>
                      </a:lnTo>
                      <a:lnTo>
                        <a:pt x="352" y="2026"/>
                      </a:lnTo>
                      <a:lnTo>
                        <a:pt x="351" y="2025"/>
                      </a:lnTo>
                      <a:lnTo>
                        <a:pt x="350" y="2025"/>
                      </a:lnTo>
                      <a:lnTo>
                        <a:pt x="349" y="2025"/>
                      </a:lnTo>
                      <a:lnTo>
                        <a:pt x="348" y="2025"/>
                      </a:lnTo>
                      <a:lnTo>
                        <a:pt x="347" y="2026"/>
                      </a:lnTo>
                      <a:lnTo>
                        <a:pt x="346" y="2026"/>
                      </a:lnTo>
                      <a:lnTo>
                        <a:pt x="346" y="2026"/>
                      </a:lnTo>
                      <a:lnTo>
                        <a:pt x="345" y="2026"/>
                      </a:lnTo>
                      <a:lnTo>
                        <a:pt x="344" y="2026"/>
                      </a:lnTo>
                      <a:lnTo>
                        <a:pt x="344" y="2025"/>
                      </a:lnTo>
                      <a:lnTo>
                        <a:pt x="344" y="2024"/>
                      </a:lnTo>
                      <a:lnTo>
                        <a:pt x="343" y="2024"/>
                      </a:lnTo>
                      <a:lnTo>
                        <a:pt x="341" y="2023"/>
                      </a:lnTo>
                      <a:lnTo>
                        <a:pt x="340" y="2023"/>
                      </a:lnTo>
                      <a:lnTo>
                        <a:pt x="338" y="2021"/>
                      </a:lnTo>
                      <a:lnTo>
                        <a:pt x="338" y="2020"/>
                      </a:lnTo>
                      <a:lnTo>
                        <a:pt x="338" y="2020"/>
                      </a:lnTo>
                      <a:lnTo>
                        <a:pt x="338" y="2020"/>
                      </a:lnTo>
                      <a:lnTo>
                        <a:pt x="337" y="2019"/>
                      </a:lnTo>
                      <a:lnTo>
                        <a:pt x="337" y="2018"/>
                      </a:lnTo>
                      <a:lnTo>
                        <a:pt x="337" y="2018"/>
                      </a:lnTo>
                      <a:lnTo>
                        <a:pt x="335" y="2017"/>
                      </a:lnTo>
                      <a:lnTo>
                        <a:pt x="335" y="2016"/>
                      </a:lnTo>
                      <a:lnTo>
                        <a:pt x="335" y="2015"/>
                      </a:lnTo>
                      <a:lnTo>
                        <a:pt x="335" y="2015"/>
                      </a:lnTo>
                      <a:lnTo>
                        <a:pt x="335" y="2015"/>
                      </a:lnTo>
                      <a:lnTo>
                        <a:pt x="335" y="2014"/>
                      </a:lnTo>
                      <a:lnTo>
                        <a:pt x="335" y="2014"/>
                      </a:lnTo>
                      <a:lnTo>
                        <a:pt x="335" y="2013"/>
                      </a:lnTo>
                      <a:lnTo>
                        <a:pt x="334" y="2012"/>
                      </a:lnTo>
                      <a:lnTo>
                        <a:pt x="334" y="2011"/>
                      </a:lnTo>
                      <a:lnTo>
                        <a:pt x="334" y="2011"/>
                      </a:lnTo>
                      <a:lnTo>
                        <a:pt x="334" y="2010"/>
                      </a:lnTo>
                      <a:lnTo>
                        <a:pt x="334" y="2008"/>
                      </a:lnTo>
                      <a:lnTo>
                        <a:pt x="334" y="2008"/>
                      </a:lnTo>
                      <a:lnTo>
                        <a:pt x="334" y="2008"/>
                      </a:lnTo>
                      <a:lnTo>
                        <a:pt x="333" y="2007"/>
                      </a:lnTo>
                      <a:lnTo>
                        <a:pt x="333" y="2007"/>
                      </a:lnTo>
                      <a:lnTo>
                        <a:pt x="333" y="2007"/>
                      </a:lnTo>
                      <a:lnTo>
                        <a:pt x="333" y="2005"/>
                      </a:lnTo>
                      <a:lnTo>
                        <a:pt x="333" y="2005"/>
                      </a:lnTo>
                      <a:lnTo>
                        <a:pt x="333" y="2004"/>
                      </a:lnTo>
                      <a:lnTo>
                        <a:pt x="333" y="2004"/>
                      </a:lnTo>
                      <a:lnTo>
                        <a:pt x="333" y="2004"/>
                      </a:lnTo>
                      <a:lnTo>
                        <a:pt x="334" y="2003"/>
                      </a:lnTo>
                      <a:lnTo>
                        <a:pt x="334" y="2000"/>
                      </a:lnTo>
                      <a:lnTo>
                        <a:pt x="334" y="1999"/>
                      </a:lnTo>
                      <a:lnTo>
                        <a:pt x="333" y="1999"/>
                      </a:lnTo>
                      <a:lnTo>
                        <a:pt x="333" y="1998"/>
                      </a:lnTo>
                      <a:lnTo>
                        <a:pt x="332" y="1998"/>
                      </a:lnTo>
                      <a:lnTo>
                        <a:pt x="332" y="1997"/>
                      </a:lnTo>
                      <a:lnTo>
                        <a:pt x="332" y="1997"/>
                      </a:lnTo>
                      <a:lnTo>
                        <a:pt x="332" y="1996"/>
                      </a:lnTo>
                      <a:lnTo>
                        <a:pt x="333" y="1995"/>
                      </a:lnTo>
                      <a:lnTo>
                        <a:pt x="333" y="1994"/>
                      </a:lnTo>
                      <a:lnTo>
                        <a:pt x="333" y="1993"/>
                      </a:lnTo>
                      <a:lnTo>
                        <a:pt x="332" y="1993"/>
                      </a:lnTo>
                      <a:lnTo>
                        <a:pt x="332" y="1992"/>
                      </a:lnTo>
                      <a:lnTo>
                        <a:pt x="333" y="1992"/>
                      </a:lnTo>
                      <a:lnTo>
                        <a:pt x="333" y="1990"/>
                      </a:lnTo>
                      <a:lnTo>
                        <a:pt x="333" y="1989"/>
                      </a:lnTo>
                      <a:lnTo>
                        <a:pt x="333" y="1989"/>
                      </a:lnTo>
                      <a:lnTo>
                        <a:pt x="334" y="1988"/>
                      </a:lnTo>
                      <a:lnTo>
                        <a:pt x="334" y="1987"/>
                      </a:lnTo>
                      <a:lnTo>
                        <a:pt x="334" y="1986"/>
                      </a:lnTo>
                      <a:lnTo>
                        <a:pt x="335" y="1986"/>
                      </a:lnTo>
                      <a:lnTo>
                        <a:pt x="335" y="1986"/>
                      </a:lnTo>
                      <a:lnTo>
                        <a:pt x="337" y="1985"/>
                      </a:lnTo>
                      <a:lnTo>
                        <a:pt x="337" y="1983"/>
                      </a:lnTo>
                      <a:lnTo>
                        <a:pt x="337" y="1983"/>
                      </a:lnTo>
                      <a:lnTo>
                        <a:pt x="337" y="1982"/>
                      </a:lnTo>
                      <a:lnTo>
                        <a:pt x="337" y="1981"/>
                      </a:lnTo>
                      <a:lnTo>
                        <a:pt x="337" y="1980"/>
                      </a:lnTo>
                      <a:lnTo>
                        <a:pt x="338" y="1979"/>
                      </a:lnTo>
                      <a:lnTo>
                        <a:pt x="338" y="1978"/>
                      </a:lnTo>
                      <a:lnTo>
                        <a:pt x="339" y="1978"/>
                      </a:lnTo>
                      <a:lnTo>
                        <a:pt x="339" y="1977"/>
                      </a:lnTo>
                      <a:lnTo>
                        <a:pt x="339" y="1977"/>
                      </a:lnTo>
                      <a:lnTo>
                        <a:pt x="340" y="1976"/>
                      </a:lnTo>
                      <a:lnTo>
                        <a:pt x="340" y="1976"/>
                      </a:lnTo>
                      <a:lnTo>
                        <a:pt x="340" y="1975"/>
                      </a:lnTo>
                      <a:lnTo>
                        <a:pt x="342" y="1972"/>
                      </a:lnTo>
                      <a:lnTo>
                        <a:pt x="343" y="1971"/>
                      </a:lnTo>
                      <a:lnTo>
                        <a:pt x="343" y="1971"/>
                      </a:lnTo>
                      <a:lnTo>
                        <a:pt x="344" y="1970"/>
                      </a:lnTo>
                      <a:lnTo>
                        <a:pt x="345" y="1970"/>
                      </a:lnTo>
                      <a:lnTo>
                        <a:pt x="345" y="1970"/>
                      </a:lnTo>
                      <a:lnTo>
                        <a:pt x="346" y="1969"/>
                      </a:lnTo>
                      <a:lnTo>
                        <a:pt x="346" y="1968"/>
                      </a:lnTo>
                      <a:lnTo>
                        <a:pt x="347" y="1968"/>
                      </a:lnTo>
                      <a:lnTo>
                        <a:pt x="347" y="1968"/>
                      </a:lnTo>
                      <a:lnTo>
                        <a:pt x="347" y="1969"/>
                      </a:lnTo>
                      <a:lnTo>
                        <a:pt x="348" y="1969"/>
                      </a:lnTo>
                      <a:lnTo>
                        <a:pt x="349" y="1968"/>
                      </a:lnTo>
                      <a:lnTo>
                        <a:pt x="349" y="1968"/>
                      </a:lnTo>
                      <a:lnTo>
                        <a:pt x="350" y="1968"/>
                      </a:lnTo>
                      <a:lnTo>
                        <a:pt x="351" y="1967"/>
                      </a:lnTo>
                      <a:lnTo>
                        <a:pt x="351" y="1967"/>
                      </a:lnTo>
                      <a:lnTo>
                        <a:pt x="351" y="1966"/>
                      </a:lnTo>
                      <a:lnTo>
                        <a:pt x="351" y="1966"/>
                      </a:lnTo>
                      <a:lnTo>
                        <a:pt x="352" y="1966"/>
                      </a:lnTo>
                      <a:lnTo>
                        <a:pt x="352" y="1967"/>
                      </a:lnTo>
                      <a:lnTo>
                        <a:pt x="353" y="1967"/>
                      </a:lnTo>
                      <a:lnTo>
                        <a:pt x="354" y="1967"/>
                      </a:lnTo>
                      <a:lnTo>
                        <a:pt x="355" y="1967"/>
                      </a:lnTo>
                      <a:lnTo>
                        <a:pt x="355" y="1967"/>
                      </a:lnTo>
                      <a:lnTo>
                        <a:pt x="355" y="1967"/>
                      </a:lnTo>
                      <a:lnTo>
                        <a:pt x="355" y="1968"/>
                      </a:lnTo>
                      <a:lnTo>
                        <a:pt x="356" y="1968"/>
                      </a:lnTo>
                      <a:lnTo>
                        <a:pt x="357" y="1967"/>
                      </a:lnTo>
                      <a:lnTo>
                        <a:pt x="357" y="1967"/>
                      </a:lnTo>
                      <a:lnTo>
                        <a:pt x="358" y="1967"/>
                      </a:lnTo>
                      <a:lnTo>
                        <a:pt x="361" y="1966"/>
                      </a:lnTo>
                      <a:lnTo>
                        <a:pt x="361" y="1965"/>
                      </a:lnTo>
                      <a:lnTo>
                        <a:pt x="361" y="1965"/>
                      </a:lnTo>
                      <a:lnTo>
                        <a:pt x="362" y="1965"/>
                      </a:lnTo>
                      <a:lnTo>
                        <a:pt x="363" y="1966"/>
                      </a:lnTo>
                      <a:lnTo>
                        <a:pt x="365" y="1965"/>
                      </a:lnTo>
                      <a:lnTo>
                        <a:pt x="366" y="1965"/>
                      </a:lnTo>
                      <a:lnTo>
                        <a:pt x="366" y="1964"/>
                      </a:lnTo>
                      <a:lnTo>
                        <a:pt x="367" y="1964"/>
                      </a:lnTo>
                      <a:lnTo>
                        <a:pt x="367" y="1964"/>
                      </a:lnTo>
                      <a:lnTo>
                        <a:pt x="368" y="1964"/>
                      </a:lnTo>
                      <a:lnTo>
                        <a:pt x="368" y="1964"/>
                      </a:lnTo>
                      <a:lnTo>
                        <a:pt x="368" y="1964"/>
                      </a:lnTo>
                      <a:lnTo>
                        <a:pt x="368" y="1964"/>
                      </a:lnTo>
                      <a:lnTo>
                        <a:pt x="369" y="1964"/>
                      </a:lnTo>
                      <a:lnTo>
                        <a:pt x="369" y="1965"/>
                      </a:lnTo>
                      <a:lnTo>
                        <a:pt x="369" y="1965"/>
                      </a:lnTo>
                      <a:lnTo>
                        <a:pt x="370" y="1965"/>
                      </a:lnTo>
                      <a:lnTo>
                        <a:pt x="370" y="1965"/>
                      </a:lnTo>
                      <a:lnTo>
                        <a:pt x="370" y="1964"/>
                      </a:lnTo>
                      <a:lnTo>
                        <a:pt x="371" y="1963"/>
                      </a:lnTo>
                      <a:lnTo>
                        <a:pt x="372" y="1964"/>
                      </a:lnTo>
                      <a:lnTo>
                        <a:pt x="372" y="1963"/>
                      </a:lnTo>
                      <a:lnTo>
                        <a:pt x="373" y="1962"/>
                      </a:lnTo>
                      <a:lnTo>
                        <a:pt x="374" y="1962"/>
                      </a:lnTo>
                      <a:lnTo>
                        <a:pt x="375" y="1962"/>
                      </a:lnTo>
                      <a:lnTo>
                        <a:pt x="375" y="1961"/>
                      </a:lnTo>
                      <a:lnTo>
                        <a:pt x="375" y="1960"/>
                      </a:lnTo>
                      <a:lnTo>
                        <a:pt x="376" y="1959"/>
                      </a:lnTo>
                      <a:lnTo>
                        <a:pt x="376" y="1959"/>
                      </a:lnTo>
                      <a:lnTo>
                        <a:pt x="376" y="1958"/>
                      </a:lnTo>
                      <a:lnTo>
                        <a:pt x="376" y="1958"/>
                      </a:lnTo>
                      <a:lnTo>
                        <a:pt x="376" y="1958"/>
                      </a:lnTo>
                      <a:lnTo>
                        <a:pt x="375" y="1958"/>
                      </a:lnTo>
                      <a:lnTo>
                        <a:pt x="376" y="1957"/>
                      </a:lnTo>
                      <a:lnTo>
                        <a:pt x="375" y="1957"/>
                      </a:lnTo>
                      <a:lnTo>
                        <a:pt x="375" y="1957"/>
                      </a:lnTo>
                      <a:lnTo>
                        <a:pt x="375" y="1956"/>
                      </a:lnTo>
                      <a:lnTo>
                        <a:pt x="375" y="1956"/>
                      </a:lnTo>
                      <a:lnTo>
                        <a:pt x="374" y="1956"/>
                      </a:lnTo>
                      <a:lnTo>
                        <a:pt x="374" y="1957"/>
                      </a:lnTo>
                      <a:lnTo>
                        <a:pt x="374" y="1957"/>
                      </a:lnTo>
                      <a:lnTo>
                        <a:pt x="375" y="1958"/>
                      </a:lnTo>
                      <a:lnTo>
                        <a:pt x="374" y="1958"/>
                      </a:lnTo>
                      <a:lnTo>
                        <a:pt x="373" y="1958"/>
                      </a:lnTo>
                      <a:lnTo>
                        <a:pt x="373" y="1958"/>
                      </a:lnTo>
                      <a:lnTo>
                        <a:pt x="372" y="1959"/>
                      </a:lnTo>
                      <a:lnTo>
                        <a:pt x="371" y="1959"/>
                      </a:lnTo>
                      <a:lnTo>
                        <a:pt x="371" y="1959"/>
                      </a:lnTo>
                      <a:lnTo>
                        <a:pt x="371" y="1959"/>
                      </a:lnTo>
                      <a:lnTo>
                        <a:pt x="371" y="1958"/>
                      </a:lnTo>
                      <a:lnTo>
                        <a:pt x="370" y="1959"/>
                      </a:lnTo>
                      <a:lnTo>
                        <a:pt x="370" y="1959"/>
                      </a:lnTo>
                      <a:lnTo>
                        <a:pt x="369" y="1959"/>
                      </a:lnTo>
                      <a:lnTo>
                        <a:pt x="370" y="1960"/>
                      </a:lnTo>
                      <a:lnTo>
                        <a:pt x="369" y="1960"/>
                      </a:lnTo>
                      <a:lnTo>
                        <a:pt x="369" y="1961"/>
                      </a:lnTo>
                      <a:lnTo>
                        <a:pt x="369" y="1961"/>
                      </a:lnTo>
                      <a:lnTo>
                        <a:pt x="369" y="1961"/>
                      </a:lnTo>
                      <a:lnTo>
                        <a:pt x="369" y="1962"/>
                      </a:lnTo>
                      <a:lnTo>
                        <a:pt x="369" y="1962"/>
                      </a:lnTo>
                      <a:lnTo>
                        <a:pt x="369" y="1962"/>
                      </a:lnTo>
                      <a:lnTo>
                        <a:pt x="369" y="1962"/>
                      </a:lnTo>
                      <a:lnTo>
                        <a:pt x="368" y="1963"/>
                      </a:lnTo>
                      <a:lnTo>
                        <a:pt x="368" y="1963"/>
                      </a:lnTo>
                      <a:lnTo>
                        <a:pt x="367" y="1963"/>
                      </a:lnTo>
                      <a:lnTo>
                        <a:pt x="367" y="1963"/>
                      </a:lnTo>
                      <a:lnTo>
                        <a:pt x="367" y="1963"/>
                      </a:lnTo>
                      <a:lnTo>
                        <a:pt x="367" y="1962"/>
                      </a:lnTo>
                      <a:lnTo>
                        <a:pt x="367" y="1962"/>
                      </a:lnTo>
                      <a:lnTo>
                        <a:pt x="366" y="1963"/>
                      </a:lnTo>
                      <a:lnTo>
                        <a:pt x="366" y="1963"/>
                      </a:lnTo>
                      <a:lnTo>
                        <a:pt x="365" y="1963"/>
                      </a:lnTo>
                      <a:lnTo>
                        <a:pt x="365" y="1963"/>
                      </a:lnTo>
                      <a:lnTo>
                        <a:pt x="365" y="1963"/>
                      </a:lnTo>
                      <a:lnTo>
                        <a:pt x="363" y="1962"/>
                      </a:lnTo>
                      <a:lnTo>
                        <a:pt x="363" y="1963"/>
                      </a:lnTo>
                      <a:lnTo>
                        <a:pt x="363" y="1963"/>
                      </a:lnTo>
                      <a:lnTo>
                        <a:pt x="363" y="1962"/>
                      </a:lnTo>
                      <a:lnTo>
                        <a:pt x="363" y="1962"/>
                      </a:lnTo>
                      <a:lnTo>
                        <a:pt x="361" y="1961"/>
                      </a:lnTo>
                      <a:lnTo>
                        <a:pt x="359" y="1961"/>
                      </a:lnTo>
                      <a:lnTo>
                        <a:pt x="359" y="1961"/>
                      </a:lnTo>
                      <a:lnTo>
                        <a:pt x="359" y="1961"/>
                      </a:lnTo>
                      <a:lnTo>
                        <a:pt x="359" y="1962"/>
                      </a:lnTo>
                      <a:lnTo>
                        <a:pt x="358" y="1962"/>
                      </a:lnTo>
                      <a:lnTo>
                        <a:pt x="358" y="1961"/>
                      </a:lnTo>
                      <a:lnTo>
                        <a:pt x="357" y="1960"/>
                      </a:lnTo>
                      <a:lnTo>
                        <a:pt x="357" y="1959"/>
                      </a:lnTo>
                      <a:lnTo>
                        <a:pt x="357" y="1959"/>
                      </a:lnTo>
                      <a:lnTo>
                        <a:pt x="356" y="1960"/>
                      </a:lnTo>
                      <a:lnTo>
                        <a:pt x="355" y="1960"/>
                      </a:lnTo>
                      <a:lnTo>
                        <a:pt x="354" y="1959"/>
                      </a:lnTo>
                      <a:lnTo>
                        <a:pt x="354" y="1958"/>
                      </a:lnTo>
                      <a:lnTo>
                        <a:pt x="353" y="1958"/>
                      </a:lnTo>
                      <a:lnTo>
                        <a:pt x="353" y="1958"/>
                      </a:lnTo>
                      <a:lnTo>
                        <a:pt x="352" y="1958"/>
                      </a:lnTo>
                      <a:lnTo>
                        <a:pt x="352" y="1958"/>
                      </a:lnTo>
                      <a:lnTo>
                        <a:pt x="352" y="1958"/>
                      </a:lnTo>
                      <a:lnTo>
                        <a:pt x="352" y="1959"/>
                      </a:lnTo>
                      <a:lnTo>
                        <a:pt x="352" y="1959"/>
                      </a:lnTo>
                      <a:lnTo>
                        <a:pt x="351" y="1958"/>
                      </a:lnTo>
                      <a:lnTo>
                        <a:pt x="351" y="1959"/>
                      </a:lnTo>
                      <a:lnTo>
                        <a:pt x="350" y="1959"/>
                      </a:lnTo>
                      <a:lnTo>
                        <a:pt x="350" y="1958"/>
                      </a:lnTo>
                      <a:lnTo>
                        <a:pt x="351" y="1958"/>
                      </a:lnTo>
                      <a:lnTo>
                        <a:pt x="351" y="1956"/>
                      </a:lnTo>
                      <a:lnTo>
                        <a:pt x="352" y="1956"/>
                      </a:lnTo>
                      <a:lnTo>
                        <a:pt x="352" y="1956"/>
                      </a:lnTo>
                      <a:lnTo>
                        <a:pt x="352" y="1955"/>
                      </a:lnTo>
                      <a:lnTo>
                        <a:pt x="351" y="1955"/>
                      </a:lnTo>
                      <a:lnTo>
                        <a:pt x="351" y="1953"/>
                      </a:lnTo>
                      <a:lnTo>
                        <a:pt x="351" y="1953"/>
                      </a:lnTo>
                      <a:lnTo>
                        <a:pt x="352" y="1953"/>
                      </a:lnTo>
                      <a:lnTo>
                        <a:pt x="352" y="1952"/>
                      </a:lnTo>
                      <a:lnTo>
                        <a:pt x="353" y="1951"/>
                      </a:lnTo>
                      <a:lnTo>
                        <a:pt x="353" y="1950"/>
                      </a:lnTo>
                      <a:lnTo>
                        <a:pt x="353" y="1949"/>
                      </a:lnTo>
                      <a:lnTo>
                        <a:pt x="354" y="1948"/>
                      </a:lnTo>
                      <a:lnTo>
                        <a:pt x="354" y="1948"/>
                      </a:lnTo>
                      <a:lnTo>
                        <a:pt x="355" y="1947"/>
                      </a:lnTo>
                      <a:lnTo>
                        <a:pt x="355" y="1947"/>
                      </a:lnTo>
                      <a:lnTo>
                        <a:pt x="355" y="1947"/>
                      </a:lnTo>
                      <a:lnTo>
                        <a:pt x="356" y="1945"/>
                      </a:lnTo>
                      <a:lnTo>
                        <a:pt x="356" y="1945"/>
                      </a:lnTo>
                      <a:lnTo>
                        <a:pt x="356" y="1944"/>
                      </a:lnTo>
                      <a:lnTo>
                        <a:pt x="357" y="1943"/>
                      </a:lnTo>
                      <a:lnTo>
                        <a:pt x="357" y="1943"/>
                      </a:lnTo>
                      <a:lnTo>
                        <a:pt x="358" y="1942"/>
                      </a:lnTo>
                      <a:lnTo>
                        <a:pt x="359" y="1942"/>
                      </a:lnTo>
                      <a:lnTo>
                        <a:pt x="359" y="1942"/>
                      </a:lnTo>
                      <a:lnTo>
                        <a:pt x="359" y="1941"/>
                      </a:lnTo>
                      <a:lnTo>
                        <a:pt x="359" y="1941"/>
                      </a:lnTo>
                      <a:lnTo>
                        <a:pt x="359" y="1940"/>
                      </a:lnTo>
                      <a:lnTo>
                        <a:pt x="359" y="1939"/>
                      </a:lnTo>
                      <a:lnTo>
                        <a:pt x="359" y="1937"/>
                      </a:lnTo>
                      <a:lnTo>
                        <a:pt x="361" y="1937"/>
                      </a:lnTo>
                      <a:lnTo>
                        <a:pt x="362" y="1935"/>
                      </a:lnTo>
                      <a:lnTo>
                        <a:pt x="363" y="1935"/>
                      </a:lnTo>
                      <a:lnTo>
                        <a:pt x="363" y="1934"/>
                      </a:lnTo>
                      <a:lnTo>
                        <a:pt x="364" y="1934"/>
                      </a:lnTo>
                      <a:lnTo>
                        <a:pt x="364" y="1933"/>
                      </a:lnTo>
                      <a:lnTo>
                        <a:pt x="365" y="1933"/>
                      </a:lnTo>
                      <a:lnTo>
                        <a:pt x="365" y="1933"/>
                      </a:lnTo>
                      <a:lnTo>
                        <a:pt x="366" y="1932"/>
                      </a:lnTo>
                      <a:lnTo>
                        <a:pt x="368" y="1930"/>
                      </a:lnTo>
                      <a:lnTo>
                        <a:pt x="370" y="1930"/>
                      </a:lnTo>
                      <a:lnTo>
                        <a:pt x="371" y="1928"/>
                      </a:lnTo>
                      <a:lnTo>
                        <a:pt x="371" y="1928"/>
                      </a:lnTo>
                      <a:lnTo>
                        <a:pt x="372" y="1928"/>
                      </a:lnTo>
                      <a:lnTo>
                        <a:pt x="372" y="1928"/>
                      </a:lnTo>
                      <a:lnTo>
                        <a:pt x="372" y="1926"/>
                      </a:lnTo>
                      <a:lnTo>
                        <a:pt x="373" y="1925"/>
                      </a:lnTo>
                      <a:lnTo>
                        <a:pt x="373" y="1925"/>
                      </a:lnTo>
                      <a:lnTo>
                        <a:pt x="374" y="1924"/>
                      </a:lnTo>
                      <a:lnTo>
                        <a:pt x="375" y="1923"/>
                      </a:lnTo>
                      <a:lnTo>
                        <a:pt x="376" y="1923"/>
                      </a:lnTo>
                      <a:lnTo>
                        <a:pt x="376" y="1923"/>
                      </a:lnTo>
                      <a:lnTo>
                        <a:pt x="377" y="1922"/>
                      </a:lnTo>
                      <a:lnTo>
                        <a:pt x="377" y="1922"/>
                      </a:lnTo>
                      <a:lnTo>
                        <a:pt x="378" y="1921"/>
                      </a:lnTo>
                      <a:lnTo>
                        <a:pt x="379" y="1920"/>
                      </a:lnTo>
                      <a:lnTo>
                        <a:pt x="380" y="1920"/>
                      </a:lnTo>
                      <a:lnTo>
                        <a:pt x="381" y="1919"/>
                      </a:lnTo>
                      <a:lnTo>
                        <a:pt x="382" y="1919"/>
                      </a:lnTo>
                      <a:lnTo>
                        <a:pt x="382" y="1918"/>
                      </a:lnTo>
                      <a:lnTo>
                        <a:pt x="383" y="1918"/>
                      </a:lnTo>
                      <a:lnTo>
                        <a:pt x="384" y="1917"/>
                      </a:lnTo>
                      <a:lnTo>
                        <a:pt x="385" y="1917"/>
                      </a:lnTo>
                      <a:lnTo>
                        <a:pt x="385" y="1916"/>
                      </a:lnTo>
                      <a:lnTo>
                        <a:pt x="385" y="1916"/>
                      </a:lnTo>
                      <a:lnTo>
                        <a:pt x="386" y="1916"/>
                      </a:lnTo>
                      <a:lnTo>
                        <a:pt x="386" y="1915"/>
                      </a:lnTo>
                      <a:lnTo>
                        <a:pt x="386" y="1915"/>
                      </a:lnTo>
                      <a:lnTo>
                        <a:pt x="388" y="1915"/>
                      </a:lnTo>
                      <a:lnTo>
                        <a:pt x="389" y="1915"/>
                      </a:lnTo>
                      <a:lnTo>
                        <a:pt x="389" y="1914"/>
                      </a:lnTo>
                      <a:lnTo>
                        <a:pt x="389" y="1913"/>
                      </a:lnTo>
                      <a:lnTo>
                        <a:pt x="389" y="1912"/>
                      </a:lnTo>
                      <a:lnTo>
                        <a:pt x="389" y="1912"/>
                      </a:lnTo>
                      <a:lnTo>
                        <a:pt x="390" y="1911"/>
                      </a:lnTo>
                      <a:lnTo>
                        <a:pt x="391" y="1911"/>
                      </a:lnTo>
                      <a:lnTo>
                        <a:pt x="391" y="1910"/>
                      </a:lnTo>
                      <a:lnTo>
                        <a:pt x="392" y="1910"/>
                      </a:lnTo>
                      <a:lnTo>
                        <a:pt x="393" y="1910"/>
                      </a:lnTo>
                      <a:lnTo>
                        <a:pt x="393" y="1910"/>
                      </a:lnTo>
                      <a:lnTo>
                        <a:pt x="393" y="1909"/>
                      </a:lnTo>
                      <a:lnTo>
                        <a:pt x="393" y="1907"/>
                      </a:lnTo>
                      <a:lnTo>
                        <a:pt x="393" y="1906"/>
                      </a:lnTo>
                      <a:lnTo>
                        <a:pt x="393" y="1906"/>
                      </a:lnTo>
                      <a:lnTo>
                        <a:pt x="394" y="1905"/>
                      </a:lnTo>
                      <a:lnTo>
                        <a:pt x="395" y="1905"/>
                      </a:lnTo>
                      <a:lnTo>
                        <a:pt x="395" y="1906"/>
                      </a:lnTo>
                      <a:lnTo>
                        <a:pt x="396" y="1907"/>
                      </a:lnTo>
                      <a:lnTo>
                        <a:pt x="396" y="1907"/>
                      </a:lnTo>
                      <a:lnTo>
                        <a:pt x="397" y="1907"/>
                      </a:lnTo>
                      <a:lnTo>
                        <a:pt x="397" y="1907"/>
                      </a:lnTo>
                      <a:lnTo>
                        <a:pt x="397" y="1906"/>
                      </a:lnTo>
                      <a:lnTo>
                        <a:pt x="397" y="1906"/>
                      </a:lnTo>
                      <a:lnTo>
                        <a:pt x="397" y="1905"/>
                      </a:lnTo>
                      <a:lnTo>
                        <a:pt x="399" y="1904"/>
                      </a:lnTo>
                      <a:lnTo>
                        <a:pt x="399" y="1904"/>
                      </a:lnTo>
                      <a:lnTo>
                        <a:pt x="399" y="1904"/>
                      </a:lnTo>
                      <a:lnTo>
                        <a:pt x="399" y="1903"/>
                      </a:lnTo>
                      <a:lnTo>
                        <a:pt x="400" y="1904"/>
                      </a:lnTo>
                      <a:lnTo>
                        <a:pt x="401" y="1902"/>
                      </a:lnTo>
                      <a:lnTo>
                        <a:pt x="401" y="1902"/>
                      </a:lnTo>
                      <a:lnTo>
                        <a:pt x="402" y="1902"/>
                      </a:lnTo>
                      <a:lnTo>
                        <a:pt x="402" y="1902"/>
                      </a:lnTo>
                      <a:lnTo>
                        <a:pt x="403" y="1901"/>
                      </a:lnTo>
                      <a:lnTo>
                        <a:pt x="403" y="1901"/>
                      </a:lnTo>
                      <a:lnTo>
                        <a:pt x="403" y="1902"/>
                      </a:lnTo>
                      <a:lnTo>
                        <a:pt x="403" y="1902"/>
                      </a:lnTo>
                      <a:lnTo>
                        <a:pt x="404" y="1901"/>
                      </a:lnTo>
                      <a:lnTo>
                        <a:pt x="404" y="1900"/>
                      </a:lnTo>
                      <a:lnTo>
                        <a:pt x="404" y="1900"/>
                      </a:lnTo>
                      <a:lnTo>
                        <a:pt x="404" y="1900"/>
                      </a:lnTo>
                      <a:lnTo>
                        <a:pt x="405" y="1900"/>
                      </a:lnTo>
                      <a:lnTo>
                        <a:pt x="406" y="1899"/>
                      </a:lnTo>
                      <a:lnTo>
                        <a:pt x="405" y="1898"/>
                      </a:lnTo>
                      <a:lnTo>
                        <a:pt x="405" y="1897"/>
                      </a:lnTo>
                      <a:lnTo>
                        <a:pt x="406" y="1897"/>
                      </a:lnTo>
                      <a:lnTo>
                        <a:pt x="406" y="1896"/>
                      </a:lnTo>
                      <a:lnTo>
                        <a:pt x="407" y="1896"/>
                      </a:lnTo>
                      <a:lnTo>
                        <a:pt x="407" y="1896"/>
                      </a:lnTo>
                      <a:lnTo>
                        <a:pt x="407" y="1895"/>
                      </a:lnTo>
                      <a:lnTo>
                        <a:pt x="408" y="1895"/>
                      </a:lnTo>
                      <a:lnTo>
                        <a:pt x="408" y="1895"/>
                      </a:lnTo>
                      <a:lnTo>
                        <a:pt x="408" y="1895"/>
                      </a:lnTo>
                      <a:lnTo>
                        <a:pt x="409" y="1895"/>
                      </a:lnTo>
                      <a:lnTo>
                        <a:pt x="410" y="1896"/>
                      </a:lnTo>
                      <a:lnTo>
                        <a:pt x="410" y="1896"/>
                      </a:lnTo>
                      <a:lnTo>
                        <a:pt x="411" y="1896"/>
                      </a:lnTo>
                      <a:lnTo>
                        <a:pt x="411" y="1896"/>
                      </a:lnTo>
                      <a:lnTo>
                        <a:pt x="411" y="1895"/>
                      </a:lnTo>
                      <a:lnTo>
                        <a:pt x="411" y="1895"/>
                      </a:lnTo>
                      <a:lnTo>
                        <a:pt x="410" y="1893"/>
                      </a:lnTo>
                      <a:lnTo>
                        <a:pt x="411" y="1893"/>
                      </a:lnTo>
                      <a:lnTo>
                        <a:pt x="413" y="1893"/>
                      </a:lnTo>
                      <a:lnTo>
                        <a:pt x="413" y="1892"/>
                      </a:lnTo>
                      <a:lnTo>
                        <a:pt x="413" y="1892"/>
                      </a:lnTo>
                      <a:lnTo>
                        <a:pt x="413" y="1893"/>
                      </a:lnTo>
                      <a:close/>
                      <a:moveTo>
                        <a:pt x="417" y="1874"/>
                      </a:moveTo>
                      <a:lnTo>
                        <a:pt x="418" y="1874"/>
                      </a:lnTo>
                      <a:lnTo>
                        <a:pt x="418" y="1874"/>
                      </a:lnTo>
                      <a:lnTo>
                        <a:pt x="418" y="1875"/>
                      </a:lnTo>
                      <a:lnTo>
                        <a:pt x="419" y="1876"/>
                      </a:lnTo>
                      <a:lnTo>
                        <a:pt x="419" y="1876"/>
                      </a:lnTo>
                      <a:lnTo>
                        <a:pt x="420" y="1877"/>
                      </a:lnTo>
                      <a:lnTo>
                        <a:pt x="420" y="1878"/>
                      </a:lnTo>
                      <a:lnTo>
                        <a:pt x="420" y="1879"/>
                      </a:lnTo>
                      <a:lnTo>
                        <a:pt x="419" y="1879"/>
                      </a:lnTo>
                      <a:lnTo>
                        <a:pt x="419" y="1879"/>
                      </a:lnTo>
                      <a:lnTo>
                        <a:pt x="420" y="1882"/>
                      </a:lnTo>
                      <a:lnTo>
                        <a:pt x="421" y="1883"/>
                      </a:lnTo>
                      <a:lnTo>
                        <a:pt x="421" y="1884"/>
                      </a:lnTo>
                      <a:lnTo>
                        <a:pt x="421" y="1885"/>
                      </a:lnTo>
                      <a:lnTo>
                        <a:pt x="421" y="1886"/>
                      </a:lnTo>
                      <a:lnTo>
                        <a:pt x="421" y="1886"/>
                      </a:lnTo>
                      <a:lnTo>
                        <a:pt x="420" y="1886"/>
                      </a:lnTo>
                      <a:lnTo>
                        <a:pt x="419" y="1886"/>
                      </a:lnTo>
                      <a:lnTo>
                        <a:pt x="419" y="1886"/>
                      </a:lnTo>
                      <a:lnTo>
                        <a:pt x="419" y="1886"/>
                      </a:lnTo>
                      <a:lnTo>
                        <a:pt x="419" y="1885"/>
                      </a:lnTo>
                      <a:lnTo>
                        <a:pt x="418" y="1885"/>
                      </a:lnTo>
                      <a:lnTo>
                        <a:pt x="417" y="1886"/>
                      </a:lnTo>
                      <a:lnTo>
                        <a:pt x="417" y="1887"/>
                      </a:lnTo>
                      <a:lnTo>
                        <a:pt x="416" y="1888"/>
                      </a:lnTo>
                      <a:lnTo>
                        <a:pt x="416" y="1888"/>
                      </a:lnTo>
                      <a:lnTo>
                        <a:pt x="415" y="1889"/>
                      </a:lnTo>
                      <a:lnTo>
                        <a:pt x="414" y="1889"/>
                      </a:lnTo>
                      <a:lnTo>
                        <a:pt x="413" y="1889"/>
                      </a:lnTo>
                      <a:lnTo>
                        <a:pt x="413" y="1889"/>
                      </a:lnTo>
                      <a:lnTo>
                        <a:pt x="412" y="1889"/>
                      </a:lnTo>
                      <a:lnTo>
                        <a:pt x="412" y="1889"/>
                      </a:lnTo>
                      <a:lnTo>
                        <a:pt x="410" y="1889"/>
                      </a:lnTo>
                      <a:lnTo>
                        <a:pt x="409" y="1889"/>
                      </a:lnTo>
                      <a:lnTo>
                        <a:pt x="409" y="1889"/>
                      </a:lnTo>
                      <a:lnTo>
                        <a:pt x="408" y="1889"/>
                      </a:lnTo>
                      <a:lnTo>
                        <a:pt x="407" y="1889"/>
                      </a:lnTo>
                      <a:lnTo>
                        <a:pt x="406" y="1888"/>
                      </a:lnTo>
                      <a:lnTo>
                        <a:pt x="405" y="1888"/>
                      </a:lnTo>
                      <a:lnTo>
                        <a:pt x="405" y="1888"/>
                      </a:lnTo>
                      <a:lnTo>
                        <a:pt x="405" y="1887"/>
                      </a:lnTo>
                      <a:lnTo>
                        <a:pt x="405" y="1886"/>
                      </a:lnTo>
                      <a:lnTo>
                        <a:pt x="404" y="1886"/>
                      </a:lnTo>
                      <a:lnTo>
                        <a:pt x="404" y="1884"/>
                      </a:lnTo>
                      <a:lnTo>
                        <a:pt x="405" y="1884"/>
                      </a:lnTo>
                      <a:lnTo>
                        <a:pt x="405" y="1883"/>
                      </a:lnTo>
                      <a:lnTo>
                        <a:pt x="405" y="1883"/>
                      </a:lnTo>
                      <a:lnTo>
                        <a:pt x="406" y="1882"/>
                      </a:lnTo>
                      <a:lnTo>
                        <a:pt x="406" y="1882"/>
                      </a:lnTo>
                      <a:lnTo>
                        <a:pt x="407" y="1882"/>
                      </a:lnTo>
                      <a:lnTo>
                        <a:pt x="407" y="1882"/>
                      </a:lnTo>
                      <a:lnTo>
                        <a:pt x="407" y="1882"/>
                      </a:lnTo>
                      <a:lnTo>
                        <a:pt x="408" y="1881"/>
                      </a:lnTo>
                      <a:lnTo>
                        <a:pt x="408" y="1881"/>
                      </a:lnTo>
                      <a:lnTo>
                        <a:pt x="408" y="1879"/>
                      </a:lnTo>
                      <a:lnTo>
                        <a:pt x="409" y="1879"/>
                      </a:lnTo>
                      <a:lnTo>
                        <a:pt x="409" y="1878"/>
                      </a:lnTo>
                      <a:lnTo>
                        <a:pt x="410" y="1877"/>
                      </a:lnTo>
                      <a:lnTo>
                        <a:pt x="410" y="1877"/>
                      </a:lnTo>
                      <a:lnTo>
                        <a:pt x="411" y="1877"/>
                      </a:lnTo>
                      <a:lnTo>
                        <a:pt x="413" y="1876"/>
                      </a:lnTo>
                      <a:lnTo>
                        <a:pt x="413" y="1876"/>
                      </a:lnTo>
                      <a:lnTo>
                        <a:pt x="414" y="1876"/>
                      </a:lnTo>
                      <a:lnTo>
                        <a:pt x="414" y="1876"/>
                      </a:lnTo>
                      <a:lnTo>
                        <a:pt x="414" y="1876"/>
                      </a:lnTo>
                      <a:lnTo>
                        <a:pt x="414" y="1876"/>
                      </a:lnTo>
                      <a:lnTo>
                        <a:pt x="414" y="1875"/>
                      </a:lnTo>
                      <a:lnTo>
                        <a:pt x="417" y="1875"/>
                      </a:lnTo>
                      <a:lnTo>
                        <a:pt x="417" y="1875"/>
                      </a:lnTo>
                      <a:lnTo>
                        <a:pt x="417" y="1874"/>
                      </a:lnTo>
                      <a:lnTo>
                        <a:pt x="417" y="1874"/>
                      </a:lnTo>
                      <a:close/>
                      <a:moveTo>
                        <a:pt x="434" y="1862"/>
                      </a:moveTo>
                      <a:lnTo>
                        <a:pt x="434" y="1863"/>
                      </a:lnTo>
                      <a:lnTo>
                        <a:pt x="434" y="1863"/>
                      </a:lnTo>
                      <a:lnTo>
                        <a:pt x="436" y="1862"/>
                      </a:lnTo>
                      <a:lnTo>
                        <a:pt x="436" y="1862"/>
                      </a:lnTo>
                      <a:lnTo>
                        <a:pt x="436" y="1863"/>
                      </a:lnTo>
                      <a:lnTo>
                        <a:pt x="437" y="1863"/>
                      </a:lnTo>
                      <a:lnTo>
                        <a:pt x="438" y="1864"/>
                      </a:lnTo>
                      <a:lnTo>
                        <a:pt x="438" y="1865"/>
                      </a:lnTo>
                      <a:lnTo>
                        <a:pt x="438" y="1866"/>
                      </a:lnTo>
                      <a:lnTo>
                        <a:pt x="439" y="1867"/>
                      </a:lnTo>
                      <a:lnTo>
                        <a:pt x="438" y="1867"/>
                      </a:lnTo>
                      <a:lnTo>
                        <a:pt x="438" y="1869"/>
                      </a:lnTo>
                      <a:lnTo>
                        <a:pt x="439" y="1869"/>
                      </a:lnTo>
                      <a:lnTo>
                        <a:pt x="439" y="1872"/>
                      </a:lnTo>
                      <a:lnTo>
                        <a:pt x="436" y="1874"/>
                      </a:lnTo>
                      <a:lnTo>
                        <a:pt x="434" y="1875"/>
                      </a:lnTo>
                      <a:lnTo>
                        <a:pt x="433" y="1875"/>
                      </a:lnTo>
                      <a:lnTo>
                        <a:pt x="433" y="1874"/>
                      </a:lnTo>
                      <a:lnTo>
                        <a:pt x="433" y="1872"/>
                      </a:lnTo>
                      <a:lnTo>
                        <a:pt x="433" y="1872"/>
                      </a:lnTo>
                      <a:lnTo>
                        <a:pt x="432" y="1871"/>
                      </a:lnTo>
                      <a:lnTo>
                        <a:pt x="432" y="1871"/>
                      </a:lnTo>
                      <a:lnTo>
                        <a:pt x="432" y="1869"/>
                      </a:lnTo>
                      <a:lnTo>
                        <a:pt x="432" y="1868"/>
                      </a:lnTo>
                      <a:lnTo>
                        <a:pt x="432" y="1867"/>
                      </a:lnTo>
                      <a:lnTo>
                        <a:pt x="432" y="1866"/>
                      </a:lnTo>
                      <a:lnTo>
                        <a:pt x="433" y="1864"/>
                      </a:lnTo>
                      <a:lnTo>
                        <a:pt x="433" y="1864"/>
                      </a:lnTo>
                      <a:lnTo>
                        <a:pt x="433" y="1863"/>
                      </a:lnTo>
                      <a:lnTo>
                        <a:pt x="433" y="1863"/>
                      </a:lnTo>
                      <a:lnTo>
                        <a:pt x="432" y="1863"/>
                      </a:lnTo>
                      <a:lnTo>
                        <a:pt x="433" y="1863"/>
                      </a:lnTo>
                      <a:lnTo>
                        <a:pt x="433" y="1862"/>
                      </a:lnTo>
                      <a:lnTo>
                        <a:pt x="434" y="1862"/>
                      </a:lnTo>
                      <a:close/>
                      <a:moveTo>
                        <a:pt x="417" y="1860"/>
                      </a:moveTo>
                      <a:lnTo>
                        <a:pt x="417" y="1862"/>
                      </a:lnTo>
                      <a:lnTo>
                        <a:pt x="416" y="1862"/>
                      </a:lnTo>
                      <a:lnTo>
                        <a:pt x="417" y="1863"/>
                      </a:lnTo>
                      <a:lnTo>
                        <a:pt x="417" y="1864"/>
                      </a:lnTo>
                      <a:lnTo>
                        <a:pt x="417" y="1865"/>
                      </a:lnTo>
                      <a:lnTo>
                        <a:pt x="417" y="1865"/>
                      </a:lnTo>
                      <a:lnTo>
                        <a:pt x="417" y="1865"/>
                      </a:lnTo>
                      <a:lnTo>
                        <a:pt x="417" y="1867"/>
                      </a:lnTo>
                      <a:lnTo>
                        <a:pt x="417" y="1867"/>
                      </a:lnTo>
                      <a:lnTo>
                        <a:pt x="417" y="1868"/>
                      </a:lnTo>
                      <a:lnTo>
                        <a:pt x="416" y="1869"/>
                      </a:lnTo>
                      <a:lnTo>
                        <a:pt x="417" y="1871"/>
                      </a:lnTo>
                      <a:lnTo>
                        <a:pt x="417" y="1872"/>
                      </a:lnTo>
                      <a:lnTo>
                        <a:pt x="418" y="1872"/>
                      </a:lnTo>
                      <a:lnTo>
                        <a:pt x="418" y="1873"/>
                      </a:lnTo>
                      <a:lnTo>
                        <a:pt x="417" y="1873"/>
                      </a:lnTo>
                      <a:lnTo>
                        <a:pt x="417" y="1873"/>
                      </a:lnTo>
                      <a:lnTo>
                        <a:pt x="416" y="1873"/>
                      </a:lnTo>
                      <a:lnTo>
                        <a:pt x="416" y="1873"/>
                      </a:lnTo>
                      <a:lnTo>
                        <a:pt x="415" y="1873"/>
                      </a:lnTo>
                      <a:lnTo>
                        <a:pt x="415" y="1873"/>
                      </a:lnTo>
                      <a:lnTo>
                        <a:pt x="415" y="1872"/>
                      </a:lnTo>
                      <a:lnTo>
                        <a:pt x="415" y="1872"/>
                      </a:lnTo>
                      <a:lnTo>
                        <a:pt x="415" y="1871"/>
                      </a:lnTo>
                      <a:lnTo>
                        <a:pt x="415" y="1869"/>
                      </a:lnTo>
                      <a:lnTo>
                        <a:pt x="414" y="1868"/>
                      </a:lnTo>
                      <a:lnTo>
                        <a:pt x="414" y="1868"/>
                      </a:lnTo>
                      <a:lnTo>
                        <a:pt x="414" y="1869"/>
                      </a:lnTo>
                      <a:lnTo>
                        <a:pt x="413" y="1871"/>
                      </a:lnTo>
                      <a:lnTo>
                        <a:pt x="412" y="1871"/>
                      </a:lnTo>
                      <a:lnTo>
                        <a:pt x="412" y="1871"/>
                      </a:lnTo>
                      <a:lnTo>
                        <a:pt x="412" y="1869"/>
                      </a:lnTo>
                      <a:lnTo>
                        <a:pt x="412" y="1867"/>
                      </a:lnTo>
                      <a:lnTo>
                        <a:pt x="413" y="1866"/>
                      </a:lnTo>
                      <a:lnTo>
                        <a:pt x="414" y="1866"/>
                      </a:lnTo>
                      <a:lnTo>
                        <a:pt x="415" y="1865"/>
                      </a:lnTo>
                      <a:lnTo>
                        <a:pt x="415" y="1865"/>
                      </a:lnTo>
                      <a:lnTo>
                        <a:pt x="415" y="1863"/>
                      </a:lnTo>
                      <a:lnTo>
                        <a:pt x="415" y="1863"/>
                      </a:lnTo>
                      <a:lnTo>
                        <a:pt x="415" y="1862"/>
                      </a:lnTo>
                      <a:lnTo>
                        <a:pt x="415" y="1862"/>
                      </a:lnTo>
                      <a:lnTo>
                        <a:pt x="416" y="1862"/>
                      </a:lnTo>
                      <a:lnTo>
                        <a:pt x="416" y="1862"/>
                      </a:lnTo>
                      <a:lnTo>
                        <a:pt x="416" y="1861"/>
                      </a:lnTo>
                      <a:lnTo>
                        <a:pt x="417" y="1860"/>
                      </a:lnTo>
                      <a:lnTo>
                        <a:pt x="417" y="1860"/>
                      </a:lnTo>
                      <a:lnTo>
                        <a:pt x="417" y="1860"/>
                      </a:lnTo>
                      <a:close/>
                      <a:moveTo>
                        <a:pt x="428" y="1847"/>
                      </a:moveTo>
                      <a:lnTo>
                        <a:pt x="429" y="1848"/>
                      </a:lnTo>
                      <a:lnTo>
                        <a:pt x="429" y="1848"/>
                      </a:lnTo>
                      <a:lnTo>
                        <a:pt x="429" y="1849"/>
                      </a:lnTo>
                      <a:lnTo>
                        <a:pt x="429" y="1849"/>
                      </a:lnTo>
                      <a:lnTo>
                        <a:pt x="429" y="1850"/>
                      </a:lnTo>
                      <a:lnTo>
                        <a:pt x="429" y="1851"/>
                      </a:lnTo>
                      <a:lnTo>
                        <a:pt x="429" y="1851"/>
                      </a:lnTo>
                      <a:lnTo>
                        <a:pt x="429" y="1851"/>
                      </a:lnTo>
                      <a:lnTo>
                        <a:pt x="429" y="1851"/>
                      </a:lnTo>
                      <a:lnTo>
                        <a:pt x="429" y="1852"/>
                      </a:lnTo>
                      <a:lnTo>
                        <a:pt x="429" y="1853"/>
                      </a:lnTo>
                      <a:lnTo>
                        <a:pt x="429" y="1853"/>
                      </a:lnTo>
                      <a:lnTo>
                        <a:pt x="430" y="1853"/>
                      </a:lnTo>
                      <a:lnTo>
                        <a:pt x="430" y="1854"/>
                      </a:lnTo>
                      <a:lnTo>
                        <a:pt x="430" y="1854"/>
                      </a:lnTo>
                      <a:lnTo>
                        <a:pt x="430" y="1854"/>
                      </a:lnTo>
                      <a:lnTo>
                        <a:pt x="430" y="1853"/>
                      </a:lnTo>
                      <a:lnTo>
                        <a:pt x="430" y="1852"/>
                      </a:lnTo>
                      <a:lnTo>
                        <a:pt x="431" y="1852"/>
                      </a:lnTo>
                      <a:lnTo>
                        <a:pt x="431" y="1852"/>
                      </a:lnTo>
                      <a:lnTo>
                        <a:pt x="431" y="1851"/>
                      </a:lnTo>
                      <a:lnTo>
                        <a:pt x="431" y="1851"/>
                      </a:lnTo>
                      <a:lnTo>
                        <a:pt x="432" y="1851"/>
                      </a:lnTo>
                      <a:lnTo>
                        <a:pt x="432" y="1850"/>
                      </a:lnTo>
                      <a:lnTo>
                        <a:pt x="433" y="1850"/>
                      </a:lnTo>
                      <a:lnTo>
                        <a:pt x="433" y="1849"/>
                      </a:lnTo>
                      <a:lnTo>
                        <a:pt x="434" y="1849"/>
                      </a:lnTo>
                      <a:lnTo>
                        <a:pt x="434" y="1849"/>
                      </a:lnTo>
                      <a:lnTo>
                        <a:pt x="434" y="1850"/>
                      </a:lnTo>
                      <a:lnTo>
                        <a:pt x="434" y="1851"/>
                      </a:lnTo>
                      <a:lnTo>
                        <a:pt x="434" y="1851"/>
                      </a:lnTo>
                      <a:lnTo>
                        <a:pt x="434" y="1852"/>
                      </a:lnTo>
                      <a:lnTo>
                        <a:pt x="433" y="1853"/>
                      </a:lnTo>
                      <a:lnTo>
                        <a:pt x="433" y="1854"/>
                      </a:lnTo>
                      <a:lnTo>
                        <a:pt x="432" y="1855"/>
                      </a:lnTo>
                      <a:lnTo>
                        <a:pt x="431" y="1854"/>
                      </a:lnTo>
                      <a:lnTo>
                        <a:pt x="431" y="1854"/>
                      </a:lnTo>
                      <a:lnTo>
                        <a:pt x="431" y="1854"/>
                      </a:lnTo>
                      <a:lnTo>
                        <a:pt x="431" y="1854"/>
                      </a:lnTo>
                      <a:lnTo>
                        <a:pt x="431" y="1855"/>
                      </a:lnTo>
                      <a:lnTo>
                        <a:pt x="431" y="1855"/>
                      </a:lnTo>
                      <a:lnTo>
                        <a:pt x="432" y="1855"/>
                      </a:lnTo>
                      <a:lnTo>
                        <a:pt x="432" y="1855"/>
                      </a:lnTo>
                      <a:lnTo>
                        <a:pt x="432" y="1856"/>
                      </a:lnTo>
                      <a:lnTo>
                        <a:pt x="432" y="1857"/>
                      </a:lnTo>
                      <a:lnTo>
                        <a:pt x="432" y="1858"/>
                      </a:lnTo>
                      <a:lnTo>
                        <a:pt x="432" y="1858"/>
                      </a:lnTo>
                      <a:lnTo>
                        <a:pt x="431" y="1859"/>
                      </a:lnTo>
                      <a:lnTo>
                        <a:pt x="431" y="1859"/>
                      </a:lnTo>
                      <a:lnTo>
                        <a:pt x="431" y="1860"/>
                      </a:lnTo>
                      <a:lnTo>
                        <a:pt x="431" y="1861"/>
                      </a:lnTo>
                      <a:lnTo>
                        <a:pt x="430" y="1862"/>
                      </a:lnTo>
                      <a:lnTo>
                        <a:pt x="430" y="1864"/>
                      </a:lnTo>
                      <a:lnTo>
                        <a:pt x="430" y="1865"/>
                      </a:lnTo>
                      <a:lnTo>
                        <a:pt x="430" y="1865"/>
                      </a:lnTo>
                      <a:lnTo>
                        <a:pt x="429" y="1866"/>
                      </a:lnTo>
                      <a:lnTo>
                        <a:pt x="429" y="1866"/>
                      </a:lnTo>
                      <a:lnTo>
                        <a:pt x="429" y="1866"/>
                      </a:lnTo>
                      <a:lnTo>
                        <a:pt x="430" y="1867"/>
                      </a:lnTo>
                      <a:lnTo>
                        <a:pt x="429" y="1869"/>
                      </a:lnTo>
                      <a:lnTo>
                        <a:pt x="429" y="1869"/>
                      </a:lnTo>
                      <a:lnTo>
                        <a:pt x="429" y="1871"/>
                      </a:lnTo>
                      <a:lnTo>
                        <a:pt x="430" y="1872"/>
                      </a:lnTo>
                      <a:lnTo>
                        <a:pt x="429" y="1872"/>
                      </a:lnTo>
                      <a:lnTo>
                        <a:pt x="429" y="1872"/>
                      </a:lnTo>
                      <a:lnTo>
                        <a:pt x="428" y="1872"/>
                      </a:lnTo>
                      <a:lnTo>
                        <a:pt x="429" y="1873"/>
                      </a:lnTo>
                      <a:lnTo>
                        <a:pt x="430" y="1873"/>
                      </a:lnTo>
                      <a:lnTo>
                        <a:pt x="430" y="1875"/>
                      </a:lnTo>
                      <a:lnTo>
                        <a:pt x="430" y="1875"/>
                      </a:lnTo>
                      <a:lnTo>
                        <a:pt x="430" y="1877"/>
                      </a:lnTo>
                      <a:lnTo>
                        <a:pt x="429" y="1877"/>
                      </a:lnTo>
                      <a:lnTo>
                        <a:pt x="430" y="1878"/>
                      </a:lnTo>
                      <a:lnTo>
                        <a:pt x="429" y="1878"/>
                      </a:lnTo>
                      <a:lnTo>
                        <a:pt x="428" y="1879"/>
                      </a:lnTo>
                      <a:lnTo>
                        <a:pt x="428" y="1879"/>
                      </a:lnTo>
                      <a:lnTo>
                        <a:pt x="427" y="1879"/>
                      </a:lnTo>
                      <a:lnTo>
                        <a:pt x="427" y="1878"/>
                      </a:lnTo>
                      <a:lnTo>
                        <a:pt x="428" y="1878"/>
                      </a:lnTo>
                      <a:lnTo>
                        <a:pt x="428" y="1878"/>
                      </a:lnTo>
                      <a:lnTo>
                        <a:pt x="427" y="1877"/>
                      </a:lnTo>
                      <a:lnTo>
                        <a:pt x="425" y="1875"/>
                      </a:lnTo>
                      <a:lnTo>
                        <a:pt x="425" y="1873"/>
                      </a:lnTo>
                      <a:lnTo>
                        <a:pt x="426" y="1873"/>
                      </a:lnTo>
                      <a:lnTo>
                        <a:pt x="426" y="1873"/>
                      </a:lnTo>
                      <a:lnTo>
                        <a:pt x="425" y="1873"/>
                      </a:lnTo>
                      <a:lnTo>
                        <a:pt x="425" y="1872"/>
                      </a:lnTo>
                      <a:lnTo>
                        <a:pt x="425" y="1871"/>
                      </a:lnTo>
                      <a:lnTo>
                        <a:pt x="425" y="1871"/>
                      </a:lnTo>
                      <a:lnTo>
                        <a:pt x="424" y="1871"/>
                      </a:lnTo>
                      <a:lnTo>
                        <a:pt x="424" y="1869"/>
                      </a:lnTo>
                      <a:lnTo>
                        <a:pt x="423" y="1868"/>
                      </a:lnTo>
                      <a:lnTo>
                        <a:pt x="424" y="1868"/>
                      </a:lnTo>
                      <a:lnTo>
                        <a:pt x="424" y="1867"/>
                      </a:lnTo>
                      <a:lnTo>
                        <a:pt x="424" y="1867"/>
                      </a:lnTo>
                      <a:lnTo>
                        <a:pt x="424" y="1867"/>
                      </a:lnTo>
                      <a:lnTo>
                        <a:pt x="423" y="1867"/>
                      </a:lnTo>
                      <a:lnTo>
                        <a:pt x="422" y="1866"/>
                      </a:lnTo>
                      <a:lnTo>
                        <a:pt x="422" y="1866"/>
                      </a:lnTo>
                      <a:lnTo>
                        <a:pt x="422" y="1866"/>
                      </a:lnTo>
                      <a:lnTo>
                        <a:pt x="423" y="1864"/>
                      </a:lnTo>
                      <a:lnTo>
                        <a:pt x="423" y="1864"/>
                      </a:lnTo>
                      <a:lnTo>
                        <a:pt x="423" y="1863"/>
                      </a:lnTo>
                      <a:lnTo>
                        <a:pt x="423" y="1863"/>
                      </a:lnTo>
                      <a:lnTo>
                        <a:pt x="423" y="1862"/>
                      </a:lnTo>
                      <a:lnTo>
                        <a:pt x="423" y="1861"/>
                      </a:lnTo>
                      <a:lnTo>
                        <a:pt x="423" y="1861"/>
                      </a:lnTo>
                      <a:lnTo>
                        <a:pt x="423" y="1860"/>
                      </a:lnTo>
                      <a:lnTo>
                        <a:pt x="423" y="1860"/>
                      </a:lnTo>
                      <a:lnTo>
                        <a:pt x="423" y="1861"/>
                      </a:lnTo>
                      <a:lnTo>
                        <a:pt x="423" y="1861"/>
                      </a:lnTo>
                      <a:lnTo>
                        <a:pt x="422" y="1861"/>
                      </a:lnTo>
                      <a:lnTo>
                        <a:pt x="422" y="1860"/>
                      </a:lnTo>
                      <a:lnTo>
                        <a:pt x="422" y="1860"/>
                      </a:lnTo>
                      <a:lnTo>
                        <a:pt x="422" y="1858"/>
                      </a:lnTo>
                      <a:lnTo>
                        <a:pt x="423" y="1859"/>
                      </a:lnTo>
                      <a:lnTo>
                        <a:pt x="423" y="1860"/>
                      </a:lnTo>
                      <a:lnTo>
                        <a:pt x="424" y="1859"/>
                      </a:lnTo>
                      <a:lnTo>
                        <a:pt x="424" y="1860"/>
                      </a:lnTo>
                      <a:lnTo>
                        <a:pt x="424" y="1859"/>
                      </a:lnTo>
                      <a:lnTo>
                        <a:pt x="425" y="1859"/>
                      </a:lnTo>
                      <a:lnTo>
                        <a:pt x="424" y="1858"/>
                      </a:lnTo>
                      <a:lnTo>
                        <a:pt x="424" y="1858"/>
                      </a:lnTo>
                      <a:lnTo>
                        <a:pt x="423" y="1858"/>
                      </a:lnTo>
                      <a:lnTo>
                        <a:pt x="423" y="1858"/>
                      </a:lnTo>
                      <a:lnTo>
                        <a:pt x="423" y="1857"/>
                      </a:lnTo>
                      <a:lnTo>
                        <a:pt x="424" y="1857"/>
                      </a:lnTo>
                      <a:lnTo>
                        <a:pt x="424" y="1856"/>
                      </a:lnTo>
                      <a:lnTo>
                        <a:pt x="425" y="1856"/>
                      </a:lnTo>
                      <a:lnTo>
                        <a:pt x="424" y="1857"/>
                      </a:lnTo>
                      <a:lnTo>
                        <a:pt x="425" y="1857"/>
                      </a:lnTo>
                      <a:lnTo>
                        <a:pt x="425" y="1857"/>
                      </a:lnTo>
                      <a:lnTo>
                        <a:pt x="425" y="1856"/>
                      </a:lnTo>
                      <a:lnTo>
                        <a:pt x="425" y="1855"/>
                      </a:lnTo>
                      <a:lnTo>
                        <a:pt x="424" y="1855"/>
                      </a:lnTo>
                      <a:lnTo>
                        <a:pt x="424" y="1852"/>
                      </a:lnTo>
                      <a:lnTo>
                        <a:pt x="425" y="1852"/>
                      </a:lnTo>
                      <a:lnTo>
                        <a:pt x="425" y="1851"/>
                      </a:lnTo>
                      <a:lnTo>
                        <a:pt x="425" y="1850"/>
                      </a:lnTo>
                      <a:lnTo>
                        <a:pt x="426" y="1850"/>
                      </a:lnTo>
                      <a:lnTo>
                        <a:pt x="426" y="1849"/>
                      </a:lnTo>
                      <a:lnTo>
                        <a:pt x="426" y="1849"/>
                      </a:lnTo>
                      <a:lnTo>
                        <a:pt x="426" y="1848"/>
                      </a:lnTo>
                      <a:lnTo>
                        <a:pt x="427" y="1848"/>
                      </a:lnTo>
                      <a:lnTo>
                        <a:pt x="427" y="1848"/>
                      </a:lnTo>
                      <a:lnTo>
                        <a:pt x="427" y="1847"/>
                      </a:lnTo>
                      <a:lnTo>
                        <a:pt x="428" y="1847"/>
                      </a:lnTo>
                      <a:close/>
                      <a:moveTo>
                        <a:pt x="270" y="1816"/>
                      </a:moveTo>
                      <a:lnTo>
                        <a:pt x="271" y="1816"/>
                      </a:lnTo>
                      <a:lnTo>
                        <a:pt x="271" y="1817"/>
                      </a:lnTo>
                      <a:lnTo>
                        <a:pt x="272" y="1817"/>
                      </a:lnTo>
                      <a:lnTo>
                        <a:pt x="271" y="1818"/>
                      </a:lnTo>
                      <a:lnTo>
                        <a:pt x="271" y="1821"/>
                      </a:lnTo>
                      <a:lnTo>
                        <a:pt x="270" y="1822"/>
                      </a:lnTo>
                      <a:lnTo>
                        <a:pt x="270" y="1822"/>
                      </a:lnTo>
                      <a:lnTo>
                        <a:pt x="270" y="1823"/>
                      </a:lnTo>
                      <a:lnTo>
                        <a:pt x="269" y="1823"/>
                      </a:lnTo>
                      <a:lnTo>
                        <a:pt x="269" y="1826"/>
                      </a:lnTo>
                      <a:lnTo>
                        <a:pt x="268" y="1826"/>
                      </a:lnTo>
                      <a:lnTo>
                        <a:pt x="268" y="1826"/>
                      </a:lnTo>
                      <a:lnTo>
                        <a:pt x="268" y="1826"/>
                      </a:lnTo>
                      <a:lnTo>
                        <a:pt x="267" y="1828"/>
                      </a:lnTo>
                      <a:lnTo>
                        <a:pt x="267" y="1828"/>
                      </a:lnTo>
                      <a:lnTo>
                        <a:pt x="267" y="1828"/>
                      </a:lnTo>
                      <a:lnTo>
                        <a:pt x="266" y="1829"/>
                      </a:lnTo>
                      <a:lnTo>
                        <a:pt x="266" y="1830"/>
                      </a:lnTo>
                      <a:lnTo>
                        <a:pt x="266" y="1830"/>
                      </a:lnTo>
                      <a:lnTo>
                        <a:pt x="266" y="1830"/>
                      </a:lnTo>
                      <a:lnTo>
                        <a:pt x="265" y="1830"/>
                      </a:lnTo>
                      <a:lnTo>
                        <a:pt x="265" y="1831"/>
                      </a:lnTo>
                      <a:lnTo>
                        <a:pt x="264" y="1831"/>
                      </a:lnTo>
                      <a:lnTo>
                        <a:pt x="263" y="1834"/>
                      </a:lnTo>
                      <a:lnTo>
                        <a:pt x="263" y="1834"/>
                      </a:lnTo>
                      <a:lnTo>
                        <a:pt x="262" y="1833"/>
                      </a:lnTo>
                      <a:lnTo>
                        <a:pt x="262" y="1833"/>
                      </a:lnTo>
                      <a:lnTo>
                        <a:pt x="262" y="1833"/>
                      </a:lnTo>
                      <a:lnTo>
                        <a:pt x="262" y="1833"/>
                      </a:lnTo>
                      <a:lnTo>
                        <a:pt x="261" y="1833"/>
                      </a:lnTo>
                      <a:lnTo>
                        <a:pt x="261" y="1833"/>
                      </a:lnTo>
                      <a:lnTo>
                        <a:pt x="261" y="1834"/>
                      </a:lnTo>
                      <a:lnTo>
                        <a:pt x="260" y="1834"/>
                      </a:lnTo>
                      <a:lnTo>
                        <a:pt x="260" y="1833"/>
                      </a:lnTo>
                      <a:lnTo>
                        <a:pt x="261" y="1833"/>
                      </a:lnTo>
                      <a:lnTo>
                        <a:pt x="261" y="1833"/>
                      </a:lnTo>
                      <a:lnTo>
                        <a:pt x="260" y="1833"/>
                      </a:lnTo>
                      <a:lnTo>
                        <a:pt x="260" y="1831"/>
                      </a:lnTo>
                      <a:lnTo>
                        <a:pt x="259" y="1831"/>
                      </a:lnTo>
                      <a:lnTo>
                        <a:pt x="259" y="1831"/>
                      </a:lnTo>
                      <a:lnTo>
                        <a:pt x="259" y="1831"/>
                      </a:lnTo>
                      <a:lnTo>
                        <a:pt x="258" y="1830"/>
                      </a:lnTo>
                      <a:lnTo>
                        <a:pt x="258" y="1830"/>
                      </a:lnTo>
                      <a:lnTo>
                        <a:pt x="258" y="1829"/>
                      </a:lnTo>
                      <a:lnTo>
                        <a:pt x="259" y="1829"/>
                      </a:lnTo>
                      <a:lnTo>
                        <a:pt x="259" y="1829"/>
                      </a:lnTo>
                      <a:lnTo>
                        <a:pt x="260" y="1829"/>
                      </a:lnTo>
                      <a:lnTo>
                        <a:pt x="260" y="1828"/>
                      </a:lnTo>
                      <a:lnTo>
                        <a:pt x="261" y="1828"/>
                      </a:lnTo>
                      <a:lnTo>
                        <a:pt x="262" y="1827"/>
                      </a:lnTo>
                      <a:lnTo>
                        <a:pt x="262" y="1827"/>
                      </a:lnTo>
                      <a:lnTo>
                        <a:pt x="262" y="1827"/>
                      </a:lnTo>
                      <a:lnTo>
                        <a:pt x="262" y="1826"/>
                      </a:lnTo>
                      <a:lnTo>
                        <a:pt x="263" y="1826"/>
                      </a:lnTo>
                      <a:lnTo>
                        <a:pt x="263" y="1826"/>
                      </a:lnTo>
                      <a:lnTo>
                        <a:pt x="263" y="1825"/>
                      </a:lnTo>
                      <a:lnTo>
                        <a:pt x="263" y="1824"/>
                      </a:lnTo>
                      <a:lnTo>
                        <a:pt x="262" y="1824"/>
                      </a:lnTo>
                      <a:lnTo>
                        <a:pt x="262" y="1824"/>
                      </a:lnTo>
                      <a:lnTo>
                        <a:pt x="262" y="1824"/>
                      </a:lnTo>
                      <a:lnTo>
                        <a:pt x="262" y="1824"/>
                      </a:lnTo>
                      <a:lnTo>
                        <a:pt x="261" y="1824"/>
                      </a:lnTo>
                      <a:lnTo>
                        <a:pt x="261" y="1824"/>
                      </a:lnTo>
                      <a:lnTo>
                        <a:pt x="261" y="1824"/>
                      </a:lnTo>
                      <a:lnTo>
                        <a:pt x="261" y="1824"/>
                      </a:lnTo>
                      <a:lnTo>
                        <a:pt x="261" y="1824"/>
                      </a:lnTo>
                      <a:lnTo>
                        <a:pt x="262" y="1823"/>
                      </a:lnTo>
                      <a:lnTo>
                        <a:pt x="261" y="1823"/>
                      </a:lnTo>
                      <a:lnTo>
                        <a:pt x="261" y="1823"/>
                      </a:lnTo>
                      <a:lnTo>
                        <a:pt x="260" y="1823"/>
                      </a:lnTo>
                      <a:lnTo>
                        <a:pt x="260" y="1823"/>
                      </a:lnTo>
                      <a:lnTo>
                        <a:pt x="261" y="1823"/>
                      </a:lnTo>
                      <a:lnTo>
                        <a:pt x="261" y="1822"/>
                      </a:lnTo>
                      <a:lnTo>
                        <a:pt x="261" y="1822"/>
                      </a:lnTo>
                      <a:lnTo>
                        <a:pt x="262" y="1821"/>
                      </a:lnTo>
                      <a:lnTo>
                        <a:pt x="262" y="1821"/>
                      </a:lnTo>
                      <a:lnTo>
                        <a:pt x="263" y="1820"/>
                      </a:lnTo>
                      <a:lnTo>
                        <a:pt x="265" y="1820"/>
                      </a:lnTo>
                      <a:lnTo>
                        <a:pt x="265" y="1819"/>
                      </a:lnTo>
                      <a:lnTo>
                        <a:pt x="266" y="1818"/>
                      </a:lnTo>
                      <a:lnTo>
                        <a:pt x="267" y="1818"/>
                      </a:lnTo>
                      <a:lnTo>
                        <a:pt x="267" y="1817"/>
                      </a:lnTo>
                      <a:lnTo>
                        <a:pt x="266" y="1817"/>
                      </a:lnTo>
                      <a:lnTo>
                        <a:pt x="267" y="1816"/>
                      </a:lnTo>
                      <a:lnTo>
                        <a:pt x="267" y="1816"/>
                      </a:lnTo>
                      <a:lnTo>
                        <a:pt x="267" y="1817"/>
                      </a:lnTo>
                      <a:lnTo>
                        <a:pt x="268" y="1818"/>
                      </a:lnTo>
                      <a:lnTo>
                        <a:pt x="269" y="1818"/>
                      </a:lnTo>
                      <a:lnTo>
                        <a:pt x="269" y="1817"/>
                      </a:lnTo>
                      <a:lnTo>
                        <a:pt x="270" y="1816"/>
                      </a:lnTo>
                      <a:lnTo>
                        <a:pt x="270" y="1816"/>
                      </a:lnTo>
                      <a:lnTo>
                        <a:pt x="270" y="1816"/>
                      </a:lnTo>
                      <a:lnTo>
                        <a:pt x="270" y="1816"/>
                      </a:lnTo>
                      <a:lnTo>
                        <a:pt x="270" y="1816"/>
                      </a:lnTo>
                      <a:close/>
                      <a:moveTo>
                        <a:pt x="457" y="1788"/>
                      </a:moveTo>
                      <a:lnTo>
                        <a:pt x="459" y="1789"/>
                      </a:lnTo>
                      <a:lnTo>
                        <a:pt x="459" y="1789"/>
                      </a:lnTo>
                      <a:lnTo>
                        <a:pt x="459" y="1790"/>
                      </a:lnTo>
                      <a:lnTo>
                        <a:pt x="458" y="1790"/>
                      </a:lnTo>
                      <a:lnTo>
                        <a:pt x="458" y="1791"/>
                      </a:lnTo>
                      <a:lnTo>
                        <a:pt x="457" y="1791"/>
                      </a:lnTo>
                      <a:lnTo>
                        <a:pt x="457" y="1791"/>
                      </a:lnTo>
                      <a:lnTo>
                        <a:pt x="458" y="1791"/>
                      </a:lnTo>
                      <a:lnTo>
                        <a:pt x="457" y="1793"/>
                      </a:lnTo>
                      <a:lnTo>
                        <a:pt x="457" y="1793"/>
                      </a:lnTo>
                      <a:lnTo>
                        <a:pt x="456" y="1794"/>
                      </a:lnTo>
                      <a:lnTo>
                        <a:pt x="455" y="1796"/>
                      </a:lnTo>
                      <a:lnTo>
                        <a:pt x="455" y="1796"/>
                      </a:lnTo>
                      <a:lnTo>
                        <a:pt x="454" y="1796"/>
                      </a:lnTo>
                      <a:lnTo>
                        <a:pt x="454" y="1798"/>
                      </a:lnTo>
                      <a:lnTo>
                        <a:pt x="453" y="1798"/>
                      </a:lnTo>
                      <a:lnTo>
                        <a:pt x="452" y="1799"/>
                      </a:lnTo>
                      <a:lnTo>
                        <a:pt x="452" y="1799"/>
                      </a:lnTo>
                      <a:lnTo>
                        <a:pt x="452" y="1799"/>
                      </a:lnTo>
                      <a:lnTo>
                        <a:pt x="451" y="1800"/>
                      </a:lnTo>
                      <a:lnTo>
                        <a:pt x="452" y="1801"/>
                      </a:lnTo>
                      <a:lnTo>
                        <a:pt x="451" y="1802"/>
                      </a:lnTo>
                      <a:lnTo>
                        <a:pt x="451" y="1802"/>
                      </a:lnTo>
                      <a:lnTo>
                        <a:pt x="450" y="1803"/>
                      </a:lnTo>
                      <a:lnTo>
                        <a:pt x="450" y="1802"/>
                      </a:lnTo>
                      <a:lnTo>
                        <a:pt x="449" y="1803"/>
                      </a:lnTo>
                      <a:lnTo>
                        <a:pt x="449" y="1803"/>
                      </a:lnTo>
                      <a:lnTo>
                        <a:pt x="450" y="1803"/>
                      </a:lnTo>
                      <a:lnTo>
                        <a:pt x="450" y="1803"/>
                      </a:lnTo>
                      <a:lnTo>
                        <a:pt x="449" y="1804"/>
                      </a:lnTo>
                      <a:lnTo>
                        <a:pt x="449" y="1804"/>
                      </a:lnTo>
                      <a:lnTo>
                        <a:pt x="449" y="1805"/>
                      </a:lnTo>
                      <a:lnTo>
                        <a:pt x="448" y="1805"/>
                      </a:lnTo>
                      <a:lnTo>
                        <a:pt x="448" y="1806"/>
                      </a:lnTo>
                      <a:lnTo>
                        <a:pt x="448" y="1806"/>
                      </a:lnTo>
                      <a:lnTo>
                        <a:pt x="447" y="1808"/>
                      </a:lnTo>
                      <a:lnTo>
                        <a:pt x="446" y="1809"/>
                      </a:lnTo>
                      <a:lnTo>
                        <a:pt x="445" y="1809"/>
                      </a:lnTo>
                      <a:lnTo>
                        <a:pt x="445" y="1808"/>
                      </a:lnTo>
                      <a:lnTo>
                        <a:pt x="446" y="1807"/>
                      </a:lnTo>
                      <a:lnTo>
                        <a:pt x="446" y="1806"/>
                      </a:lnTo>
                      <a:lnTo>
                        <a:pt x="445" y="1806"/>
                      </a:lnTo>
                      <a:lnTo>
                        <a:pt x="444" y="1806"/>
                      </a:lnTo>
                      <a:lnTo>
                        <a:pt x="444" y="1806"/>
                      </a:lnTo>
                      <a:lnTo>
                        <a:pt x="443" y="1805"/>
                      </a:lnTo>
                      <a:lnTo>
                        <a:pt x="442" y="1806"/>
                      </a:lnTo>
                      <a:lnTo>
                        <a:pt x="442" y="1806"/>
                      </a:lnTo>
                      <a:lnTo>
                        <a:pt x="442" y="1806"/>
                      </a:lnTo>
                      <a:lnTo>
                        <a:pt x="441" y="1806"/>
                      </a:lnTo>
                      <a:lnTo>
                        <a:pt x="441" y="1806"/>
                      </a:lnTo>
                      <a:lnTo>
                        <a:pt x="441" y="1805"/>
                      </a:lnTo>
                      <a:lnTo>
                        <a:pt x="440" y="1805"/>
                      </a:lnTo>
                      <a:lnTo>
                        <a:pt x="440" y="1806"/>
                      </a:lnTo>
                      <a:lnTo>
                        <a:pt x="439" y="1806"/>
                      </a:lnTo>
                      <a:lnTo>
                        <a:pt x="439" y="1805"/>
                      </a:lnTo>
                      <a:lnTo>
                        <a:pt x="439" y="1804"/>
                      </a:lnTo>
                      <a:lnTo>
                        <a:pt x="439" y="1803"/>
                      </a:lnTo>
                      <a:lnTo>
                        <a:pt x="440" y="1803"/>
                      </a:lnTo>
                      <a:lnTo>
                        <a:pt x="440" y="1802"/>
                      </a:lnTo>
                      <a:lnTo>
                        <a:pt x="440" y="1802"/>
                      </a:lnTo>
                      <a:lnTo>
                        <a:pt x="441" y="1801"/>
                      </a:lnTo>
                      <a:lnTo>
                        <a:pt x="442" y="1801"/>
                      </a:lnTo>
                      <a:lnTo>
                        <a:pt x="442" y="1799"/>
                      </a:lnTo>
                      <a:lnTo>
                        <a:pt x="442" y="1799"/>
                      </a:lnTo>
                      <a:lnTo>
                        <a:pt x="442" y="1799"/>
                      </a:lnTo>
                      <a:lnTo>
                        <a:pt x="443" y="1799"/>
                      </a:lnTo>
                      <a:lnTo>
                        <a:pt x="443" y="1798"/>
                      </a:lnTo>
                      <a:lnTo>
                        <a:pt x="443" y="1797"/>
                      </a:lnTo>
                      <a:lnTo>
                        <a:pt x="443" y="1796"/>
                      </a:lnTo>
                      <a:lnTo>
                        <a:pt x="444" y="1796"/>
                      </a:lnTo>
                      <a:lnTo>
                        <a:pt x="444" y="1794"/>
                      </a:lnTo>
                      <a:lnTo>
                        <a:pt x="444" y="1794"/>
                      </a:lnTo>
                      <a:lnTo>
                        <a:pt x="445" y="1794"/>
                      </a:lnTo>
                      <a:lnTo>
                        <a:pt x="445" y="1794"/>
                      </a:lnTo>
                      <a:lnTo>
                        <a:pt x="446" y="1794"/>
                      </a:lnTo>
                      <a:lnTo>
                        <a:pt x="447" y="1794"/>
                      </a:lnTo>
                      <a:lnTo>
                        <a:pt x="447" y="1794"/>
                      </a:lnTo>
                      <a:lnTo>
                        <a:pt x="448" y="1794"/>
                      </a:lnTo>
                      <a:lnTo>
                        <a:pt x="449" y="1793"/>
                      </a:lnTo>
                      <a:lnTo>
                        <a:pt x="449" y="1793"/>
                      </a:lnTo>
                      <a:lnTo>
                        <a:pt x="451" y="1792"/>
                      </a:lnTo>
                      <a:lnTo>
                        <a:pt x="451" y="1792"/>
                      </a:lnTo>
                      <a:lnTo>
                        <a:pt x="451" y="1793"/>
                      </a:lnTo>
                      <a:lnTo>
                        <a:pt x="451" y="1793"/>
                      </a:lnTo>
                      <a:lnTo>
                        <a:pt x="452" y="1793"/>
                      </a:lnTo>
                      <a:lnTo>
                        <a:pt x="452" y="1793"/>
                      </a:lnTo>
                      <a:lnTo>
                        <a:pt x="454" y="1792"/>
                      </a:lnTo>
                      <a:lnTo>
                        <a:pt x="454" y="1790"/>
                      </a:lnTo>
                      <a:lnTo>
                        <a:pt x="456" y="1791"/>
                      </a:lnTo>
                      <a:lnTo>
                        <a:pt x="456" y="1790"/>
                      </a:lnTo>
                      <a:lnTo>
                        <a:pt x="456" y="1789"/>
                      </a:lnTo>
                      <a:lnTo>
                        <a:pt x="457" y="1789"/>
                      </a:lnTo>
                      <a:lnTo>
                        <a:pt x="457" y="1789"/>
                      </a:lnTo>
                      <a:lnTo>
                        <a:pt x="456" y="1788"/>
                      </a:lnTo>
                      <a:lnTo>
                        <a:pt x="456" y="1788"/>
                      </a:lnTo>
                      <a:lnTo>
                        <a:pt x="457" y="1788"/>
                      </a:lnTo>
                      <a:lnTo>
                        <a:pt x="457" y="1788"/>
                      </a:lnTo>
                      <a:close/>
                      <a:moveTo>
                        <a:pt x="477" y="1745"/>
                      </a:moveTo>
                      <a:lnTo>
                        <a:pt x="478" y="1746"/>
                      </a:lnTo>
                      <a:lnTo>
                        <a:pt x="478" y="1745"/>
                      </a:lnTo>
                      <a:lnTo>
                        <a:pt x="478" y="1746"/>
                      </a:lnTo>
                      <a:lnTo>
                        <a:pt x="477" y="1748"/>
                      </a:lnTo>
                      <a:lnTo>
                        <a:pt x="477" y="1749"/>
                      </a:lnTo>
                      <a:lnTo>
                        <a:pt x="475" y="1749"/>
                      </a:lnTo>
                      <a:lnTo>
                        <a:pt x="475" y="1749"/>
                      </a:lnTo>
                      <a:lnTo>
                        <a:pt x="474" y="1749"/>
                      </a:lnTo>
                      <a:lnTo>
                        <a:pt x="474" y="1750"/>
                      </a:lnTo>
                      <a:lnTo>
                        <a:pt x="473" y="1750"/>
                      </a:lnTo>
                      <a:lnTo>
                        <a:pt x="473" y="1749"/>
                      </a:lnTo>
                      <a:lnTo>
                        <a:pt x="473" y="1748"/>
                      </a:lnTo>
                      <a:lnTo>
                        <a:pt x="473" y="1748"/>
                      </a:lnTo>
                      <a:lnTo>
                        <a:pt x="473" y="1748"/>
                      </a:lnTo>
                      <a:lnTo>
                        <a:pt x="474" y="1747"/>
                      </a:lnTo>
                      <a:lnTo>
                        <a:pt x="475" y="1746"/>
                      </a:lnTo>
                      <a:lnTo>
                        <a:pt x="475" y="1746"/>
                      </a:lnTo>
                      <a:lnTo>
                        <a:pt x="476" y="1746"/>
                      </a:lnTo>
                      <a:lnTo>
                        <a:pt x="476" y="1745"/>
                      </a:lnTo>
                      <a:lnTo>
                        <a:pt x="477" y="1745"/>
                      </a:lnTo>
                      <a:close/>
                      <a:moveTo>
                        <a:pt x="193" y="1738"/>
                      </a:moveTo>
                      <a:lnTo>
                        <a:pt x="193" y="1739"/>
                      </a:lnTo>
                      <a:lnTo>
                        <a:pt x="194" y="1740"/>
                      </a:lnTo>
                      <a:lnTo>
                        <a:pt x="194" y="1740"/>
                      </a:lnTo>
                      <a:lnTo>
                        <a:pt x="194" y="1741"/>
                      </a:lnTo>
                      <a:lnTo>
                        <a:pt x="194" y="1741"/>
                      </a:lnTo>
                      <a:lnTo>
                        <a:pt x="194" y="1742"/>
                      </a:lnTo>
                      <a:lnTo>
                        <a:pt x="195" y="1742"/>
                      </a:lnTo>
                      <a:lnTo>
                        <a:pt x="196" y="1743"/>
                      </a:lnTo>
                      <a:lnTo>
                        <a:pt x="197" y="1744"/>
                      </a:lnTo>
                      <a:lnTo>
                        <a:pt x="198" y="1743"/>
                      </a:lnTo>
                      <a:lnTo>
                        <a:pt x="198" y="1744"/>
                      </a:lnTo>
                      <a:lnTo>
                        <a:pt x="199" y="1744"/>
                      </a:lnTo>
                      <a:lnTo>
                        <a:pt x="199" y="1747"/>
                      </a:lnTo>
                      <a:lnTo>
                        <a:pt x="199" y="1748"/>
                      </a:lnTo>
                      <a:lnTo>
                        <a:pt x="199" y="1748"/>
                      </a:lnTo>
                      <a:lnTo>
                        <a:pt x="199" y="1749"/>
                      </a:lnTo>
                      <a:lnTo>
                        <a:pt x="199" y="1749"/>
                      </a:lnTo>
                      <a:lnTo>
                        <a:pt x="198" y="1750"/>
                      </a:lnTo>
                      <a:lnTo>
                        <a:pt x="198" y="1750"/>
                      </a:lnTo>
                      <a:lnTo>
                        <a:pt x="198" y="1750"/>
                      </a:lnTo>
                      <a:lnTo>
                        <a:pt x="197" y="1750"/>
                      </a:lnTo>
                      <a:lnTo>
                        <a:pt x="195" y="1750"/>
                      </a:lnTo>
                      <a:lnTo>
                        <a:pt x="195" y="1749"/>
                      </a:lnTo>
                      <a:lnTo>
                        <a:pt x="195" y="1749"/>
                      </a:lnTo>
                      <a:lnTo>
                        <a:pt x="195" y="1750"/>
                      </a:lnTo>
                      <a:lnTo>
                        <a:pt x="194" y="1750"/>
                      </a:lnTo>
                      <a:lnTo>
                        <a:pt x="194" y="1750"/>
                      </a:lnTo>
                      <a:lnTo>
                        <a:pt x="193" y="1750"/>
                      </a:lnTo>
                      <a:lnTo>
                        <a:pt x="193" y="1750"/>
                      </a:lnTo>
                      <a:lnTo>
                        <a:pt x="192" y="1750"/>
                      </a:lnTo>
                      <a:lnTo>
                        <a:pt x="191" y="1750"/>
                      </a:lnTo>
                      <a:lnTo>
                        <a:pt x="191" y="1750"/>
                      </a:lnTo>
                      <a:lnTo>
                        <a:pt x="190" y="1750"/>
                      </a:lnTo>
                      <a:lnTo>
                        <a:pt x="190" y="1750"/>
                      </a:lnTo>
                      <a:lnTo>
                        <a:pt x="189" y="1750"/>
                      </a:lnTo>
                      <a:lnTo>
                        <a:pt x="189" y="1749"/>
                      </a:lnTo>
                      <a:lnTo>
                        <a:pt x="189" y="1749"/>
                      </a:lnTo>
                      <a:lnTo>
                        <a:pt x="187" y="1749"/>
                      </a:lnTo>
                      <a:lnTo>
                        <a:pt x="186" y="1749"/>
                      </a:lnTo>
                      <a:lnTo>
                        <a:pt x="185" y="1749"/>
                      </a:lnTo>
                      <a:lnTo>
                        <a:pt x="184" y="1750"/>
                      </a:lnTo>
                      <a:lnTo>
                        <a:pt x="184" y="1750"/>
                      </a:lnTo>
                      <a:lnTo>
                        <a:pt x="183" y="1750"/>
                      </a:lnTo>
                      <a:lnTo>
                        <a:pt x="183" y="1750"/>
                      </a:lnTo>
                      <a:lnTo>
                        <a:pt x="183" y="1750"/>
                      </a:lnTo>
                      <a:lnTo>
                        <a:pt x="182" y="1750"/>
                      </a:lnTo>
                      <a:lnTo>
                        <a:pt x="182" y="1751"/>
                      </a:lnTo>
                      <a:lnTo>
                        <a:pt x="182" y="1751"/>
                      </a:lnTo>
                      <a:lnTo>
                        <a:pt x="181" y="1752"/>
                      </a:lnTo>
                      <a:lnTo>
                        <a:pt x="181" y="1752"/>
                      </a:lnTo>
                      <a:lnTo>
                        <a:pt x="181" y="1754"/>
                      </a:lnTo>
                      <a:lnTo>
                        <a:pt x="181" y="1755"/>
                      </a:lnTo>
                      <a:lnTo>
                        <a:pt x="182" y="1754"/>
                      </a:lnTo>
                      <a:lnTo>
                        <a:pt x="182" y="1756"/>
                      </a:lnTo>
                      <a:lnTo>
                        <a:pt x="183" y="1756"/>
                      </a:lnTo>
                      <a:lnTo>
                        <a:pt x="184" y="1756"/>
                      </a:lnTo>
                      <a:lnTo>
                        <a:pt x="184" y="1756"/>
                      </a:lnTo>
                      <a:lnTo>
                        <a:pt x="184" y="1758"/>
                      </a:lnTo>
                      <a:lnTo>
                        <a:pt x="183" y="1759"/>
                      </a:lnTo>
                      <a:lnTo>
                        <a:pt x="183" y="1759"/>
                      </a:lnTo>
                      <a:lnTo>
                        <a:pt x="183" y="1759"/>
                      </a:lnTo>
                      <a:lnTo>
                        <a:pt x="183" y="1759"/>
                      </a:lnTo>
                      <a:lnTo>
                        <a:pt x="182" y="1760"/>
                      </a:lnTo>
                      <a:lnTo>
                        <a:pt x="182" y="1760"/>
                      </a:lnTo>
                      <a:lnTo>
                        <a:pt x="182" y="1761"/>
                      </a:lnTo>
                      <a:lnTo>
                        <a:pt x="182" y="1762"/>
                      </a:lnTo>
                      <a:lnTo>
                        <a:pt x="181" y="1763"/>
                      </a:lnTo>
                      <a:lnTo>
                        <a:pt x="181" y="1763"/>
                      </a:lnTo>
                      <a:lnTo>
                        <a:pt x="181" y="1763"/>
                      </a:lnTo>
                      <a:lnTo>
                        <a:pt x="181" y="1764"/>
                      </a:lnTo>
                      <a:lnTo>
                        <a:pt x="180" y="1764"/>
                      </a:lnTo>
                      <a:lnTo>
                        <a:pt x="180" y="1764"/>
                      </a:lnTo>
                      <a:lnTo>
                        <a:pt x="179" y="1764"/>
                      </a:lnTo>
                      <a:lnTo>
                        <a:pt x="179" y="1763"/>
                      </a:lnTo>
                      <a:lnTo>
                        <a:pt x="178" y="1763"/>
                      </a:lnTo>
                      <a:lnTo>
                        <a:pt x="178" y="1764"/>
                      </a:lnTo>
                      <a:lnTo>
                        <a:pt x="177" y="1764"/>
                      </a:lnTo>
                      <a:lnTo>
                        <a:pt x="177" y="1763"/>
                      </a:lnTo>
                      <a:lnTo>
                        <a:pt x="177" y="1763"/>
                      </a:lnTo>
                      <a:lnTo>
                        <a:pt x="177" y="1764"/>
                      </a:lnTo>
                      <a:lnTo>
                        <a:pt x="177" y="1764"/>
                      </a:lnTo>
                      <a:lnTo>
                        <a:pt x="175" y="1763"/>
                      </a:lnTo>
                      <a:lnTo>
                        <a:pt x="175" y="1764"/>
                      </a:lnTo>
                      <a:lnTo>
                        <a:pt x="174" y="1764"/>
                      </a:lnTo>
                      <a:lnTo>
                        <a:pt x="174" y="1764"/>
                      </a:lnTo>
                      <a:lnTo>
                        <a:pt x="174" y="1764"/>
                      </a:lnTo>
                      <a:lnTo>
                        <a:pt x="174" y="1763"/>
                      </a:lnTo>
                      <a:lnTo>
                        <a:pt x="172" y="1763"/>
                      </a:lnTo>
                      <a:lnTo>
                        <a:pt x="172" y="1763"/>
                      </a:lnTo>
                      <a:lnTo>
                        <a:pt x="170" y="1763"/>
                      </a:lnTo>
                      <a:lnTo>
                        <a:pt x="167" y="1764"/>
                      </a:lnTo>
                      <a:lnTo>
                        <a:pt x="166" y="1764"/>
                      </a:lnTo>
                      <a:lnTo>
                        <a:pt x="166" y="1766"/>
                      </a:lnTo>
                      <a:lnTo>
                        <a:pt x="166" y="1766"/>
                      </a:lnTo>
                      <a:lnTo>
                        <a:pt x="165" y="1767"/>
                      </a:lnTo>
                      <a:lnTo>
                        <a:pt x="164" y="1768"/>
                      </a:lnTo>
                      <a:lnTo>
                        <a:pt x="164" y="1768"/>
                      </a:lnTo>
                      <a:lnTo>
                        <a:pt x="163" y="1769"/>
                      </a:lnTo>
                      <a:lnTo>
                        <a:pt x="163" y="1770"/>
                      </a:lnTo>
                      <a:lnTo>
                        <a:pt x="163" y="1770"/>
                      </a:lnTo>
                      <a:lnTo>
                        <a:pt x="162" y="1771"/>
                      </a:lnTo>
                      <a:lnTo>
                        <a:pt x="163" y="1772"/>
                      </a:lnTo>
                      <a:lnTo>
                        <a:pt x="163" y="1774"/>
                      </a:lnTo>
                      <a:lnTo>
                        <a:pt x="163" y="1774"/>
                      </a:lnTo>
                      <a:lnTo>
                        <a:pt x="164" y="1775"/>
                      </a:lnTo>
                      <a:lnTo>
                        <a:pt x="164" y="1776"/>
                      </a:lnTo>
                      <a:lnTo>
                        <a:pt x="163" y="1776"/>
                      </a:lnTo>
                      <a:lnTo>
                        <a:pt x="163" y="1779"/>
                      </a:lnTo>
                      <a:lnTo>
                        <a:pt x="164" y="1779"/>
                      </a:lnTo>
                      <a:lnTo>
                        <a:pt x="164" y="1780"/>
                      </a:lnTo>
                      <a:lnTo>
                        <a:pt x="164" y="1780"/>
                      </a:lnTo>
                      <a:lnTo>
                        <a:pt x="164" y="1780"/>
                      </a:lnTo>
                      <a:lnTo>
                        <a:pt x="163" y="1780"/>
                      </a:lnTo>
                      <a:lnTo>
                        <a:pt x="162" y="1780"/>
                      </a:lnTo>
                      <a:lnTo>
                        <a:pt x="162" y="1781"/>
                      </a:lnTo>
                      <a:lnTo>
                        <a:pt x="161" y="1781"/>
                      </a:lnTo>
                      <a:lnTo>
                        <a:pt x="160" y="1782"/>
                      </a:lnTo>
                      <a:lnTo>
                        <a:pt x="158" y="1782"/>
                      </a:lnTo>
                      <a:lnTo>
                        <a:pt x="158" y="1781"/>
                      </a:lnTo>
                      <a:lnTo>
                        <a:pt x="158" y="1782"/>
                      </a:lnTo>
                      <a:lnTo>
                        <a:pt x="157" y="1782"/>
                      </a:lnTo>
                      <a:lnTo>
                        <a:pt x="157" y="1781"/>
                      </a:lnTo>
                      <a:lnTo>
                        <a:pt x="156" y="1781"/>
                      </a:lnTo>
                      <a:lnTo>
                        <a:pt x="156" y="1781"/>
                      </a:lnTo>
                      <a:lnTo>
                        <a:pt x="155" y="1781"/>
                      </a:lnTo>
                      <a:lnTo>
                        <a:pt x="155" y="1779"/>
                      </a:lnTo>
                      <a:lnTo>
                        <a:pt x="154" y="1779"/>
                      </a:lnTo>
                      <a:lnTo>
                        <a:pt x="154" y="1778"/>
                      </a:lnTo>
                      <a:lnTo>
                        <a:pt x="153" y="1778"/>
                      </a:lnTo>
                      <a:lnTo>
                        <a:pt x="153" y="1776"/>
                      </a:lnTo>
                      <a:lnTo>
                        <a:pt x="152" y="1775"/>
                      </a:lnTo>
                      <a:lnTo>
                        <a:pt x="149" y="1775"/>
                      </a:lnTo>
                      <a:lnTo>
                        <a:pt x="148" y="1776"/>
                      </a:lnTo>
                      <a:lnTo>
                        <a:pt x="148" y="1776"/>
                      </a:lnTo>
                      <a:lnTo>
                        <a:pt x="148" y="1776"/>
                      </a:lnTo>
                      <a:lnTo>
                        <a:pt x="147" y="1778"/>
                      </a:lnTo>
                      <a:lnTo>
                        <a:pt x="146" y="1778"/>
                      </a:lnTo>
                      <a:lnTo>
                        <a:pt x="146" y="1778"/>
                      </a:lnTo>
                      <a:lnTo>
                        <a:pt x="145" y="1778"/>
                      </a:lnTo>
                      <a:lnTo>
                        <a:pt x="146" y="1777"/>
                      </a:lnTo>
                      <a:lnTo>
                        <a:pt x="145" y="1777"/>
                      </a:lnTo>
                      <a:lnTo>
                        <a:pt x="145" y="1776"/>
                      </a:lnTo>
                      <a:lnTo>
                        <a:pt x="145" y="1776"/>
                      </a:lnTo>
                      <a:lnTo>
                        <a:pt x="145" y="1775"/>
                      </a:lnTo>
                      <a:lnTo>
                        <a:pt x="145" y="1775"/>
                      </a:lnTo>
                      <a:lnTo>
                        <a:pt x="145" y="1775"/>
                      </a:lnTo>
                      <a:lnTo>
                        <a:pt x="146" y="1775"/>
                      </a:lnTo>
                      <a:lnTo>
                        <a:pt x="146" y="1774"/>
                      </a:lnTo>
                      <a:lnTo>
                        <a:pt x="147" y="1773"/>
                      </a:lnTo>
                      <a:lnTo>
                        <a:pt x="147" y="1772"/>
                      </a:lnTo>
                      <a:lnTo>
                        <a:pt x="147" y="1772"/>
                      </a:lnTo>
                      <a:lnTo>
                        <a:pt x="147" y="1771"/>
                      </a:lnTo>
                      <a:lnTo>
                        <a:pt x="146" y="1771"/>
                      </a:lnTo>
                      <a:lnTo>
                        <a:pt x="146" y="1769"/>
                      </a:lnTo>
                      <a:lnTo>
                        <a:pt x="146" y="1768"/>
                      </a:lnTo>
                      <a:lnTo>
                        <a:pt x="146" y="1768"/>
                      </a:lnTo>
                      <a:lnTo>
                        <a:pt x="146" y="1767"/>
                      </a:lnTo>
                      <a:lnTo>
                        <a:pt x="146" y="1767"/>
                      </a:lnTo>
                      <a:lnTo>
                        <a:pt x="146" y="1767"/>
                      </a:lnTo>
                      <a:lnTo>
                        <a:pt x="146" y="1766"/>
                      </a:lnTo>
                      <a:lnTo>
                        <a:pt x="147" y="1764"/>
                      </a:lnTo>
                      <a:lnTo>
                        <a:pt x="146" y="1764"/>
                      </a:lnTo>
                      <a:lnTo>
                        <a:pt x="146" y="1763"/>
                      </a:lnTo>
                      <a:lnTo>
                        <a:pt x="146" y="1761"/>
                      </a:lnTo>
                      <a:lnTo>
                        <a:pt x="146" y="1761"/>
                      </a:lnTo>
                      <a:lnTo>
                        <a:pt x="145" y="1760"/>
                      </a:lnTo>
                      <a:lnTo>
                        <a:pt x="145" y="1760"/>
                      </a:lnTo>
                      <a:lnTo>
                        <a:pt x="145" y="1760"/>
                      </a:lnTo>
                      <a:lnTo>
                        <a:pt x="144" y="1760"/>
                      </a:lnTo>
                      <a:lnTo>
                        <a:pt x="144" y="1759"/>
                      </a:lnTo>
                      <a:lnTo>
                        <a:pt x="143" y="1758"/>
                      </a:lnTo>
                      <a:lnTo>
                        <a:pt x="143" y="1759"/>
                      </a:lnTo>
                      <a:lnTo>
                        <a:pt x="143" y="1759"/>
                      </a:lnTo>
                      <a:lnTo>
                        <a:pt x="142" y="1759"/>
                      </a:lnTo>
                      <a:lnTo>
                        <a:pt x="142" y="1760"/>
                      </a:lnTo>
                      <a:lnTo>
                        <a:pt x="141" y="1760"/>
                      </a:lnTo>
                      <a:lnTo>
                        <a:pt x="141" y="1759"/>
                      </a:lnTo>
                      <a:lnTo>
                        <a:pt x="141" y="1759"/>
                      </a:lnTo>
                      <a:lnTo>
                        <a:pt x="142" y="1758"/>
                      </a:lnTo>
                      <a:lnTo>
                        <a:pt x="142" y="1758"/>
                      </a:lnTo>
                      <a:lnTo>
                        <a:pt x="142" y="1758"/>
                      </a:lnTo>
                      <a:lnTo>
                        <a:pt x="143" y="1758"/>
                      </a:lnTo>
                      <a:lnTo>
                        <a:pt x="143" y="1758"/>
                      </a:lnTo>
                      <a:lnTo>
                        <a:pt x="144" y="1758"/>
                      </a:lnTo>
                      <a:lnTo>
                        <a:pt x="144" y="1758"/>
                      </a:lnTo>
                      <a:lnTo>
                        <a:pt x="144" y="1758"/>
                      </a:lnTo>
                      <a:lnTo>
                        <a:pt x="145" y="1758"/>
                      </a:lnTo>
                      <a:lnTo>
                        <a:pt x="145" y="1756"/>
                      </a:lnTo>
                      <a:lnTo>
                        <a:pt x="145" y="1755"/>
                      </a:lnTo>
                      <a:lnTo>
                        <a:pt x="146" y="1755"/>
                      </a:lnTo>
                      <a:lnTo>
                        <a:pt x="146" y="1753"/>
                      </a:lnTo>
                      <a:lnTo>
                        <a:pt x="147" y="1753"/>
                      </a:lnTo>
                      <a:lnTo>
                        <a:pt x="148" y="1752"/>
                      </a:lnTo>
                      <a:lnTo>
                        <a:pt x="148" y="1752"/>
                      </a:lnTo>
                      <a:lnTo>
                        <a:pt x="148" y="1751"/>
                      </a:lnTo>
                      <a:lnTo>
                        <a:pt x="151" y="1751"/>
                      </a:lnTo>
                      <a:lnTo>
                        <a:pt x="151" y="1751"/>
                      </a:lnTo>
                      <a:lnTo>
                        <a:pt x="151" y="1750"/>
                      </a:lnTo>
                      <a:lnTo>
                        <a:pt x="151" y="1749"/>
                      </a:lnTo>
                      <a:lnTo>
                        <a:pt x="151" y="1749"/>
                      </a:lnTo>
                      <a:lnTo>
                        <a:pt x="151" y="1748"/>
                      </a:lnTo>
                      <a:lnTo>
                        <a:pt x="155" y="1748"/>
                      </a:lnTo>
                      <a:lnTo>
                        <a:pt x="155" y="1748"/>
                      </a:lnTo>
                      <a:lnTo>
                        <a:pt x="155" y="1749"/>
                      </a:lnTo>
                      <a:lnTo>
                        <a:pt x="156" y="1749"/>
                      </a:lnTo>
                      <a:lnTo>
                        <a:pt x="157" y="1750"/>
                      </a:lnTo>
                      <a:lnTo>
                        <a:pt x="158" y="1749"/>
                      </a:lnTo>
                      <a:lnTo>
                        <a:pt x="158" y="1749"/>
                      </a:lnTo>
                      <a:lnTo>
                        <a:pt x="159" y="1749"/>
                      </a:lnTo>
                      <a:lnTo>
                        <a:pt x="159" y="1748"/>
                      </a:lnTo>
                      <a:lnTo>
                        <a:pt x="160" y="1748"/>
                      </a:lnTo>
                      <a:lnTo>
                        <a:pt x="160" y="1749"/>
                      </a:lnTo>
                      <a:lnTo>
                        <a:pt x="161" y="1749"/>
                      </a:lnTo>
                      <a:lnTo>
                        <a:pt x="161" y="1749"/>
                      </a:lnTo>
                      <a:lnTo>
                        <a:pt x="161" y="1749"/>
                      </a:lnTo>
                      <a:lnTo>
                        <a:pt x="161" y="1750"/>
                      </a:lnTo>
                      <a:lnTo>
                        <a:pt x="160" y="1750"/>
                      </a:lnTo>
                      <a:lnTo>
                        <a:pt x="160" y="1751"/>
                      </a:lnTo>
                      <a:lnTo>
                        <a:pt x="161" y="1751"/>
                      </a:lnTo>
                      <a:lnTo>
                        <a:pt x="161" y="1751"/>
                      </a:lnTo>
                      <a:lnTo>
                        <a:pt x="162" y="1751"/>
                      </a:lnTo>
                      <a:lnTo>
                        <a:pt x="163" y="1751"/>
                      </a:lnTo>
                      <a:lnTo>
                        <a:pt x="163" y="1750"/>
                      </a:lnTo>
                      <a:lnTo>
                        <a:pt x="163" y="1750"/>
                      </a:lnTo>
                      <a:lnTo>
                        <a:pt x="163" y="1750"/>
                      </a:lnTo>
                      <a:lnTo>
                        <a:pt x="164" y="1750"/>
                      </a:lnTo>
                      <a:lnTo>
                        <a:pt x="164" y="1750"/>
                      </a:lnTo>
                      <a:lnTo>
                        <a:pt x="164" y="1752"/>
                      </a:lnTo>
                      <a:lnTo>
                        <a:pt x="165" y="1752"/>
                      </a:lnTo>
                      <a:lnTo>
                        <a:pt x="166" y="1752"/>
                      </a:lnTo>
                      <a:lnTo>
                        <a:pt x="166" y="1752"/>
                      </a:lnTo>
                      <a:lnTo>
                        <a:pt x="167" y="1752"/>
                      </a:lnTo>
                      <a:lnTo>
                        <a:pt x="169" y="1751"/>
                      </a:lnTo>
                      <a:lnTo>
                        <a:pt x="169" y="1751"/>
                      </a:lnTo>
                      <a:lnTo>
                        <a:pt x="169" y="1750"/>
                      </a:lnTo>
                      <a:lnTo>
                        <a:pt x="170" y="1750"/>
                      </a:lnTo>
                      <a:lnTo>
                        <a:pt x="170" y="1748"/>
                      </a:lnTo>
                      <a:lnTo>
                        <a:pt x="171" y="1747"/>
                      </a:lnTo>
                      <a:lnTo>
                        <a:pt x="172" y="1747"/>
                      </a:lnTo>
                      <a:lnTo>
                        <a:pt x="172" y="1747"/>
                      </a:lnTo>
                      <a:lnTo>
                        <a:pt x="174" y="1747"/>
                      </a:lnTo>
                      <a:lnTo>
                        <a:pt x="174" y="1746"/>
                      </a:lnTo>
                      <a:lnTo>
                        <a:pt x="175" y="1746"/>
                      </a:lnTo>
                      <a:lnTo>
                        <a:pt x="175" y="1746"/>
                      </a:lnTo>
                      <a:lnTo>
                        <a:pt x="176" y="1746"/>
                      </a:lnTo>
                      <a:lnTo>
                        <a:pt x="176" y="1745"/>
                      </a:lnTo>
                      <a:lnTo>
                        <a:pt x="177" y="1745"/>
                      </a:lnTo>
                      <a:lnTo>
                        <a:pt x="177" y="1745"/>
                      </a:lnTo>
                      <a:lnTo>
                        <a:pt x="177" y="1744"/>
                      </a:lnTo>
                      <a:lnTo>
                        <a:pt x="179" y="1744"/>
                      </a:lnTo>
                      <a:lnTo>
                        <a:pt x="180" y="1743"/>
                      </a:lnTo>
                      <a:lnTo>
                        <a:pt x="182" y="1743"/>
                      </a:lnTo>
                      <a:lnTo>
                        <a:pt x="182" y="1743"/>
                      </a:lnTo>
                      <a:lnTo>
                        <a:pt x="182" y="1744"/>
                      </a:lnTo>
                      <a:lnTo>
                        <a:pt x="183" y="1744"/>
                      </a:lnTo>
                      <a:lnTo>
                        <a:pt x="183" y="1745"/>
                      </a:lnTo>
                      <a:lnTo>
                        <a:pt x="183" y="1745"/>
                      </a:lnTo>
                      <a:lnTo>
                        <a:pt x="183" y="1746"/>
                      </a:lnTo>
                      <a:lnTo>
                        <a:pt x="184" y="1746"/>
                      </a:lnTo>
                      <a:lnTo>
                        <a:pt x="185" y="1746"/>
                      </a:lnTo>
                      <a:lnTo>
                        <a:pt x="185" y="1746"/>
                      </a:lnTo>
                      <a:lnTo>
                        <a:pt x="186" y="1745"/>
                      </a:lnTo>
                      <a:lnTo>
                        <a:pt x="186" y="1745"/>
                      </a:lnTo>
                      <a:lnTo>
                        <a:pt x="186" y="1746"/>
                      </a:lnTo>
                      <a:lnTo>
                        <a:pt x="188" y="1746"/>
                      </a:lnTo>
                      <a:lnTo>
                        <a:pt x="188" y="1745"/>
                      </a:lnTo>
                      <a:lnTo>
                        <a:pt x="189" y="1745"/>
                      </a:lnTo>
                      <a:lnTo>
                        <a:pt x="188" y="1744"/>
                      </a:lnTo>
                      <a:lnTo>
                        <a:pt x="188" y="1742"/>
                      </a:lnTo>
                      <a:lnTo>
                        <a:pt x="189" y="1742"/>
                      </a:lnTo>
                      <a:lnTo>
                        <a:pt x="189" y="1742"/>
                      </a:lnTo>
                      <a:lnTo>
                        <a:pt x="189" y="1742"/>
                      </a:lnTo>
                      <a:lnTo>
                        <a:pt x="189" y="1742"/>
                      </a:lnTo>
                      <a:lnTo>
                        <a:pt x="190" y="1742"/>
                      </a:lnTo>
                      <a:lnTo>
                        <a:pt x="191" y="1742"/>
                      </a:lnTo>
                      <a:lnTo>
                        <a:pt x="192" y="1742"/>
                      </a:lnTo>
                      <a:lnTo>
                        <a:pt x="192" y="1739"/>
                      </a:lnTo>
                      <a:lnTo>
                        <a:pt x="193" y="1738"/>
                      </a:lnTo>
                      <a:close/>
                      <a:moveTo>
                        <a:pt x="473" y="1736"/>
                      </a:moveTo>
                      <a:lnTo>
                        <a:pt x="473" y="1737"/>
                      </a:lnTo>
                      <a:lnTo>
                        <a:pt x="473" y="1737"/>
                      </a:lnTo>
                      <a:lnTo>
                        <a:pt x="473" y="1738"/>
                      </a:lnTo>
                      <a:lnTo>
                        <a:pt x="471" y="1739"/>
                      </a:lnTo>
                      <a:lnTo>
                        <a:pt x="471" y="1740"/>
                      </a:lnTo>
                      <a:lnTo>
                        <a:pt x="469" y="1742"/>
                      </a:lnTo>
                      <a:lnTo>
                        <a:pt x="469" y="1742"/>
                      </a:lnTo>
                      <a:lnTo>
                        <a:pt x="468" y="1744"/>
                      </a:lnTo>
                      <a:lnTo>
                        <a:pt x="467" y="1744"/>
                      </a:lnTo>
                      <a:lnTo>
                        <a:pt x="466" y="1745"/>
                      </a:lnTo>
                      <a:lnTo>
                        <a:pt x="466" y="1746"/>
                      </a:lnTo>
                      <a:lnTo>
                        <a:pt x="465" y="1747"/>
                      </a:lnTo>
                      <a:lnTo>
                        <a:pt x="465" y="1747"/>
                      </a:lnTo>
                      <a:lnTo>
                        <a:pt x="464" y="1748"/>
                      </a:lnTo>
                      <a:lnTo>
                        <a:pt x="462" y="1750"/>
                      </a:lnTo>
                      <a:lnTo>
                        <a:pt x="461" y="1751"/>
                      </a:lnTo>
                      <a:lnTo>
                        <a:pt x="460" y="1753"/>
                      </a:lnTo>
                      <a:lnTo>
                        <a:pt x="459" y="1754"/>
                      </a:lnTo>
                      <a:lnTo>
                        <a:pt x="459" y="1754"/>
                      </a:lnTo>
                      <a:lnTo>
                        <a:pt x="459" y="1756"/>
                      </a:lnTo>
                      <a:lnTo>
                        <a:pt x="458" y="1756"/>
                      </a:lnTo>
                      <a:lnTo>
                        <a:pt x="457" y="1759"/>
                      </a:lnTo>
                      <a:lnTo>
                        <a:pt x="457" y="1759"/>
                      </a:lnTo>
                      <a:lnTo>
                        <a:pt x="456" y="1761"/>
                      </a:lnTo>
                      <a:lnTo>
                        <a:pt x="455" y="1761"/>
                      </a:lnTo>
                      <a:lnTo>
                        <a:pt x="454" y="1762"/>
                      </a:lnTo>
                      <a:lnTo>
                        <a:pt x="454" y="1762"/>
                      </a:lnTo>
                      <a:lnTo>
                        <a:pt x="452" y="1763"/>
                      </a:lnTo>
                      <a:lnTo>
                        <a:pt x="451" y="1764"/>
                      </a:lnTo>
                      <a:lnTo>
                        <a:pt x="450" y="1764"/>
                      </a:lnTo>
                      <a:lnTo>
                        <a:pt x="449" y="1765"/>
                      </a:lnTo>
                      <a:lnTo>
                        <a:pt x="449" y="1765"/>
                      </a:lnTo>
                      <a:lnTo>
                        <a:pt x="448" y="1767"/>
                      </a:lnTo>
                      <a:lnTo>
                        <a:pt x="448" y="1768"/>
                      </a:lnTo>
                      <a:lnTo>
                        <a:pt x="447" y="1769"/>
                      </a:lnTo>
                      <a:lnTo>
                        <a:pt x="446" y="1769"/>
                      </a:lnTo>
                      <a:lnTo>
                        <a:pt x="445" y="1770"/>
                      </a:lnTo>
                      <a:lnTo>
                        <a:pt x="442" y="1772"/>
                      </a:lnTo>
                      <a:lnTo>
                        <a:pt x="441" y="1773"/>
                      </a:lnTo>
                      <a:lnTo>
                        <a:pt x="440" y="1774"/>
                      </a:lnTo>
                      <a:lnTo>
                        <a:pt x="439" y="1774"/>
                      </a:lnTo>
                      <a:lnTo>
                        <a:pt x="437" y="1775"/>
                      </a:lnTo>
                      <a:lnTo>
                        <a:pt x="437" y="1775"/>
                      </a:lnTo>
                      <a:lnTo>
                        <a:pt x="437" y="1775"/>
                      </a:lnTo>
                      <a:lnTo>
                        <a:pt x="437" y="1773"/>
                      </a:lnTo>
                      <a:lnTo>
                        <a:pt x="438" y="1773"/>
                      </a:lnTo>
                      <a:lnTo>
                        <a:pt x="438" y="1773"/>
                      </a:lnTo>
                      <a:lnTo>
                        <a:pt x="439" y="1771"/>
                      </a:lnTo>
                      <a:lnTo>
                        <a:pt x="441" y="1770"/>
                      </a:lnTo>
                      <a:lnTo>
                        <a:pt x="442" y="1769"/>
                      </a:lnTo>
                      <a:lnTo>
                        <a:pt x="442" y="1768"/>
                      </a:lnTo>
                      <a:lnTo>
                        <a:pt x="441" y="1766"/>
                      </a:lnTo>
                      <a:lnTo>
                        <a:pt x="442" y="1764"/>
                      </a:lnTo>
                      <a:lnTo>
                        <a:pt x="442" y="1763"/>
                      </a:lnTo>
                      <a:lnTo>
                        <a:pt x="442" y="1763"/>
                      </a:lnTo>
                      <a:lnTo>
                        <a:pt x="442" y="1762"/>
                      </a:lnTo>
                      <a:lnTo>
                        <a:pt x="442" y="1762"/>
                      </a:lnTo>
                      <a:lnTo>
                        <a:pt x="442" y="1762"/>
                      </a:lnTo>
                      <a:lnTo>
                        <a:pt x="441" y="1763"/>
                      </a:lnTo>
                      <a:lnTo>
                        <a:pt x="440" y="1763"/>
                      </a:lnTo>
                      <a:lnTo>
                        <a:pt x="440" y="1763"/>
                      </a:lnTo>
                      <a:lnTo>
                        <a:pt x="440" y="1764"/>
                      </a:lnTo>
                      <a:lnTo>
                        <a:pt x="439" y="1763"/>
                      </a:lnTo>
                      <a:lnTo>
                        <a:pt x="437" y="1764"/>
                      </a:lnTo>
                      <a:lnTo>
                        <a:pt x="437" y="1764"/>
                      </a:lnTo>
                      <a:lnTo>
                        <a:pt x="438" y="1763"/>
                      </a:lnTo>
                      <a:lnTo>
                        <a:pt x="438" y="1763"/>
                      </a:lnTo>
                      <a:lnTo>
                        <a:pt x="438" y="1763"/>
                      </a:lnTo>
                      <a:lnTo>
                        <a:pt x="439" y="1762"/>
                      </a:lnTo>
                      <a:lnTo>
                        <a:pt x="439" y="1762"/>
                      </a:lnTo>
                      <a:lnTo>
                        <a:pt x="440" y="1762"/>
                      </a:lnTo>
                      <a:lnTo>
                        <a:pt x="441" y="1761"/>
                      </a:lnTo>
                      <a:lnTo>
                        <a:pt x="442" y="1761"/>
                      </a:lnTo>
                      <a:lnTo>
                        <a:pt x="442" y="1761"/>
                      </a:lnTo>
                      <a:lnTo>
                        <a:pt x="443" y="1760"/>
                      </a:lnTo>
                      <a:lnTo>
                        <a:pt x="443" y="1761"/>
                      </a:lnTo>
                      <a:lnTo>
                        <a:pt x="443" y="1761"/>
                      </a:lnTo>
                      <a:lnTo>
                        <a:pt x="444" y="1761"/>
                      </a:lnTo>
                      <a:lnTo>
                        <a:pt x="445" y="1760"/>
                      </a:lnTo>
                      <a:lnTo>
                        <a:pt x="445" y="1760"/>
                      </a:lnTo>
                      <a:lnTo>
                        <a:pt x="446" y="1759"/>
                      </a:lnTo>
                      <a:lnTo>
                        <a:pt x="448" y="1759"/>
                      </a:lnTo>
                      <a:lnTo>
                        <a:pt x="448" y="1759"/>
                      </a:lnTo>
                      <a:lnTo>
                        <a:pt x="450" y="1758"/>
                      </a:lnTo>
                      <a:lnTo>
                        <a:pt x="450" y="1756"/>
                      </a:lnTo>
                      <a:lnTo>
                        <a:pt x="451" y="1755"/>
                      </a:lnTo>
                      <a:lnTo>
                        <a:pt x="451" y="1755"/>
                      </a:lnTo>
                      <a:lnTo>
                        <a:pt x="451" y="1754"/>
                      </a:lnTo>
                      <a:lnTo>
                        <a:pt x="452" y="1754"/>
                      </a:lnTo>
                      <a:lnTo>
                        <a:pt x="452" y="1754"/>
                      </a:lnTo>
                      <a:lnTo>
                        <a:pt x="453" y="1754"/>
                      </a:lnTo>
                      <a:lnTo>
                        <a:pt x="453" y="1754"/>
                      </a:lnTo>
                      <a:lnTo>
                        <a:pt x="453" y="1754"/>
                      </a:lnTo>
                      <a:lnTo>
                        <a:pt x="453" y="1753"/>
                      </a:lnTo>
                      <a:lnTo>
                        <a:pt x="453" y="1753"/>
                      </a:lnTo>
                      <a:lnTo>
                        <a:pt x="455" y="1751"/>
                      </a:lnTo>
                      <a:lnTo>
                        <a:pt x="455" y="1751"/>
                      </a:lnTo>
                      <a:lnTo>
                        <a:pt x="456" y="1750"/>
                      </a:lnTo>
                      <a:lnTo>
                        <a:pt x="457" y="1749"/>
                      </a:lnTo>
                      <a:lnTo>
                        <a:pt x="458" y="1747"/>
                      </a:lnTo>
                      <a:lnTo>
                        <a:pt x="458" y="1746"/>
                      </a:lnTo>
                      <a:lnTo>
                        <a:pt x="458" y="1745"/>
                      </a:lnTo>
                      <a:lnTo>
                        <a:pt x="459" y="1745"/>
                      </a:lnTo>
                      <a:lnTo>
                        <a:pt x="459" y="1744"/>
                      </a:lnTo>
                      <a:lnTo>
                        <a:pt x="460" y="1744"/>
                      </a:lnTo>
                      <a:lnTo>
                        <a:pt x="461" y="1743"/>
                      </a:lnTo>
                      <a:lnTo>
                        <a:pt x="461" y="1742"/>
                      </a:lnTo>
                      <a:lnTo>
                        <a:pt x="461" y="1742"/>
                      </a:lnTo>
                      <a:lnTo>
                        <a:pt x="462" y="1741"/>
                      </a:lnTo>
                      <a:lnTo>
                        <a:pt x="462" y="1741"/>
                      </a:lnTo>
                      <a:lnTo>
                        <a:pt x="462" y="1742"/>
                      </a:lnTo>
                      <a:lnTo>
                        <a:pt x="462" y="1742"/>
                      </a:lnTo>
                      <a:lnTo>
                        <a:pt x="463" y="1742"/>
                      </a:lnTo>
                      <a:lnTo>
                        <a:pt x="463" y="1741"/>
                      </a:lnTo>
                      <a:lnTo>
                        <a:pt x="464" y="1740"/>
                      </a:lnTo>
                      <a:lnTo>
                        <a:pt x="464" y="1740"/>
                      </a:lnTo>
                      <a:lnTo>
                        <a:pt x="463" y="1740"/>
                      </a:lnTo>
                      <a:lnTo>
                        <a:pt x="463" y="1740"/>
                      </a:lnTo>
                      <a:lnTo>
                        <a:pt x="463" y="1739"/>
                      </a:lnTo>
                      <a:lnTo>
                        <a:pt x="463" y="1739"/>
                      </a:lnTo>
                      <a:lnTo>
                        <a:pt x="463" y="1738"/>
                      </a:lnTo>
                      <a:lnTo>
                        <a:pt x="463" y="1738"/>
                      </a:lnTo>
                      <a:lnTo>
                        <a:pt x="463" y="1738"/>
                      </a:lnTo>
                      <a:lnTo>
                        <a:pt x="464" y="1738"/>
                      </a:lnTo>
                      <a:lnTo>
                        <a:pt x="465" y="1739"/>
                      </a:lnTo>
                      <a:lnTo>
                        <a:pt x="464" y="1739"/>
                      </a:lnTo>
                      <a:lnTo>
                        <a:pt x="465" y="1740"/>
                      </a:lnTo>
                      <a:lnTo>
                        <a:pt x="466" y="1740"/>
                      </a:lnTo>
                      <a:lnTo>
                        <a:pt x="466" y="1739"/>
                      </a:lnTo>
                      <a:lnTo>
                        <a:pt x="466" y="1740"/>
                      </a:lnTo>
                      <a:lnTo>
                        <a:pt x="466" y="1740"/>
                      </a:lnTo>
                      <a:lnTo>
                        <a:pt x="467" y="1740"/>
                      </a:lnTo>
                      <a:lnTo>
                        <a:pt x="467" y="1740"/>
                      </a:lnTo>
                      <a:lnTo>
                        <a:pt x="467" y="1739"/>
                      </a:lnTo>
                      <a:lnTo>
                        <a:pt x="467" y="1739"/>
                      </a:lnTo>
                      <a:lnTo>
                        <a:pt x="467" y="1739"/>
                      </a:lnTo>
                      <a:lnTo>
                        <a:pt x="467" y="1739"/>
                      </a:lnTo>
                      <a:lnTo>
                        <a:pt x="468" y="1739"/>
                      </a:lnTo>
                      <a:lnTo>
                        <a:pt x="468" y="1739"/>
                      </a:lnTo>
                      <a:lnTo>
                        <a:pt x="469" y="1738"/>
                      </a:lnTo>
                      <a:lnTo>
                        <a:pt x="470" y="1738"/>
                      </a:lnTo>
                      <a:lnTo>
                        <a:pt x="470" y="1737"/>
                      </a:lnTo>
                      <a:lnTo>
                        <a:pt x="473" y="1736"/>
                      </a:lnTo>
                      <a:close/>
                      <a:moveTo>
                        <a:pt x="326" y="1700"/>
                      </a:moveTo>
                      <a:lnTo>
                        <a:pt x="326" y="1701"/>
                      </a:lnTo>
                      <a:lnTo>
                        <a:pt x="327" y="1701"/>
                      </a:lnTo>
                      <a:lnTo>
                        <a:pt x="328" y="1701"/>
                      </a:lnTo>
                      <a:lnTo>
                        <a:pt x="328" y="1703"/>
                      </a:lnTo>
                      <a:lnTo>
                        <a:pt x="328" y="1704"/>
                      </a:lnTo>
                      <a:lnTo>
                        <a:pt x="329" y="1705"/>
                      </a:lnTo>
                      <a:lnTo>
                        <a:pt x="331" y="1705"/>
                      </a:lnTo>
                      <a:lnTo>
                        <a:pt x="333" y="1706"/>
                      </a:lnTo>
                      <a:lnTo>
                        <a:pt x="333" y="1706"/>
                      </a:lnTo>
                      <a:lnTo>
                        <a:pt x="334" y="1707"/>
                      </a:lnTo>
                      <a:lnTo>
                        <a:pt x="337" y="1707"/>
                      </a:lnTo>
                      <a:lnTo>
                        <a:pt x="338" y="1707"/>
                      </a:lnTo>
                      <a:lnTo>
                        <a:pt x="338" y="1707"/>
                      </a:lnTo>
                      <a:lnTo>
                        <a:pt x="339" y="1708"/>
                      </a:lnTo>
                      <a:lnTo>
                        <a:pt x="340" y="1710"/>
                      </a:lnTo>
                      <a:lnTo>
                        <a:pt x="340" y="1711"/>
                      </a:lnTo>
                      <a:lnTo>
                        <a:pt x="340" y="1711"/>
                      </a:lnTo>
                      <a:lnTo>
                        <a:pt x="340" y="1711"/>
                      </a:lnTo>
                      <a:lnTo>
                        <a:pt x="339" y="1712"/>
                      </a:lnTo>
                      <a:lnTo>
                        <a:pt x="339" y="1713"/>
                      </a:lnTo>
                      <a:lnTo>
                        <a:pt x="339" y="1713"/>
                      </a:lnTo>
                      <a:lnTo>
                        <a:pt x="338" y="1713"/>
                      </a:lnTo>
                      <a:lnTo>
                        <a:pt x="337" y="1713"/>
                      </a:lnTo>
                      <a:lnTo>
                        <a:pt x="339" y="1714"/>
                      </a:lnTo>
                      <a:lnTo>
                        <a:pt x="339" y="1715"/>
                      </a:lnTo>
                      <a:lnTo>
                        <a:pt x="339" y="1715"/>
                      </a:lnTo>
                      <a:lnTo>
                        <a:pt x="340" y="1716"/>
                      </a:lnTo>
                      <a:lnTo>
                        <a:pt x="341" y="1716"/>
                      </a:lnTo>
                      <a:lnTo>
                        <a:pt x="341" y="1716"/>
                      </a:lnTo>
                      <a:lnTo>
                        <a:pt x="341" y="1715"/>
                      </a:lnTo>
                      <a:lnTo>
                        <a:pt x="342" y="1715"/>
                      </a:lnTo>
                      <a:lnTo>
                        <a:pt x="343" y="1716"/>
                      </a:lnTo>
                      <a:lnTo>
                        <a:pt x="344" y="1717"/>
                      </a:lnTo>
                      <a:lnTo>
                        <a:pt x="345" y="1717"/>
                      </a:lnTo>
                      <a:lnTo>
                        <a:pt x="345" y="1717"/>
                      </a:lnTo>
                      <a:lnTo>
                        <a:pt x="345" y="1718"/>
                      </a:lnTo>
                      <a:lnTo>
                        <a:pt x="347" y="1720"/>
                      </a:lnTo>
                      <a:lnTo>
                        <a:pt x="347" y="1722"/>
                      </a:lnTo>
                      <a:lnTo>
                        <a:pt x="348" y="1723"/>
                      </a:lnTo>
                      <a:lnTo>
                        <a:pt x="348" y="1725"/>
                      </a:lnTo>
                      <a:lnTo>
                        <a:pt x="349" y="1725"/>
                      </a:lnTo>
                      <a:lnTo>
                        <a:pt x="349" y="1726"/>
                      </a:lnTo>
                      <a:lnTo>
                        <a:pt x="350" y="1728"/>
                      </a:lnTo>
                      <a:lnTo>
                        <a:pt x="351" y="1728"/>
                      </a:lnTo>
                      <a:lnTo>
                        <a:pt x="351" y="1729"/>
                      </a:lnTo>
                      <a:lnTo>
                        <a:pt x="352" y="1729"/>
                      </a:lnTo>
                      <a:lnTo>
                        <a:pt x="352" y="1729"/>
                      </a:lnTo>
                      <a:lnTo>
                        <a:pt x="354" y="1729"/>
                      </a:lnTo>
                      <a:lnTo>
                        <a:pt x="354" y="1730"/>
                      </a:lnTo>
                      <a:lnTo>
                        <a:pt x="354" y="1731"/>
                      </a:lnTo>
                      <a:lnTo>
                        <a:pt x="355" y="1732"/>
                      </a:lnTo>
                      <a:lnTo>
                        <a:pt x="355" y="1732"/>
                      </a:lnTo>
                      <a:lnTo>
                        <a:pt x="354" y="1733"/>
                      </a:lnTo>
                      <a:lnTo>
                        <a:pt x="354" y="1733"/>
                      </a:lnTo>
                      <a:lnTo>
                        <a:pt x="354" y="1735"/>
                      </a:lnTo>
                      <a:lnTo>
                        <a:pt x="355" y="1735"/>
                      </a:lnTo>
                      <a:lnTo>
                        <a:pt x="355" y="1736"/>
                      </a:lnTo>
                      <a:lnTo>
                        <a:pt x="356" y="1737"/>
                      </a:lnTo>
                      <a:lnTo>
                        <a:pt x="357" y="1738"/>
                      </a:lnTo>
                      <a:lnTo>
                        <a:pt x="357" y="1738"/>
                      </a:lnTo>
                      <a:lnTo>
                        <a:pt x="357" y="1739"/>
                      </a:lnTo>
                      <a:lnTo>
                        <a:pt x="357" y="1741"/>
                      </a:lnTo>
                      <a:lnTo>
                        <a:pt x="358" y="1743"/>
                      </a:lnTo>
                      <a:lnTo>
                        <a:pt x="358" y="1743"/>
                      </a:lnTo>
                      <a:lnTo>
                        <a:pt x="359" y="1744"/>
                      </a:lnTo>
                      <a:lnTo>
                        <a:pt x="359" y="1745"/>
                      </a:lnTo>
                      <a:lnTo>
                        <a:pt x="359" y="1745"/>
                      </a:lnTo>
                      <a:lnTo>
                        <a:pt x="359" y="1746"/>
                      </a:lnTo>
                      <a:lnTo>
                        <a:pt x="359" y="1747"/>
                      </a:lnTo>
                      <a:lnTo>
                        <a:pt x="358" y="1747"/>
                      </a:lnTo>
                      <a:lnTo>
                        <a:pt x="358" y="1748"/>
                      </a:lnTo>
                      <a:lnTo>
                        <a:pt x="361" y="1748"/>
                      </a:lnTo>
                      <a:lnTo>
                        <a:pt x="361" y="1748"/>
                      </a:lnTo>
                      <a:lnTo>
                        <a:pt x="361" y="1749"/>
                      </a:lnTo>
                      <a:lnTo>
                        <a:pt x="361" y="1751"/>
                      </a:lnTo>
                      <a:lnTo>
                        <a:pt x="362" y="1751"/>
                      </a:lnTo>
                      <a:lnTo>
                        <a:pt x="362" y="1752"/>
                      </a:lnTo>
                      <a:lnTo>
                        <a:pt x="363" y="1752"/>
                      </a:lnTo>
                      <a:lnTo>
                        <a:pt x="363" y="1751"/>
                      </a:lnTo>
                      <a:lnTo>
                        <a:pt x="364" y="1751"/>
                      </a:lnTo>
                      <a:lnTo>
                        <a:pt x="364" y="1751"/>
                      </a:lnTo>
                      <a:lnTo>
                        <a:pt x="364" y="1750"/>
                      </a:lnTo>
                      <a:lnTo>
                        <a:pt x="365" y="1750"/>
                      </a:lnTo>
                      <a:lnTo>
                        <a:pt x="366" y="1750"/>
                      </a:lnTo>
                      <a:lnTo>
                        <a:pt x="367" y="1751"/>
                      </a:lnTo>
                      <a:lnTo>
                        <a:pt x="368" y="1751"/>
                      </a:lnTo>
                      <a:lnTo>
                        <a:pt x="368" y="1752"/>
                      </a:lnTo>
                      <a:lnTo>
                        <a:pt x="368" y="1753"/>
                      </a:lnTo>
                      <a:lnTo>
                        <a:pt x="369" y="1753"/>
                      </a:lnTo>
                      <a:lnTo>
                        <a:pt x="368" y="1753"/>
                      </a:lnTo>
                      <a:lnTo>
                        <a:pt x="371" y="1752"/>
                      </a:lnTo>
                      <a:lnTo>
                        <a:pt x="372" y="1751"/>
                      </a:lnTo>
                      <a:lnTo>
                        <a:pt x="373" y="1751"/>
                      </a:lnTo>
                      <a:lnTo>
                        <a:pt x="375" y="1751"/>
                      </a:lnTo>
                      <a:lnTo>
                        <a:pt x="377" y="1752"/>
                      </a:lnTo>
                      <a:lnTo>
                        <a:pt x="379" y="1751"/>
                      </a:lnTo>
                      <a:lnTo>
                        <a:pt x="379" y="1752"/>
                      </a:lnTo>
                      <a:lnTo>
                        <a:pt x="380" y="1751"/>
                      </a:lnTo>
                      <a:lnTo>
                        <a:pt x="381" y="1751"/>
                      </a:lnTo>
                      <a:lnTo>
                        <a:pt x="382" y="1751"/>
                      </a:lnTo>
                      <a:lnTo>
                        <a:pt x="383" y="1752"/>
                      </a:lnTo>
                      <a:lnTo>
                        <a:pt x="384" y="1752"/>
                      </a:lnTo>
                      <a:lnTo>
                        <a:pt x="384" y="1753"/>
                      </a:lnTo>
                      <a:lnTo>
                        <a:pt x="385" y="1754"/>
                      </a:lnTo>
                      <a:lnTo>
                        <a:pt x="385" y="1754"/>
                      </a:lnTo>
                      <a:lnTo>
                        <a:pt x="386" y="1756"/>
                      </a:lnTo>
                      <a:lnTo>
                        <a:pt x="388" y="1756"/>
                      </a:lnTo>
                      <a:lnTo>
                        <a:pt x="388" y="1756"/>
                      </a:lnTo>
                      <a:lnTo>
                        <a:pt x="388" y="1756"/>
                      </a:lnTo>
                      <a:lnTo>
                        <a:pt x="388" y="1753"/>
                      </a:lnTo>
                      <a:lnTo>
                        <a:pt x="388" y="1753"/>
                      </a:lnTo>
                      <a:lnTo>
                        <a:pt x="389" y="1753"/>
                      </a:lnTo>
                      <a:lnTo>
                        <a:pt x="390" y="1754"/>
                      </a:lnTo>
                      <a:lnTo>
                        <a:pt x="393" y="1753"/>
                      </a:lnTo>
                      <a:lnTo>
                        <a:pt x="394" y="1753"/>
                      </a:lnTo>
                      <a:lnTo>
                        <a:pt x="395" y="1754"/>
                      </a:lnTo>
                      <a:lnTo>
                        <a:pt x="395" y="1755"/>
                      </a:lnTo>
                      <a:lnTo>
                        <a:pt x="395" y="1755"/>
                      </a:lnTo>
                      <a:lnTo>
                        <a:pt x="395" y="1756"/>
                      </a:lnTo>
                      <a:lnTo>
                        <a:pt x="396" y="1756"/>
                      </a:lnTo>
                      <a:lnTo>
                        <a:pt x="396" y="1758"/>
                      </a:lnTo>
                      <a:lnTo>
                        <a:pt x="399" y="1758"/>
                      </a:lnTo>
                      <a:lnTo>
                        <a:pt x="399" y="1759"/>
                      </a:lnTo>
                      <a:lnTo>
                        <a:pt x="399" y="1759"/>
                      </a:lnTo>
                      <a:lnTo>
                        <a:pt x="399" y="1759"/>
                      </a:lnTo>
                      <a:lnTo>
                        <a:pt x="400" y="1760"/>
                      </a:lnTo>
                      <a:lnTo>
                        <a:pt x="400" y="1760"/>
                      </a:lnTo>
                      <a:lnTo>
                        <a:pt x="400" y="1762"/>
                      </a:lnTo>
                      <a:lnTo>
                        <a:pt x="401" y="1762"/>
                      </a:lnTo>
                      <a:lnTo>
                        <a:pt x="401" y="1763"/>
                      </a:lnTo>
                      <a:lnTo>
                        <a:pt x="402" y="1764"/>
                      </a:lnTo>
                      <a:lnTo>
                        <a:pt x="402" y="1764"/>
                      </a:lnTo>
                      <a:lnTo>
                        <a:pt x="403" y="1764"/>
                      </a:lnTo>
                      <a:lnTo>
                        <a:pt x="403" y="1765"/>
                      </a:lnTo>
                      <a:lnTo>
                        <a:pt x="405" y="1765"/>
                      </a:lnTo>
                      <a:lnTo>
                        <a:pt x="406" y="1766"/>
                      </a:lnTo>
                      <a:lnTo>
                        <a:pt x="406" y="1766"/>
                      </a:lnTo>
                      <a:lnTo>
                        <a:pt x="406" y="1767"/>
                      </a:lnTo>
                      <a:lnTo>
                        <a:pt x="408" y="1766"/>
                      </a:lnTo>
                      <a:lnTo>
                        <a:pt x="408" y="1766"/>
                      </a:lnTo>
                      <a:lnTo>
                        <a:pt x="408" y="1766"/>
                      </a:lnTo>
                      <a:lnTo>
                        <a:pt x="410" y="1766"/>
                      </a:lnTo>
                      <a:lnTo>
                        <a:pt x="410" y="1765"/>
                      </a:lnTo>
                      <a:lnTo>
                        <a:pt x="411" y="1765"/>
                      </a:lnTo>
                      <a:lnTo>
                        <a:pt x="413" y="1768"/>
                      </a:lnTo>
                      <a:lnTo>
                        <a:pt x="413" y="1769"/>
                      </a:lnTo>
                      <a:lnTo>
                        <a:pt x="413" y="1769"/>
                      </a:lnTo>
                      <a:lnTo>
                        <a:pt x="412" y="1769"/>
                      </a:lnTo>
                      <a:lnTo>
                        <a:pt x="413" y="1770"/>
                      </a:lnTo>
                      <a:lnTo>
                        <a:pt x="414" y="1770"/>
                      </a:lnTo>
                      <a:lnTo>
                        <a:pt x="414" y="1771"/>
                      </a:lnTo>
                      <a:lnTo>
                        <a:pt x="415" y="1771"/>
                      </a:lnTo>
                      <a:lnTo>
                        <a:pt x="416" y="1771"/>
                      </a:lnTo>
                      <a:lnTo>
                        <a:pt x="418" y="1774"/>
                      </a:lnTo>
                      <a:lnTo>
                        <a:pt x="420" y="1775"/>
                      </a:lnTo>
                      <a:lnTo>
                        <a:pt x="419" y="1776"/>
                      </a:lnTo>
                      <a:lnTo>
                        <a:pt x="419" y="1776"/>
                      </a:lnTo>
                      <a:lnTo>
                        <a:pt x="418" y="1777"/>
                      </a:lnTo>
                      <a:lnTo>
                        <a:pt x="419" y="1778"/>
                      </a:lnTo>
                      <a:lnTo>
                        <a:pt x="420" y="1777"/>
                      </a:lnTo>
                      <a:lnTo>
                        <a:pt x="420" y="1777"/>
                      </a:lnTo>
                      <a:lnTo>
                        <a:pt x="420" y="1777"/>
                      </a:lnTo>
                      <a:lnTo>
                        <a:pt x="420" y="1778"/>
                      </a:lnTo>
                      <a:lnTo>
                        <a:pt x="420" y="1778"/>
                      </a:lnTo>
                      <a:lnTo>
                        <a:pt x="422" y="1779"/>
                      </a:lnTo>
                      <a:lnTo>
                        <a:pt x="422" y="1779"/>
                      </a:lnTo>
                      <a:lnTo>
                        <a:pt x="423" y="1778"/>
                      </a:lnTo>
                      <a:lnTo>
                        <a:pt x="423" y="1778"/>
                      </a:lnTo>
                      <a:lnTo>
                        <a:pt x="423" y="1777"/>
                      </a:lnTo>
                      <a:lnTo>
                        <a:pt x="424" y="1776"/>
                      </a:lnTo>
                      <a:lnTo>
                        <a:pt x="425" y="1776"/>
                      </a:lnTo>
                      <a:lnTo>
                        <a:pt x="426" y="1778"/>
                      </a:lnTo>
                      <a:lnTo>
                        <a:pt x="426" y="1779"/>
                      </a:lnTo>
                      <a:lnTo>
                        <a:pt x="426" y="1780"/>
                      </a:lnTo>
                      <a:lnTo>
                        <a:pt x="426" y="1781"/>
                      </a:lnTo>
                      <a:lnTo>
                        <a:pt x="426" y="1782"/>
                      </a:lnTo>
                      <a:lnTo>
                        <a:pt x="426" y="1782"/>
                      </a:lnTo>
                      <a:lnTo>
                        <a:pt x="426" y="1783"/>
                      </a:lnTo>
                      <a:lnTo>
                        <a:pt x="426" y="1784"/>
                      </a:lnTo>
                      <a:lnTo>
                        <a:pt x="426" y="1786"/>
                      </a:lnTo>
                      <a:lnTo>
                        <a:pt x="426" y="1786"/>
                      </a:lnTo>
                      <a:lnTo>
                        <a:pt x="426" y="1788"/>
                      </a:lnTo>
                      <a:lnTo>
                        <a:pt x="426" y="1788"/>
                      </a:lnTo>
                      <a:lnTo>
                        <a:pt x="425" y="1786"/>
                      </a:lnTo>
                      <a:lnTo>
                        <a:pt x="425" y="1787"/>
                      </a:lnTo>
                      <a:lnTo>
                        <a:pt x="425" y="1788"/>
                      </a:lnTo>
                      <a:lnTo>
                        <a:pt x="425" y="1788"/>
                      </a:lnTo>
                      <a:lnTo>
                        <a:pt x="424" y="1788"/>
                      </a:lnTo>
                      <a:lnTo>
                        <a:pt x="423" y="1787"/>
                      </a:lnTo>
                      <a:lnTo>
                        <a:pt x="423" y="1787"/>
                      </a:lnTo>
                      <a:lnTo>
                        <a:pt x="422" y="1788"/>
                      </a:lnTo>
                      <a:lnTo>
                        <a:pt x="422" y="1787"/>
                      </a:lnTo>
                      <a:lnTo>
                        <a:pt x="421" y="1787"/>
                      </a:lnTo>
                      <a:lnTo>
                        <a:pt x="421" y="1786"/>
                      </a:lnTo>
                      <a:lnTo>
                        <a:pt x="422" y="1786"/>
                      </a:lnTo>
                      <a:lnTo>
                        <a:pt x="422" y="1785"/>
                      </a:lnTo>
                      <a:lnTo>
                        <a:pt x="422" y="1784"/>
                      </a:lnTo>
                      <a:lnTo>
                        <a:pt x="421" y="1784"/>
                      </a:lnTo>
                      <a:lnTo>
                        <a:pt x="420" y="1784"/>
                      </a:lnTo>
                      <a:lnTo>
                        <a:pt x="419" y="1782"/>
                      </a:lnTo>
                      <a:lnTo>
                        <a:pt x="419" y="1782"/>
                      </a:lnTo>
                      <a:lnTo>
                        <a:pt x="419" y="1783"/>
                      </a:lnTo>
                      <a:lnTo>
                        <a:pt x="419" y="1783"/>
                      </a:lnTo>
                      <a:lnTo>
                        <a:pt x="419" y="1783"/>
                      </a:lnTo>
                      <a:lnTo>
                        <a:pt x="419" y="1782"/>
                      </a:lnTo>
                      <a:lnTo>
                        <a:pt x="418" y="1783"/>
                      </a:lnTo>
                      <a:lnTo>
                        <a:pt x="418" y="1783"/>
                      </a:lnTo>
                      <a:lnTo>
                        <a:pt x="418" y="1784"/>
                      </a:lnTo>
                      <a:lnTo>
                        <a:pt x="418" y="1784"/>
                      </a:lnTo>
                      <a:lnTo>
                        <a:pt x="418" y="1784"/>
                      </a:lnTo>
                      <a:lnTo>
                        <a:pt x="418" y="1784"/>
                      </a:lnTo>
                      <a:lnTo>
                        <a:pt x="418" y="1784"/>
                      </a:lnTo>
                      <a:lnTo>
                        <a:pt x="419" y="1784"/>
                      </a:lnTo>
                      <a:lnTo>
                        <a:pt x="420" y="1784"/>
                      </a:lnTo>
                      <a:lnTo>
                        <a:pt x="420" y="1784"/>
                      </a:lnTo>
                      <a:lnTo>
                        <a:pt x="420" y="1785"/>
                      </a:lnTo>
                      <a:lnTo>
                        <a:pt x="420" y="1785"/>
                      </a:lnTo>
                      <a:lnTo>
                        <a:pt x="420" y="1786"/>
                      </a:lnTo>
                      <a:lnTo>
                        <a:pt x="420" y="1786"/>
                      </a:lnTo>
                      <a:lnTo>
                        <a:pt x="420" y="1787"/>
                      </a:lnTo>
                      <a:lnTo>
                        <a:pt x="420" y="1790"/>
                      </a:lnTo>
                      <a:lnTo>
                        <a:pt x="420" y="1790"/>
                      </a:lnTo>
                      <a:lnTo>
                        <a:pt x="420" y="1789"/>
                      </a:lnTo>
                      <a:lnTo>
                        <a:pt x="421" y="1789"/>
                      </a:lnTo>
                      <a:lnTo>
                        <a:pt x="421" y="1788"/>
                      </a:lnTo>
                      <a:lnTo>
                        <a:pt x="421" y="1788"/>
                      </a:lnTo>
                      <a:lnTo>
                        <a:pt x="422" y="1790"/>
                      </a:lnTo>
                      <a:lnTo>
                        <a:pt x="422" y="1790"/>
                      </a:lnTo>
                      <a:lnTo>
                        <a:pt x="422" y="1791"/>
                      </a:lnTo>
                      <a:lnTo>
                        <a:pt x="424" y="1790"/>
                      </a:lnTo>
                      <a:lnTo>
                        <a:pt x="424" y="1790"/>
                      </a:lnTo>
                      <a:lnTo>
                        <a:pt x="424" y="1791"/>
                      </a:lnTo>
                      <a:lnTo>
                        <a:pt x="425" y="1791"/>
                      </a:lnTo>
                      <a:lnTo>
                        <a:pt x="425" y="1791"/>
                      </a:lnTo>
                      <a:lnTo>
                        <a:pt x="424" y="1792"/>
                      </a:lnTo>
                      <a:lnTo>
                        <a:pt x="424" y="1793"/>
                      </a:lnTo>
                      <a:lnTo>
                        <a:pt x="424" y="1793"/>
                      </a:lnTo>
                      <a:lnTo>
                        <a:pt x="423" y="1796"/>
                      </a:lnTo>
                      <a:lnTo>
                        <a:pt x="423" y="1798"/>
                      </a:lnTo>
                      <a:lnTo>
                        <a:pt x="422" y="1798"/>
                      </a:lnTo>
                      <a:lnTo>
                        <a:pt x="422" y="1799"/>
                      </a:lnTo>
                      <a:lnTo>
                        <a:pt x="422" y="1799"/>
                      </a:lnTo>
                      <a:lnTo>
                        <a:pt x="422" y="1799"/>
                      </a:lnTo>
                      <a:lnTo>
                        <a:pt x="422" y="1802"/>
                      </a:lnTo>
                      <a:lnTo>
                        <a:pt x="421" y="1803"/>
                      </a:lnTo>
                      <a:lnTo>
                        <a:pt x="420" y="1803"/>
                      </a:lnTo>
                      <a:lnTo>
                        <a:pt x="419" y="1804"/>
                      </a:lnTo>
                      <a:lnTo>
                        <a:pt x="419" y="1804"/>
                      </a:lnTo>
                      <a:lnTo>
                        <a:pt x="419" y="1803"/>
                      </a:lnTo>
                      <a:lnTo>
                        <a:pt x="418" y="1803"/>
                      </a:lnTo>
                      <a:lnTo>
                        <a:pt x="417" y="1803"/>
                      </a:lnTo>
                      <a:lnTo>
                        <a:pt x="416" y="1803"/>
                      </a:lnTo>
                      <a:lnTo>
                        <a:pt x="413" y="1803"/>
                      </a:lnTo>
                      <a:lnTo>
                        <a:pt x="412" y="1802"/>
                      </a:lnTo>
                      <a:lnTo>
                        <a:pt x="412" y="1802"/>
                      </a:lnTo>
                      <a:lnTo>
                        <a:pt x="411" y="1801"/>
                      </a:lnTo>
                      <a:lnTo>
                        <a:pt x="411" y="1801"/>
                      </a:lnTo>
                      <a:lnTo>
                        <a:pt x="411" y="1801"/>
                      </a:lnTo>
                      <a:lnTo>
                        <a:pt x="411" y="1800"/>
                      </a:lnTo>
                      <a:lnTo>
                        <a:pt x="411" y="1799"/>
                      </a:lnTo>
                      <a:lnTo>
                        <a:pt x="411" y="1799"/>
                      </a:lnTo>
                      <a:lnTo>
                        <a:pt x="412" y="1798"/>
                      </a:lnTo>
                      <a:lnTo>
                        <a:pt x="411" y="1796"/>
                      </a:lnTo>
                      <a:lnTo>
                        <a:pt x="412" y="1796"/>
                      </a:lnTo>
                      <a:lnTo>
                        <a:pt x="412" y="1796"/>
                      </a:lnTo>
                      <a:lnTo>
                        <a:pt x="412" y="1794"/>
                      </a:lnTo>
                      <a:lnTo>
                        <a:pt x="413" y="1793"/>
                      </a:lnTo>
                      <a:lnTo>
                        <a:pt x="413" y="1792"/>
                      </a:lnTo>
                      <a:lnTo>
                        <a:pt x="412" y="1792"/>
                      </a:lnTo>
                      <a:lnTo>
                        <a:pt x="412" y="1792"/>
                      </a:lnTo>
                      <a:lnTo>
                        <a:pt x="411" y="1792"/>
                      </a:lnTo>
                      <a:lnTo>
                        <a:pt x="410" y="1792"/>
                      </a:lnTo>
                      <a:lnTo>
                        <a:pt x="411" y="1793"/>
                      </a:lnTo>
                      <a:lnTo>
                        <a:pt x="410" y="1794"/>
                      </a:lnTo>
                      <a:lnTo>
                        <a:pt x="410" y="1794"/>
                      </a:lnTo>
                      <a:lnTo>
                        <a:pt x="409" y="1793"/>
                      </a:lnTo>
                      <a:lnTo>
                        <a:pt x="409" y="1792"/>
                      </a:lnTo>
                      <a:lnTo>
                        <a:pt x="408" y="1792"/>
                      </a:lnTo>
                      <a:lnTo>
                        <a:pt x="407" y="1793"/>
                      </a:lnTo>
                      <a:lnTo>
                        <a:pt x="406" y="1793"/>
                      </a:lnTo>
                      <a:lnTo>
                        <a:pt x="406" y="1793"/>
                      </a:lnTo>
                      <a:lnTo>
                        <a:pt x="406" y="1794"/>
                      </a:lnTo>
                      <a:lnTo>
                        <a:pt x="406" y="1794"/>
                      </a:lnTo>
                      <a:lnTo>
                        <a:pt x="408" y="1794"/>
                      </a:lnTo>
                      <a:lnTo>
                        <a:pt x="409" y="1797"/>
                      </a:lnTo>
                      <a:lnTo>
                        <a:pt x="409" y="1798"/>
                      </a:lnTo>
                      <a:lnTo>
                        <a:pt x="409" y="1799"/>
                      </a:lnTo>
                      <a:lnTo>
                        <a:pt x="408" y="1800"/>
                      </a:lnTo>
                      <a:lnTo>
                        <a:pt x="407" y="1801"/>
                      </a:lnTo>
                      <a:lnTo>
                        <a:pt x="406" y="1801"/>
                      </a:lnTo>
                      <a:lnTo>
                        <a:pt x="404" y="1801"/>
                      </a:lnTo>
                      <a:lnTo>
                        <a:pt x="404" y="1801"/>
                      </a:lnTo>
                      <a:lnTo>
                        <a:pt x="403" y="1802"/>
                      </a:lnTo>
                      <a:lnTo>
                        <a:pt x="404" y="1803"/>
                      </a:lnTo>
                      <a:lnTo>
                        <a:pt x="403" y="1803"/>
                      </a:lnTo>
                      <a:lnTo>
                        <a:pt x="403" y="1805"/>
                      </a:lnTo>
                      <a:lnTo>
                        <a:pt x="403" y="1805"/>
                      </a:lnTo>
                      <a:lnTo>
                        <a:pt x="402" y="1806"/>
                      </a:lnTo>
                      <a:lnTo>
                        <a:pt x="402" y="1806"/>
                      </a:lnTo>
                      <a:lnTo>
                        <a:pt x="401" y="1807"/>
                      </a:lnTo>
                      <a:lnTo>
                        <a:pt x="400" y="1808"/>
                      </a:lnTo>
                      <a:lnTo>
                        <a:pt x="397" y="1809"/>
                      </a:lnTo>
                      <a:lnTo>
                        <a:pt x="396" y="1809"/>
                      </a:lnTo>
                      <a:lnTo>
                        <a:pt x="396" y="1810"/>
                      </a:lnTo>
                      <a:lnTo>
                        <a:pt x="395" y="1810"/>
                      </a:lnTo>
                      <a:lnTo>
                        <a:pt x="395" y="1810"/>
                      </a:lnTo>
                      <a:lnTo>
                        <a:pt x="395" y="1811"/>
                      </a:lnTo>
                      <a:lnTo>
                        <a:pt x="396" y="1811"/>
                      </a:lnTo>
                      <a:lnTo>
                        <a:pt x="397" y="1811"/>
                      </a:lnTo>
                      <a:lnTo>
                        <a:pt x="399" y="1811"/>
                      </a:lnTo>
                      <a:lnTo>
                        <a:pt x="400" y="1810"/>
                      </a:lnTo>
                      <a:lnTo>
                        <a:pt x="401" y="1810"/>
                      </a:lnTo>
                      <a:lnTo>
                        <a:pt x="404" y="1809"/>
                      </a:lnTo>
                      <a:lnTo>
                        <a:pt x="406" y="1807"/>
                      </a:lnTo>
                      <a:lnTo>
                        <a:pt x="406" y="1807"/>
                      </a:lnTo>
                      <a:lnTo>
                        <a:pt x="407" y="1806"/>
                      </a:lnTo>
                      <a:lnTo>
                        <a:pt x="408" y="1805"/>
                      </a:lnTo>
                      <a:lnTo>
                        <a:pt x="409" y="1805"/>
                      </a:lnTo>
                      <a:lnTo>
                        <a:pt x="411" y="1804"/>
                      </a:lnTo>
                      <a:lnTo>
                        <a:pt x="412" y="1805"/>
                      </a:lnTo>
                      <a:lnTo>
                        <a:pt x="413" y="1804"/>
                      </a:lnTo>
                      <a:lnTo>
                        <a:pt x="415" y="1804"/>
                      </a:lnTo>
                      <a:lnTo>
                        <a:pt x="417" y="1804"/>
                      </a:lnTo>
                      <a:lnTo>
                        <a:pt x="417" y="1806"/>
                      </a:lnTo>
                      <a:lnTo>
                        <a:pt x="417" y="1807"/>
                      </a:lnTo>
                      <a:lnTo>
                        <a:pt x="416" y="1807"/>
                      </a:lnTo>
                      <a:lnTo>
                        <a:pt x="416" y="1809"/>
                      </a:lnTo>
                      <a:lnTo>
                        <a:pt x="416" y="1809"/>
                      </a:lnTo>
                      <a:lnTo>
                        <a:pt x="415" y="1810"/>
                      </a:lnTo>
                      <a:lnTo>
                        <a:pt x="415" y="1810"/>
                      </a:lnTo>
                      <a:lnTo>
                        <a:pt x="415" y="1811"/>
                      </a:lnTo>
                      <a:lnTo>
                        <a:pt x="414" y="1812"/>
                      </a:lnTo>
                      <a:lnTo>
                        <a:pt x="414" y="1813"/>
                      </a:lnTo>
                      <a:lnTo>
                        <a:pt x="413" y="1813"/>
                      </a:lnTo>
                      <a:lnTo>
                        <a:pt x="412" y="1814"/>
                      </a:lnTo>
                      <a:lnTo>
                        <a:pt x="412" y="1814"/>
                      </a:lnTo>
                      <a:lnTo>
                        <a:pt x="411" y="1815"/>
                      </a:lnTo>
                      <a:lnTo>
                        <a:pt x="410" y="1815"/>
                      </a:lnTo>
                      <a:lnTo>
                        <a:pt x="409" y="1815"/>
                      </a:lnTo>
                      <a:lnTo>
                        <a:pt x="408" y="1817"/>
                      </a:lnTo>
                      <a:lnTo>
                        <a:pt x="408" y="1818"/>
                      </a:lnTo>
                      <a:lnTo>
                        <a:pt x="407" y="1818"/>
                      </a:lnTo>
                      <a:lnTo>
                        <a:pt x="407" y="1818"/>
                      </a:lnTo>
                      <a:lnTo>
                        <a:pt x="407" y="1818"/>
                      </a:lnTo>
                      <a:lnTo>
                        <a:pt x="406" y="1819"/>
                      </a:lnTo>
                      <a:lnTo>
                        <a:pt x="406" y="1820"/>
                      </a:lnTo>
                      <a:lnTo>
                        <a:pt x="406" y="1820"/>
                      </a:lnTo>
                      <a:lnTo>
                        <a:pt x="405" y="1820"/>
                      </a:lnTo>
                      <a:lnTo>
                        <a:pt x="405" y="1820"/>
                      </a:lnTo>
                      <a:lnTo>
                        <a:pt x="404" y="1821"/>
                      </a:lnTo>
                      <a:lnTo>
                        <a:pt x="403" y="1821"/>
                      </a:lnTo>
                      <a:lnTo>
                        <a:pt x="403" y="1821"/>
                      </a:lnTo>
                      <a:lnTo>
                        <a:pt x="401" y="1822"/>
                      </a:lnTo>
                      <a:lnTo>
                        <a:pt x="401" y="1822"/>
                      </a:lnTo>
                      <a:lnTo>
                        <a:pt x="401" y="1823"/>
                      </a:lnTo>
                      <a:lnTo>
                        <a:pt x="400" y="1823"/>
                      </a:lnTo>
                      <a:lnTo>
                        <a:pt x="399" y="1823"/>
                      </a:lnTo>
                      <a:lnTo>
                        <a:pt x="399" y="1824"/>
                      </a:lnTo>
                      <a:lnTo>
                        <a:pt x="397" y="1825"/>
                      </a:lnTo>
                      <a:lnTo>
                        <a:pt x="396" y="1826"/>
                      </a:lnTo>
                      <a:lnTo>
                        <a:pt x="396" y="1826"/>
                      </a:lnTo>
                      <a:lnTo>
                        <a:pt x="395" y="1826"/>
                      </a:lnTo>
                      <a:lnTo>
                        <a:pt x="395" y="1826"/>
                      </a:lnTo>
                      <a:lnTo>
                        <a:pt x="395" y="1826"/>
                      </a:lnTo>
                      <a:lnTo>
                        <a:pt x="394" y="1826"/>
                      </a:lnTo>
                      <a:lnTo>
                        <a:pt x="394" y="1826"/>
                      </a:lnTo>
                      <a:lnTo>
                        <a:pt x="394" y="1827"/>
                      </a:lnTo>
                      <a:lnTo>
                        <a:pt x="393" y="1827"/>
                      </a:lnTo>
                      <a:lnTo>
                        <a:pt x="392" y="1828"/>
                      </a:lnTo>
                      <a:lnTo>
                        <a:pt x="387" y="1829"/>
                      </a:lnTo>
                      <a:lnTo>
                        <a:pt x="387" y="1829"/>
                      </a:lnTo>
                      <a:lnTo>
                        <a:pt x="388" y="1830"/>
                      </a:lnTo>
                      <a:lnTo>
                        <a:pt x="388" y="1831"/>
                      </a:lnTo>
                      <a:lnTo>
                        <a:pt x="387" y="1831"/>
                      </a:lnTo>
                      <a:lnTo>
                        <a:pt x="384" y="1831"/>
                      </a:lnTo>
                      <a:lnTo>
                        <a:pt x="384" y="1831"/>
                      </a:lnTo>
                      <a:lnTo>
                        <a:pt x="383" y="1831"/>
                      </a:lnTo>
                      <a:lnTo>
                        <a:pt x="383" y="1831"/>
                      </a:lnTo>
                      <a:lnTo>
                        <a:pt x="383" y="1831"/>
                      </a:lnTo>
                      <a:lnTo>
                        <a:pt x="382" y="1830"/>
                      </a:lnTo>
                      <a:lnTo>
                        <a:pt x="381" y="1831"/>
                      </a:lnTo>
                      <a:lnTo>
                        <a:pt x="380" y="1830"/>
                      </a:lnTo>
                      <a:lnTo>
                        <a:pt x="378" y="1830"/>
                      </a:lnTo>
                      <a:lnTo>
                        <a:pt x="377" y="1829"/>
                      </a:lnTo>
                      <a:lnTo>
                        <a:pt x="376" y="1829"/>
                      </a:lnTo>
                      <a:lnTo>
                        <a:pt x="376" y="1828"/>
                      </a:lnTo>
                      <a:lnTo>
                        <a:pt x="375" y="1827"/>
                      </a:lnTo>
                      <a:lnTo>
                        <a:pt x="375" y="1827"/>
                      </a:lnTo>
                      <a:lnTo>
                        <a:pt x="376" y="1827"/>
                      </a:lnTo>
                      <a:lnTo>
                        <a:pt x="376" y="1826"/>
                      </a:lnTo>
                      <a:lnTo>
                        <a:pt x="378" y="1826"/>
                      </a:lnTo>
                      <a:lnTo>
                        <a:pt x="378" y="1826"/>
                      </a:lnTo>
                      <a:lnTo>
                        <a:pt x="378" y="1825"/>
                      </a:lnTo>
                      <a:lnTo>
                        <a:pt x="379" y="1825"/>
                      </a:lnTo>
                      <a:lnTo>
                        <a:pt x="379" y="1824"/>
                      </a:lnTo>
                      <a:lnTo>
                        <a:pt x="379" y="1824"/>
                      </a:lnTo>
                      <a:lnTo>
                        <a:pt x="380" y="1824"/>
                      </a:lnTo>
                      <a:lnTo>
                        <a:pt x="380" y="1823"/>
                      </a:lnTo>
                      <a:lnTo>
                        <a:pt x="380" y="1823"/>
                      </a:lnTo>
                      <a:lnTo>
                        <a:pt x="380" y="1822"/>
                      </a:lnTo>
                      <a:lnTo>
                        <a:pt x="381" y="1821"/>
                      </a:lnTo>
                      <a:lnTo>
                        <a:pt x="381" y="1821"/>
                      </a:lnTo>
                      <a:lnTo>
                        <a:pt x="381" y="1821"/>
                      </a:lnTo>
                      <a:lnTo>
                        <a:pt x="381" y="1821"/>
                      </a:lnTo>
                      <a:lnTo>
                        <a:pt x="380" y="1820"/>
                      </a:lnTo>
                      <a:lnTo>
                        <a:pt x="381" y="1820"/>
                      </a:lnTo>
                      <a:lnTo>
                        <a:pt x="381" y="1820"/>
                      </a:lnTo>
                      <a:lnTo>
                        <a:pt x="383" y="1820"/>
                      </a:lnTo>
                      <a:lnTo>
                        <a:pt x="384" y="1819"/>
                      </a:lnTo>
                      <a:lnTo>
                        <a:pt x="384" y="1818"/>
                      </a:lnTo>
                      <a:lnTo>
                        <a:pt x="384" y="1818"/>
                      </a:lnTo>
                      <a:lnTo>
                        <a:pt x="383" y="1818"/>
                      </a:lnTo>
                      <a:lnTo>
                        <a:pt x="383" y="1818"/>
                      </a:lnTo>
                      <a:lnTo>
                        <a:pt x="384" y="1817"/>
                      </a:lnTo>
                      <a:lnTo>
                        <a:pt x="384" y="1817"/>
                      </a:lnTo>
                      <a:lnTo>
                        <a:pt x="384" y="1816"/>
                      </a:lnTo>
                      <a:lnTo>
                        <a:pt x="383" y="1816"/>
                      </a:lnTo>
                      <a:lnTo>
                        <a:pt x="382" y="1815"/>
                      </a:lnTo>
                      <a:lnTo>
                        <a:pt x="381" y="1816"/>
                      </a:lnTo>
                      <a:lnTo>
                        <a:pt x="381" y="1815"/>
                      </a:lnTo>
                      <a:lnTo>
                        <a:pt x="381" y="1815"/>
                      </a:lnTo>
                      <a:lnTo>
                        <a:pt x="381" y="1816"/>
                      </a:lnTo>
                      <a:lnTo>
                        <a:pt x="380" y="1816"/>
                      </a:lnTo>
                      <a:lnTo>
                        <a:pt x="380" y="1817"/>
                      </a:lnTo>
                      <a:lnTo>
                        <a:pt x="379" y="1817"/>
                      </a:lnTo>
                      <a:lnTo>
                        <a:pt x="379" y="1817"/>
                      </a:lnTo>
                      <a:lnTo>
                        <a:pt x="379" y="1816"/>
                      </a:lnTo>
                      <a:lnTo>
                        <a:pt x="379" y="1816"/>
                      </a:lnTo>
                      <a:lnTo>
                        <a:pt x="380" y="1816"/>
                      </a:lnTo>
                      <a:lnTo>
                        <a:pt x="380" y="1815"/>
                      </a:lnTo>
                      <a:lnTo>
                        <a:pt x="379" y="1815"/>
                      </a:lnTo>
                      <a:lnTo>
                        <a:pt x="379" y="1815"/>
                      </a:lnTo>
                      <a:lnTo>
                        <a:pt x="378" y="1815"/>
                      </a:lnTo>
                      <a:lnTo>
                        <a:pt x="378" y="1815"/>
                      </a:lnTo>
                      <a:lnTo>
                        <a:pt x="378" y="1815"/>
                      </a:lnTo>
                      <a:lnTo>
                        <a:pt x="377" y="1816"/>
                      </a:lnTo>
                      <a:lnTo>
                        <a:pt x="376" y="1815"/>
                      </a:lnTo>
                      <a:lnTo>
                        <a:pt x="375" y="1816"/>
                      </a:lnTo>
                      <a:lnTo>
                        <a:pt x="375" y="1816"/>
                      </a:lnTo>
                      <a:lnTo>
                        <a:pt x="375" y="1816"/>
                      </a:lnTo>
                      <a:lnTo>
                        <a:pt x="375" y="1816"/>
                      </a:lnTo>
                      <a:lnTo>
                        <a:pt x="375" y="1817"/>
                      </a:lnTo>
                      <a:lnTo>
                        <a:pt x="373" y="1817"/>
                      </a:lnTo>
                      <a:lnTo>
                        <a:pt x="373" y="1818"/>
                      </a:lnTo>
                      <a:lnTo>
                        <a:pt x="373" y="1818"/>
                      </a:lnTo>
                      <a:lnTo>
                        <a:pt x="373" y="1819"/>
                      </a:lnTo>
                      <a:lnTo>
                        <a:pt x="372" y="1819"/>
                      </a:lnTo>
                      <a:lnTo>
                        <a:pt x="372" y="1819"/>
                      </a:lnTo>
                      <a:lnTo>
                        <a:pt x="371" y="1820"/>
                      </a:lnTo>
                      <a:lnTo>
                        <a:pt x="371" y="1821"/>
                      </a:lnTo>
                      <a:lnTo>
                        <a:pt x="369" y="1823"/>
                      </a:lnTo>
                      <a:lnTo>
                        <a:pt x="369" y="1824"/>
                      </a:lnTo>
                      <a:lnTo>
                        <a:pt x="368" y="1824"/>
                      </a:lnTo>
                      <a:lnTo>
                        <a:pt x="368" y="1825"/>
                      </a:lnTo>
                      <a:lnTo>
                        <a:pt x="368" y="1825"/>
                      </a:lnTo>
                      <a:lnTo>
                        <a:pt x="368" y="1825"/>
                      </a:lnTo>
                      <a:lnTo>
                        <a:pt x="367" y="1826"/>
                      </a:lnTo>
                      <a:lnTo>
                        <a:pt x="366" y="1827"/>
                      </a:lnTo>
                      <a:lnTo>
                        <a:pt x="365" y="1828"/>
                      </a:lnTo>
                      <a:lnTo>
                        <a:pt x="363" y="1828"/>
                      </a:lnTo>
                      <a:lnTo>
                        <a:pt x="361" y="1828"/>
                      </a:lnTo>
                      <a:lnTo>
                        <a:pt x="361" y="1829"/>
                      </a:lnTo>
                      <a:lnTo>
                        <a:pt x="359" y="1829"/>
                      </a:lnTo>
                      <a:lnTo>
                        <a:pt x="358" y="1828"/>
                      </a:lnTo>
                      <a:lnTo>
                        <a:pt x="357" y="1828"/>
                      </a:lnTo>
                      <a:lnTo>
                        <a:pt x="357" y="1828"/>
                      </a:lnTo>
                      <a:lnTo>
                        <a:pt x="356" y="1827"/>
                      </a:lnTo>
                      <a:lnTo>
                        <a:pt x="356" y="1827"/>
                      </a:lnTo>
                      <a:lnTo>
                        <a:pt x="354" y="1827"/>
                      </a:lnTo>
                      <a:lnTo>
                        <a:pt x="354" y="1827"/>
                      </a:lnTo>
                      <a:lnTo>
                        <a:pt x="353" y="1829"/>
                      </a:lnTo>
                      <a:lnTo>
                        <a:pt x="352" y="1830"/>
                      </a:lnTo>
                      <a:lnTo>
                        <a:pt x="352" y="1831"/>
                      </a:lnTo>
                      <a:lnTo>
                        <a:pt x="351" y="1831"/>
                      </a:lnTo>
                      <a:lnTo>
                        <a:pt x="351" y="1831"/>
                      </a:lnTo>
                      <a:lnTo>
                        <a:pt x="350" y="1831"/>
                      </a:lnTo>
                      <a:lnTo>
                        <a:pt x="350" y="1833"/>
                      </a:lnTo>
                      <a:lnTo>
                        <a:pt x="349" y="1833"/>
                      </a:lnTo>
                      <a:lnTo>
                        <a:pt x="349" y="1834"/>
                      </a:lnTo>
                      <a:lnTo>
                        <a:pt x="349" y="1834"/>
                      </a:lnTo>
                      <a:lnTo>
                        <a:pt x="348" y="1835"/>
                      </a:lnTo>
                      <a:lnTo>
                        <a:pt x="348" y="1835"/>
                      </a:lnTo>
                      <a:lnTo>
                        <a:pt x="346" y="1836"/>
                      </a:lnTo>
                      <a:lnTo>
                        <a:pt x="346" y="1836"/>
                      </a:lnTo>
                      <a:lnTo>
                        <a:pt x="346" y="1837"/>
                      </a:lnTo>
                      <a:lnTo>
                        <a:pt x="345" y="1837"/>
                      </a:lnTo>
                      <a:lnTo>
                        <a:pt x="344" y="1838"/>
                      </a:lnTo>
                      <a:lnTo>
                        <a:pt x="344" y="1838"/>
                      </a:lnTo>
                      <a:lnTo>
                        <a:pt x="343" y="1839"/>
                      </a:lnTo>
                      <a:lnTo>
                        <a:pt x="341" y="1839"/>
                      </a:lnTo>
                      <a:lnTo>
                        <a:pt x="340" y="1839"/>
                      </a:lnTo>
                      <a:lnTo>
                        <a:pt x="339" y="1839"/>
                      </a:lnTo>
                      <a:lnTo>
                        <a:pt x="338" y="1838"/>
                      </a:lnTo>
                      <a:lnTo>
                        <a:pt x="338" y="1838"/>
                      </a:lnTo>
                      <a:lnTo>
                        <a:pt x="337" y="1838"/>
                      </a:lnTo>
                      <a:lnTo>
                        <a:pt x="337" y="1837"/>
                      </a:lnTo>
                      <a:lnTo>
                        <a:pt x="337" y="1837"/>
                      </a:lnTo>
                      <a:lnTo>
                        <a:pt x="337" y="1837"/>
                      </a:lnTo>
                      <a:lnTo>
                        <a:pt x="336" y="1837"/>
                      </a:lnTo>
                      <a:lnTo>
                        <a:pt x="336" y="1836"/>
                      </a:lnTo>
                      <a:lnTo>
                        <a:pt x="336" y="1836"/>
                      </a:lnTo>
                      <a:lnTo>
                        <a:pt x="336" y="1836"/>
                      </a:lnTo>
                      <a:lnTo>
                        <a:pt x="335" y="1836"/>
                      </a:lnTo>
                      <a:lnTo>
                        <a:pt x="334" y="1837"/>
                      </a:lnTo>
                      <a:lnTo>
                        <a:pt x="334" y="1837"/>
                      </a:lnTo>
                      <a:lnTo>
                        <a:pt x="333" y="1837"/>
                      </a:lnTo>
                      <a:lnTo>
                        <a:pt x="333" y="1837"/>
                      </a:lnTo>
                      <a:lnTo>
                        <a:pt x="332" y="1838"/>
                      </a:lnTo>
                      <a:lnTo>
                        <a:pt x="330" y="1837"/>
                      </a:lnTo>
                      <a:lnTo>
                        <a:pt x="329" y="1838"/>
                      </a:lnTo>
                      <a:lnTo>
                        <a:pt x="327" y="1838"/>
                      </a:lnTo>
                      <a:lnTo>
                        <a:pt x="327" y="1838"/>
                      </a:lnTo>
                      <a:lnTo>
                        <a:pt x="325" y="1838"/>
                      </a:lnTo>
                      <a:lnTo>
                        <a:pt x="325" y="1838"/>
                      </a:lnTo>
                      <a:lnTo>
                        <a:pt x="324" y="1840"/>
                      </a:lnTo>
                      <a:lnTo>
                        <a:pt x="322" y="1841"/>
                      </a:lnTo>
                      <a:lnTo>
                        <a:pt x="321" y="1842"/>
                      </a:lnTo>
                      <a:lnTo>
                        <a:pt x="321" y="1842"/>
                      </a:lnTo>
                      <a:lnTo>
                        <a:pt x="321" y="1841"/>
                      </a:lnTo>
                      <a:lnTo>
                        <a:pt x="321" y="1841"/>
                      </a:lnTo>
                      <a:lnTo>
                        <a:pt x="320" y="1841"/>
                      </a:lnTo>
                      <a:lnTo>
                        <a:pt x="320" y="1842"/>
                      </a:lnTo>
                      <a:lnTo>
                        <a:pt x="317" y="1842"/>
                      </a:lnTo>
                      <a:lnTo>
                        <a:pt x="317" y="1841"/>
                      </a:lnTo>
                      <a:lnTo>
                        <a:pt x="317" y="1841"/>
                      </a:lnTo>
                      <a:lnTo>
                        <a:pt x="317" y="1841"/>
                      </a:lnTo>
                      <a:lnTo>
                        <a:pt x="317" y="1840"/>
                      </a:lnTo>
                      <a:lnTo>
                        <a:pt x="316" y="1840"/>
                      </a:lnTo>
                      <a:lnTo>
                        <a:pt x="315" y="1840"/>
                      </a:lnTo>
                      <a:lnTo>
                        <a:pt x="315" y="1840"/>
                      </a:lnTo>
                      <a:lnTo>
                        <a:pt x="314" y="1842"/>
                      </a:lnTo>
                      <a:lnTo>
                        <a:pt x="314" y="1842"/>
                      </a:lnTo>
                      <a:lnTo>
                        <a:pt x="313" y="1841"/>
                      </a:lnTo>
                      <a:lnTo>
                        <a:pt x="312" y="1841"/>
                      </a:lnTo>
                      <a:lnTo>
                        <a:pt x="312" y="1841"/>
                      </a:lnTo>
                      <a:lnTo>
                        <a:pt x="312" y="1841"/>
                      </a:lnTo>
                      <a:lnTo>
                        <a:pt x="312" y="1841"/>
                      </a:lnTo>
                      <a:lnTo>
                        <a:pt x="312" y="1841"/>
                      </a:lnTo>
                      <a:lnTo>
                        <a:pt x="312" y="1840"/>
                      </a:lnTo>
                      <a:lnTo>
                        <a:pt x="309" y="1841"/>
                      </a:lnTo>
                      <a:lnTo>
                        <a:pt x="309" y="1841"/>
                      </a:lnTo>
                      <a:lnTo>
                        <a:pt x="308" y="1841"/>
                      </a:lnTo>
                      <a:lnTo>
                        <a:pt x="308" y="1841"/>
                      </a:lnTo>
                      <a:lnTo>
                        <a:pt x="307" y="1840"/>
                      </a:lnTo>
                      <a:lnTo>
                        <a:pt x="306" y="1840"/>
                      </a:lnTo>
                      <a:lnTo>
                        <a:pt x="306" y="1841"/>
                      </a:lnTo>
                      <a:lnTo>
                        <a:pt x="306" y="1841"/>
                      </a:lnTo>
                      <a:lnTo>
                        <a:pt x="306" y="1842"/>
                      </a:lnTo>
                      <a:lnTo>
                        <a:pt x="305" y="1842"/>
                      </a:lnTo>
                      <a:lnTo>
                        <a:pt x="304" y="1843"/>
                      </a:lnTo>
                      <a:lnTo>
                        <a:pt x="304" y="1843"/>
                      </a:lnTo>
                      <a:lnTo>
                        <a:pt x="303" y="1842"/>
                      </a:lnTo>
                      <a:lnTo>
                        <a:pt x="302" y="1842"/>
                      </a:lnTo>
                      <a:lnTo>
                        <a:pt x="302" y="1841"/>
                      </a:lnTo>
                      <a:lnTo>
                        <a:pt x="302" y="1841"/>
                      </a:lnTo>
                      <a:lnTo>
                        <a:pt x="301" y="1841"/>
                      </a:lnTo>
                      <a:lnTo>
                        <a:pt x="300" y="1841"/>
                      </a:lnTo>
                      <a:lnTo>
                        <a:pt x="300" y="1841"/>
                      </a:lnTo>
                      <a:lnTo>
                        <a:pt x="299" y="1841"/>
                      </a:lnTo>
                      <a:lnTo>
                        <a:pt x="299" y="1842"/>
                      </a:lnTo>
                      <a:lnTo>
                        <a:pt x="298" y="1843"/>
                      </a:lnTo>
                      <a:lnTo>
                        <a:pt x="298" y="1845"/>
                      </a:lnTo>
                      <a:lnTo>
                        <a:pt x="298" y="1846"/>
                      </a:lnTo>
                      <a:lnTo>
                        <a:pt x="298" y="1847"/>
                      </a:lnTo>
                      <a:lnTo>
                        <a:pt x="297" y="1847"/>
                      </a:lnTo>
                      <a:lnTo>
                        <a:pt x="297" y="1848"/>
                      </a:lnTo>
                      <a:lnTo>
                        <a:pt x="297" y="1848"/>
                      </a:lnTo>
                      <a:lnTo>
                        <a:pt x="296" y="1848"/>
                      </a:lnTo>
                      <a:lnTo>
                        <a:pt x="296" y="1850"/>
                      </a:lnTo>
                      <a:lnTo>
                        <a:pt x="296" y="1850"/>
                      </a:lnTo>
                      <a:lnTo>
                        <a:pt x="295" y="1849"/>
                      </a:lnTo>
                      <a:lnTo>
                        <a:pt x="295" y="1849"/>
                      </a:lnTo>
                      <a:lnTo>
                        <a:pt x="294" y="1849"/>
                      </a:lnTo>
                      <a:lnTo>
                        <a:pt x="295" y="1849"/>
                      </a:lnTo>
                      <a:lnTo>
                        <a:pt x="295" y="1848"/>
                      </a:lnTo>
                      <a:lnTo>
                        <a:pt x="294" y="1848"/>
                      </a:lnTo>
                      <a:lnTo>
                        <a:pt x="294" y="1848"/>
                      </a:lnTo>
                      <a:lnTo>
                        <a:pt x="295" y="1847"/>
                      </a:lnTo>
                      <a:lnTo>
                        <a:pt x="295" y="1847"/>
                      </a:lnTo>
                      <a:lnTo>
                        <a:pt x="295" y="1847"/>
                      </a:lnTo>
                      <a:lnTo>
                        <a:pt x="294" y="1847"/>
                      </a:lnTo>
                      <a:lnTo>
                        <a:pt x="294" y="1847"/>
                      </a:lnTo>
                      <a:lnTo>
                        <a:pt x="293" y="1847"/>
                      </a:lnTo>
                      <a:lnTo>
                        <a:pt x="293" y="1846"/>
                      </a:lnTo>
                      <a:lnTo>
                        <a:pt x="293" y="1847"/>
                      </a:lnTo>
                      <a:lnTo>
                        <a:pt x="293" y="1847"/>
                      </a:lnTo>
                      <a:lnTo>
                        <a:pt x="292" y="1847"/>
                      </a:lnTo>
                      <a:lnTo>
                        <a:pt x="292" y="1848"/>
                      </a:lnTo>
                      <a:lnTo>
                        <a:pt x="292" y="1848"/>
                      </a:lnTo>
                      <a:lnTo>
                        <a:pt x="292" y="1847"/>
                      </a:lnTo>
                      <a:lnTo>
                        <a:pt x="291" y="1847"/>
                      </a:lnTo>
                      <a:lnTo>
                        <a:pt x="291" y="1847"/>
                      </a:lnTo>
                      <a:lnTo>
                        <a:pt x="290" y="1847"/>
                      </a:lnTo>
                      <a:lnTo>
                        <a:pt x="290" y="1848"/>
                      </a:lnTo>
                      <a:lnTo>
                        <a:pt x="291" y="1848"/>
                      </a:lnTo>
                      <a:lnTo>
                        <a:pt x="291" y="1849"/>
                      </a:lnTo>
                      <a:lnTo>
                        <a:pt x="290" y="1849"/>
                      </a:lnTo>
                      <a:lnTo>
                        <a:pt x="290" y="1849"/>
                      </a:lnTo>
                      <a:lnTo>
                        <a:pt x="290" y="1848"/>
                      </a:lnTo>
                      <a:lnTo>
                        <a:pt x="290" y="1848"/>
                      </a:lnTo>
                      <a:lnTo>
                        <a:pt x="290" y="1847"/>
                      </a:lnTo>
                      <a:lnTo>
                        <a:pt x="290" y="1847"/>
                      </a:lnTo>
                      <a:lnTo>
                        <a:pt x="290" y="1847"/>
                      </a:lnTo>
                      <a:lnTo>
                        <a:pt x="290" y="1846"/>
                      </a:lnTo>
                      <a:lnTo>
                        <a:pt x="289" y="1846"/>
                      </a:lnTo>
                      <a:lnTo>
                        <a:pt x="289" y="1848"/>
                      </a:lnTo>
                      <a:lnTo>
                        <a:pt x="289" y="1848"/>
                      </a:lnTo>
                      <a:lnTo>
                        <a:pt x="288" y="1849"/>
                      </a:lnTo>
                      <a:lnTo>
                        <a:pt x="287" y="1849"/>
                      </a:lnTo>
                      <a:lnTo>
                        <a:pt x="287" y="1848"/>
                      </a:lnTo>
                      <a:lnTo>
                        <a:pt x="287" y="1848"/>
                      </a:lnTo>
                      <a:lnTo>
                        <a:pt x="286" y="1848"/>
                      </a:lnTo>
                      <a:lnTo>
                        <a:pt x="283" y="1848"/>
                      </a:lnTo>
                      <a:lnTo>
                        <a:pt x="282" y="1847"/>
                      </a:lnTo>
                      <a:lnTo>
                        <a:pt x="282" y="1846"/>
                      </a:lnTo>
                      <a:lnTo>
                        <a:pt x="282" y="1845"/>
                      </a:lnTo>
                      <a:lnTo>
                        <a:pt x="282" y="1845"/>
                      </a:lnTo>
                      <a:lnTo>
                        <a:pt x="282" y="1844"/>
                      </a:lnTo>
                      <a:lnTo>
                        <a:pt x="282" y="1844"/>
                      </a:lnTo>
                      <a:lnTo>
                        <a:pt x="282" y="1844"/>
                      </a:lnTo>
                      <a:lnTo>
                        <a:pt x="282" y="1843"/>
                      </a:lnTo>
                      <a:lnTo>
                        <a:pt x="283" y="1843"/>
                      </a:lnTo>
                      <a:lnTo>
                        <a:pt x="283" y="1843"/>
                      </a:lnTo>
                      <a:lnTo>
                        <a:pt x="281" y="1843"/>
                      </a:lnTo>
                      <a:lnTo>
                        <a:pt x="281" y="1842"/>
                      </a:lnTo>
                      <a:lnTo>
                        <a:pt x="281" y="1843"/>
                      </a:lnTo>
                      <a:lnTo>
                        <a:pt x="280" y="1843"/>
                      </a:lnTo>
                      <a:lnTo>
                        <a:pt x="280" y="1843"/>
                      </a:lnTo>
                      <a:lnTo>
                        <a:pt x="279" y="1843"/>
                      </a:lnTo>
                      <a:lnTo>
                        <a:pt x="279" y="1843"/>
                      </a:lnTo>
                      <a:lnTo>
                        <a:pt x="279" y="1843"/>
                      </a:lnTo>
                      <a:lnTo>
                        <a:pt x="279" y="1843"/>
                      </a:lnTo>
                      <a:lnTo>
                        <a:pt x="278" y="1843"/>
                      </a:lnTo>
                      <a:lnTo>
                        <a:pt x="278" y="1843"/>
                      </a:lnTo>
                      <a:lnTo>
                        <a:pt x="278" y="1843"/>
                      </a:lnTo>
                      <a:lnTo>
                        <a:pt x="278" y="1843"/>
                      </a:lnTo>
                      <a:lnTo>
                        <a:pt x="278" y="1842"/>
                      </a:lnTo>
                      <a:lnTo>
                        <a:pt x="277" y="1842"/>
                      </a:lnTo>
                      <a:lnTo>
                        <a:pt x="277" y="1841"/>
                      </a:lnTo>
                      <a:lnTo>
                        <a:pt x="277" y="1841"/>
                      </a:lnTo>
                      <a:lnTo>
                        <a:pt x="278" y="1841"/>
                      </a:lnTo>
                      <a:lnTo>
                        <a:pt x="278" y="1840"/>
                      </a:lnTo>
                      <a:lnTo>
                        <a:pt x="277" y="1840"/>
                      </a:lnTo>
                      <a:lnTo>
                        <a:pt x="277" y="1839"/>
                      </a:lnTo>
                      <a:lnTo>
                        <a:pt x="277" y="1839"/>
                      </a:lnTo>
                      <a:lnTo>
                        <a:pt x="277" y="1839"/>
                      </a:lnTo>
                      <a:lnTo>
                        <a:pt x="277" y="1839"/>
                      </a:lnTo>
                      <a:lnTo>
                        <a:pt x="276" y="1841"/>
                      </a:lnTo>
                      <a:lnTo>
                        <a:pt x="276" y="1842"/>
                      </a:lnTo>
                      <a:lnTo>
                        <a:pt x="275" y="1842"/>
                      </a:lnTo>
                      <a:lnTo>
                        <a:pt x="275" y="1842"/>
                      </a:lnTo>
                      <a:lnTo>
                        <a:pt x="273" y="1842"/>
                      </a:lnTo>
                      <a:lnTo>
                        <a:pt x="273" y="1841"/>
                      </a:lnTo>
                      <a:lnTo>
                        <a:pt x="273" y="1841"/>
                      </a:lnTo>
                      <a:lnTo>
                        <a:pt x="273" y="1841"/>
                      </a:lnTo>
                      <a:lnTo>
                        <a:pt x="272" y="1841"/>
                      </a:lnTo>
                      <a:lnTo>
                        <a:pt x="272" y="1842"/>
                      </a:lnTo>
                      <a:lnTo>
                        <a:pt x="271" y="1842"/>
                      </a:lnTo>
                      <a:lnTo>
                        <a:pt x="271" y="1841"/>
                      </a:lnTo>
                      <a:lnTo>
                        <a:pt x="270" y="1840"/>
                      </a:lnTo>
                      <a:lnTo>
                        <a:pt x="270" y="1840"/>
                      </a:lnTo>
                      <a:lnTo>
                        <a:pt x="270" y="1841"/>
                      </a:lnTo>
                      <a:lnTo>
                        <a:pt x="270" y="1840"/>
                      </a:lnTo>
                      <a:lnTo>
                        <a:pt x="270" y="1840"/>
                      </a:lnTo>
                      <a:lnTo>
                        <a:pt x="270" y="1840"/>
                      </a:lnTo>
                      <a:lnTo>
                        <a:pt x="270" y="1839"/>
                      </a:lnTo>
                      <a:lnTo>
                        <a:pt x="270" y="1839"/>
                      </a:lnTo>
                      <a:lnTo>
                        <a:pt x="270" y="1839"/>
                      </a:lnTo>
                      <a:lnTo>
                        <a:pt x="271" y="1839"/>
                      </a:lnTo>
                      <a:lnTo>
                        <a:pt x="271" y="1838"/>
                      </a:lnTo>
                      <a:lnTo>
                        <a:pt x="272" y="1839"/>
                      </a:lnTo>
                      <a:lnTo>
                        <a:pt x="272" y="1839"/>
                      </a:lnTo>
                      <a:lnTo>
                        <a:pt x="272" y="1838"/>
                      </a:lnTo>
                      <a:lnTo>
                        <a:pt x="272" y="1838"/>
                      </a:lnTo>
                      <a:lnTo>
                        <a:pt x="272" y="1838"/>
                      </a:lnTo>
                      <a:lnTo>
                        <a:pt x="272" y="1837"/>
                      </a:lnTo>
                      <a:lnTo>
                        <a:pt x="273" y="1836"/>
                      </a:lnTo>
                      <a:lnTo>
                        <a:pt x="273" y="1836"/>
                      </a:lnTo>
                      <a:lnTo>
                        <a:pt x="275" y="1836"/>
                      </a:lnTo>
                      <a:lnTo>
                        <a:pt x="275" y="1837"/>
                      </a:lnTo>
                      <a:lnTo>
                        <a:pt x="277" y="1837"/>
                      </a:lnTo>
                      <a:lnTo>
                        <a:pt x="277" y="1837"/>
                      </a:lnTo>
                      <a:lnTo>
                        <a:pt x="278" y="1837"/>
                      </a:lnTo>
                      <a:lnTo>
                        <a:pt x="278" y="1836"/>
                      </a:lnTo>
                      <a:lnTo>
                        <a:pt x="278" y="1835"/>
                      </a:lnTo>
                      <a:lnTo>
                        <a:pt x="278" y="1834"/>
                      </a:lnTo>
                      <a:lnTo>
                        <a:pt x="277" y="1834"/>
                      </a:lnTo>
                      <a:lnTo>
                        <a:pt x="277" y="1835"/>
                      </a:lnTo>
                      <a:lnTo>
                        <a:pt x="277" y="1835"/>
                      </a:lnTo>
                      <a:lnTo>
                        <a:pt x="277" y="1835"/>
                      </a:lnTo>
                      <a:lnTo>
                        <a:pt x="276" y="1835"/>
                      </a:lnTo>
                      <a:lnTo>
                        <a:pt x="275" y="1835"/>
                      </a:lnTo>
                      <a:lnTo>
                        <a:pt x="275" y="1835"/>
                      </a:lnTo>
                      <a:lnTo>
                        <a:pt x="275" y="1835"/>
                      </a:lnTo>
                      <a:lnTo>
                        <a:pt x="273" y="1835"/>
                      </a:lnTo>
                      <a:lnTo>
                        <a:pt x="273" y="1834"/>
                      </a:lnTo>
                      <a:lnTo>
                        <a:pt x="274" y="1834"/>
                      </a:lnTo>
                      <a:lnTo>
                        <a:pt x="274" y="1834"/>
                      </a:lnTo>
                      <a:lnTo>
                        <a:pt x="274" y="1834"/>
                      </a:lnTo>
                      <a:lnTo>
                        <a:pt x="275" y="1834"/>
                      </a:lnTo>
                      <a:lnTo>
                        <a:pt x="275" y="1834"/>
                      </a:lnTo>
                      <a:lnTo>
                        <a:pt x="274" y="1834"/>
                      </a:lnTo>
                      <a:lnTo>
                        <a:pt x="274" y="1833"/>
                      </a:lnTo>
                      <a:lnTo>
                        <a:pt x="274" y="1833"/>
                      </a:lnTo>
                      <a:lnTo>
                        <a:pt x="274" y="1833"/>
                      </a:lnTo>
                      <a:lnTo>
                        <a:pt x="274" y="1833"/>
                      </a:lnTo>
                      <a:lnTo>
                        <a:pt x="274" y="1831"/>
                      </a:lnTo>
                      <a:lnTo>
                        <a:pt x="273" y="1833"/>
                      </a:lnTo>
                      <a:lnTo>
                        <a:pt x="273" y="1833"/>
                      </a:lnTo>
                      <a:lnTo>
                        <a:pt x="272" y="1833"/>
                      </a:lnTo>
                      <a:lnTo>
                        <a:pt x="272" y="1833"/>
                      </a:lnTo>
                      <a:lnTo>
                        <a:pt x="273" y="1831"/>
                      </a:lnTo>
                      <a:lnTo>
                        <a:pt x="273" y="1830"/>
                      </a:lnTo>
                      <a:lnTo>
                        <a:pt x="274" y="1830"/>
                      </a:lnTo>
                      <a:lnTo>
                        <a:pt x="274" y="1830"/>
                      </a:lnTo>
                      <a:lnTo>
                        <a:pt x="273" y="1830"/>
                      </a:lnTo>
                      <a:lnTo>
                        <a:pt x="273" y="1829"/>
                      </a:lnTo>
                      <a:lnTo>
                        <a:pt x="273" y="1828"/>
                      </a:lnTo>
                      <a:lnTo>
                        <a:pt x="273" y="1828"/>
                      </a:lnTo>
                      <a:lnTo>
                        <a:pt x="273" y="1828"/>
                      </a:lnTo>
                      <a:lnTo>
                        <a:pt x="273" y="1827"/>
                      </a:lnTo>
                      <a:lnTo>
                        <a:pt x="273" y="1826"/>
                      </a:lnTo>
                      <a:lnTo>
                        <a:pt x="273" y="1825"/>
                      </a:lnTo>
                      <a:lnTo>
                        <a:pt x="274" y="1826"/>
                      </a:lnTo>
                      <a:lnTo>
                        <a:pt x="274" y="1826"/>
                      </a:lnTo>
                      <a:lnTo>
                        <a:pt x="274" y="1823"/>
                      </a:lnTo>
                      <a:lnTo>
                        <a:pt x="275" y="1823"/>
                      </a:lnTo>
                      <a:lnTo>
                        <a:pt x="275" y="1821"/>
                      </a:lnTo>
                      <a:lnTo>
                        <a:pt x="275" y="1821"/>
                      </a:lnTo>
                      <a:lnTo>
                        <a:pt x="276" y="1820"/>
                      </a:lnTo>
                      <a:lnTo>
                        <a:pt x="276" y="1820"/>
                      </a:lnTo>
                      <a:lnTo>
                        <a:pt x="276" y="1820"/>
                      </a:lnTo>
                      <a:lnTo>
                        <a:pt x="276" y="1820"/>
                      </a:lnTo>
                      <a:lnTo>
                        <a:pt x="276" y="1819"/>
                      </a:lnTo>
                      <a:lnTo>
                        <a:pt x="278" y="1818"/>
                      </a:lnTo>
                      <a:lnTo>
                        <a:pt x="278" y="1818"/>
                      </a:lnTo>
                      <a:lnTo>
                        <a:pt x="280" y="1818"/>
                      </a:lnTo>
                      <a:lnTo>
                        <a:pt x="280" y="1818"/>
                      </a:lnTo>
                      <a:lnTo>
                        <a:pt x="280" y="1817"/>
                      </a:lnTo>
                      <a:lnTo>
                        <a:pt x="281" y="1818"/>
                      </a:lnTo>
                      <a:lnTo>
                        <a:pt x="281" y="1818"/>
                      </a:lnTo>
                      <a:lnTo>
                        <a:pt x="282" y="1818"/>
                      </a:lnTo>
                      <a:lnTo>
                        <a:pt x="283" y="1818"/>
                      </a:lnTo>
                      <a:lnTo>
                        <a:pt x="283" y="1819"/>
                      </a:lnTo>
                      <a:lnTo>
                        <a:pt x="283" y="1819"/>
                      </a:lnTo>
                      <a:lnTo>
                        <a:pt x="286" y="1819"/>
                      </a:lnTo>
                      <a:lnTo>
                        <a:pt x="286" y="1819"/>
                      </a:lnTo>
                      <a:lnTo>
                        <a:pt x="287" y="1819"/>
                      </a:lnTo>
                      <a:lnTo>
                        <a:pt x="287" y="1819"/>
                      </a:lnTo>
                      <a:lnTo>
                        <a:pt x="287" y="1819"/>
                      </a:lnTo>
                      <a:lnTo>
                        <a:pt x="288" y="1820"/>
                      </a:lnTo>
                      <a:lnTo>
                        <a:pt x="288" y="1820"/>
                      </a:lnTo>
                      <a:lnTo>
                        <a:pt x="288" y="1819"/>
                      </a:lnTo>
                      <a:lnTo>
                        <a:pt x="288" y="1819"/>
                      </a:lnTo>
                      <a:lnTo>
                        <a:pt x="289" y="1819"/>
                      </a:lnTo>
                      <a:lnTo>
                        <a:pt x="290" y="1819"/>
                      </a:lnTo>
                      <a:lnTo>
                        <a:pt x="291" y="1819"/>
                      </a:lnTo>
                      <a:lnTo>
                        <a:pt x="291" y="1820"/>
                      </a:lnTo>
                      <a:lnTo>
                        <a:pt x="291" y="1820"/>
                      </a:lnTo>
                      <a:lnTo>
                        <a:pt x="291" y="1822"/>
                      </a:lnTo>
                      <a:lnTo>
                        <a:pt x="292" y="1821"/>
                      </a:lnTo>
                      <a:lnTo>
                        <a:pt x="292" y="1820"/>
                      </a:lnTo>
                      <a:lnTo>
                        <a:pt x="292" y="1820"/>
                      </a:lnTo>
                      <a:lnTo>
                        <a:pt x="293" y="1821"/>
                      </a:lnTo>
                      <a:lnTo>
                        <a:pt x="294" y="1821"/>
                      </a:lnTo>
                      <a:lnTo>
                        <a:pt x="294" y="1822"/>
                      </a:lnTo>
                      <a:lnTo>
                        <a:pt x="295" y="1823"/>
                      </a:lnTo>
                      <a:lnTo>
                        <a:pt x="295" y="1823"/>
                      </a:lnTo>
                      <a:lnTo>
                        <a:pt x="295" y="1824"/>
                      </a:lnTo>
                      <a:lnTo>
                        <a:pt x="295" y="1825"/>
                      </a:lnTo>
                      <a:lnTo>
                        <a:pt x="296" y="1826"/>
                      </a:lnTo>
                      <a:lnTo>
                        <a:pt x="296" y="1826"/>
                      </a:lnTo>
                      <a:lnTo>
                        <a:pt x="295" y="1827"/>
                      </a:lnTo>
                      <a:lnTo>
                        <a:pt x="294" y="1826"/>
                      </a:lnTo>
                      <a:lnTo>
                        <a:pt x="292" y="1826"/>
                      </a:lnTo>
                      <a:lnTo>
                        <a:pt x="292" y="1826"/>
                      </a:lnTo>
                      <a:lnTo>
                        <a:pt x="291" y="1825"/>
                      </a:lnTo>
                      <a:lnTo>
                        <a:pt x="291" y="1826"/>
                      </a:lnTo>
                      <a:lnTo>
                        <a:pt x="291" y="1826"/>
                      </a:lnTo>
                      <a:lnTo>
                        <a:pt x="291" y="1827"/>
                      </a:lnTo>
                      <a:lnTo>
                        <a:pt x="292" y="1827"/>
                      </a:lnTo>
                      <a:lnTo>
                        <a:pt x="292" y="1826"/>
                      </a:lnTo>
                      <a:lnTo>
                        <a:pt x="292" y="1827"/>
                      </a:lnTo>
                      <a:lnTo>
                        <a:pt x="293" y="1827"/>
                      </a:lnTo>
                      <a:lnTo>
                        <a:pt x="294" y="1827"/>
                      </a:lnTo>
                      <a:lnTo>
                        <a:pt x="295" y="1827"/>
                      </a:lnTo>
                      <a:lnTo>
                        <a:pt x="295" y="1828"/>
                      </a:lnTo>
                      <a:lnTo>
                        <a:pt x="295" y="1828"/>
                      </a:lnTo>
                      <a:lnTo>
                        <a:pt x="295" y="1828"/>
                      </a:lnTo>
                      <a:lnTo>
                        <a:pt x="296" y="1828"/>
                      </a:lnTo>
                      <a:lnTo>
                        <a:pt x="297" y="1828"/>
                      </a:lnTo>
                      <a:lnTo>
                        <a:pt x="297" y="1828"/>
                      </a:lnTo>
                      <a:lnTo>
                        <a:pt x="298" y="1828"/>
                      </a:lnTo>
                      <a:lnTo>
                        <a:pt x="299" y="1828"/>
                      </a:lnTo>
                      <a:lnTo>
                        <a:pt x="301" y="1828"/>
                      </a:lnTo>
                      <a:lnTo>
                        <a:pt x="301" y="1829"/>
                      </a:lnTo>
                      <a:lnTo>
                        <a:pt x="302" y="1829"/>
                      </a:lnTo>
                      <a:lnTo>
                        <a:pt x="302" y="1829"/>
                      </a:lnTo>
                      <a:lnTo>
                        <a:pt x="303" y="1829"/>
                      </a:lnTo>
                      <a:lnTo>
                        <a:pt x="302" y="1828"/>
                      </a:lnTo>
                      <a:lnTo>
                        <a:pt x="302" y="1828"/>
                      </a:lnTo>
                      <a:lnTo>
                        <a:pt x="301" y="1827"/>
                      </a:lnTo>
                      <a:lnTo>
                        <a:pt x="301" y="1827"/>
                      </a:lnTo>
                      <a:lnTo>
                        <a:pt x="301" y="1826"/>
                      </a:lnTo>
                      <a:lnTo>
                        <a:pt x="302" y="1825"/>
                      </a:lnTo>
                      <a:lnTo>
                        <a:pt x="302" y="1824"/>
                      </a:lnTo>
                      <a:lnTo>
                        <a:pt x="301" y="1823"/>
                      </a:lnTo>
                      <a:lnTo>
                        <a:pt x="301" y="1824"/>
                      </a:lnTo>
                      <a:lnTo>
                        <a:pt x="301" y="1824"/>
                      </a:lnTo>
                      <a:lnTo>
                        <a:pt x="300" y="1824"/>
                      </a:lnTo>
                      <a:lnTo>
                        <a:pt x="300" y="1825"/>
                      </a:lnTo>
                      <a:lnTo>
                        <a:pt x="300" y="1824"/>
                      </a:lnTo>
                      <a:lnTo>
                        <a:pt x="300" y="1825"/>
                      </a:lnTo>
                      <a:lnTo>
                        <a:pt x="299" y="1825"/>
                      </a:lnTo>
                      <a:lnTo>
                        <a:pt x="300" y="1824"/>
                      </a:lnTo>
                      <a:lnTo>
                        <a:pt x="300" y="1823"/>
                      </a:lnTo>
                      <a:lnTo>
                        <a:pt x="300" y="1823"/>
                      </a:lnTo>
                      <a:lnTo>
                        <a:pt x="299" y="1822"/>
                      </a:lnTo>
                      <a:lnTo>
                        <a:pt x="299" y="1822"/>
                      </a:lnTo>
                      <a:lnTo>
                        <a:pt x="299" y="1821"/>
                      </a:lnTo>
                      <a:lnTo>
                        <a:pt x="299" y="1820"/>
                      </a:lnTo>
                      <a:lnTo>
                        <a:pt x="300" y="1819"/>
                      </a:lnTo>
                      <a:lnTo>
                        <a:pt x="303" y="1819"/>
                      </a:lnTo>
                      <a:lnTo>
                        <a:pt x="304" y="1820"/>
                      </a:lnTo>
                      <a:lnTo>
                        <a:pt x="304" y="1820"/>
                      </a:lnTo>
                      <a:lnTo>
                        <a:pt x="304" y="1820"/>
                      </a:lnTo>
                      <a:lnTo>
                        <a:pt x="305" y="1821"/>
                      </a:lnTo>
                      <a:lnTo>
                        <a:pt x="305" y="1821"/>
                      </a:lnTo>
                      <a:lnTo>
                        <a:pt x="306" y="1821"/>
                      </a:lnTo>
                      <a:lnTo>
                        <a:pt x="306" y="1822"/>
                      </a:lnTo>
                      <a:lnTo>
                        <a:pt x="306" y="1822"/>
                      </a:lnTo>
                      <a:lnTo>
                        <a:pt x="307" y="1822"/>
                      </a:lnTo>
                      <a:lnTo>
                        <a:pt x="307" y="1822"/>
                      </a:lnTo>
                      <a:lnTo>
                        <a:pt x="308" y="1822"/>
                      </a:lnTo>
                      <a:lnTo>
                        <a:pt x="308" y="1822"/>
                      </a:lnTo>
                      <a:lnTo>
                        <a:pt x="308" y="1822"/>
                      </a:lnTo>
                      <a:lnTo>
                        <a:pt x="309" y="1822"/>
                      </a:lnTo>
                      <a:lnTo>
                        <a:pt x="309" y="1822"/>
                      </a:lnTo>
                      <a:lnTo>
                        <a:pt x="310" y="1823"/>
                      </a:lnTo>
                      <a:lnTo>
                        <a:pt x="311" y="1823"/>
                      </a:lnTo>
                      <a:lnTo>
                        <a:pt x="311" y="1823"/>
                      </a:lnTo>
                      <a:lnTo>
                        <a:pt x="312" y="1823"/>
                      </a:lnTo>
                      <a:lnTo>
                        <a:pt x="312" y="1823"/>
                      </a:lnTo>
                      <a:lnTo>
                        <a:pt x="313" y="1823"/>
                      </a:lnTo>
                      <a:lnTo>
                        <a:pt x="314" y="1823"/>
                      </a:lnTo>
                      <a:lnTo>
                        <a:pt x="314" y="1822"/>
                      </a:lnTo>
                      <a:lnTo>
                        <a:pt x="313" y="1822"/>
                      </a:lnTo>
                      <a:lnTo>
                        <a:pt x="312" y="1822"/>
                      </a:lnTo>
                      <a:lnTo>
                        <a:pt x="313" y="1821"/>
                      </a:lnTo>
                      <a:lnTo>
                        <a:pt x="314" y="1821"/>
                      </a:lnTo>
                      <a:lnTo>
                        <a:pt x="314" y="1820"/>
                      </a:lnTo>
                      <a:lnTo>
                        <a:pt x="315" y="1820"/>
                      </a:lnTo>
                      <a:lnTo>
                        <a:pt x="316" y="1821"/>
                      </a:lnTo>
                      <a:lnTo>
                        <a:pt x="318" y="1821"/>
                      </a:lnTo>
                      <a:lnTo>
                        <a:pt x="318" y="1822"/>
                      </a:lnTo>
                      <a:lnTo>
                        <a:pt x="319" y="1822"/>
                      </a:lnTo>
                      <a:lnTo>
                        <a:pt x="320" y="1821"/>
                      </a:lnTo>
                      <a:lnTo>
                        <a:pt x="320" y="1822"/>
                      </a:lnTo>
                      <a:lnTo>
                        <a:pt x="321" y="1822"/>
                      </a:lnTo>
                      <a:lnTo>
                        <a:pt x="321" y="1821"/>
                      </a:lnTo>
                      <a:lnTo>
                        <a:pt x="322" y="1821"/>
                      </a:lnTo>
                      <a:lnTo>
                        <a:pt x="324" y="1820"/>
                      </a:lnTo>
                      <a:lnTo>
                        <a:pt x="324" y="1820"/>
                      </a:lnTo>
                      <a:lnTo>
                        <a:pt x="325" y="1820"/>
                      </a:lnTo>
                      <a:lnTo>
                        <a:pt x="325" y="1820"/>
                      </a:lnTo>
                      <a:lnTo>
                        <a:pt x="325" y="1819"/>
                      </a:lnTo>
                      <a:lnTo>
                        <a:pt x="324" y="1818"/>
                      </a:lnTo>
                      <a:lnTo>
                        <a:pt x="324" y="1818"/>
                      </a:lnTo>
                      <a:lnTo>
                        <a:pt x="325" y="1818"/>
                      </a:lnTo>
                      <a:lnTo>
                        <a:pt x="325" y="1818"/>
                      </a:lnTo>
                      <a:lnTo>
                        <a:pt x="326" y="1819"/>
                      </a:lnTo>
                      <a:lnTo>
                        <a:pt x="329" y="1819"/>
                      </a:lnTo>
                      <a:lnTo>
                        <a:pt x="329" y="1819"/>
                      </a:lnTo>
                      <a:lnTo>
                        <a:pt x="330" y="1819"/>
                      </a:lnTo>
                      <a:lnTo>
                        <a:pt x="330" y="1820"/>
                      </a:lnTo>
                      <a:lnTo>
                        <a:pt x="331" y="1819"/>
                      </a:lnTo>
                      <a:lnTo>
                        <a:pt x="331" y="1819"/>
                      </a:lnTo>
                      <a:lnTo>
                        <a:pt x="330" y="1819"/>
                      </a:lnTo>
                      <a:lnTo>
                        <a:pt x="331" y="1818"/>
                      </a:lnTo>
                      <a:lnTo>
                        <a:pt x="331" y="1818"/>
                      </a:lnTo>
                      <a:lnTo>
                        <a:pt x="332" y="1819"/>
                      </a:lnTo>
                      <a:lnTo>
                        <a:pt x="332" y="1819"/>
                      </a:lnTo>
                      <a:lnTo>
                        <a:pt x="333" y="1818"/>
                      </a:lnTo>
                      <a:lnTo>
                        <a:pt x="333" y="1817"/>
                      </a:lnTo>
                      <a:lnTo>
                        <a:pt x="333" y="1816"/>
                      </a:lnTo>
                      <a:lnTo>
                        <a:pt x="334" y="1816"/>
                      </a:lnTo>
                      <a:lnTo>
                        <a:pt x="336" y="1816"/>
                      </a:lnTo>
                      <a:lnTo>
                        <a:pt x="336" y="1815"/>
                      </a:lnTo>
                      <a:lnTo>
                        <a:pt x="338" y="1814"/>
                      </a:lnTo>
                      <a:lnTo>
                        <a:pt x="338" y="1814"/>
                      </a:lnTo>
                      <a:lnTo>
                        <a:pt x="339" y="1813"/>
                      </a:lnTo>
                      <a:lnTo>
                        <a:pt x="338" y="1813"/>
                      </a:lnTo>
                      <a:lnTo>
                        <a:pt x="338" y="1813"/>
                      </a:lnTo>
                      <a:lnTo>
                        <a:pt x="338" y="1813"/>
                      </a:lnTo>
                      <a:lnTo>
                        <a:pt x="339" y="1813"/>
                      </a:lnTo>
                      <a:lnTo>
                        <a:pt x="339" y="1813"/>
                      </a:lnTo>
                      <a:lnTo>
                        <a:pt x="339" y="1814"/>
                      </a:lnTo>
                      <a:lnTo>
                        <a:pt x="340" y="1814"/>
                      </a:lnTo>
                      <a:lnTo>
                        <a:pt x="341" y="1814"/>
                      </a:lnTo>
                      <a:lnTo>
                        <a:pt x="341" y="1813"/>
                      </a:lnTo>
                      <a:lnTo>
                        <a:pt x="342" y="1813"/>
                      </a:lnTo>
                      <a:lnTo>
                        <a:pt x="342" y="1813"/>
                      </a:lnTo>
                      <a:lnTo>
                        <a:pt x="342" y="1813"/>
                      </a:lnTo>
                      <a:lnTo>
                        <a:pt x="343" y="1813"/>
                      </a:lnTo>
                      <a:lnTo>
                        <a:pt x="343" y="1812"/>
                      </a:lnTo>
                      <a:lnTo>
                        <a:pt x="343" y="1812"/>
                      </a:lnTo>
                      <a:lnTo>
                        <a:pt x="345" y="1812"/>
                      </a:lnTo>
                      <a:lnTo>
                        <a:pt x="345" y="1811"/>
                      </a:lnTo>
                      <a:lnTo>
                        <a:pt x="345" y="1812"/>
                      </a:lnTo>
                      <a:lnTo>
                        <a:pt x="346" y="1812"/>
                      </a:lnTo>
                      <a:lnTo>
                        <a:pt x="348" y="1811"/>
                      </a:lnTo>
                      <a:lnTo>
                        <a:pt x="348" y="1810"/>
                      </a:lnTo>
                      <a:lnTo>
                        <a:pt x="349" y="1809"/>
                      </a:lnTo>
                      <a:lnTo>
                        <a:pt x="349" y="1809"/>
                      </a:lnTo>
                      <a:lnTo>
                        <a:pt x="350" y="1808"/>
                      </a:lnTo>
                      <a:lnTo>
                        <a:pt x="350" y="1808"/>
                      </a:lnTo>
                      <a:lnTo>
                        <a:pt x="350" y="1807"/>
                      </a:lnTo>
                      <a:lnTo>
                        <a:pt x="351" y="1807"/>
                      </a:lnTo>
                      <a:lnTo>
                        <a:pt x="351" y="1806"/>
                      </a:lnTo>
                      <a:lnTo>
                        <a:pt x="349" y="1806"/>
                      </a:lnTo>
                      <a:lnTo>
                        <a:pt x="349" y="1806"/>
                      </a:lnTo>
                      <a:lnTo>
                        <a:pt x="349" y="1805"/>
                      </a:lnTo>
                      <a:lnTo>
                        <a:pt x="349" y="1805"/>
                      </a:lnTo>
                      <a:lnTo>
                        <a:pt x="349" y="1804"/>
                      </a:lnTo>
                      <a:lnTo>
                        <a:pt x="348" y="1804"/>
                      </a:lnTo>
                      <a:lnTo>
                        <a:pt x="348" y="1803"/>
                      </a:lnTo>
                      <a:lnTo>
                        <a:pt x="349" y="1803"/>
                      </a:lnTo>
                      <a:lnTo>
                        <a:pt x="349" y="1803"/>
                      </a:lnTo>
                      <a:lnTo>
                        <a:pt x="350" y="1803"/>
                      </a:lnTo>
                      <a:lnTo>
                        <a:pt x="351" y="1803"/>
                      </a:lnTo>
                      <a:lnTo>
                        <a:pt x="351" y="1803"/>
                      </a:lnTo>
                      <a:lnTo>
                        <a:pt x="352" y="1803"/>
                      </a:lnTo>
                      <a:lnTo>
                        <a:pt x="352" y="1805"/>
                      </a:lnTo>
                      <a:lnTo>
                        <a:pt x="353" y="1805"/>
                      </a:lnTo>
                      <a:lnTo>
                        <a:pt x="353" y="1804"/>
                      </a:lnTo>
                      <a:lnTo>
                        <a:pt x="354" y="1804"/>
                      </a:lnTo>
                      <a:lnTo>
                        <a:pt x="355" y="1804"/>
                      </a:lnTo>
                      <a:lnTo>
                        <a:pt x="354" y="1804"/>
                      </a:lnTo>
                      <a:lnTo>
                        <a:pt x="354" y="1804"/>
                      </a:lnTo>
                      <a:lnTo>
                        <a:pt x="354" y="1804"/>
                      </a:lnTo>
                      <a:lnTo>
                        <a:pt x="353" y="1803"/>
                      </a:lnTo>
                      <a:lnTo>
                        <a:pt x="353" y="1803"/>
                      </a:lnTo>
                      <a:lnTo>
                        <a:pt x="354" y="1803"/>
                      </a:lnTo>
                      <a:lnTo>
                        <a:pt x="353" y="1803"/>
                      </a:lnTo>
                      <a:lnTo>
                        <a:pt x="353" y="1803"/>
                      </a:lnTo>
                      <a:lnTo>
                        <a:pt x="353" y="1803"/>
                      </a:lnTo>
                      <a:lnTo>
                        <a:pt x="353" y="1803"/>
                      </a:lnTo>
                      <a:lnTo>
                        <a:pt x="352" y="1803"/>
                      </a:lnTo>
                      <a:lnTo>
                        <a:pt x="352" y="1803"/>
                      </a:lnTo>
                      <a:lnTo>
                        <a:pt x="352" y="1802"/>
                      </a:lnTo>
                      <a:lnTo>
                        <a:pt x="351" y="1802"/>
                      </a:lnTo>
                      <a:lnTo>
                        <a:pt x="351" y="1801"/>
                      </a:lnTo>
                      <a:lnTo>
                        <a:pt x="351" y="1801"/>
                      </a:lnTo>
                      <a:lnTo>
                        <a:pt x="349" y="1802"/>
                      </a:lnTo>
                      <a:lnTo>
                        <a:pt x="348" y="1802"/>
                      </a:lnTo>
                      <a:lnTo>
                        <a:pt x="348" y="1801"/>
                      </a:lnTo>
                      <a:lnTo>
                        <a:pt x="347" y="1800"/>
                      </a:lnTo>
                      <a:lnTo>
                        <a:pt x="346" y="1801"/>
                      </a:lnTo>
                      <a:lnTo>
                        <a:pt x="345" y="1801"/>
                      </a:lnTo>
                      <a:lnTo>
                        <a:pt x="345" y="1801"/>
                      </a:lnTo>
                      <a:lnTo>
                        <a:pt x="344" y="1802"/>
                      </a:lnTo>
                      <a:lnTo>
                        <a:pt x="344" y="1802"/>
                      </a:lnTo>
                      <a:lnTo>
                        <a:pt x="343" y="1802"/>
                      </a:lnTo>
                      <a:lnTo>
                        <a:pt x="343" y="1803"/>
                      </a:lnTo>
                      <a:lnTo>
                        <a:pt x="343" y="1803"/>
                      </a:lnTo>
                      <a:lnTo>
                        <a:pt x="342" y="1804"/>
                      </a:lnTo>
                      <a:lnTo>
                        <a:pt x="342" y="1805"/>
                      </a:lnTo>
                      <a:lnTo>
                        <a:pt x="341" y="1805"/>
                      </a:lnTo>
                      <a:lnTo>
                        <a:pt x="341" y="1805"/>
                      </a:lnTo>
                      <a:lnTo>
                        <a:pt x="341" y="1805"/>
                      </a:lnTo>
                      <a:lnTo>
                        <a:pt x="341" y="1807"/>
                      </a:lnTo>
                      <a:lnTo>
                        <a:pt x="340" y="1807"/>
                      </a:lnTo>
                      <a:lnTo>
                        <a:pt x="339" y="1808"/>
                      </a:lnTo>
                      <a:lnTo>
                        <a:pt x="338" y="1808"/>
                      </a:lnTo>
                      <a:lnTo>
                        <a:pt x="339" y="1806"/>
                      </a:lnTo>
                      <a:lnTo>
                        <a:pt x="339" y="1806"/>
                      </a:lnTo>
                      <a:lnTo>
                        <a:pt x="337" y="1805"/>
                      </a:lnTo>
                      <a:lnTo>
                        <a:pt x="337" y="1805"/>
                      </a:lnTo>
                      <a:lnTo>
                        <a:pt x="337" y="1806"/>
                      </a:lnTo>
                      <a:lnTo>
                        <a:pt x="336" y="1806"/>
                      </a:lnTo>
                      <a:lnTo>
                        <a:pt x="336" y="1807"/>
                      </a:lnTo>
                      <a:lnTo>
                        <a:pt x="335" y="1809"/>
                      </a:lnTo>
                      <a:lnTo>
                        <a:pt x="334" y="1809"/>
                      </a:lnTo>
                      <a:lnTo>
                        <a:pt x="333" y="1809"/>
                      </a:lnTo>
                      <a:lnTo>
                        <a:pt x="331" y="1811"/>
                      </a:lnTo>
                      <a:lnTo>
                        <a:pt x="329" y="1811"/>
                      </a:lnTo>
                      <a:lnTo>
                        <a:pt x="329" y="1811"/>
                      </a:lnTo>
                      <a:lnTo>
                        <a:pt x="327" y="1811"/>
                      </a:lnTo>
                      <a:lnTo>
                        <a:pt x="327" y="1811"/>
                      </a:lnTo>
                      <a:lnTo>
                        <a:pt x="327" y="1811"/>
                      </a:lnTo>
                      <a:lnTo>
                        <a:pt x="327" y="1811"/>
                      </a:lnTo>
                      <a:lnTo>
                        <a:pt x="326" y="1811"/>
                      </a:lnTo>
                      <a:lnTo>
                        <a:pt x="325" y="1811"/>
                      </a:lnTo>
                      <a:lnTo>
                        <a:pt x="322" y="1811"/>
                      </a:lnTo>
                      <a:lnTo>
                        <a:pt x="322" y="1811"/>
                      </a:lnTo>
                      <a:lnTo>
                        <a:pt x="321" y="1811"/>
                      </a:lnTo>
                      <a:lnTo>
                        <a:pt x="319" y="1812"/>
                      </a:lnTo>
                      <a:lnTo>
                        <a:pt x="318" y="1812"/>
                      </a:lnTo>
                      <a:lnTo>
                        <a:pt x="318" y="1812"/>
                      </a:lnTo>
                      <a:lnTo>
                        <a:pt x="317" y="1813"/>
                      </a:lnTo>
                      <a:lnTo>
                        <a:pt x="316" y="1813"/>
                      </a:lnTo>
                      <a:lnTo>
                        <a:pt x="316" y="1814"/>
                      </a:lnTo>
                      <a:lnTo>
                        <a:pt x="313" y="1814"/>
                      </a:lnTo>
                      <a:lnTo>
                        <a:pt x="313" y="1814"/>
                      </a:lnTo>
                      <a:lnTo>
                        <a:pt x="310" y="1814"/>
                      </a:lnTo>
                      <a:lnTo>
                        <a:pt x="310" y="1813"/>
                      </a:lnTo>
                      <a:lnTo>
                        <a:pt x="310" y="1813"/>
                      </a:lnTo>
                      <a:lnTo>
                        <a:pt x="309" y="1812"/>
                      </a:lnTo>
                      <a:lnTo>
                        <a:pt x="309" y="1812"/>
                      </a:lnTo>
                      <a:lnTo>
                        <a:pt x="309" y="1811"/>
                      </a:lnTo>
                      <a:lnTo>
                        <a:pt x="309" y="1811"/>
                      </a:lnTo>
                      <a:lnTo>
                        <a:pt x="309" y="1810"/>
                      </a:lnTo>
                      <a:lnTo>
                        <a:pt x="308" y="1810"/>
                      </a:lnTo>
                      <a:lnTo>
                        <a:pt x="308" y="1809"/>
                      </a:lnTo>
                      <a:lnTo>
                        <a:pt x="308" y="1808"/>
                      </a:lnTo>
                      <a:lnTo>
                        <a:pt x="308" y="1807"/>
                      </a:lnTo>
                      <a:lnTo>
                        <a:pt x="308" y="1807"/>
                      </a:lnTo>
                      <a:lnTo>
                        <a:pt x="308" y="1806"/>
                      </a:lnTo>
                      <a:lnTo>
                        <a:pt x="308" y="1805"/>
                      </a:lnTo>
                      <a:lnTo>
                        <a:pt x="308" y="1805"/>
                      </a:lnTo>
                      <a:lnTo>
                        <a:pt x="308" y="1804"/>
                      </a:lnTo>
                      <a:lnTo>
                        <a:pt x="309" y="1803"/>
                      </a:lnTo>
                      <a:lnTo>
                        <a:pt x="310" y="1802"/>
                      </a:lnTo>
                      <a:lnTo>
                        <a:pt x="311" y="1801"/>
                      </a:lnTo>
                      <a:lnTo>
                        <a:pt x="312" y="1799"/>
                      </a:lnTo>
                      <a:lnTo>
                        <a:pt x="313" y="1799"/>
                      </a:lnTo>
                      <a:lnTo>
                        <a:pt x="313" y="1798"/>
                      </a:lnTo>
                      <a:lnTo>
                        <a:pt x="316" y="1797"/>
                      </a:lnTo>
                      <a:lnTo>
                        <a:pt x="316" y="1797"/>
                      </a:lnTo>
                      <a:lnTo>
                        <a:pt x="318" y="1794"/>
                      </a:lnTo>
                      <a:lnTo>
                        <a:pt x="319" y="1793"/>
                      </a:lnTo>
                      <a:lnTo>
                        <a:pt x="319" y="1793"/>
                      </a:lnTo>
                      <a:lnTo>
                        <a:pt x="319" y="1793"/>
                      </a:lnTo>
                      <a:lnTo>
                        <a:pt x="319" y="1792"/>
                      </a:lnTo>
                      <a:lnTo>
                        <a:pt x="320" y="1792"/>
                      </a:lnTo>
                      <a:lnTo>
                        <a:pt x="320" y="1790"/>
                      </a:lnTo>
                      <a:lnTo>
                        <a:pt x="320" y="1790"/>
                      </a:lnTo>
                      <a:lnTo>
                        <a:pt x="320" y="1789"/>
                      </a:lnTo>
                      <a:lnTo>
                        <a:pt x="321" y="1789"/>
                      </a:lnTo>
                      <a:lnTo>
                        <a:pt x="321" y="1787"/>
                      </a:lnTo>
                      <a:lnTo>
                        <a:pt x="321" y="1787"/>
                      </a:lnTo>
                      <a:lnTo>
                        <a:pt x="322" y="1787"/>
                      </a:lnTo>
                      <a:lnTo>
                        <a:pt x="322" y="1786"/>
                      </a:lnTo>
                      <a:lnTo>
                        <a:pt x="322" y="1785"/>
                      </a:lnTo>
                      <a:lnTo>
                        <a:pt x="322" y="1785"/>
                      </a:lnTo>
                      <a:lnTo>
                        <a:pt x="322" y="1784"/>
                      </a:lnTo>
                      <a:lnTo>
                        <a:pt x="321" y="1784"/>
                      </a:lnTo>
                      <a:lnTo>
                        <a:pt x="321" y="1783"/>
                      </a:lnTo>
                      <a:lnTo>
                        <a:pt x="322" y="1783"/>
                      </a:lnTo>
                      <a:lnTo>
                        <a:pt x="324" y="1783"/>
                      </a:lnTo>
                      <a:lnTo>
                        <a:pt x="324" y="1783"/>
                      </a:lnTo>
                      <a:lnTo>
                        <a:pt x="325" y="1781"/>
                      </a:lnTo>
                      <a:lnTo>
                        <a:pt x="325" y="1779"/>
                      </a:lnTo>
                      <a:lnTo>
                        <a:pt x="326" y="1779"/>
                      </a:lnTo>
                      <a:lnTo>
                        <a:pt x="326" y="1779"/>
                      </a:lnTo>
                      <a:lnTo>
                        <a:pt x="326" y="1778"/>
                      </a:lnTo>
                      <a:lnTo>
                        <a:pt x="327" y="1778"/>
                      </a:lnTo>
                      <a:lnTo>
                        <a:pt x="332" y="1778"/>
                      </a:lnTo>
                      <a:lnTo>
                        <a:pt x="332" y="1779"/>
                      </a:lnTo>
                      <a:lnTo>
                        <a:pt x="333" y="1779"/>
                      </a:lnTo>
                      <a:lnTo>
                        <a:pt x="334" y="1779"/>
                      </a:lnTo>
                      <a:lnTo>
                        <a:pt x="336" y="1780"/>
                      </a:lnTo>
                      <a:lnTo>
                        <a:pt x="337" y="1779"/>
                      </a:lnTo>
                      <a:lnTo>
                        <a:pt x="339" y="1779"/>
                      </a:lnTo>
                      <a:lnTo>
                        <a:pt x="340" y="1778"/>
                      </a:lnTo>
                      <a:lnTo>
                        <a:pt x="341" y="1777"/>
                      </a:lnTo>
                      <a:lnTo>
                        <a:pt x="341" y="1776"/>
                      </a:lnTo>
                      <a:lnTo>
                        <a:pt x="342" y="1776"/>
                      </a:lnTo>
                      <a:lnTo>
                        <a:pt x="342" y="1775"/>
                      </a:lnTo>
                      <a:lnTo>
                        <a:pt x="343" y="1775"/>
                      </a:lnTo>
                      <a:lnTo>
                        <a:pt x="343" y="1774"/>
                      </a:lnTo>
                      <a:lnTo>
                        <a:pt x="345" y="1773"/>
                      </a:lnTo>
                      <a:lnTo>
                        <a:pt x="345" y="1772"/>
                      </a:lnTo>
                      <a:lnTo>
                        <a:pt x="347" y="1772"/>
                      </a:lnTo>
                      <a:lnTo>
                        <a:pt x="348" y="1772"/>
                      </a:lnTo>
                      <a:lnTo>
                        <a:pt x="348" y="1772"/>
                      </a:lnTo>
                      <a:lnTo>
                        <a:pt x="348" y="1771"/>
                      </a:lnTo>
                      <a:lnTo>
                        <a:pt x="349" y="1771"/>
                      </a:lnTo>
                      <a:lnTo>
                        <a:pt x="349" y="1770"/>
                      </a:lnTo>
                      <a:lnTo>
                        <a:pt x="349" y="1770"/>
                      </a:lnTo>
                      <a:lnTo>
                        <a:pt x="349" y="1769"/>
                      </a:lnTo>
                      <a:lnTo>
                        <a:pt x="349" y="1769"/>
                      </a:lnTo>
                      <a:lnTo>
                        <a:pt x="349" y="1768"/>
                      </a:lnTo>
                      <a:lnTo>
                        <a:pt x="351" y="1768"/>
                      </a:lnTo>
                      <a:lnTo>
                        <a:pt x="351" y="1768"/>
                      </a:lnTo>
                      <a:lnTo>
                        <a:pt x="351" y="1767"/>
                      </a:lnTo>
                      <a:lnTo>
                        <a:pt x="352" y="1767"/>
                      </a:lnTo>
                      <a:lnTo>
                        <a:pt x="352" y="1766"/>
                      </a:lnTo>
                      <a:lnTo>
                        <a:pt x="352" y="1764"/>
                      </a:lnTo>
                      <a:lnTo>
                        <a:pt x="352" y="1763"/>
                      </a:lnTo>
                      <a:lnTo>
                        <a:pt x="351" y="1763"/>
                      </a:lnTo>
                      <a:lnTo>
                        <a:pt x="351" y="1763"/>
                      </a:lnTo>
                      <a:lnTo>
                        <a:pt x="350" y="1762"/>
                      </a:lnTo>
                      <a:lnTo>
                        <a:pt x="350" y="1762"/>
                      </a:lnTo>
                      <a:lnTo>
                        <a:pt x="351" y="1762"/>
                      </a:lnTo>
                      <a:lnTo>
                        <a:pt x="350" y="1760"/>
                      </a:lnTo>
                      <a:lnTo>
                        <a:pt x="350" y="1760"/>
                      </a:lnTo>
                      <a:lnTo>
                        <a:pt x="349" y="1760"/>
                      </a:lnTo>
                      <a:lnTo>
                        <a:pt x="348" y="1761"/>
                      </a:lnTo>
                      <a:lnTo>
                        <a:pt x="348" y="1761"/>
                      </a:lnTo>
                      <a:lnTo>
                        <a:pt x="347" y="1763"/>
                      </a:lnTo>
                      <a:lnTo>
                        <a:pt x="345" y="1764"/>
                      </a:lnTo>
                      <a:lnTo>
                        <a:pt x="345" y="1764"/>
                      </a:lnTo>
                      <a:lnTo>
                        <a:pt x="345" y="1764"/>
                      </a:lnTo>
                      <a:lnTo>
                        <a:pt x="345" y="1765"/>
                      </a:lnTo>
                      <a:lnTo>
                        <a:pt x="343" y="1765"/>
                      </a:lnTo>
                      <a:lnTo>
                        <a:pt x="343" y="1765"/>
                      </a:lnTo>
                      <a:lnTo>
                        <a:pt x="341" y="1765"/>
                      </a:lnTo>
                      <a:lnTo>
                        <a:pt x="341" y="1765"/>
                      </a:lnTo>
                      <a:lnTo>
                        <a:pt x="340" y="1765"/>
                      </a:lnTo>
                      <a:lnTo>
                        <a:pt x="339" y="1766"/>
                      </a:lnTo>
                      <a:lnTo>
                        <a:pt x="339" y="1766"/>
                      </a:lnTo>
                      <a:lnTo>
                        <a:pt x="339" y="1766"/>
                      </a:lnTo>
                      <a:lnTo>
                        <a:pt x="337" y="1767"/>
                      </a:lnTo>
                      <a:lnTo>
                        <a:pt x="337" y="1767"/>
                      </a:lnTo>
                      <a:lnTo>
                        <a:pt x="336" y="1767"/>
                      </a:lnTo>
                      <a:lnTo>
                        <a:pt x="335" y="1767"/>
                      </a:lnTo>
                      <a:lnTo>
                        <a:pt x="335" y="1768"/>
                      </a:lnTo>
                      <a:lnTo>
                        <a:pt x="334" y="1768"/>
                      </a:lnTo>
                      <a:lnTo>
                        <a:pt x="333" y="1768"/>
                      </a:lnTo>
                      <a:lnTo>
                        <a:pt x="332" y="1768"/>
                      </a:lnTo>
                      <a:lnTo>
                        <a:pt x="332" y="1768"/>
                      </a:lnTo>
                      <a:lnTo>
                        <a:pt x="330" y="1768"/>
                      </a:lnTo>
                      <a:lnTo>
                        <a:pt x="330" y="1768"/>
                      </a:lnTo>
                      <a:lnTo>
                        <a:pt x="330" y="1769"/>
                      </a:lnTo>
                      <a:lnTo>
                        <a:pt x="329" y="1769"/>
                      </a:lnTo>
                      <a:lnTo>
                        <a:pt x="329" y="1770"/>
                      </a:lnTo>
                      <a:lnTo>
                        <a:pt x="328" y="1770"/>
                      </a:lnTo>
                      <a:lnTo>
                        <a:pt x="327" y="1771"/>
                      </a:lnTo>
                      <a:lnTo>
                        <a:pt x="326" y="1771"/>
                      </a:lnTo>
                      <a:lnTo>
                        <a:pt x="326" y="1770"/>
                      </a:lnTo>
                      <a:lnTo>
                        <a:pt x="326" y="1770"/>
                      </a:lnTo>
                      <a:lnTo>
                        <a:pt x="325" y="1769"/>
                      </a:lnTo>
                      <a:lnTo>
                        <a:pt x="325" y="1769"/>
                      </a:lnTo>
                      <a:lnTo>
                        <a:pt x="325" y="1770"/>
                      </a:lnTo>
                      <a:lnTo>
                        <a:pt x="325" y="1770"/>
                      </a:lnTo>
                      <a:lnTo>
                        <a:pt x="324" y="1770"/>
                      </a:lnTo>
                      <a:lnTo>
                        <a:pt x="324" y="1769"/>
                      </a:lnTo>
                      <a:lnTo>
                        <a:pt x="324" y="1769"/>
                      </a:lnTo>
                      <a:lnTo>
                        <a:pt x="324" y="1769"/>
                      </a:lnTo>
                      <a:lnTo>
                        <a:pt x="324" y="1768"/>
                      </a:lnTo>
                      <a:lnTo>
                        <a:pt x="322" y="1768"/>
                      </a:lnTo>
                      <a:lnTo>
                        <a:pt x="322" y="1768"/>
                      </a:lnTo>
                      <a:lnTo>
                        <a:pt x="322" y="1768"/>
                      </a:lnTo>
                      <a:lnTo>
                        <a:pt x="321" y="1768"/>
                      </a:lnTo>
                      <a:lnTo>
                        <a:pt x="321" y="1768"/>
                      </a:lnTo>
                      <a:lnTo>
                        <a:pt x="320" y="1768"/>
                      </a:lnTo>
                      <a:lnTo>
                        <a:pt x="320" y="1768"/>
                      </a:lnTo>
                      <a:lnTo>
                        <a:pt x="320" y="1767"/>
                      </a:lnTo>
                      <a:lnTo>
                        <a:pt x="319" y="1767"/>
                      </a:lnTo>
                      <a:lnTo>
                        <a:pt x="319" y="1767"/>
                      </a:lnTo>
                      <a:lnTo>
                        <a:pt x="319" y="1767"/>
                      </a:lnTo>
                      <a:lnTo>
                        <a:pt x="319" y="1768"/>
                      </a:lnTo>
                      <a:lnTo>
                        <a:pt x="320" y="1768"/>
                      </a:lnTo>
                      <a:lnTo>
                        <a:pt x="320" y="1769"/>
                      </a:lnTo>
                      <a:lnTo>
                        <a:pt x="320" y="1769"/>
                      </a:lnTo>
                      <a:lnTo>
                        <a:pt x="320" y="1769"/>
                      </a:lnTo>
                      <a:lnTo>
                        <a:pt x="321" y="1769"/>
                      </a:lnTo>
                      <a:lnTo>
                        <a:pt x="321" y="1770"/>
                      </a:lnTo>
                      <a:lnTo>
                        <a:pt x="322" y="1770"/>
                      </a:lnTo>
                      <a:lnTo>
                        <a:pt x="322" y="1771"/>
                      </a:lnTo>
                      <a:lnTo>
                        <a:pt x="321" y="1771"/>
                      </a:lnTo>
                      <a:lnTo>
                        <a:pt x="321" y="1772"/>
                      </a:lnTo>
                      <a:lnTo>
                        <a:pt x="320" y="1772"/>
                      </a:lnTo>
                      <a:lnTo>
                        <a:pt x="320" y="1772"/>
                      </a:lnTo>
                      <a:lnTo>
                        <a:pt x="319" y="1772"/>
                      </a:lnTo>
                      <a:lnTo>
                        <a:pt x="319" y="1773"/>
                      </a:lnTo>
                      <a:lnTo>
                        <a:pt x="318" y="1773"/>
                      </a:lnTo>
                      <a:lnTo>
                        <a:pt x="318" y="1774"/>
                      </a:lnTo>
                      <a:lnTo>
                        <a:pt x="318" y="1774"/>
                      </a:lnTo>
                      <a:lnTo>
                        <a:pt x="316" y="1774"/>
                      </a:lnTo>
                      <a:lnTo>
                        <a:pt x="315" y="1774"/>
                      </a:lnTo>
                      <a:lnTo>
                        <a:pt x="315" y="1774"/>
                      </a:lnTo>
                      <a:lnTo>
                        <a:pt x="315" y="1773"/>
                      </a:lnTo>
                      <a:lnTo>
                        <a:pt x="314" y="1773"/>
                      </a:lnTo>
                      <a:lnTo>
                        <a:pt x="314" y="1774"/>
                      </a:lnTo>
                      <a:lnTo>
                        <a:pt x="313" y="1774"/>
                      </a:lnTo>
                      <a:lnTo>
                        <a:pt x="313" y="1773"/>
                      </a:lnTo>
                      <a:lnTo>
                        <a:pt x="312" y="1773"/>
                      </a:lnTo>
                      <a:lnTo>
                        <a:pt x="311" y="1773"/>
                      </a:lnTo>
                      <a:lnTo>
                        <a:pt x="311" y="1774"/>
                      </a:lnTo>
                      <a:lnTo>
                        <a:pt x="311" y="1775"/>
                      </a:lnTo>
                      <a:lnTo>
                        <a:pt x="311" y="1775"/>
                      </a:lnTo>
                      <a:lnTo>
                        <a:pt x="311" y="1775"/>
                      </a:lnTo>
                      <a:lnTo>
                        <a:pt x="309" y="1775"/>
                      </a:lnTo>
                      <a:lnTo>
                        <a:pt x="309" y="1774"/>
                      </a:lnTo>
                      <a:lnTo>
                        <a:pt x="308" y="1775"/>
                      </a:lnTo>
                      <a:lnTo>
                        <a:pt x="308" y="1774"/>
                      </a:lnTo>
                      <a:lnTo>
                        <a:pt x="308" y="1774"/>
                      </a:lnTo>
                      <a:lnTo>
                        <a:pt x="307" y="1774"/>
                      </a:lnTo>
                      <a:lnTo>
                        <a:pt x="307" y="1772"/>
                      </a:lnTo>
                      <a:lnTo>
                        <a:pt x="308" y="1772"/>
                      </a:lnTo>
                      <a:lnTo>
                        <a:pt x="308" y="1772"/>
                      </a:lnTo>
                      <a:lnTo>
                        <a:pt x="307" y="1771"/>
                      </a:lnTo>
                      <a:lnTo>
                        <a:pt x="306" y="1771"/>
                      </a:lnTo>
                      <a:lnTo>
                        <a:pt x="306" y="1771"/>
                      </a:lnTo>
                      <a:lnTo>
                        <a:pt x="306" y="1772"/>
                      </a:lnTo>
                      <a:lnTo>
                        <a:pt x="306" y="1772"/>
                      </a:lnTo>
                      <a:lnTo>
                        <a:pt x="305" y="1771"/>
                      </a:lnTo>
                      <a:lnTo>
                        <a:pt x="304" y="1771"/>
                      </a:lnTo>
                      <a:lnTo>
                        <a:pt x="305" y="1772"/>
                      </a:lnTo>
                      <a:lnTo>
                        <a:pt x="305" y="1772"/>
                      </a:lnTo>
                      <a:lnTo>
                        <a:pt x="305" y="1773"/>
                      </a:lnTo>
                      <a:lnTo>
                        <a:pt x="305" y="1772"/>
                      </a:lnTo>
                      <a:lnTo>
                        <a:pt x="304" y="1773"/>
                      </a:lnTo>
                      <a:lnTo>
                        <a:pt x="303" y="1772"/>
                      </a:lnTo>
                      <a:lnTo>
                        <a:pt x="303" y="1772"/>
                      </a:lnTo>
                      <a:lnTo>
                        <a:pt x="302" y="1772"/>
                      </a:lnTo>
                      <a:lnTo>
                        <a:pt x="302" y="1773"/>
                      </a:lnTo>
                      <a:lnTo>
                        <a:pt x="301" y="1773"/>
                      </a:lnTo>
                      <a:lnTo>
                        <a:pt x="301" y="1773"/>
                      </a:lnTo>
                      <a:lnTo>
                        <a:pt x="301" y="1773"/>
                      </a:lnTo>
                      <a:lnTo>
                        <a:pt x="300" y="1773"/>
                      </a:lnTo>
                      <a:lnTo>
                        <a:pt x="300" y="1772"/>
                      </a:lnTo>
                      <a:lnTo>
                        <a:pt x="300" y="1771"/>
                      </a:lnTo>
                      <a:lnTo>
                        <a:pt x="299" y="1771"/>
                      </a:lnTo>
                      <a:lnTo>
                        <a:pt x="299" y="1770"/>
                      </a:lnTo>
                      <a:lnTo>
                        <a:pt x="298" y="1770"/>
                      </a:lnTo>
                      <a:lnTo>
                        <a:pt x="298" y="1770"/>
                      </a:lnTo>
                      <a:lnTo>
                        <a:pt x="297" y="1770"/>
                      </a:lnTo>
                      <a:lnTo>
                        <a:pt x="296" y="1769"/>
                      </a:lnTo>
                      <a:lnTo>
                        <a:pt x="296" y="1769"/>
                      </a:lnTo>
                      <a:lnTo>
                        <a:pt x="295" y="1769"/>
                      </a:lnTo>
                      <a:lnTo>
                        <a:pt x="295" y="1768"/>
                      </a:lnTo>
                      <a:lnTo>
                        <a:pt x="296" y="1768"/>
                      </a:lnTo>
                      <a:lnTo>
                        <a:pt x="296" y="1767"/>
                      </a:lnTo>
                      <a:lnTo>
                        <a:pt x="297" y="1767"/>
                      </a:lnTo>
                      <a:lnTo>
                        <a:pt x="297" y="1766"/>
                      </a:lnTo>
                      <a:lnTo>
                        <a:pt x="296" y="1767"/>
                      </a:lnTo>
                      <a:lnTo>
                        <a:pt x="296" y="1767"/>
                      </a:lnTo>
                      <a:lnTo>
                        <a:pt x="295" y="1767"/>
                      </a:lnTo>
                      <a:lnTo>
                        <a:pt x="295" y="1768"/>
                      </a:lnTo>
                      <a:lnTo>
                        <a:pt x="295" y="1769"/>
                      </a:lnTo>
                      <a:lnTo>
                        <a:pt x="295" y="1769"/>
                      </a:lnTo>
                      <a:lnTo>
                        <a:pt x="295" y="1769"/>
                      </a:lnTo>
                      <a:lnTo>
                        <a:pt x="294" y="1769"/>
                      </a:lnTo>
                      <a:lnTo>
                        <a:pt x="294" y="1770"/>
                      </a:lnTo>
                      <a:lnTo>
                        <a:pt x="294" y="1770"/>
                      </a:lnTo>
                      <a:lnTo>
                        <a:pt x="294" y="1771"/>
                      </a:lnTo>
                      <a:lnTo>
                        <a:pt x="293" y="1771"/>
                      </a:lnTo>
                      <a:lnTo>
                        <a:pt x="293" y="1769"/>
                      </a:lnTo>
                      <a:lnTo>
                        <a:pt x="293" y="1769"/>
                      </a:lnTo>
                      <a:lnTo>
                        <a:pt x="293" y="1767"/>
                      </a:lnTo>
                      <a:lnTo>
                        <a:pt x="292" y="1767"/>
                      </a:lnTo>
                      <a:lnTo>
                        <a:pt x="291" y="1768"/>
                      </a:lnTo>
                      <a:lnTo>
                        <a:pt x="291" y="1768"/>
                      </a:lnTo>
                      <a:lnTo>
                        <a:pt x="290" y="1769"/>
                      </a:lnTo>
                      <a:lnTo>
                        <a:pt x="290" y="1769"/>
                      </a:lnTo>
                      <a:lnTo>
                        <a:pt x="290" y="1768"/>
                      </a:lnTo>
                      <a:lnTo>
                        <a:pt x="290" y="1768"/>
                      </a:lnTo>
                      <a:lnTo>
                        <a:pt x="289" y="1768"/>
                      </a:lnTo>
                      <a:lnTo>
                        <a:pt x="289" y="1768"/>
                      </a:lnTo>
                      <a:lnTo>
                        <a:pt x="289" y="1768"/>
                      </a:lnTo>
                      <a:lnTo>
                        <a:pt x="289" y="1769"/>
                      </a:lnTo>
                      <a:lnTo>
                        <a:pt x="289" y="1769"/>
                      </a:lnTo>
                      <a:lnTo>
                        <a:pt x="288" y="1768"/>
                      </a:lnTo>
                      <a:lnTo>
                        <a:pt x="288" y="1768"/>
                      </a:lnTo>
                      <a:lnTo>
                        <a:pt x="287" y="1768"/>
                      </a:lnTo>
                      <a:lnTo>
                        <a:pt x="288" y="1766"/>
                      </a:lnTo>
                      <a:lnTo>
                        <a:pt x="287" y="1766"/>
                      </a:lnTo>
                      <a:lnTo>
                        <a:pt x="287" y="1765"/>
                      </a:lnTo>
                      <a:lnTo>
                        <a:pt x="287" y="1765"/>
                      </a:lnTo>
                      <a:lnTo>
                        <a:pt x="287" y="1764"/>
                      </a:lnTo>
                      <a:lnTo>
                        <a:pt x="287" y="1764"/>
                      </a:lnTo>
                      <a:lnTo>
                        <a:pt x="288" y="1763"/>
                      </a:lnTo>
                      <a:lnTo>
                        <a:pt x="288" y="1763"/>
                      </a:lnTo>
                      <a:lnTo>
                        <a:pt x="287" y="1762"/>
                      </a:lnTo>
                      <a:lnTo>
                        <a:pt x="287" y="1762"/>
                      </a:lnTo>
                      <a:lnTo>
                        <a:pt x="287" y="1761"/>
                      </a:lnTo>
                      <a:lnTo>
                        <a:pt x="287" y="1761"/>
                      </a:lnTo>
                      <a:lnTo>
                        <a:pt x="288" y="1761"/>
                      </a:lnTo>
                      <a:lnTo>
                        <a:pt x="288" y="1761"/>
                      </a:lnTo>
                      <a:lnTo>
                        <a:pt x="288" y="1761"/>
                      </a:lnTo>
                      <a:lnTo>
                        <a:pt x="289" y="1763"/>
                      </a:lnTo>
                      <a:lnTo>
                        <a:pt x="289" y="1763"/>
                      </a:lnTo>
                      <a:lnTo>
                        <a:pt x="288" y="1763"/>
                      </a:lnTo>
                      <a:lnTo>
                        <a:pt x="289" y="1764"/>
                      </a:lnTo>
                      <a:lnTo>
                        <a:pt x="289" y="1763"/>
                      </a:lnTo>
                      <a:lnTo>
                        <a:pt x="289" y="1763"/>
                      </a:lnTo>
                      <a:lnTo>
                        <a:pt x="289" y="1762"/>
                      </a:lnTo>
                      <a:lnTo>
                        <a:pt x="289" y="1762"/>
                      </a:lnTo>
                      <a:lnTo>
                        <a:pt x="290" y="1762"/>
                      </a:lnTo>
                      <a:lnTo>
                        <a:pt x="290" y="1761"/>
                      </a:lnTo>
                      <a:lnTo>
                        <a:pt x="292" y="1762"/>
                      </a:lnTo>
                      <a:lnTo>
                        <a:pt x="292" y="1761"/>
                      </a:lnTo>
                      <a:lnTo>
                        <a:pt x="293" y="1761"/>
                      </a:lnTo>
                      <a:lnTo>
                        <a:pt x="293" y="1762"/>
                      </a:lnTo>
                      <a:lnTo>
                        <a:pt x="294" y="1762"/>
                      </a:lnTo>
                      <a:lnTo>
                        <a:pt x="294" y="1763"/>
                      </a:lnTo>
                      <a:lnTo>
                        <a:pt x="294" y="1763"/>
                      </a:lnTo>
                      <a:lnTo>
                        <a:pt x="294" y="1764"/>
                      </a:lnTo>
                      <a:lnTo>
                        <a:pt x="295" y="1764"/>
                      </a:lnTo>
                      <a:lnTo>
                        <a:pt x="295" y="1763"/>
                      </a:lnTo>
                      <a:lnTo>
                        <a:pt x="295" y="1763"/>
                      </a:lnTo>
                      <a:lnTo>
                        <a:pt x="296" y="1762"/>
                      </a:lnTo>
                      <a:lnTo>
                        <a:pt x="296" y="1762"/>
                      </a:lnTo>
                      <a:lnTo>
                        <a:pt x="297" y="1763"/>
                      </a:lnTo>
                      <a:lnTo>
                        <a:pt x="297" y="1763"/>
                      </a:lnTo>
                      <a:lnTo>
                        <a:pt x="298" y="1762"/>
                      </a:lnTo>
                      <a:lnTo>
                        <a:pt x="298" y="1763"/>
                      </a:lnTo>
                      <a:lnTo>
                        <a:pt x="299" y="1763"/>
                      </a:lnTo>
                      <a:lnTo>
                        <a:pt x="299" y="1762"/>
                      </a:lnTo>
                      <a:lnTo>
                        <a:pt x="299" y="1762"/>
                      </a:lnTo>
                      <a:lnTo>
                        <a:pt x="301" y="1761"/>
                      </a:lnTo>
                      <a:lnTo>
                        <a:pt x="301" y="1762"/>
                      </a:lnTo>
                      <a:lnTo>
                        <a:pt x="303" y="1763"/>
                      </a:lnTo>
                      <a:lnTo>
                        <a:pt x="303" y="1762"/>
                      </a:lnTo>
                      <a:lnTo>
                        <a:pt x="303" y="1760"/>
                      </a:lnTo>
                      <a:lnTo>
                        <a:pt x="304" y="1760"/>
                      </a:lnTo>
                      <a:lnTo>
                        <a:pt x="304" y="1760"/>
                      </a:lnTo>
                      <a:lnTo>
                        <a:pt x="305" y="1760"/>
                      </a:lnTo>
                      <a:lnTo>
                        <a:pt x="307" y="1762"/>
                      </a:lnTo>
                      <a:lnTo>
                        <a:pt x="307" y="1762"/>
                      </a:lnTo>
                      <a:lnTo>
                        <a:pt x="308" y="1762"/>
                      </a:lnTo>
                      <a:lnTo>
                        <a:pt x="308" y="1763"/>
                      </a:lnTo>
                      <a:lnTo>
                        <a:pt x="309" y="1763"/>
                      </a:lnTo>
                      <a:lnTo>
                        <a:pt x="309" y="1763"/>
                      </a:lnTo>
                      <a:lnTo>
                        <a:pt x="310" y="1763"/>
                      </a:lnTo>
                      <a:lnTo>
                        <a:pt x="310" y="1763"/>
                      </a:lnTo>
                      <a:lnTo>
                        <a:pt x="311" y="1764"/>
                      </a:lnTo>
                      <a:lnTo>
                        <a:pt x="311" y="1765"/>
                      </a:lnTo>
                      <a:lnTo>
                        <a:pt x="311" y="1765"/>
                      </a:lnTo>
                      <a:lnTo>
                        <a:pt x="311" y="1765"/>
                      </a:lnTo>
                      <a:lnTo>
                        <a:pt x="312" y="1766"/>
                      </a:lnTo>
                      <a:lnTo>
                        <a:pt x="313" y="1766"/>
                      </a:lnTo>
                      <a:lnTo>
                        <a:pt x="313" y="1766"/>
                      </a:lnTo>
                      <a:lnTo>
                        <a:pt x="313" y="1766"/>
                      </a:lnTo>
                      <a:lnTo>
                        <a:pt x="314" y="1767"/>
                      </a:lnTo>
                      <a:lnTo>
                        <a:pt x="314" y="1765"/>
                      </a:lnTo>
                      <a:lnTo>
                        <a:pt x="316" y="1765"/>
                      </a:lnTo>
                      <a:lnTo>
                        <a:pt x="317" y="1766"/>
                      </a:lnTo>
                      <a:lnTo>
                        <a:pt x="317" y="1767"/>
                      </a:lnTo>
                      <a:lnTo>
                        <a:pt x="317" y="1767"/>
                      </a:lnTo>
                      <a:lnTo>
                        <a:pt x="317" y="1767"/>
                      </a:lnTo>
                      <a:lnTo>
                        <a:pt x="317" y="1767"/>
                      </a:lnTo>
                      <a:lnTo>
                        <a:pt x="318" y="1767"/>
                      </a:lnTo>
                      <a:lnTo>
                        <a:pt x="318" y="1767"/>
                      </a:lnTo>
                      <a:lnTo>
                        <a:pt x="318" y="1766"/>
                      </a:lnTo>
                      <a:lnTo>
                        <a:pt x="317" y="1766"/>
                      </a:lnTo>
                      <a:lnTo>
                        <a:pt x="316" y="1766"/>
                      </a:lnTo>
                      <a:lnTo>
                        <a:pt x="316" y="1765"/>
                      </a:lnTo>
                      <a:lnTo>
                        <a:pt x="317" y="1765"/>
                      </a:lnTo>
                      <a:lnTo>
                        <a:pt x="316" y="1764"/>
                      </a:lnTo>
                      <a:lnTo>
                        <a:pt x="318" y="1765"/>
                      </a:lnTo>
                      <a:lnTo>
                        <a:pt x="319" y="1766"/>
                      </a:lnTo>
                      <a:lnTo>
                        <a:pt x="319" y="1766"/>
                      </a:lnTo>
                      <a:lnTo>
                        <a:pt x="320" y="1766"/>
                      </a:lnTo>
                      <a:lnTo>
                        <a:pt x="320" y="1766"/>
                      </a:lnTo>
                      <a:lnTo>
                        <a:pt x="321" y="1765"/>
                      </a:lnTo>
                      <a:lnTo>
                        <a:pt x="322" y="1765"/>
                      </a:lnTo>
                      <a:lnTo>
                        <a:pt x="322" y="1764"/>
                      </a:lnTo>
                      <a:lnTo>
                        <a:pt x="322" y="1764"/>
                      </a:lnTo>
                      <a:lnTo>
                        <a:pt x="322" y="1764"/>
                      </a:lnTo>
                      <a:lnTo>
                        <a:pt x="322" y="1763"/>
                      </a:lnTo>
                      <a:lnTo>
                        <a:pt x="321" y="1764"/>
                      </a:lnTo>
                      <a:lnTo>
                        <a:pt x="321" y="1763"/>
                      </a:lnTo>
                      <a:lnTo>
                        <a:pt x="321" y="1763"/>
                      </a:lnTo>
                      <a:lnTo>
                        <a:pt x="320" y="1762"/>
                      </a:lnTo>
                      <a:lnTo>
                        <a:pt x="320" y="1762"/>
                      </a:lnTo>
                      <a:lnTo>
                        <a:pt x="320" y="1761"/>
                      </a:lnTo>
                      <a:lnTo>
                        <a:pt x="320" y="1761"/>
                      </a:lnTo>
                      <a:lnTo>
                        <a:pt x="320" y="1761"/>
                      </a:lnTo>
                      <a:lnTo>
                        <a:pt x="320" y="1761"/>
                      </a:lnTo>
                      <a:lnTo>
                        <a:pt x="319" y="1760"/>
                      </a:lnTo>
                      <a:lnTo>
                        <a:pt x="317" y="1760"/>
                      </a:lnTo>
                      <a:lnTo>
                        <a:pt x="317" y="1759"/>
                      </a:lnTo>
                      <a:lnTo>
                        <a:pt x="316" y="1759"/>
                      </a:lnTo>
                      <a:lnTo>
                        <a:pt x="315" y="1759"/>
                      </a:lnTo>
                      <a:lnTo>
                        <a:pt x="315" y="1759"/>
                      </a:lnTo>
                      <a:lnTo>
                        <a:pt x="314" y="1758"/>
                      </a:lnTo>
                      <a:lnTo>
                        <a:pt x="314" y="1756"/>
                      </a:lnTo>
                      <a:lnTo>
                        <a:pt x="314" y="1756"/>
                      </a:lnTo>
                      <a:lnTo>
                        <a:pt x="313" y="1756"/>
                      </a:lnTo>
                      <a:lnTo>
                        <a:pt x="313" y="1756"/>
                      </a:lnTo>
                      <a:lnTo>
                        <a:pt x="313" y="1756"/>
                      </a:lnTo>
                      <a:lnTo>
                        <a:pt x="313" y="1756"/>
                      </a:lnTo>
                      <a:lnTo>
                        <a:pt x="312" y="1756"/>
                      </a:lnTo>
                      <a:lnTo>
                        <a:pt x="312" y="1756"/>
                      </a:lnTo>
                      <a:lnTo>
                        <a:pt x="311" y="1755"/>
                      </a:lnTo>
                      <a:lnTo>
                        <a:pt x="311" y="1754"/>
                      </a:lnTo>
                      <a:lnTo>
                        <a:pt x="311" y="1754"/>
                      </a:lnTo>
                      <a:lnTo>
                        <a:pt x="310" y="1754"/>
                      </a:lnTo>
                      <a:lnTo>
                        <a:pt x="310" y="1754"/>
                      </a:lnTo>
                      <a:lnTo>
                        <a:pt x="309" y="1754"/>
                      </a:lnTo>
                      <a:lnTo>
                        <a:pt x="310" y="1754"/>
                      </a:lnTo>
                      <a:lnTo>
                        <a:pt x="309" y="1753"/>
                      </a:lnTo>
                      <a:lnTo>
                        <a:pt x="309" y="1753"/>
                      </a:lnTo>
                      <a:lnTo>
                        <a:pt x="308" y="1753"/>
                      </a:lnTo>
                      <a:lnTo>
                        <a:pt x="308" y="1752"/>
                      </a:lnTo>
                      <a:lnTo>
                        <a:pt x="307" y="1753"/>
                      </a:lnTo>
                      <a:lnTo>
                        <a:pt x="307" y="1752"/>
                      </a:lnTo>
                      <a:lnTo>
                        <a:pt x="307" y="1751"/>
                      </a:lnTo>
                      <a:lnTo>
                        <a:pt x="305" y="1751"/>
                      </a:lnTo>
                      <a:lnTo>
                        <a:pt x="304" y="1750"/>
                      </a:lnTo>
                      <a:lnTo>
                        <a:pt x="304" y="1749"/>
                      </a:lnTo>
                      <a:lnTo>
                        <a:pt x="303" y="1749"/>
                      </a:lnTo>
                      <a:lnTo>
                        <a:pt x="303" y="1749"/>
                      </a:lnTo>
                      <a:lnTo>
                        <a:pt x="302" y="1749"/>
                      </a:lnTo>
                      <a:lnTo>
                        <a:pt x="302" y="1749"/>
                      </a:lnTo>
                      <a:lnTo>
                        <a:pt x="301" y="1749"/>
                      </a:lnTo>
                      <a:lnTo>
                        <a:pt x="301" y="1750"/>
                      </a:lnTo>
                      <a:lnTo>
                        <a:pt x="299" y="1750"/>
                      </a:lnTo>
                      <a:lnTo>
                        <a:pt x="299" y="1750"/>
                      </a:lnTo>
                      <a:lnTo>
                        <a:pt x="298" y="1750"/>
                      </a:lnTo>
                      <a:lnTo>
                        <a:pt x="297" y="1750"/>
                      </a:lnTo>
                      <a:lnTo>
                        <a:pt x="297" y="1750"/>
                      </a:lnTo>
                      <a:lnTo>
                        <a:pt x="296" y="1751"/>
                      </a:lnTo>
                      <a:lnTo>
                        <a:pt x="295" y="1751"/>
                      </a:lnTo>
                      <a:lnTo>
                        <a:pt x="294" y="1751"/>
                      </a:lnTo>
                      <a:lnTo>
                        <a:pt x="294" y="1751"/>
                      </a:lnTo>
                      <a:lnTo>
                        <a:pt x="293" y="1751"/>
                      </a:lnTo>
                      <a:lnTo>
                        <a:pt x="293" y="1751"/>
                      </a:lnTo>
                      <a:lnTo>
                        <a:pt x="292" y="1751"/>
                      </a:lnTo>
                      <a:lnTo>
                        <a:pt x="290" y="1751"/>
                      </a:lnTo>
                      <a:lnTo>
                        <a:pt x="291" y="1750"/>
                      </a:lnTo>
                      <a:lnTo>
                        <a:pt x="290" y="1749"/>
                      </a:lnTo>
                      <a:lnTo>
                        <a:pt x="290" y="1749"/>
                      </a:lnTo>
                      <a:lnTo>
                        <a:pt x="290" y="1749"/>
                      </a:lnTo>
                      <a:lnTo>
                        <a:pt x="287" y="1749"/>
                      </a:lnTo>
                      <a:lnTo>
                        <a:pt x="287" y="1749"/>
                      </a:lnTo>
                      <a:lnTo>
                        <a:pt x="286" y="1749"/>
                      </a:lnTo>
                      <a:lnTo>
                        <a:pt x="286" y="1748"/>
                      </a:lnTo>
                      <a:lnTo>
                        <a:pt x="286" y="1748"/>
                      </a:lnTo>
                      <a:lnTo>
                        <a:pt x="284" y="1748"/>
                      </a:lnTo>
                      <a:lnTo>
                        <a:pt x="283" y="1747"/>
                      </a:lnTo>
                      <a:lnTo>
                        <a:pt x="283" y="1748"/>
                      </a:lnTo>
                      <a:lnTo>
                        <a:pt x="281" y="1748"/>
                      </a:lnTo>
                      <a:lnTo>
                        <a:pt x="281" y="1747"/>
                      </a:lnTo>
                      <a:lnTo>
                        <a:pt x="281" y="1747"/>
                      </a:lnTo>
                      <a:lnTo>
                        <a:pt x="280" y="1746"/>
                      </a:lnTo>
                      <a:lnTo>
                        <a:pt x="280" y="1743"/>
                      </a:lnTo>
                      <a:lnTo>
                        <a:pt x="280" y="1743"/>
                      </a:lnTo>
                      <a:lnTo>
                        <a:pt x="280" y="1742"/>
                      </a:lnTo>
                      <a:lnTo>
                        <a:pt x="280" y="1742"/>
                      </a:lnTo>
                      <a:lnTo>
                        <a:pt x="280" y="1741"/>
                      </a:lnTo>
                      <a:lnTo>
                        <a:pt x="280" y="1741"/>
                      </a:lnTo>
                      <a:lnTo>
                        <a:pt x="280" y="1740"/>
                      </a:lnTo>
                      <a:lnTo>
                        <a:pt x="281" y="1740"/>
                      </a:lnTo>
                      <a:lnTo>
                        <a:pt x="281" y="1739"/>
                      </a:lnTo>
                      <a:lnTo>
                        <a:pt x="282" y="1739"/>
                      </a:lnTo>
                      <a:lnTo>
                        <a:pt x="282" y="1739"/>
                      </a:lnTo>
                      <a:lnTo>
                        <a:pt x="284" y="1739"/>
                      </a:lnTo>
                      <a:lnTo>
                        <a:pt x="286" y="1738"/>
                      </a:lnTo>
                      <a:lnTo>
                        <a:pt x="286" y="1738"/>
                      </a:lnTo>
                      <a:lnTo>
                        <a:pt x="287" y="1738"/>
                      </a:lnTo>
                      <a:lnTo>
                        <a:pt x="287" y="1738"/>
                      </a:lnTo>
                      <a:lnTo>
                        <a:pt x="288" y="1736"/>
                      </a:lnTo>
                      <a:lnTo>
                        <a:pt x="288" y="1736"/>
                      </a:lnTo>
                      <a:lnTo>
                        <a:pt x="289" y="1736"/>
                      </a:lnTo>
                      <a:lnTo>
                        <a:pt x="289" y="1736"/>
                      </a:lnTo>
                      <a:lnTo>
                        <a:pt x="289" y="1735"/>
                      </a:lnTo>
                      <a:lnTo>
                        <a:pt x="290" y="1734"/>
                      </a:lnTo>
                      <a:lnTo>
                        <a:pt x="290" y="1733"/>
                      </a:lnTo>
                      <a:lnTo>
                        <a:pt x="291" y="1733"/>
                      </a:lnTo>
                      <a:lnTo>
                        <a:pt x="291" y="1732"/>
                      </a:lnTo>
                      <a:lnTo>
                        <a:pt x="292" y="1732"/>
                      </a:lnTo>
                      <a:lnTo>
                        <a:pt x="292" y="1731"/>
                      </a:lnTo>
                      <a:lnTo>
                        <a:pt x="293" y="1731"/>
                      </a:lnTo>
                      <a:lnTo>
                        <a:pt x="293" y="1730"/>
                      </a:lnTo>
                      <a:lnTo>
                        <a:pt x="292" y="1730"/>
                      </a:lnTo>
                      <a:lnTo>
                        <a:pt x="291" y="1730"/>
                      </a:lnTo>
                      <a:lnTo>
                        <a:pt x="290" y="1730"/>
                      </a:lnTo>
                      <a:lnTo>
                        <a:pt x="289" y="1731"/>
                      </a:lnTo>
                      <a:lnTo>
                        <a:pt x="289" y="1731"/>
                      </a:lnTo>
                      <a:lnTo>
                        <a:pt x="289" y="1731"/>
                      </a:lnTo>
                      <a:lnTo>
                        <a:pt x="288" y="1732"/>
                      </a:lnTo>
                      <a:lnTo>
                        <a:pt x="287" y="1732"/>
                      </a:lnTo>
                      <a:lnTo>
                        <a:pt x="286" y="1731"/>
                      </a:lnTo>
                      <a:lnTo>
                        <a:pt x="286" y="1731"/>
                      </a:lnTo>
                      <a:lnTo>
                        <a:pt x="286" y="1731"/>
                      </a:lnTo>
                      <a:lnTo>
                        <a:pt x="286" y="1730"/>
                      </a:lnTo>
                      <a:lnTo>
                        <a:pt x="286" y="1727"/>
                      </a:lnTo>
                      <a:lnTo>
                        <a:pt x="286" y="1727"/>
                      </a:lnTo>
                      <a:lnTo>
                        <a:pt x="284" y="1726"/>
                      </a:lnTo>
                      <a:lnTo>
                        <a:pt x="284" y="1726"/>
                      </a:lnTo>
                      <a:lnTo>
                        <a:pt x="284" y="1725"/>
                      </a:lnTo>
                      <a:lnTo>
                        <a:pt x="284" y="1725"/>
                      </a:lnTo>
                      <a:lnTo>
                        <a:pt x="284" y="1724"/>
                      </a:lnTo>
                      <a:lnTo>
                        <a:pt x="284" y="1723"/>
                      </a:lnTo>
                      <a:lnTo>
                        <a:pt x="283" y="1723"/>
                      </a:lnTo>
                      <a:lnTo>
                        <a:pt x="283" y="1721"/>
                      </a:lnTo>
                      <a:lnTo>
                        <a:pt x="283" y="1721"/>
                      </a:lnTo>
                      <a:lnTo>
                        <a:pt x="283" y="1720"/>
                      </a:lnTo>
                      <a:lnTo>
                        <a:pt x="284" y="1720"/>
                      </a:lnTo>
                      <a:lnTo>
                        <a:pt x="284" y="1721"/>
                      </a:lnTo>
                      <a:lnTo>
                        <a:pt x="284" y="1721"/>
                      </a:lnTo>
                      <a:lnTo>
                        <a:pt x="286" y="1722"/>
                      </a:lnTo>
                      <a:lnTo>
                        <a:pt x="286" y="1722"/>
                      </a:lnTo>
                      <a:lnTo>
                        <a:pt x="287" y="1722"/>
                      </a:lnTo>
                      <a:lnTo>
                        <a:pt x="287" y="1722"/>
                      </a:lnTo>
                      <a:lnTo>
                        <a:pt x="287" y="1721"/>
                      </a:lnTo>
                      <a:lnTo>
                        <a:pt x="288" y="1721"/>
                      </a:lnTo>
                      <a:lnTo>
                        <a:pt x="288" y="1721"/>
                      </a:lnTo>
                      <a:lnTo>
                        <a:pt x="289" y="1721"/>
                      </a:lnTo>
                      <a:lnTo>
                        <a:pt x="290" y="1721"/>
                      </a:lnTo>
                      <a:lnTo>
                        <a:pt x="290" y="1721"/>
                      </a:lnTo>
                      <a:lnTo>
                        <a:pt x="290" y="1720"/>
                      </a:lnTo>
                      <a:lnTo>
                        <a:pt x="290" y="1720"/>
                      </a:lnTo>
                      <a:lnTo>
                        <a:pt x="292" y="1720"/>
                      </a:lnTo>
                      <a:lnTo>
                        <a:pt x="293" y="1720"/>
                      </a:lnTo>
                      <a:lnTo>
                        <a:pt x="293" y="1720"/>
                      </a:lnTo>
                      <a:lnTo>
                        <a:pt x="293" y="1721"/>
                      </a:lnTo>
                      <a:lnTo>
                        <a:pt x="294" y="1721"/>
                      </a:lnTo>
                      <a:lnTo>
                        <a:pt x="294" y="1721"/>
                      </a:lnTo>
                      <a:lnTo>
                        <a:pt x="295" y="1721"/>
                      </a:lnTo>
                      <a:lnTo>
                        <a:pt x="295" y="1721"/>
                      </a:lnTo>
                      <a:lnTo>
                        <a:pt x="296" y="1721"/>
                      </a:lnTo>
                      <a:lnTo>
                        <a:pt x="296" y="1721"/>
                      </a:lnTo>
                      <a:lnTo>
                        <a:pt x="296" y="1720"/>
                      </a:lnTo>
                      <a:lnTo>
                        <a:pt x="297" y="1720"/>
                      </a:lnTo>
                      <a:lnTo>
                        <a:pt x="297" y="1718"/>
                      </a:lnTo>
                      <a:lnTo>
                        <a:pt x="297" y="1717"/>
                      </a:lnTo>
                      <a:lnTo>
                        <a:pt x="297" y="1717"/>
                      </a:lnTo>
                      <a:lnTo>
                        <a:pt x="297" y="1716"/>
                      </a:lnTo>
                      <a:lnTo>
                        <a:pt x="297" y="1717"/>
                      </a:lnTo>
                      <a:lnTo>
                        <a:pt x="298" y="1716"/>
                      </a:lnTo>
                      <a:lnTo>
                        <a:pt x="298" y="1717"/>
                      </a:lnTo>
                      <a:lnTo>
                        <a:pt x="299" y="1717"/>
                      </a:lnTo>
                      <a:lnTo>
                        <a:pt x="299" y="1717"/>
                      </a:lnTo>
                      <a:lnTo>
                        <a:pt x="300" y="1718"/>
                      </a:lnTo>
                      <a:lnTo>
                        <a:pt x="300" y="1718"/>
                      </a:lnTo>
                      <a:lnTo>
                        <a:pt x="301" y="1720"/>
                      </a:lnTo>
                      <a:lnTo>
                        <a:pt x="301" y="1718"/>
                      </a:lnTo>
                      <a:lnTo>
                        <a:pt x="301" y="1718"/>
                      </a:lnTo>
                      <a:lnTo>
                        <a:pt x="302" y="1718"/>
                      </a:lnTo>
                      <a:lnTo>
                        <a:pt x="302" y="1720"/>
                      </a:lnTo>
                      <a:lnTo>
                        <a:pt x="303" y="1720"/>
                      </a:lnTo>
                      <a:lnTo>
                        <a:pt x="303" y="1720"/>
                      </a:lnTo>
                      <a:lnTo>
                        <a:pt x="303" y="1721"/>
                      </a:lnTo>
                      <a:lnTo>
                        <a:pt x="304" y="1721"/>
                      </a:lnTo>
                      <a:lnTo>
                        <a:pt x="304" y="1722"/>
                      </a:lnTo>
                      <a:lnTo>
                        <a:pt x="305" y="1723"/>
                      </a:lnTo>
                      <a:lnTo>
                        <a:pt x="306" y="1723"/>
                      </a:lnTo>
                      <a:lnTo>
                        <a:pt x="306" y="1723"/>
                      </a:lnTo>
                      <a:lnTo>
                        <a:pt x="306" y="1724"/>
                      </a:lnTo>
                      <a:lnTo>
                        <a:pt x="306" y="1722"/>
                      </a:lnTo>
                      <a:lnTo>
                        <a:pt x="306" y="1722"/>
                      </a:lnTo>
                      <a:lnTo>
                        <a:pt x="305" y="1722"/>
                      </a:lnTo>
                      <a:lnTo>
                        <a:pt x="305" y="1721"/>
                      </a:lnTo>
                      <a:lnTo>
                        <a:pt x="305" y="1721"/>
                      </a:lnTo>
                      <a:lnTo>
                        <a:pt x="305" y="1720"/>
                      </a:lnTo>
                      <a:lnTo>
                        <a:pt x="306" y="1720"/>
                      </a:lnTo>
                      <a:lnTo>
                        <a:pt x="306" y="1721"/>
                      </a:lnTo>
                      <a:lnTo>
                        <a:pt x="306" y="1721"/>
                      </a:lnTo>
                      <a:lnTo>
                        <a:pt x="306" y="1720"/>
                      </a:lnTo>
                      <a:lnTo>
                        <a:pt x="305" y="1720"/>
                      </a:lnTo>
                      <a:lnTo>
                        <a:pt x="305" y="1717"/>
                      </a:lnTo>
                      <a:lnTo>
                        <a:pt x="305" y="1717"/>
                      </a:lnTo>
                      <a:lnTo>
                        <a:pt x="304" y="1717"/>
                      </a:lnTo>
                      <a:lnTo>
                        <a:pt x="304" y="1716"/>
                      </a:lnTo>
                      <a:lnTo>
                        <a:pt x="304" y="1716"/>
                      </a:lnTo>
                      <a:lnTo>
                        <a:pt x="304" y="1715"/>
                      </a:lnTo>
                      <a:lnTo>
                        <a:pt x="304" y="1714"/>
                      </a:lnTo>
                      <a:lnTo>
                        <a:pt x="304" y="1714"/>
                      </a:lnTo>
                      <a:lnTo>
                        <a:pt x="304" y="1713"/>
                      </a:lnTo>
                      <a:lnTo>
                        <a:pt x="304" y="1712"/>
                      </a:lnTo>
                      <a:lnTo>
                        <a:pt x="304" y="1711"/>
                      </a:lnTo>
                      <a:lnTo>
                        <a:pt x="304" y="1711"/>
                      </a:lnTo>
                      <a:lnTo>
                        <a:pt x="304" y="1710"/>
                      </a:lnTo>
                      <a:lnTo>
                        <a:pt x="304" y="1709"/>
                      </a:lnTo>
                      <a:lnTo>
                        <a:pt x="305" y="1709"/>
                      </a:lnTo>
                      <a:lnTo>
                        <a:pt x="305" y="1709"/>
                      </a:lnTo>
                      <a:lnTo>
                        <a:pt x="305" y="1709"/>
                      </a:lnTo>
                      <a:lnTo>
                        <a:pt x="306" y="1709"/>
                      </a:lnTo>
                      <a:lnTo>
                        <a:pt x="307" y="1709"/>
                      </a:lnTo>
                      <a:lnTo>
                        <a:pt x="307" y="1709"/>
                      </a:lnTo>
                      <a:lnTo>
                        <a:pt x="307" y="1709"/>
                      </a:lnTo>
                      <a:lnTo>
                        <a:pt x="308" y="1710"/>
                      </a:lnTo>
                      <a:lnTo>
                        <a:pt x="309" y="1710"/>
                      </a:lnTo>
                      <a:lnTo>
                        <a:pt x="309" y="1711"/>
                      </a:lnTo>
                      <a:lnTo>
                        <a:pt x="310" y="1711"/>
                      </a:lnTo>
                      <a:lnTo>
                        <a:pt x="310" y="1711"/>
                      </a:lnTo>
                      <a:lnTo>
                        <a:pt x="310" y="1711"/>
                      </a:lnTo>
                      <a:lnTo>
                        <a:pt x="309" y="1711"/>
                      </a:lnTo>
                      <a:lnTo>
                        <a:pt x="309" y="1710"/>
                      </a:lnTo>
                      <a:lnTo>
                        <a:pt x="308" y="1709"/>
                      </a:lnTo>
                      <a:lnTo>
                        <a:pt x="308" y="1708"/>
                      </a:lnTo>
                      <a:lnTo>
                        <a:pt x="308" y="1708"/>
                      </a:lnTo>
                      <a:lnTo>
                        <a:pt x="309" y="1709"/>
                      </a:lnTo>
                      <a:lnTo>
                        <a:pt x="309" y="1708"/>
                      </a:lnTo>
                      <a:lnTo>
                        <a:pt x="309" y="1708"/>
                      </a:lnTo>
                      <a:lnTo>
                        <a:pt x="310" y="1707"/>
                      </a:lnTo>
                      <a:lnTo>
                        <a:pt x="310" y="1706"/>
                      </a:lnTo>
                      <a:lnTo>
                        <a:pt x="310" y="1706"/>
                      </a:lnTo>
                      <a:lnTo>
                        <a:pt x="311" y="1706"/>
                      </a:lnTo>
                      <a:lnTo>
                        <a:pt x="312" y="1705"/>
                      </a:lnTo>
                      <a:lnTo>
                        <a:pt x="312" y="1705"/>
                      </a:lnTo>
                      <a:lnTo>
                        <a:pt x="312" y="1706"/>
                      </a:lnTo>
                      <a:lnTo>
                        <a:pt x="313" y="1706"/>
                      </a:lnTo>
                      <a:lnTo>
                        <a:pt x="313" y="1706"/>
                      </a:lnTo>
                      <a:lnTo>
                        <a:pt x="313" y="1706"/>
                      </a:lnTo>
                      <a:lnTo>
                        <a:pt x="314" y="1706"/>
                      </a:lnTo>
                      <a:lnTo>
                        <a:pt x="314" y="1706"/>
                      </a:lnTo>
                      <a:lnTo>
                        <a:pt x="314" y="1706"/>
                      </a:lnTo>
                      <a:lnTo>
                        <a:pt x="315" y="1706"/>
                      </a:lnTo>
                      <a:lnTo>
                        <a:pt x="315" y="1706"/>
                      </a:lnTo>
                      <a:lnTo>
                        <a:pt x="315" y="1706"/>
                      </a:lnTo>
                      <a:lnTo>
                        <a:pt x="316" y="1706"/>
                      </a:lnTo>
                      <a:lnTo>
                        <a:pt x="317" y="1705"/>
                      </a:lnTo>
                      <a:lnTo>
                        <a:pt x="317" y="1704"/>
                      </a:lnTo>
                      <a:lnTo>
                        <a:pt x="318" y="1704"/>
                      </a:lnTo>
                      <a:lnTo>
                        <a:pt x="318" y="1704"/>
                      </a:lnTo>
                      <a:lnTo>
                        <a:pt x="320" y="1703"/>
                      </a:lnTo>
                      <a:lnTo>
                        <a:pt x="320" y="1702"/>
                      </a:lnTo>
                      <a:lnTo>
                        <a:pt x="320" y="1702"/>
                      </a:lnTo>
                      <a:lnTo>
                        <a:pt x="321" y="1702"/>
                      </a:lnTo>
                      <a:lnTo>
                        <a:pt x="322" y="1702"/>
                      </a:lnTo>
                      <a:lnTo>
                        <a:pt x="324" y="1703"/>
                      </a:lnTo>
                      <a:lnTo>
                        <a:pt x="325" y="1702"/>
                      </a:lnTo>
                      <a:lnTo>
                        <a:pt x="325" y="1701"/>
                      </a:lnTo>
                      <a:lnTo>
                        <a:pt x="326" y="1700"/>
                      </a:lnTo>
                      <a:close/>
                      <a:moveTo>
                        <a:pt x="254" y="1687"/>
                      </a:moveTo>
                      <a:lnTo>
                        <a:pt x="254" y="1687"/>
                      </a:lnTo>
                      <a:lnTo>
                        <a:pt x="254" y="1687"/>
                      </a:lnTo>
                      <a:lnTo>
                        <a:pt x="255" y="1688"/>
                      </a:lnTo>
                      <a:lnTo>
                        <a:pt x="255" y="1688"/>
                      </a:lnTo>
                      <a:lnTo>
                        <a:pt x="255" y="1687"/>
                      </a:lnTo>
                      <a:lnTo>
                        <a:pt x="255" y="1687"/>
                      </a:lnTo>
                      <a:lnTo>
                        <a:pt x="256" y="1688"/>
                      </a:lnTo>
                      <a:lnTo>
                        <a:pt x="256" y="1688"/>
                      </a:lnTo>
                      <a:lnTo>
                        <a:pt x="257" y="1689"/>
                      </a:lnTo>
                      <a:lnTo>
                        <a:pt x="257" y="1691"/>
                      </a:lnTo>
                      <a:lnTo>
                        <a:pt x="257" y="1691"/>
                      </a:lnTo>
                      <a:lnTo>
                        <a:pt x="257" y="1693"/>
                      </a:lnTo>
                      <a:lnTo>
                        <a:pt x="257" y="1693"/>
                      </a:lnTo>
                      <a:lnTo>
                        <a:pt x="257" y="1693"/>
                      </a:lnTo>
                      <a:lnTo>
                        <a:pt x="257" y="1693"/>
                      </a:lnTo>
                      <a:lnTo>
                        <a:pt x="257" y="1694"/>
                      </a:lnTo>
                      <a:lnTo>
                        <a:pt x="256" y="1695"/>
                      </a:lnTo>
                      <a:lnTo>
                        <a:pt x="256" y="1695"/>
                      </a:lnTo>
                      <a:lnTo>
                        <a:pt x="256" y="1696"/>
                      </a:lnTo>
                      <a:lnTo>
                        <a:pt x="256" y="1697"/>
                      </a:lnTo>
                      <a:lnTo>
                        <a:pt x="255" y="1697"/>
                      </a:lnTo>
                      <a:lnTo>
                        <a:pt x="255" y="1698"/>
                      </a:lnTo>
                      <a:lnTo>
                        <a:pt x="254" y="1698"/>
                      </a:lnTo>
                      <a:lnTo>
                        <a:pt x="254" y="1701"/>
                      </a:lnTo>
                      <a:lnTo>
                        <a:pt x="254" y="1701"/>
                      </a:lnTo>
                      <a:lnTo>
                        <a:pt x="254" y="1702"/>
                      </a:lnTo>
                      <a:lnTo>
                        <a:pt x="253" y="1702"/>
                      </a:lnTo>
                      <a:lnTo>
                        <a:pt x="253" y="1702"/>
                      </a:lnTo>
                      <a:lnTo>
                        <a:pt x="253" y="1703"/>
                      </a:lnTo>
                      <a:lnTo>
                        <a:pt x="252" y="1704"/>
                      </a:lnTo>
                      <a:lnTo>
                        <a:pt x="251" y="1705"/>
                      </a:lnTo>
                      <a:lnTo>
                        <a:pt x="251" y="1705"/>
                      </a:lnTo>
                      <a:lnTo>
                        <a:pt x="250" y="1707"/>
                      </a:lnTo>
                      <a:lnTo>
                        <a:pt x="250" y="1708"/>
                      </a:lnTo>
                      <a:lnTo>
                        <a:pt x="249" y="1709"/>
                      </a:lnTo>
                      <a:lnTo>
                        <a:pt x="249" y="1710"/>
                      </a:lnTo>
                      <a:lnTo>
                        <a:pt x="249" y="1710"/>
                      </a:lnTo>
                      <a:lnTo>
                        <a:pt x="249" y="1711"/>
                      </a:lnTo>
                      <a:lnTo>
                        <a:pt x="247" y="1711"/>
                      </a:lnTo>
                      <a:lnTo>
                        <a:pt x="246" y="1712"/>
                      </a:lnTo>
                      <a:lnTo>
                        <a:pt x="247" y="1712"/>
                      </a:lnTo>
                      <a:lnTo>
                        <a:pt x="247" y="1713"/>
                      </a:lnTo>
                      <a:lnTo>
                        <a:pt x="246" y="1713"/>
                      </a:lnTo>
                      <a:lnTo>
                        <a:pt x="246" y="1714"/>
                      </a:lnTo>
                      <a:lnTo>
                        <a:pt x="245" y="1714"/>
                      </a:lnTo>
                      <a:lnTo>
                        <a:pt x="245" y="1715"/>
                      </a:lnTo>
                      <a:lnTo>
                        <a:pt x="244" y="1715"/>
                      </a:lnTo>
                      <a:lnTo>
                        <a:pt x="244" y="1714"/>
                      </a:lnTo>
                      <a:lnTo>
                        <a:pt x="243" y="1714"/>
                      </a:lnTo>
                      <a:lnTo>
                        <a:pt x="243" y="1713"/>
                      </a:lnTo>
                      <a:lnTo>
                        <a:pt x="242" y="1712"/>
                      </a:lnTo>
                      <a:lnTo>
                        <a:pt x="242" y="1712"/>
                      </a:lnTo>
                      <a:lnTo>
                        <a:pt x="242" y="1712"/>
                      </a:lnTo>
                      <a:lnTo>
                        <a:pt x="242" y="1711"/>
                      </a:lnTo>
                      <a:lnTo>
                        <a:pt x="241" y="1711"/>
                      </a:lnTo>
                      <a:lnTo>
                        <a:pt x="241" y="1712"/>
                      </a:lnTo>
                      <a:lnTo>
                        <a:pt x="241" y="1713"/>
                      </a:lnTo>
                      <a:lnTo>
                        <a:pt x="242" y="1714"/>
                      </a:lnTo>
                      <a:lnTo>
                        <a:pt x="241" y="1716"/>
                      </a:lnTo>
                      <a:lnTo>
                        <a:pt x="241" y="1717"/>
                      </a:lnTo>
                      <a:lnTo>
                        <a:pt x="241" y="1717"/>
                      </a:lnTo>
                      <a:lnTo>
                        <a:pt x="240" y="1717"/>
                      </a:lnTo>
                      <a:lnTo>
                        <a:pt x="240" y="1717"/>
                      </a:lnTo>
                      <a:lnTo>
                        <a:pt x="240" y="1720"/>
                      </a:lnTo>
                      <a:lnTo>
                        <a:pt x="240" y="1720"/>
                      </a:lnTo>
                      <a:lnTo>
                        <a:pt x="238" y="1720"/>
                      </a:lnTo>
                      <a:lnTo>
                        <a:pt x="238" y="1721"/>
                      </a:lnTo>
                      <a:lnTo>
                        <a:pt x="237" y="1721"/>
                      </a:lnTo>
                      <a:lnTo>
                        <a:pt x="237" y="1721"/>
                      </a:lnTo>
                      <a:lnTo>
                        <a:pt x="237" y="1721"/>
                      </a:lnTo>
                      <a:lnTo>
                        <a:pt x="237" y="1721"/>
                      </a:lnTo>
                      <a:lnTo>
                        <a:pt x="237" y="1723"/>
                      </a:lnTo>
                      <a:lnTo>
                        <a:pt x="236" y="1723"/>
                      </a:lnTo>
                      <a:lnTo>
                        <a:pt x="236" y="1724"/>
                      </a:lnTo>
                      <a:lnTo>
                        <a:pt x="236" y="1724"/>
                      </a:lnTo>
                      <a:lnTo>
                        <a:pt x="235" y="1724"/>
                      </a:lnTo>
                      <a:lnTo>
                        <a:pt x="235" y="1725"/>
                      </a:lnTo>
                      <a:lnTo>
                        <a:pt x="234" y="1725"/>
                      </a:lnTo>
                      <a:lnTo>
                        <a:pt x="234" y="1724"/>
                      </a:lnTo>
                      <a:lnTo>
                        <a:pt x="234" y="1724"/>
                      </a:lnTo>
                      <a:lnTo>
                        <a:pt x="233" y="1724"/>
                      </a:lnTo>
                      <a:lnTo>
                        <a:pt x="233" y="1724"/>
                      </a:lnTo>
                      <a:lnTo>
                        <a:pt x="233" y="1726"/>
                      </a:lnTo>
                      <a:lnTo>
                        <a:pt x="233" y="1727"/>
                      </a:lnTo>
                      <a:lnTo>
                        <a:pt x="231" y="1727"/>
                      </a:lnTo>
                      <a:lnTo>
                        <a:pt x="231" y="1727"/>
                      </a:lnTo>
                      <a:lnTo>
                        <a:pt x="230" y="1727"/>
                      </a:lnTo>
                      <a:lnTo>
                        <a:pt x="230" y="1727"/>
                      </a:lnTo>
                      <a:lnTo>
                        <a:pt x="230" y="1727"/>
                      </a:lnTo>
                      <a:lnTo>
                        <a:pt x="230" y="1726"/>
                      </a:lnTo>
                      <a:lnTo>
                        <a:pt x="229" y="1726"/>
                      </a:lnTo>
                      <a:lnTo>
                        <a:pt x="229" y="1726"/>
                      </a:lnTo>
                      <a:lnTo>
                        <a:pt x="228" y="1727"/>
                      </a:lnTo>
                      <a:lnTo>
                        <a:pt x="227" y="1727"/>
                      </a:lnTo>
                      <a:lnTo>
                        <a:pt x="227" y="1727"/>
                      </a:lnTo>
                      <a:lnTo>
                        <a:pt x="227" y="1728"/>
                      </a:lnTo>
                      <a:lnTo>
                        <a:pt x="226" y="1728"/>
                      </a:lnTo>
                      <a:lnTo>
                        <a:pt x="226" y="1728"/>
                      </a:lnTo>
                      <a:lnTo>
                        <a:pt x="225" y="1728"/>
                      </a:lnTo>
                      <a:lnTo>
                        <a:pt x="225" y="1727"/>
                      </a:lnTo>
                      <a:lnTo>
                        <a:pt x="226" y="1726"/>
                      </a:lnTo>
                      <a:lnTo>
                        <a:pt x="225" y="1726"/>
                      </a:lnTo>
                      <a:lnTo>
                        <a:pt x="225" y="1728"/>
                      </a:lnTo>
                      <a:lnTo>
                        <a:pt x="224" y="1729"/>
                      </a:lnTo>
                      <a:lnTo>
                        <a:pt x="224" y="1730"/>
                      </a:lnTo>
                      <a:lnTo>
                        <a:pt x="224" y="1731"/>
                      </a:lnTo>
                      <a:lnTo>
                        <a:pt x="223" y="1731"/>
                      </a:lnTo>
                      <a:lnTo>
                        <a:pt x="223" y="1731"/>
                      </a:lnTo>
                      <a:lnTo>
                        <a:pt x="222" y="1731"/>
                      </a:lnTo>
                      <a:lnTo>
                        <a:pt x="222" y="1731"/>
                      </a:lnTo>
                      <a:lnTo>
                        <a:pt x="222" y="1730"/>
                      </a:lnTo>
                      <a:lnTo>
                        <a:pt x="221" y="1730"/>
                      </a:lnTo>
                      <a:lnTo>
                        <a:pt x="221" y="1728"/>
                      </a:lnTo>
                      <a:lnTo>
                        <a:pt x="222" y="1728"/>
                      </a:lnTo>
                      <a:lnTo>
                        <a:pt x="222" y="1727"/>
                      </a:lnTo>
                      <a:lnTo>
                        <a:pt x="222" y="1727"/>
                      </a:lnTo>
                      <a:lnTo>
                        <a:pt x="222" y="1726"/>
                      </a:lnTo>
                      <a:lnTo>
                        <a:pt x="221" y="1726"/>
                      </a:lnTo>
                      <a:lnTo>
                        <a:pt x="221" y="1725"/>
                      </a:lnTo>
                      <a:lnTo>
                        <a:pt x="221" y="1725"/>
                      </a:lnTo>
                      <a:lnTo>
                        <a:pt x="220" y="1726"/>
                      </a:lnTo>
                      <a:lnTo>
                        <a:pt x="220" y="1728"/>
                      </a:lnTo>
                      <a:lnTo>
                        <a:pt x="219" y="1728"/>
                      </a:lnTo>
                      <a:lnTo>
                        <a:pt x="219" y="1729"/>
                      </a:lnTo>
                      <a:lnTo>
                        <a:pt x="219" y="1729"/>
                      </a:lnTo>
                      <a:lnTo>
                        <a:pt x="219" y="1730"/>
                      </a:lnTo>
                      <a:lnTo>
                        <a:pt x="219" y="1730"/>
                      </a:lnTo>
                      <a:lnTo>
                        <a:pt x="218" y="1730"/>
                      </a:lnTo>
                      <a:lnTo>
                        <a:pt x="218" y="1731"/>
                      </a:lnTo>
                      <a:lnTo>
                        <a:pt x="218" y="1731"/>
                      </a:lnTo>
                      <a:lnTo>
                        <a:pt x="218" y="1732"/>
                      </a:lnTo>
                      <a:lnTo>
                        <a:pt x="217" y="1732"/>
                      </a:lnTo>
                      <a:lnTo>
                        <a:pt x="217" y="1732"/>
                      </a:lnTo>
                      <a:lnTo>
                        <a:pt x="217" y="1732"/>
                      </a:lnTo>
                      <a:lnTo>
                        <a:pt x="216" y="1732"/>
                      </a:lnTo>
                      <a:lnTo>
                        <a:pt x="216" y="1732"/>
                      </a:lnTo>
                      <a:lnTo>
                        <a:pt x="216" y="1732"/>
                      </a:lnTo>
                      <a:lnTo>
                        <a:pt x="216" y="1732"/>
                      </a:lnTo>
                      <a:lnTo>
                        <a:pt x="216" y="1731"/>
                      </a:lnTo>
                      <a:lnTo>
                        <a:pt x="216" y="1731"/>
                      </a:lnTo>
                      <a:lnTo>
                        <a:pt x="216" y="1730"/>
                      </a:lnTo>
                      <a:lnTo>
                        <a:pt x="216" y="1730"/>
                      </a:lnTo>
                      <a:lnTo>
                        <a:pt x="216" y="1728"/>
                      </a:lnTo>
                      <a:lnTo>
                        <a:pt x="216" y="1728"/>
                      </a:lnTo>
                      <a:lnTo>
                        <a:pt x="213" y="1728"/>
                      </a:lnTo>
                      <a:lnTo>
                        <a:pt x="210" y="1728"/>
                      </a:lnTo>
                      <a:lnTo>
                        <a:pt x="208" y="1729"/>
                      </a:lnTo>
                      <a:lnTo>
                        <a:pt x="208" y="1730"/>
                      </a:lnTo>
                      <a:lnTo>
                        <a:pt x="208" y="1730"/>
                      </a:lnTo>
                      <a:lnTo>
                        <a:pt x="208" y="1733"/>
                      </a:lnTo>
                      <a:lnTo>
                        <a:pt x="208" y="1734"/>
                      </a:lnTo>
                      <a:lnTo>
                        <a:pt x="208" y="1735"/>
                      </a:lnTo>
                      <a:lnTo>
                        <a:pt x="207" y="1735"/>
                      </a:lnTo>
                      <a:lnTo>
                        <a:pt x="207" y="1735"/>
                      </a:lnTo>
                      <a:lnTo>
                        <a:pt x="206" y="1736"/>
                      </a:lnTo>
                      <a:lnTo>
                        <a:pt x="205" y="1735"/>
                      </a:lnTo>
                      <a:lnTo>
                        <a:pt x="205" y="1733"/>
                      </a:lnTo>
                      <a:lnTo>
                        <a:pt x="204" y="1733"/>
                      </a:lnTo>
                      <a:lnTo>
                        <a:pt x="204" y="1732"/>
                      </a:lnTo>
                      <a:lnTo>
                        <a:pt x="204" y="1731"/>
                      </a:lnTo>
                      <a:lnTo>
                        <a:pt x="202" y="1731"/>
                      </a:lnTo>
                      <a:lnTo>
                        <a:pt x="202" y="1729"/>
                      </a:lnTo>
                      <a:lnTo>
                        <a:pt x="203" y="1728"/>
                      </a:lnTo>
                      <a:lnTo>
                        <a:pt x="205" y="1728"/>
                      </a:lnTo>
                      <a:lnTo>
                        <a:pt x="206" y="1726"/>
                      </a:lnTo>
                      <a:lnTo>
                        <a:pt x="207" y="1726"/>
                      </a:lnTo>
                      <a:lnTo>
                        <a:pt x="207" y="1725"/>
                      </a:lnTo>
                      <a:lnTo>
                        <a:pt x="207" y="1725"/>
                      </a:lnTo>
                      <a:lnTo>
                        <a:pt x="207" y="1724"/>
                      </a:lnTo>
                      <a:lnTo>
                        <a:pt x="208" y="1724"/>
                      </a:lnTo>
                      <a:lnTo>
                        <a:pt x="208" y="1723"/>
                      </a:lnTo>
                      <a:lnTo>
                        <a:pt x="209" y="1723"/>
                      </a:lnTo>
                      <a:lnTo>
                        <a:pt x="209" y="1723"/>
                      </a:lnTo>
                      <a:lnTo>
                        <a:pt x="209" y="1724"/>
                      </a:lnTo>
                      <a:lnTo>
                        <a:pt x="209" y="1725"/>
                      </a:lnTo>
                      <a:lnTo>
                        <a:pt x="212" y="1725"/>
                      </a:lnTo>
                      <a:lnTo>
                        <a:pt x="214" y="1724"/>
                      </a:lnTo>
                      <a:lnTo>
                        <a:pt x="214" y="1724"/>
                      </a:lnTo>
                      <a:lnTo>
                        <a:pt x="214" y="1723"/>
                      </a:lnTo>
                      <a:lnTo>
                        <a:pt x="214" y="1723"/>
                      </a:lnTo>
                      <a:lnTo>
                        <a:pt x="214" y="1722"/>
                      </a:lnTo>
                      <a:lnTo>
                        <a:pt x="214" y="1722"/>
                      </a:lnTo>
                      <a:lnTo>
                        <a:pt x="215" y="1721"/>
                      </a:lnTo>
                      <a:lnTo>
                        <a:pt x="215" y="1721"/>
                      </a:lnTo>
                      <a:lnTo>
                        <a:pt x="215" y="1721"/>
                      </a:lnTo>
                      <a:lnTo>
                        <a:pt x="216" y="1721"/>
                      </a:lnTo>
                      <a:lnTo>
                        <a:pt x="216" y="1720"/>
                      </a:lnTo>
                      <a:lnTo>
                        <a:pt x="217" y="1718"/>
                      </a:lnTo>
                      <a:lnTo>
                        <a:pt x="217" y="1717"/>
                      </a:lnTo>
                      <a:lnTo>
                        <a:pt x="217" y="1715"/>
                      </a:lnTo>
                      <a:lnTo>
                        <a:pt x="218" y="1715"/>
                      </a:lnTo>
                      <a:lnTo>
                        <a:pt x="218" y="1714"/>
                      </a:lnTo>
                      <a:lnTo>
                        <a:pt x="219" y="1714"/>
                      </a:lnTo>
                      <a:lnTo>
                        <a:pt x="219" y="1714"/>
                      </a:lnTo>
                      <a:lnTo>
                        <a:pt x="219" y="1713"/>
                      </a:lnTo>
                      <a:lnTo>
                        <a:pt x="220" y="1714"/>
                      </a:lnTo>
                      <a:lnTo>
                        <a:pt x="222" y="1713"/>
                      </a:lnTo>
                      <a:lnTo>
                        <a:pt x="223" y="1712"/>
                      </a:lnTo>
                      <a:lnTo>
                        <a:pt x="223" y="1711"/>
                      </a:lnTo>
                      <a:lnTo>
                        <a:pt x="222" y="1709"/>
                      </a:lnTo>
                      <a:lnTo>
                        <a:pt x="222" y="1708"/>
                      </a:lnTo>
                      <a:lnTo>
                        <a:pt x="223" y="1708"/>
                      </a:lnTo>
                      <a:lnTo>
                        <a:pt x="223" y="1707"/>
                      </a:lnTo>
                      <a:lnTo>
                        <a:pt x="225" y="1706"/>
                      </a:lnTo>
                      <a:lnTo>
                        <a:pt x="226" y="1707"/>
                      </a:lnTo>
                      <a:lnTo>
                        <a:pt x="226" y="1706"/>
                      </a:lnTo>
                      <a:lnTo>
                        <a:pt x="226" y="1706"/>
                      </a:lnTo>
                      <a:lnTo>
                        <a:pt x="227" y="1704"/>
                      </a:lnTo>
                      <a:lnTo>
                        <a:pt x="227" y="1704"/>
                      </a:lnTo>
                      <a:lnTo>
                        <a:pt x="227" y="1704"/>
                      </a:lnTo>
                      <a:lnTo>
                        <a:pt x="229" y="1704"/>
                      </a:lnTo>
                      <a:lnTo>
                        <a:pt x="229" y="1703"/>
                      </a:lnTo>
                      <a:lnTo>
                        <a:pt x="229" y="1702"/>
                      </a:lnTo>
                      <a:lnTo>
                        <a:pt x="229" y="1702"/>
                      </a:lnTo>
                      <a:lnTo>
                        <a:pt x="230" y="1702"/>
                      </a:lnTo>
                      <a:lnTo>
                        <a:pt x="231" y="1702"/>
                      </a:lnTo>
                      <a:lnTo>
                        <a:pt x="231" y="1703"/>
                      </a:lnTo>
                      <a:lnTo>
                        <a:pt x="231" y="1703"/>
                      </a:lnTo>
                      <a:lnTo>
                        <a:pt x="231" y="1702"/>
                      </a:lnTo>
                      <a:lnTo>
                        <a:pt x="232" y="1701"/>
                      </a:lnTo>
                      <a:lnTo>
                        <a:pt x="232" y="1700"/>
                      </a:lnTo>
                      <a:lnTo>
                        <a:pt x="232" y="1699"/>
                      </a:lnTo>
                      <a:lnTo>
                        <a:pt x="232" y="1699"/>
                      </a:lnTo>
                      <a:lnTo>
                        <a:pt x="233" y="1699"/>
                      </a:lnTo>
                      <a:lnTo>
                        <a:pt x="233" y="1699"/>
                      </a:lnTo>
                      <a:lnTo>
                        <a:pt x="234" y="1699"/>
                      </a:lnTo>
                      <a:lnTo>
                        <a:pt x="234" y="1699"/>
                      </a:lnTo>
                      <a:lnTo>
                        <a:pt x="235" y="1698"/>
                      </a:lnTo>
                      <a:lnTo>
                        <a:pt x="235" y="1698"/>
                      </a:lnTo>
                      <a:lnTo>
                        <a:pt x="236" y="1699"/>
                      </a:lnTo>
                      <a:lnTo>
                        <a:pt x="236" y="1699"/>
                      </a:lnTo>
                      <a:lnTo>
                        <a:pt x="237" y="1697"/>
                      </a:lnTo>
                      <a:lnTo>
                        <a:pt x="237" y="1696"/>
                      </a:lnTo>
                      <a:lnTo>
                        <a:pt x="237" y="1696"/>
                      </a:lnTo>
                      <a:lnTo>
                        <a:pt x="237" y="1695"/>
                      </a:lnTo>
                      <a:lnTo>
                        <a:pt x="238" y="1695"/>
                      </a:lnTo>
                      <a:lnTo>
                        <a:pt x="239" y="1695"/>
                      </a:lnTo>
                      <a:lnTo>
                        <a:pt x="239" y="1695"/>
                      </a:lnTo>
                      <a:lnTo>
                        <a:pt x="238" y="1695"/>
                      </a:lnTo>
                      <a:lnTo>
                        <a:pt x="239" y="1694"/>
                      </a:lnTo>
                      <a:lnTo>
                        <a:pt x="239" y="1694"/>
                      </a:lnTo>
                      <a:lnTo>
                        <a:pt x="240" y="1694"/>
                      </a:lnTo>
                      <a:lnTo>
                        <a:pt x="240" y="1694"/>
                      </a:lnTo>
                      <a:lnTo>
                        <a:pt x="239" y="1694"/>
                      </a:lnTo>
                      <a:lnTo>
                        <a:pt x="239" y="1693"/>
                      </a:lnTo>
                      <a:lnTo>
                        <a:pt x="240" y="1692"/>
                      </a:lnTo>
                      <a:lnTo>
                        <a:pt x="240" y="1693"/>
                      </a:lnTo>
                      <a:lnTo>
                        <a:pt x="241" y="1692"/>
                      </a:lnTo>
                      <a:lnTo>
                        <a:pt x="242" y="1692"/>
                      </a:lnTo>
                      <a:lnTo>
                        <a:pt x="242" y="1693"/>
                      </a:lnTo>
                      <a:lnTo>
                        <a:pt x="242" y="1693"/>
                      </a:lnTo>
                      <a:lnTo>
                        <a:pt x="242" y="1692"/>
                      </a:lnTo>
                      <a:lnTo>
                        <a:pt x="242" y="1692"/>
                      </a:lnTo>
                      <a:lnTo>
                        <a:pt x="242" y="1692"/>
                      </a:lnTo>
                      <a:lnTo>
                        <a:pt x="243" y="1691"/>
                      </a:lnTo>
                      <a:lnTo>
                        <a:pt x="243" y="1691"/>
                      </a:lnTo>
                      <a:lnTo>
                        <a:pt x="243" y="1691"/>
                      </a:lnTo>
                      <a:lnTo>
                        <a:pt x="244" y="1691"/>
                      </a:lnTo>
                      <a:lnTo>
                        <a:pt x="244" y="1691"/>
                      </a:lnTo>
                      <a:lnTo>
                        <a:pt x="244" y="1691"/>
                      </a:lnTo>
                      <a:lnTo>
                        <a:pt x="245" y="1690"/>
                      </a:lnTo>
                      <a:lnTo>
                        <a:pt x="245" y="1690"/>
                      </a:lnTo>
                      <a:lnTo>
                        <a:pt x="245" y="1690"/>
                      </a:lnTo>
                      <a:lnTo>
                        <a:pt x="245" y="1689"/>
                      </a:lnTo>
                      <a:lnTo>
                        <a:pt x="245" y="1689"/>
                      </a:lnTo>
                      <a:lnTo>
                        <a:pt x="245" y="1689"/>
                      </a:lnTo>
                      <a:lnTo>
                        <a:pt x="246" y="1689"/>
                      </a:lnTo>
                      <a:lnTo>
                        <a:pt x="246" y="1689"/>
                      </a:lnTo>
                      <a:lnTo>
                        <a:pt x="246" y="1689"/>
                      </a:lnTo>
                      <a:lnTo>
                        <a:pt x="247" y="1689"/>
                      </a:lnTo>
                      <a:lnTo>
                        <a:pt x="247" y="1688"/>
                      </a:lnTo>
                      <a:lnTo>
                        <a:pt x="247" y="1687"/>
                      </a:lnTo>
                      <a:lnTo>
                        <a:pt x="249" y="1688"/>
                      </a:lnTo>
                      <a:lnTo>
                        <a:pt x="250" y="1687"/>
                      </a:lnTo>
                      <a:lnTo>
                        <a:pt x="250" y="1688"/>
                      </a:lnTo>
                      <a:lnTo>
                        <a:pt x="251" y="1689"/>
                      </a:lnTo>
                      <a:lnTo>
                        <a:pt x="251" y="1688"/>
                      </a:lnTo>
                      <a:lnTo>
                        <a:pt x="251" y="1688"/>
                      </a:lnTo>
                      <a:lnTo>
                        <a:pt x="252" y="1688"/>
                      </a:lnTo>
                      <a:lnTo>
                        <a:pt x="252" y="1687"/>
                      </a:lnTo>
                      <a:lnTo>
                        <a:pt x="254" y="1687"/>
                      </a:lnTo>
                      <a:close/>
                      <a:moveTo>
                        <a:pt x="388" y="1650"/>
                      </a:moveTo>
                      <a:lnTo>
                        <a:pt x="389" y="1650"/>
                      </a:lnTo>
                      <a:lnTo>
                        <a:pt x="388" y="1651"/>
                      </a:lnTo>
                      <a:lnTo>
                        <a:pt x="388" y="1651"/>
                      </a:lnTo>
                      <a:lnTo>
                        <a:pt x="387" y="1650"/>
                      </a:lnTo>
                      <a:lnTo>
                        <a:pt x="387" y="1650"/>
                      </a:lnTo>
                      <a:lnTo>
                        <a:pt x="388" y="1650"/>
                      </a:lnTo>
                      <a:lnTo>
                        <a:pt x="388" y="1650"/>
                      </a:lnTo>
                      <a:close/>
                      <a:moveTo>
                        <a:pt x="8" y="1649"/>
                      </a:moveTo>
                      <a:lnTo>
                        <a:pt x="9" y="1650"/>
                      </a:lnTo>
                      <a:lnTo>
                        <a:pt x="11" y="1650"/>
                      </a:lnTo>
                      <a:lnTo>
                        <a:pt x="12" y="1651"/>
                      </a:lnTo>
                      <a:lnTo>
                        <a:pt x="13" y="1651"/>
                      </a:lnTo>
                      <a:lnTo>
                        <a:pt x="14" y="1652"/>
                      </a:lnTo>
                      <a:lnTo>
                        <a:pt x="10" y="1652"/>
                      </a:lnTo>
                      <a:lnTo>
                        <a:pt x="9" y="1653"/>
                      </a:lnTo>
                      <a:lnTo>
                        <a:pt x="9" y="1653"/>
                      </a:lnTo>
                      <a:lnTo>
                        <a:pt x="8" y="1654"/>
                      </a:lnTo>
                      <a:lnTo>
                        <a:pt x="7" y="1654"/>
                      </a:lnTo>
                      <a:lnTo>
                        <a:pt x="5" y="1653"/>
                      </a:lnTo>
                      <a:lnTo>
                        <a:pt x="5" y="1653"/>
                      </a:lnTo>
                      <a:lnTo>
                        <a:pt x="4" y="1652"/>
                      </a:lnTo>
                      <a:lnTo>
                        <a:pt x="3" y="1652"/>
                      </a:lnTo>
                      <a:lnTo>
                        <a:pt x="2" y="1652"/>
                      </a:lnTo>
                      <a:lnTo>
                        <a:pt x="2" y="1650"/>
                      </a:lnTo>
                      <a:lnTo>
                        <a:pt x="2" y="1650"/>
                      </a:lnTo>
                      <a:lnTo>
                        <a:pt x="8" y="1649"/>
                      </a:lnTo>
                      <a:close/>
                      <a:moveTo>
                        <a:pt x="378" y="1640"/>
                      </a:moveTo>
                      <a:lnTo>
                        <a:pt x="378" y="1641"/>
                      </a:lnTo>
                      <a:lnTo>
                        <a:pt x="379" y="1641"/>
                      </a:lnTo>
                      <a:lnTo>
                        <a:pt x="380" y="1642"/>
                      </a:lnTo>
                      <a:lnTo>
                        <a:pt x="380" y="1642"/>
                      </a:lnTo>
                      <a:lnTo>
                        <a:pt x="381" y="1642"/>
                      </a:lnTo>
                      <a:lnTo>
                        <a:pt x="381" y="1642"/>
                      </a:lnTo>
                      <a:lnTo>
                        <a:pt x="381" y="1642"/>
                      </a:lnTo>
                      <a:lnTo>
                        <a:pt x="382" y="1642"/>
                      </a:lnTo>
                      <a:lnTo>
                        <a:pt x="382" y="1642"/>
                      </a:lnTo>
                      <a:lnTo>
                        <a:pt x="383" y="1642"/>
                      </a:lnTo>
                      <a:lnTo>
                        <a:pt x="383" y="1644"/>
                      </a:lnTo>
                      <a:lnTo>
                        <a:pt x="385" y="1644"/>
                      </a:lnTo>
                      <a:lnTo>
                        <a:pt x="385" y="1645"/>
                      </a:lnTo>
                      <a:lnTo>
                        <a:pt x="386" y="1646"/>
                      </a:lnTo>
                      <a:lnTo>
                        <a:pt x="386" y="1646"/>
                      </a:lnTo>
                      <a:lnTo>
                        <a:pt x="386" y="1646"/>
                      </a:lnTo>
                      <a:lnTo>
                        <a:pt x="386" y="1647"/>
                      </a:lnTo>
                      <a:lnTo>
                        <a:pt x="387" y="1646"/>
                      </a:lnTo>
                      <a:lnTo>
                        <a:pt x="387" y="1645"/>
                      </a:lnTo>
                      <a:lnTo>
                        <a:pt x="388" y="1645"/>
                      </a:lnTo>
                      <a:lnTo>
                        <a:pt x="390" y="1647"/>
                      </a:lnTo>
                      <a:lnTo>
                        <a:pt x="391" y="1647"/>
                      </a:lnTo>
                      <a:lnTo>
                        <a:pt x="391" y="1647"/>
                      </a:lnTo>
                      <a:lnTo>
                        <a:pt x="392" y="1647"/>
                      </a:lnTo>
                      <a:lnTo>
                        <a:pt x="392" y="1648"/>
                      </a:lnTo>
                      <a:lnTo>
                        <a:pt x="391" y="1649"/>
                      </a:lnTo>
                      <a:lnTo>
                        <a:pt x="389" y="1649"/>
                      </a:lnTo>
                      <a:lnTo>
                        <a:pt x="389" y="1650"/>
                      </a:lnTo>
                      <a:lnTo>
                        <a:pt x="388" y="1650"/>
                      </a:lnTo>
                      <a:lnTo>
                        <a:pt x="387" y="1649"/>
                      </a:lnTo>
                      <a:lnTo>
                        <a:pt x="387" y="1648"/>
                      </a:lnTo>
                      <a:lnTo>
                        <a:pt x="387" y="1648"/>
                      </a:lnTo>
                      <a:lnTo>
                        <a:pt x="386" y="1649"/>
                      </a:lnTo>
                      <a:lnTo>
                        <a:pt x="386" y="1650"/>
                      </a:lnTo>
                      <a:lnTo>
                        <a:pt x="386" y="1650"/>
                      </a:lnTo>
                      <a:lnTo>
                        <a:pt x="385" y="1651"/>
                      </a:lnTo>
                      <a:lnTo>
                        <a:pt x="384" y="1650"/>
                      </a:lnTo>
                      <a:lnTo>
                        <a:pt x="383" y="1651"/>
                      </a:lnTo>
                      <a:lnTo>
                        <a:pt x="381" y="1651"/>
                      </a:lnTo>
                      <a:lnTo>
                        <a:pt x="381" y="1650"/>
                      </a:lnTo>
                      <a:lnTo>
                        <a:pt x="381" y="1650"/>
                      </a:lnTo>
                      <a:lnTo>
                        <a:pt x="379" y="1649"/>
                      </a:lnTo>
                      <a:lnTo>
                        <a:pt x="379" y="1649"/>
                      </a:lnTo>
                      <a:lnTo>
                        <a:pt x="379" y="1650"/>
                      </a:lnTo>
                      <a:lnTo>
                        <a:pt x="379" y="1650"/>
                      </a:lnTo>
                      <a:lnTo>
                        <a:pt x="379" y="1649"/>
                      </a:lnTo>
                      <a:lnTo>
                        <a:pt x="378" y="1649"/>
                      </a:lnTo>
                      <a:lnTo>
                        <a:pt x="378" y="1649"/>
                      </a:lnTo>
                      <a:lnTo>
                        <a:pt x="377" y="1649"/>
                      </a:lnTo>
                      <a:lnTo>
                        <a:pt x="377" y="1649"/>
                      </a:lnTo>
                      <a:lnTo>
                        <a:pt x="377" y="1649"/>
                      </a:lnTo>
                      <a:lnTo>
                        <a:pt x="377" y="1650"/>
                      </a:lnTo>
                      <a:lnTo>
                        <a:pt x="376" y="1649"/>
                      </a:lnTo>
                      <a:lnTo>
                        <a:pt x="375" y="1649"/>
                      </a:lnTo>
                      <a:lnTo>
                        <a:pt x="375" y="1648"/>
                      </a:lnTo>
                      <a:lnTo>
                        <a:pt x="376" y="1648"/>
                      </a:lnTo>
                      <a:lnTo>
                        <a:pt x="376" y="1647"/>
                      </a:lnTo>
                      <a:lnTo>
                        <a:pt x="376" y="1647"/>
                      </a:lnTo>
                      <a:lnTo>
                        <a:pt x="376" y="1647"/>
                      </a:lnTo>
                      <a:lnTo>
                        <a:pt x="376" y="1646"/>
                      </a:lnTo>
                      <a:lnTo>
                        <a:pt x="377" y="1646"/>
                      </a:lnTo>
                      <a:lnTo>
                        <a:pt x="376" y="1645"/>
                      </a:lnTo>
                      <a:lnTo>
                        <a:pt x="377" y="1645"/>
                      </a:lnTo>
                      <a:lnTo>
                        <a:pt x="377" y="1644"/>
                      </a:lnTo>
                      <a:lnTo>
                        <a:pt x="377" y="1644"/>
                      </a:lnTo>
                      <a:lnTo>
                        <a:pt x="377" y="1642"/>
                      </a:lnTo>
                      <a:lnTo>
                        <a:pt x="378" y="1642"/>
                      </a:lnTo>
                      <a:lnTo>
                        <a:pt x="377" y="1641"/>
                      </a:lnTo>
                      <a:lnTo>
                        <a:pt x="377" y="1641"/>
                      </a:lnTo>
                      <a:lnTo>
                        <a:pt x="378" y="1640"/>
                      </a:lnTo>
                      <a:close/>
                      <a:moveTo>
                        <a:pt x="11" y="1633"/>
                      </a:moveTo>
                      <a:lnTo>
                        <a:pt x="11" y="1633"/>
                      </a:lnTo>
                      <a:lnTo>
                        <a:pt x="12" y="1633"/>
                      </a:lnTo>
                      <a:lnTo>
                        <a:pt x="12" y="1633"/>
                      </a:lnTo>
                      <a:lnTo>
                        <a:pt x="12" y="1633"/>
                      </a:lnTo>
                      <a:lnTo>
                        <a:pt x="12" y="1634"/>
                      </a:lnTo>
                      <a:lnTo>
                        <a:pt x="12" y="1634"/>
                      </a:lnTo>
                      <a:lnTo>
                        <a:pt x="12" y="1634"/>
                      </a:lnTo>
                      <a:lnTo>
                        <a:pt x="11" y="1634"/>
                      </a:lnTo>
                      <a:lnTo>
                        <a:pt x="11" y="1634"/>
                      </a:lnTo>
                      <a:lnTo>
                        <a:pt x="11" y="1635"/>
                      </a:lnTo>
                      <a:lnTo>
                        <a:pt x="10" y="1636"/>
                      </a:lnTo>
                      <a:lnTo>
                        <a:pt x="10" y="1636"/>
                      </a:lnTo>
                      <a:lnTo>
                        <a:pt x="10" y="1636"/>
                      </a:lnTo>
                      <a:lnTo>
                        <a:pt x="11" y="1637"/>
                      </a:lnTo>
                      <a:lnTo>
                        <a:pt x="11" y="1638"/>
                      </a:lnTo>
                      <a:lnTo>
                        <a:pt x="11" y="1638"/>
                      </a:lnTo>
                      <a:lnTo>
                        <a:pt x="11" y="1638"/>
                      </a:lnTo>
                      <a:lnTo>
                        <a:pt x="11" y="1639"/>
                      </a:lnTo>
                      <a:lnTo>
                        <a:pt x="10" y="1640"/>
                      </a:lnTo>
                      <a:lnTo>
                        <a:pt x="9" y="1639"/>
                      </a:lnTo>
                      <a:lnTo>
                        <a:pt x="9" y="1640"/>
                      </a:lnTo>
                      <a:lnTo>
                        <a:pt x="9" y="1641"/>
                      </a:lnTo>
                      <a:lnTo>
                        <a:pt x="10" y="1641"/>
                      </a:lnTo>
                      <a:lnTo>
                        <a:pt x="11" y="1642"/>
                      </a:lnTo>
                      <a:lnTo>
                        <a:pt x="10" y="1645"/>
                      </a:lnTo>
                      <a:lnTo>
                        <a:pt x="10" y="1645"/>
                      </a:lnTo>
                      <a:lnTo>
                        <a:pt x="9" y="1646"/>
                      </a:lnTo>
                      <a:lnTo>
                        <a:pt x="7" y="1646"/>
                      </a:lnTo>
                      <a:lnTo>
                        <a:pt x="7" y="1647"/>
                      </a:lnTo>
                      <a:lnTo>
                        <a:pt x="6" y="1647"/>
                      </a:lnTo>
                      <a:lnTo>
                        <a:pt x="4" y="1647"/>
                      </a:lnTo>
                      <a:lnTo>
                        <a:pt x="4" y="1648"/>
                      </a:lnTo>
                      <a:lnTo>
                        <a:pt x="3" y="1648"/>
                      </a:lnTo>
                      <a:lnTo>
                        <a:pt x="3" y="1648"/>
                      </a:lnTo>
                      <a:lnTo>
                        <a:pt x="3" y="1648"/>
                      </a:lnTo>
                      <a:lnTo>
                        <a:pt x="4" y="1647"/>
                      </a:lnTo>
                      <a:lnTo>
                        <a:pt x="3" y="1647"/>
                      </a:lnTo>
                      <a:lnTo>
                        <a:pt x="3" y="1646"/>
                      </a:lnTo>
                      <a:lnTo>
                        <a:pt x="0" y="1646"/>
                      </a:lnTo>
                      <a:lnTo>
                        <a:pt x="0" y="1646"/>
                      </a:lnTo>
                      <a:lnTo>
                        <a:pt x="0" y="1645"/>
                      </a:lnTo>
                      <a:lnTo>
                        <a:pt x="1" y="1645"/>
                      </a:lnTo>
                      <a:lnTo>
                        <a:pt x="1" y="1642"/>
                      </a:lnTo>
                      <a:lnTo>
                        <a:pt x="2" y="1641"/>
                      </a:lnTo>
                      <a:lnTo>
                        <a:pt x="2" y="1641"/>
                      </a:lnTo>
                      <a:lnTo>
                        <a:pt x="2" y="1641"/>
                      </a:lnTo>
                      <a:lnTo>
                        <a:pt x="3" y="1641"/>
                      </a:lnTo>
                      <a:lnTo>
                        <a:pt x="3" y="1640"/>
                      </a:lnTo>
                      <a:lnTo>
                        <a:pt x="3" y="1639"/>
                      </a:lnTo>
                      <a:lnTo>
                        <a:pt x="3" y="1639"/>
                      </a:lnTo>
                      <a:lnTo>
                        <a:pt x="2" y="1639"/>
                      </a:lnTo>
                      <a:lnTo>
                        <a:pt x="2" y="1638"/>
                      </a:lnTo>
                      <a:lnTo>
                        <a:pt x="2" y="1638"/>
                      </a:lnTo>
                      <a:lnTo>
                        <a:pt x="3" y="1638"/>
                      </a:lnTo>
                      <a:lnTo>
                        <a:pt x="3" y="1638"/>
                      </a:lnTo>
                      <a:lnTo>
                        <a:pt x="2" y="1637"/>
                      </a:lnTo>
                      <a:lnTo>
                        <a:pt x="2" y="1636"/>
                      </a:lnTo>
                      <a:lnTo>
                        <a:pt x="3" y="1636"/>
                      </a:lnTo>
                      <a:lnTo>
                        <a:pt x="4" y="1635"/>
                      </a:lnTo>
                      <a:lnTo>
                        <a:pt x="4" y="1636"/>
                      </a:lnTo>
                      <a:lnTo>
                        <a:pt x="4" y="1636"/>
                      </a:lnTo>
                      <a:lnTo>
                        <a:pt x="5" y="1636"/>
                      </a:lnTo>
                      <a:lnTo>
                        <a:pt x="6" y="1636"/>
                      </a:lnTo>
                      <a:lnTo>
                        <a:pt x="7" y="1635"/>
                      </a:lnTo>
                      <a:lnTo>
                        <a:pt x="8" y="1635"/>
                      </a:lnTo>
                      <a:lnTo>
                        <a:pt x="8" y="1633"/>
                      </a:lnTo>
                      <a:lnTo>
                        <a:pt x="9" y="1633"/>
                      </a:lnTo>
                      <a:lnTo>
                        <a:pt x="10" y="1633"/>
                      </a:lnTo>
                      <a:lnTo>
                        <a:pt x="11" y="1633"/>
                      </a:lnTo>
                      <a:close/>
                      <a:moveTo>
                        <a:pt x="322" y="1589"/>
                      </a:moveTo>
                      <a:lnTo>
                        <a:pt x="324" y="1590"/>
                      </a:lnTo>
                      <a:lnTo>
                        <a:pt x="324" y="1590"/>
                      </a:lnTo>
                      <a:lnTo>
                        <a:pt x="325" y="1591"/>
                      </a:lnTo>
                      <a:lnTo>
                        <a:pt x="325" y="1591"/>
                      </a:lnTo>
                      <a:lnTo>
                        <a:pt x="326" y="1592"/>
                      </a:lnTo>
                      <a:lnTo>
                        <a:pt x="326" y="1592"/>
                      </a:lnTo>
                      <a:lnTo>
                        <a:pt x="327" y="1593"/>
                      </a:lnTo>
                      <a:lnTo>
                        <a:pt x="328" y="1595"/>
                      </a:lnTo>
                      <a:lnTo>
                        <a:pt x="328" y="1595"/>
                      </a:lnTo>
                      <a:lnTo>
                        <a:pt x="328" y="1596"/>
                      </a:lnTo>
                      <a:lnTo>
                        <a:pt x="329" y="1597"/>
                      </a:lnTo>
                      <a:lnTo>
                        <a:pt x="329" y="1597"/>
                      </a:lnTo>
                      <a:lnTo>
                        <a:pt x="328" y="1597"/>
                      </a:lnTo>
                      <a:lnTo>
                        <a:pt x="328" y="1599"/>
                      </a:lnTo>
                      <a:lnTo>
                        <a:pt x="328" y="1600"/>
                      </a:lnTo>
                      <a:lnTo>
                        <a:pt x="328" y="1603"/>
                      </a:lnTo>
                      <a:lnTo>
                        <a:pt x="328" y="1604"/>
                      </a:lnTo>
                      <a:lnTo>
                        <a:pt x="328" y="1604"/>
                      </a:lnTo>
                      <a:lnTo>
                        <a:pt x="328" y="1607"/>
                      </a:lnTo>
                      <a:lnTo>
                        <a:pt x="327" y="1609"/>
                      </a:lnTo>
                      <a:lnTo>
                        <a:pt x="328" y="1609"/>
                      </a:lnTo>
                      <a:lnTo>
                        <a:pt x="327" y="1609"/>
                      </a:lnTo>
                      <a:lnTo>
                        <a:pt x="328" y="1610"/>
                      </a:lnTo>
                      <a:lnTo>
                        <a:pt x="328" y="1611"/>
                      </a:lnTo>
                      <a:lnTo>
                        <a:pt x="328" y="1612"/>
                      </a:lnTo>
                      <a:lnTo>
                        <a:pt x="327" y="1612"/>
                      </a:lnTo>
                      <a:lnTo>
                        <a:pt x="327" y="1613"/>
                      </a:lnTo>
                      <a:lnTo>
                        <a:pt x="327" y="1613"/>
                      </a:lnTo>
                      <a:lnTo>
                        <a:pt x="327" y="1612"/>
                      </a:lnTo>
                      <a:lnTo>
                        <a:pt x="326" y="1612"/>
                      </a:lnTo>
                      <a:lnTo>
                        <a:pt x="326" y="1612"/>
                      </a:lnTo>
                      <a:lnTo>
                        <a:pt x="326" y="1611"/>
                      </a:lnTo>
                      <a:lnTo>
                        <a:pt x="325" y="1612"/>
                      </a:lnTo>
                      <a:lnTo>
                        <a:pt x="325" y="1613"/>
                      </a:lnTo>
                      <a:lnTo>
                        <a:pt x="326" y="1613"/>
                      </a:lnTo>
                      <a:lnTo>
                        <a:pt x="326" y="1614"/>
                      </a:lnTo>
                      <a:lnTo>
                        <a:pt x="325" y="1614"/>
                      </a:lnTo>
                      <a:lnTo>
                        <a:pt x="326" y="1614"/>
                      </a:lnTo>
                      <a:lnTo>
                        <a:pt x="326" y="1615"/>
                      </a:lnTo>
                      <a:lnTo>
                        <a:pt x="325" y="1615"/>
                      </a:lnTo>
                      <a:lnTo>
                        <a:pt x="325" y="1615"/>
                      </a:lnTo>
                      <a:lnTo>
                        <a:pt x="325" y="1614"/>
                      </a:lnTo>
                      <a:lnTo>
                        <a:pt x="325" y="1614"/>
                      </a:lnTo>
                      <a:lnTo>
                        <a:pt x="324" y="1615"/>
                      </a:lnTo>
                      <a:lnTo>
                        <a:pt x="325" y="1615"/>
                      </a:lnTo>
                      <a:lnTo>
                        <a:pt x="325" y="1616"/>
                      </a:lnTo>
                      <a:lnTo>
                        <a:pt x="324" y="1617"/>
                      </a:lnTo>
                      <a:lnTo>
                        <a:pt x="324" y="1617"/>
                      </a:lnTo>
                      <a:lnTo>
                        <a:pt x="322" y="1618"/>
                      </a:lnTo>
                      <a:lnTo>
                        <a:pt x="322" y="1618"/>
                      </a:lnTo>
                      <a:lnTo>
                        <a:pt x="321" y="1617"/>
                      </a:lnTo>
                      <a:lnTo>
                        <a:pt x="317" y="1618"/>
                      </a:lnTo>
                      <a:lnTo>
                        <a:pt x="316" y="1617"/>
                      </a:lnTo>
                      <a:lnTo>
                        <a:pt x="315" y="1617"/>
                      </a:lnTo>
                      <a:lnTo>
                        <a:pt x="313" y="1615"/>
                      </a:lnTo>
                      <a:lnTo>
                        <a:pt x="312" y="1615"/>
                      </a:lnTo>
                      <a:lnTo>
                        <a:pt x="311" y="1615"/>
                      </a:lnTo>
                      <a:lnTo>
                        <a:pt x="311" y="1614"/>
                      </a:lnTo>
                      <a:lnTo>
                        <a:pt x="311" y="1614"/>
                      </a:lnTo>
                      <a:lnTo>
                        <a:pt x="310" y="1613"/>
                      </a:lnTo>
                      <a:lnTo>
                        <a:pt x="310" y="1613"/>
                      </a:lnTo>
                      <a:lnTo>
                        <a:pt x="310" y="1613"/>
                      </a:lnTo>
                      <a:lnTo>
                        <a:pt x="310" y="1613"/>
                      </a:lnTo>
                      <a:lnTo>
                        <a:pt x="309" y="1612"/>
                      </a:lnTo>
                      <a:lnTo>
                        <a:pt x="308" y="1611"/>
                      </a:lnTo>
                      <a:lnTo>
                        <a:pt x="308" y="1610"/>
                      </a:lnTo>
                      <a:lnTo>
                        <a:pt x="308" y="1608"/>
                      </a:lnTo>
                      <a:lnTo>
                        <a:pt x="308" y="1607"/>
                      </a:lnTo>
                      <a:lnTo>
                        <a:pt x="308" y="1606"/>
                      </a:lnTo>
                      <a:lnTo>
                        <a:pt x="308" y="1604"/>
                      </a:lnTo>
                      <a:lnTo>
                        <a:pt x="308" y="1604"/>
                      </a:lnTo>
                      <a:lnTo>
                        <a:pt x="308" y="1603"/>
                      </a:lnTo>
                      <a:lnTo>
                        <a:pt x="309" y="1603"/>
                      </a:lnTo>
                      <a:lnTo>
                        <a:pt x="309" y="1602"/>
                      </a:lnTo>
                      <a:lnTo>
                        <a:pt x="309" y="1602"/>
                      </a:lnTo>
                      <a:lnTo>
                        <a:pt x="311" y="1602"/>
                      </a:lnTo>
                      <a:lnTo>
                        <a:pt x="311" y="1601"/>
                      </a:lnTo>
                      <a:lnTo>
                        <a:pt x="312" y="1601"/>
                      </a:lnTo>
                      <a:lnTo>
                        <a:pt x="313" y="1600"/>
                      </a:lnTo>
                      <a:lnTo>
                        <a:pt x="315" y="1600"/>
                      </a:lnTo>
                      <a:lnTo>
                        <a:pt x="317" y="1601"/>
                      </a:lnTo>
                      <a:lnTo>
                        <a:pt x="318" y="1601"/>
                      </a:lnTo>
                      <a:lnTo>
                        <a:pt x="318" y="1601"/>
                      </a:lnTo>
                      <a:lnTo>
                        <a:pt x="319" y="1600"/>
                      </a:lnTo>
                      <a:lnTo>
                        <a:pt x="319" y="1599"/>
                      </a:lnTo>
                      <a:lnTo>
                        <a:pt x="319" y="1598"/>
                      </a:lnTo>
                      <a:lnTo>
                        <a:pt x="318" y="1597"/>
                      </a:lnTo>
                      <a:lnTo>
                        <a:pt x="318" y="1596"/>
                      </a:lnTo>
                      <a:lnTo>
                        <a:pt x="318" y="1596"/>
                      </a:lnTo>
                      <a:lnTo>
                        <a:pt x="318" y="1595"/>
                      </a:lnTo>
                      <a:lnTo>
                        <a:pt x="319" y="1594"/>
                      </a:lnTo>
                      <a:lnTo>
                        <a:pt x="318" y="1594"/>
                      </a:lnTo>
                      <a:lnTo>
                        <a:pt x="318" y="1593"/>
                      </a:lnTo>
                      <a:lnTo>
                        <a:pt x="317" y="1592"/>
                      </a:lnTo>
                      <a:lnTo>
                        <a:pt x="318" y="1592"/>
                      </a:lnTo>
                      <a:lnTo>
                        <a:pt x="319" y="1592"/>
                      </a:lnTo>
                      <a:lnTo>
                        <a:pt x="319" y="1591"/>
                      </a:lnTo>
                      <a:lnTo>
                        <a:pt x="319" y="1591"/>
                      </a:lnTo>
                      <a:lnTo>
                        <a:pt x="320" y="1590"/>
                      </a:lnTo>
                      <a:lnTo>
                        <a:pt x="322" y="1590"/>
                      </a:lnTo>
                      <a:lnTo>
                        <a:pt x="322" y="1589"/>
                      </a:lnTo>
                      <a:lnTo>
                        <a:pt x="322" y="1589"/>
                      </a:lnTo>
                      <a:close/>
                      <a:moveTo>
                        <a:pt x="21" y="1587"/>
                      </a:moveTo>
                      <a:lnTo>
                        <a:pt x="21" y="1588"/>
                      </a:lnTo>
                      <a:lnTo>
                        <a:pt x="23" y="1587"/>
                      </a:lnTo>
                      <a:lnTo>
                        <a:pt x="23" y="1588"/>
                      </a:lnTo>
                      <a:lnTo>
                        <a:pt x="25" y="1588"/>
                      </a:lnTo>
                      <a:lnTo>
                        <a:pt x="26" y="1589"/>
                      </a:lnTo>
                      <a:lnTo>
                        <a:pt x="27" y="1589"/>
                      </a:lnTo>
                      <a:lnTo>
                        <a:pt x="28" y="1589"/>
                      </a:lnTo>
                      <a:lnTo>
                        <a:pt x="28" y="1589"/>
                      </a:lnTo>
                      <a:lnTo>
                        <a:pt x="30" y="1589"/>
                      </a:lnTo>
                      <a:lnTo>
                        <a:pt x="30" y="1589"/>
                      </a:lnTo>
                      <a:lnTo>
                        <a:pt x="30" y="1590"/>
                      </a:lnTo>
                      <a:lnTo>
                        <a:pt x="31" y="1590"/>
                      </a:lnTo>
                      <a:lnTo>
                        <a:pt x="31" y="1589"/>
                      </a:lnTo>
                      <a:lnTo>
                        <a:pt x="32" y="1589"/>
                      </a:lnTo>
                      <a:lnTo>
                        <a:pt x="32" y="1589"/>
                      </a:lnTo>
                      <a:lnTo>
                        <a:pt x="32" y="1590"/>
                      </a:lnTo>
                      <a:lnTo>
                        <a:pt x="31" y="1590"/>
                      </a:lnTo>
                      <a:lnTo>
                        <a:pt x="30" y="1590"/>
                      </a:lnTo>
                      <a:lnTo>
                        <a:pt x="30" y="1591"/>
                      </a:lnTo>
                      <a:lnTo>
                        <a:pt x="29" y="1591"/>
                      </a:lnTo>
                      <a:lnTo>
                        <a:pt x="29" y="1592"/>
                      </a:lnTo>
                      <a:lnTo>
                        <a:pt x="30" y="1592"/>
                      </a:lnTo>
                      <a:lnTo>
                        <a:pt x="32" y="1592"/>
                      </a:lnTo>
                      <a:lnTo>
                        <a:pt x="33" y="1592"/>
                      </a:lnTo>
                      <a:lnTo>
                        <a:pt x="33" y="1593"/>
                      </a:lnTo>
                      <a:lnTo>
                        <a:pt x="34" y="1593"/>
                      </a:lnTo>
                      <a:lnTo>
                        <a:pt x="35" y="1592"/>
                      </a:lnTo>
                      <a:lnTo>
                        <a:pt x="35" y="1593"/>
                      </a:lnTo>
                      <a:lnTo>
                        <a:pt x="36" y="1593"/>
                      </a:lnTo>
                      <a:lnTo>
                        <a:pt x="37" y="1592"/>
                      </a:lnTo>
                      <a:lnTo>
                        <a:pt x="37" y="1592"/>
                      </a:lnTo>
                      <a:lnTo>
                        <a:pt x="37" y="1593"/>
                      </a:lnTo>
                      <a:lnTo>
                        <a:pt x="38" y="1593"/>
                      </a:lnTo>
                      <a:lnTo>
                        <a:pt x="38" y="1593"/>
                      </a:lnTo>
                      <a:lnTo>
                        <a:pt x="38" y="1593"/>
                      </a:lnTo>
                      <a:lnTo>
                        <a:pt x="39" y="1594"/>
                      </a:lnTo>
                      <a:lnTo>
                        <a:pt x="40" y="1594"/>
                      </a:lnTo>
                      <a:lnTo>
                        <a:pt x="40" y="1594"/>
                      </a:lnTo>
                      <a:lnTo>
                        <a:pt x="40" y="1595"/>
                      </a:lnTo>
                      <a:lnTo>
                        <a:pt x="41" y="1595"/>
                      </a:lnTo>
                      <a:lnTo>
                        <a:pt x="42" y="1596"/>
                      </a:lnTo>
                      <a:lnTo>
                        <a:pt x="42" y="1596"/>
                      </a:lnTo>
                      <a:lnTo>
                        <a:pt x="42" y="1596"/>
                      </a:lnTo>
                      <a:lnTo>
                        <a:pt x="41" y="1596"/>
                      </a:lnTo>
                      <a:lnTo>
                        <a:pt x="40" y="1596"/>
                      </a:lnTo>
                      <a:lnTo>
                        <a:pt x="40" y="1595"/>
                      </a:lnTo>
                      <a:lnTo>
                        <a:pt x="40" y="1595"/>
                      </a:lnTo>
                      <a:lnTo>
                        <a:pt x="38" y="1595"/>
                      </a:lnTo>
                      <a:lnTo>
                        <a:pt x="37" y="1595"/>
                      </a:lnTo>
                      <a:lnTo>
                        <a:pt x="37" y="1595"/>
                      </a:lnTo>
                      <a:lnTo>
                        <a:pt x="36" y="1595"/>
                      </a:lnTo>
                      <a:lnTo>
                        <a:pt x="34" y="1595"/>
                      </a:lnTo>
                      <a:lnTo>
                        <a:pt x="33" y="1594"/>
                      </a:lnTo>
                      <a:lnTo>
                        <a:pt x="33" y="1594"/>
                      </a:lnTo>
                      <a:lnTo>
                        <a:pt x="33" y="1594"/>
                      </a:lnTo>
                      <a:lnTo>
                        <a:pt x="32" y="1594"/>
                      </a:lnTo>
                      <a:lnTo>
                        <a:pt x="31" y="1596"/>
                      </a:lnTo>
                      <a:lnTo>
                        <a:pt x="30" y="1596"/>
                      </a:lnTo>
                      <a:lnTo>
                        <a:pt x="29" y="1596"/>
                      </a:lnTo>
                      <a:lnTo>
                        <a:pt x="29" y="1598"/>
                      </a:lnTo>
                      <a:lnTo>
                        <a:pt x="29" y="1598"/>
                      </a:lnTo>
                      <a:lnTo>
                        <a:pt x="30" y="1598"/>
                      </a:lnTo>
                      <a:lnTo>
                        <a:pt x="31" y="1598"/>
                      </a:lnTo>
                      <a:lnTo>
                        <a:pt x="31" y="1598"/>
                      </a:lnTo>
                      <a:lnTo>
                        <a:pt x="32" y="1598"/>
                      </a:lnTo>
                      <a:lnTo>
                        <a:pt x="33" y="1598"/>
                      </a:lnTo>
                      <a:lnTo>
                        <a:pt x="34" y="1598"/>
                      </a:lnTo>
                      <a:lnTo>
                        <a:pt x="34" y="1598"/>
                      </a:lnTo>
                      <a:lnTo>
                        <a:pt x="36" y="1598"/>
                      </a:lnTo>
                      <a:lnTo>
                        <a:pt x="36" y="1598"/>
                      </a:lnTo>
                      <a:lnTo>
                        <a:pt x="36" y="1600"/>
                      </a:lnTo>
                      <a:lnTo>
                        <a:pt x="35" y="1600"/>
                      </a:lnTo>
                      <a:lnTo>
                        <a:pt x="35" y="1601"/>
                      </a:lnTo>
                      <a:lnTo>
                        <a:pt x="35" y="1601"/>
                      </a:lnTo>
                      <a:lnTo>
                        <a:pt x="34" y="1601"/>
                      </a:lnTo>
                      <a:lnTo>
                        <a:pt x="34" y="1601"/>
                      </a:lnTo>
                      <a:lnTo>
                        <a:pt x="34" y="1600"/>
                      </a:lnTo>
                      <a:lnTo>
                        <a:pt x="34" y="1601"/>
                      </a:lnTo>
                      <a:lnTo>
                        <a:pt x="33" y="1601"/>
                      </a:lnTo>
                      <a:lnTo>
                        <a:pt x="33" y="1601"/>
                      </a:lnTo>
                      <a:lnTo>
                        <a:pt x="33" y="1602"/>
                      </a:lnTo>
                      <a:lnTo>
                        <a:pt x="33" y="1602"/>
                      </a:lnTo>
                      <a:lnTo>
                        <a:pt x="32" y="1602"/>
                      </a:lnTo>
                      <a:lnTo>
                        <a:pt x="32" y="1602"/>
                      </a:lnTo>
                      <a:lnTo>
                        <a:pt x="30" y="1602"/>
                      </a:lnTo>
                      <a:lnTo>
                        <a:pt x="30" y="1601"/>
                      </a:lnTo>
                      <a:lnTo>
                        <a:pt x="30" y="1601"/>
                      </a:lnTo>
                      <a:lnTo>
                        <a:pt x="29" y="1602"/>
                      </a:lnTo>
                      <a:lnTo>
                        <a:pt x="29" y="1603"/>
                      </a:lnTo>
                      <a:lnTo>
                        <a:pt x="29" y="1603"/>
                      </a:lnTo>
                      <a:lnTo>
                        <a:pt x="28" y="1602"/>
                      </a:lnTo>
                      <a:lnTo>
                        <a:pt x="27" y="1602"/>
                      </a:lnTo>
                      <a:lnTo>
                        <a:pt x="27" y="1603"/>
                      </a:lnTo>
                      <a:lnTo>
                        <a:pt x="26" y="1603"/>
                      </a:lnTo>
                      <a:lnTo>
                        <a:pt x="23" y="1602"/>
                      </a:lnTo>
                      <a:lnTo>
                        <a:pt x="23" y="1601"/>
                      </a:lnTo>
                      <a:lnTo>
                        <a:pt x="25" y="1601"/>
                      </a:lnTo>
                      <a:lnTo>
                        <a:pt x="25" y="1600"/>
                      </a:lnTo>
                      <a:lnTo>
                        <a:pt x="23" y="1600"/>
                      </a:lnTo>
                      <a:lnTo>
                        <a:pt x="23" y="1599"/>
                      </a:lnTo>
                      <a:lnTo>
                        <a:pt x="22" y="1599"/>
                      </a:lnTo>
                      <a:lnTo>
                        <a:pt x="22" y="1598"/>
                      </a:lnTo>
                      <a:lnTo>
                        <a:pt x="22" y="1597"/>
                      </a:lnTo>
                      <a:lnTo>
                        <a:pt x="23" y="1597"/>
                      </a:lnTo>
                      <a:lnTo>
                        <a:pt x="23" y="1598"/>
                      </a:lnTo>
                      <a:lnTo>
                        <a:pt x="23" y="1598"/>
                      </a:lnTo>
                      <a:lnTo>
                        <a:pt x="23" y="1598"/>
                      </a:lnTo>
                      <a:lnTo>
                        <a:pt x="25" y="1598"/>
                      </a:lnTo>
                      <a:lnTo>
                        <a:pt x="26" y="1598"/>
                      </a:lnTo>
                      <a:lnTo>
                        <a:pt x="27" y="1598"/>
                      </a:lnTo>
                      <a:lnTo>
                        <a:pt x="27" y="1597"/>
                      </a:lnTo>
                      <a:lnTo>
                        <a:pt x="27" y="1597"/>
                      </a:lnTo>
                      <a:lnTo>
                        <a:pt x="28" y="1596"/>
                      </a:lnTo>
                      <a:lnTo>
                        <a:pt x="26" y="1595"/>
                      </a:lnTo>
                      <a:lnTo>
                        <a:pt x="25" y="1595"/>
                      </a:lnTo>
                      <a:lnTo>
                        <a:pt x="25" y="1596"/>
                      </a:lnTo>
                      <a:lnTo>
                        <a:pt x="25" y="1596"/>
                      </a:lnTo>
                      <a:lnTo>
                        <a:pt x="23" y="1595"/>
                      </a:lnTo>
                      <a:lnTo>
                        <a:pt x="22" y="1595"/>
                      </a:lnTo>
                      <a:lnTo>
                        <a:pt x="21" y="1594"/>
                      </a:lnTo>
                      <a:lnTo>
                        <a:pt x="21" y="1594"/>
                      </a:lnTo>
                      <a:lnTo>
                        <a:pt x="20" y="1594"/>
                      </a:lnTo>
                      <a:lnTo>
                        <a:pt x="20" y="1594"/>
                      </a:lnTo>
                      <a:lnTo>
                        <a:pt x="19" y="1594"/>
                      </a:lnTo>
                      <a:lnTo>
                        <a:pt x="18" y="1594"/>
                      </a:lnTo>
                      <a:lnTo>
                        <a:pt x="18" y="1593"/>
                      </a:lnTo>
                      <a:lnTo>
                        <a:pt x="18" y="1593"/>
                      </a:lnTo>
                      <a:lnTo>
                        <a:pt x="19" y="1592"/>
                      </a:lnTo>
                      <a:lnTo>
                        <a:pt x="20" y="1593"/>
                      </a:lnTo>
                      <a:lnTo>
                        <a:pt x="20" y="1591"/>
                      </a:lnTo>
                      <a:lnTo>
                        <a:pt x="21" y="1591"/>
                      </a:lnTo>
                      <a:lnTo>
                        <a:pt x="22" y="1590"/>
                      </a:lnTo>
                      <a:lnTo>
                        <a:pt x="21" y="1589"/>
                      </a:lnTo>
                      <a:lnTo>
                        <a:pt x="21" y="1589"/>
                      </a:lnTo>
                      <a:lnTo>
                        <a:pt x="21" y="1588"/>
                      </a:lnTo>
                      <a:lnTo>
                        <a:pt x="21" y="1587"/>
                      </a:lnTo>
                      <a:lnTo>
                        <a:pt x="21" y="1587"/>
                      </a:lnTo>
                      <a:close/>
                      <a:moveTo>
                        <a:pt x="68" y="1568"/>
                      </a:moveTo>
                      <a:lnTo>
                        <a:pt x="68" y="1568"/>
                      </a:lnTo>
                      <a:lnTo>
                        <a:pt x="68" y="1569"/>
                      </a:lnTo>
                      <a:lnTo>
                        <a:pt x="69" y="1569"/>
                      </a:lnTo>
                      <a:lnTo>
                        <a:pt x="69" y="1569"/>
                      </a:lnTo>
                      <a:lnTo>
                        <a:pt x="70" y="1570"/>
                      </a:lnTo>
                      <a:lnTo>
                        <a:pt x="70" y="1570"/>
                      </a:lnTo>
                      <a:lnTo>
                        <a:pt x="69" y="1571"/>
                      </a:lnTo>
                      <a:lnTo>
                        <a:pt x="69" y="1571"/>
                      </a:lnTo>
                      <a:lnTo>
                        <a:pt x="68" y="1571"/>
                      </a:lnTo>
                      <a:lnTo>
                        <a:pt x="67" y="1571"/>
                      </a:lnTo>
                      <a:lnTo>
                        <a:pt x="66" y="1571"/>
                      </a:lnTo>
                      <a:lnTo>
                        <a:pt x="66" y="1570"/>
                      </a:lnTo>
                      <a:lnTo>
                        <a:pt x="67" y="1569"/>
                      </a:lnTo>
                      <a:lnTo>
                        <a:pt x="67" y="1569"/>
                      </a:lnTo>
                      <a:lnTo>
                        <a:pt x="68" y="1569"/>
                      </a:lnTo>
                      <a:lnTo>
                        <a:pt x="67" y="1568"/>
                      </a:lnTo>
                      <a:lnTo>
                        <a:pt x="68" y="1568"/>
                      </a:lnTo>
                      <a:close/>
                      <a:moveTo>
                        <a:pt x="64" y="1568"/>
                      </a:moveTo>
                      <a:lnTo>
                        <a:pt x="64" y="1568"/>
                      </a:lnTo>
                      <a:lnTo>
                        <a:pt x="64" y="1568"/>
                      </a:lnTo>
                      <a:lnTo>
                        <a:pt x="65" y="1568"/>
                      </a:lnTo>
                      <a:lnTo>
                        <a:pt x="65" y="1568"/>
                      </a:lnTo>
                      <a:lnTo>
                        <a:pt x="65" y="1568"/>
                      </a:lnTo>
                      <a:lnTo>
                        <a:pt x="65" y="1569"/>
                      </a:lnTo>
                      <a:lnTo>
                        <a:pt x="66" y="1570"/>
                      </a:lnTo>
                      <a:lnTo>
                        <a:pt x="66" y="1571"/>
                      </a:lnTo>
                      <a:lnTo>
                        <a:pt x="65" y="1572"/>
                      </a:lnTo>
                      <a:lnTo>
                        <a:pt x="64" y="1572"/>
                      </a:lnTo>
                      <a:lnTo>
                        <a:pt x="63" y="1572"/>
                      </a:lnTo>
                      <a:lnTo>
                        <a:pt x="63" y="1571"/>
                      </a:lnTo>
                      <a:lnTo>
                        <a:pt x="62" y="1571"/>
                      </a:lnTo>
                      <a:lnTo>
                        <a:pt x="62" y="1570"/>
                      </a:lnTo>
                      <a:lnTo>
                        <a:pt x="62" y="1569"/>
                      </a:lnTo>
                      <a:lnTo>
                        <a:pt x="62" y="1569"/>
                      </a:lnTo>
                      <a:lnTo>
                        <a:pt x="62" y="1569"/>
                      </a:lnTo>
                      <a:lnTo>
                        <a:pt x="62" y="1568"/>
                      </a:lnTo>
                      <a:lnTo>
                        <a:pt x="63" y="1568"/>
                      </a:lnTo>
                      <a:lnTo>
                        <a:pt x="63" y="1568"/>
                      </a:lnTo>
                      <a:lnTo>
                        <a:pt x="63" y="1568"/>
                      </a:lnTo>
                      <a:lnTo>
                        <a:pt x="64" y="1568"/>
                      </a:lnTo>
                      <a:close/>
                      <a:moveTo>
                        <a:pt x="73" y="1558"/>
                      </a:moveTo>
                      <a:lnTo>
                        <a:pt x="73" y="1558"/>
                      </a:lnTo>
                      <a:lnTo>
                        <a:pt x="73" y="1558"/>
                      </a:lnTo>
                      <a:lnTo>
                        <a:pt x="74" y="1558"/>
                      </a:lnTo>
                      <a:lnTo>
                        <a:pt x="73" y="1558"/>
                      </a:lnTo>
                      <a:lnTo>
                        <a:pt x="73" y="1559"/>
                      </a:lnTo>
                      <a:lnTo>
                        <a:pt x="73" y="1559"/>
                      </a:lnTo>
                      <a:lnTo>
                        <a:pt x="73" y="1560"/>
                      </a:lnTo>
                      <a:lnTo>
                        <a:pt x="74" y="1561"/>
                      </a:lnTo>
                      <a:lnTo>
                        <a:pt x="74" y="1561"/>
                      </a:lnTo>
                      <a:lnTo>
                        <a:pt x="74" y="1562"/>
                      </a:lnTo>
                      <a:lnTo>
                        <a:pt x="74" y="1562"/>
                      </a:lnTo>
                      <a:lnTo>
                        <a:pt x="74" y="1562"/>
                      </a:lnTo>
                      <a:lnTo>
                        <a:pt x="72" y="1562"/>
                      </a:lnTo>
                      <a:lnTo>
                        <a:pt x="72" y="1564"/>
                      </a:lnTo>
                      <a:lnTo>
                        <a:pt x="72" y="1564"/>
                      </a:lnTo>
                      <a:lnTo>
                        <a:pt x="72" y="1565"/>
                      </a:lnTo>
                      <a:lnTo>
                        <a:pt x="72" y="1565"/>
                      </a:lnTo>
                      <a:lnTo>
                        <a:pt x="72" y="1565"/>
                      </a:lnTo>
                      <a:lnTo>
                        <a:pt x="71" y="1565"/>
                      </a:lnTo>
                      <a:lnTo>
                        <a:pt x="70" y="1565"/>
                      </a:lnTo>
                      <a:lnTo>
                        <a:pt x="70" y="1565"/>
                      </a:lnTo>
                      <a:lnTo>
                        <a:pt x="70" y="1565"/>
                      </a:lnTo>
                      <a:lnTo>
                        <a:pt x="70" y="1564"/>
                      </a:lnTo>
                      <a:lnTo>
                        <a:pt x="69" y="1564"/>
                      </a:lnTo>
                      <a:lnTo>
                        <a:pt x="68" y="1564"/>
                      </a:lnTo>
                      <a:lnTo>
                        <a:pt x="68" y="1564"/>
                      </a:lnTo>
                      <a:lnTo>
                        <a:pt x="68" y="1564"/>
                      </a:lnTo>
                      <a:lnTo>
                        <a:pt x="67" y="1564"/>
                      </a:lnTo>
                      <a:lnTo>
                        <a:pt x="66" y="1564"/>
                      </a:lnTo>
                      <a:lnTo>
                        <a:pt x="65" y="1563"/>
                      </a:lnTo>
                      <a:lnTo>
                        <a:pt x="65" y="1563"/>
                      </a:lnTo>
                      <a:lnTo>
                        <a:pt x="65" y="1562"/>
                      </a:lnTo>
                      <a:lnTo>
                        <a:pt x="65" y="1562"/>
                      </a:lnTo>
                      <a:lnTo>
                        <a:pt x="65" y="1562"/>
                      </a:lnTo>
                      <a:lnTo>
                        <a:pt x="66" y="1561"/>
                      </a:lnTo>
                      <a:lnTo>
                        <a:pt x="66" y="1561"/>
                      </a:lnTo>
                      <a:lnTo>
                        <a:pt x="67" y="1561"/>
                      </a:lnTo>
                      <a:lnTo>
                        <a:pt x="67" y="1561"/>
                      </a:lnTo>
                      <a:lnTo>
                        <a:pt x="68" y="1560"/>
                      </a:lnTo>
                      <a:lnTo>
                        <a:pt x="69" y="1561"/>
                      </a:lnTo>
                      <a:lnTo>
                        <a:pt x="69" y="1561"/>
                      </a:lnTo>
                      <a:lnTo>
                        <a:pt x="69" y="1562"/>
                      </a:lnTo>
                      <a:lnTo>
                        <a:pt x="70" y="1562"/>
                      </a:lnTo>
                      <a:lnTo>
                        <a:pt x="70" y="1561"/>
                      </a:lnTo>
                      <a:lnTo>
                        <a:pt x="71" y="1561"/>
                      </a:lnTo>
                      <a:lnTo>
                        <a:pt x="71" y="1563"/>
                      </a:lnTo>
                      <a:lnTo>
                        <a:pt x="70" y="1563"/>
                      </a:lnTo>
                      <a:lnTo>
                        <a:pt x="71" y="1564"/>
                      </a:lnTo>
                      <a:lnTo>
                        <a:pt x="71" y="1562"/>
                      </a:lnTo>
                      <a:lnTo>
                        <a:pt x="72" y="1562"/>
                      </a:lnTo>
                      <a:lnTo>
                        <a:pt x="71" y="1562"/>
                      </a:lnTo>
                      <a:lnTo>
                        <a:pt x="71" y="1561"/>
                      </a:lnTo>
                      <a:lnTo>
                        <a:pt x="70" y="1561"/>
                      </a:lnTo>
                      <a:lnTo>
                        <a:pt x="69" y="1560"/>
                      </a:lnTo>
                      <a:lnTo>
                        <a:pt x="68" y="1560"/>
                      </a:lnTo>
                      <a:lnTo>
                        <a:pt x="68" y="1560"/>
                      </a:lnTo>
                      <a:lnTo>
                        <a:pt x="68" y="1560"/>
                      </a:lnTo>
                      <a:lnTo>
                        <a:pt x="69" y="1560"/>
                      </a:lnTo>
                      <a:lnTo>
                        <a:pt x="69" y="1559"/>
                      </a:lnTo>
                      <a:lnTo>
                        <a:pt x="69" y="1559"/>
                      </a:lnTo>
                      <a:lnTo>
                        <a:pt x="70" y="1559"/>
                      </a:lnTo>
                      <a:lnTo>
                        <a:pt x="70" y="1559"/>
                      </a:lnTo>
                      <a:lnTo>
                        <a:pt x="70" y="1559"/>
                      </a:lnTo>
                      <a:lnTo>
                        <a:pt x="71" y="1558"/>
                      </a:lnTo>
                      <a:lnTo>
                        <a:pt x="71" y="1558"/>
                      </a:lnTo>
                      <a:lnTo>
                        <a:pt x="72" y="1558"/>
                      </a:lnTo>
                      <a:lnTo>
                        <a:pt x="72" y="1558"/>
                      </a:lnTo>
                      <a:lnTo>
                        <a:pt x="73" y="1558"/>
                      </a:lnTo>
                      <a:lnTo>
                        <a:pt x="73" y="1558"/>
                      </a:lnTo>
                      <a:close/>
                      <a:moveTo>
                        <a:pt x="47" y="1545"/>
                      </a:moveTo>
                      <a:lnTo>
                        <a:pt x="48" y="1546"/>
                      </a:lnTo>
                      <a:lnTo>
                        <a:pt x="48" y="1546"/>
                      </a:lnTo>
                      <a:lnTo>
                        <a:pt x="48" y="1546"/>
                      </a:lnTo>
                      <a:lnTo>
                        <a:pt x="48" y="1546"/>
                      </a:lnTo>
                      <a:lnTo>
                        <a:pt x="48" y="1548"/>
                      </a:lnTo>
                      <a:lnTo>
                        <a:pt x="48" y="1548"/>
                      </a:lnTo>
                      <a:lnTo>
                        <a:pt x="48" y="1549"/>
                      </a:lnTo>
                      <a:lnTo>
                        <a:pt x="49" y="1550"/>
                      </a:lnTo>
                      <a:lnTo>
                        <a:pt x="52" y="1550"/>
                      </a:lnTo>
                      <a:lnTo>
                        <a:pt x="53" y="1551"/>
                      </a:lnTo>
                      <a:lnTo>
                        <a:pt x="52" y="1552"/>
                      </a:lnTo>
                      <a:lnTo>
                        <a:pt x="52" y="1552"/>
                      </a:lnTo>
                      <a:lnTo>
                        <a:pt x="53" y="1552"/>
                      </a:lnTo>
                      <a:lnTo>
                        <a:pt x="53" y="1552"/>
                      </a:lnTo>
                      <a:lnTo>
                        <a:pt x="52" y="1553"/>
                      </a:lnTo>
                      <a:lnTo>
                        <a:pt x="53" y="1553"/>
                      </a:lnTo>
                      <a:lnTo>
                        <a:pt x="52" y="1553"/>
                      </a:lnTo>
                      <a:lnTo>
                        <a:pt x="52" y="1553"/>
                      </a:lnTo>
                      <a:lnTo>
                        <a:pt x="52" y="1554"/>
                      </a:lnTo>
                      <a:lnTo>
                        <a:pt x="52" y="1554"/>
                      </a:lnTo>
                      <a:lnTo>
                        <a:pt x="52" y="1554"/>
                      </a:lnTo>
                      <a:lnTo>
                        <a:pt x="51" y="1554"/>
                      </a:lnTo>
                      <a:lnTo>
                        <a:pt x="51" y="1555"/>
                      </a:lnTo>
                      <a:lnTo>
                        <a:pt x="52" y="1556"/>
                      </a:lnTo>
                      <a:lnTo>
                        <a:pt x="52" y="1556"/>
                      </a:lnTo>
                      <a:lnTo>
                        <a:pt x="50" y="1556"/>
                      </a:lnTo>
                      <a:lnTo>
                        <a:pt x="49" y="1557"/>
                      </a:lnTo>
                      <a:lnTo>
                        <a:pt x="49" y="1557"/>
                      </a:lnTo>
                      <a:lnTo>
                        <a:pt x="48" y="1558"/>
                      </a:lnTo>
                      <a:lnTo>
                        <a:pt x="47" y="1558"/>
                      </a:lnTo>
                      <a:lnTo>
                        <a:pt x="47" y="1558"/>
                      </a:lnTo>
                      <a:lnTo>
                        <a:pt x="47" y="1559"/>
                      </a:lnTo>
                      <a:lnTo>
                        <a:pt x="47" y="1559"/>
                      </a:lnTo>
                      <a:lnTo>
                        <a:pt x="47" y="1560"/>
                      </a:lnTo>
                      <a:lnTo>
                        <a:pt x="48" y="1560"/>
                      </a:lnTo>
                      <a:lnTo>
                        <a:pt x="50" y="1561"/>
                      </a:lnTo>
                      <a:lnTo>
                        <a:pt x="50" y="1561"/>
                      </a:lnTo>
                      <a:lnTo>
                        <a:pt x="50" y="1561"/>
                      </a:lnTo>
                      <a:lnTo>
                        <a:pt x="50" y="1562"/>
                      </a:lnTo>
                      <a:lnTo>
                        <a:pt x="51" y="1563"/>
                      </a:lnTo>
                      <a:lnTo>
                        <a:pt x="52" y="1563"/>
                      </a:lnTo>
                      <a:lnTo>
                        <a:pt x="52" y="1562"/>
                      </a:lnTo>
                      <a:lnTo>
                        <a:pt x="52" y="1562"/>
                      </a:lnTo>
                      <a:lnTo>
                        <a:pt x="52" y="1562"/>
                      </a:lnTo>
                      <a:lnTo>
                        <a:pt x="53" y="1562"/>
                      </a:lnTo>
                      <a:lnTo>
                        <a:pt x="53" y="1563"/>
                      </a:lnTo>
                      <a:lnTo>
                        <a:pt x="54" y="1563"/>
                      </a:lnTo>
                      <a:lnTo>
                        <a:pt x="54" y="1563"/>
                      </a:lnTo>
                      <a:lnTo>
                        <a:pt x="54" y="1564"/>
                      </a:lnTo>
                      <a:lnTo>
                        <a:pt x="55" y="1564"/>
                      </a:lnTo>
                      <a:lnTo>
                        <a:pt x="55" y="1563"/>
                      </a:lnTo>
                      <a:lnTo>
                        <a:pt x="55" y="1563"/>
                      </a:lnTo>
                      <a:lnTo>
                        <a:pt x="55" y="1563"/>
                      </a:lnTo>
                      <a:lnTo>
                        <a:pt x="55" y="1563"/>
                      </a:lnTo>
                      <a:lnTo>
                        <a:pt x="55" y="1564"/>
                      </a:lnTo>
                      <a:lnTo>
                        <a:pt x="56" y="1564"/>
                      </a:lnTo>
                      <a:lnTo>
                        <a:pt x="56" y="1564"/>
                      </a:lnTo>
                      <a:lnTo>
                        <a:pt x="57" y="1565"/>
                      </a:lnTo>
                      <a:lnTo>
                        <a:pt x="57" y="1566"/>
                      </a:lnTo>
                      <a:lnTo>
                        <a:pt x="58" y="1566"/>
                      </a:lnTo>
                      <a:lnTo>
                        <a:pt x="58" y="1566"/>
                      </a:lnTo>
                      <a:lnTo>
                        <a:pt x="58" y="1566"/>
                      </a:lnTo>
                      <a:lnTo>
                        <a:pt x="57" y="1566"/>
                      </a:lnTo>
                      <a:lnTo>
                        <a:pt x="57" y="1565"/>
                      </a:lnTo>
                      <a:lnTo>
                        <a:pt x="58" y="1565"/>
                      </a:lnTo>
                      <a:lnTo>
                        <a:pt x="58" y="1565"/>
                      </a:lnTo>
                      <a:lnTo>
                        <a:pt x="58" y="1565"/>
                      </a:lnTo>
                      <a:lnTo>
                        <a:pt x="59" y="1565"/>
                      </a:lnTo>
                      <a:lnTo>
                        <a:pt x="60" y="1565"/>
                      </a:lnTo>
                      <a:lnTo>
                        <a:pt x="60" y="1566"/>
                      </a:lnTo>
                      <a:lnTo>
                        <a:pt x="60" y="1566"/>
                      </a:lnTo>
                      <a:lnTo>
                        <a:pt x="60" y="1566"/>
                      </a:lnTo>
                      <a:lnTo>
                        <a:pt x="60" y="1566"/>
                      </a:lnTo>
                      <a:lnTo>
                        <a:pt x="59" y="1566"/>
                      </a:lnTo>
                      <a:lnTo>
                        <a:pt x="59" y="1566"/>
                      </a:lnTo>
                      <a:lnTo>
                        <a:pt x="60" y="1568"/>
                      </a:lnTo>
                      <a:lnTo>
                        <a:pt x="59" y="1568"/>
                      </a:lnTo>
                      <a:lnTo>
                        <a:pt x="59" y="1569"/>
                      </a:lnTo>
                      <a:lnTo>
                        <a:pt x="58" y="1569"/>
                      </a:lnTo>
                      <a:lnTo>
                        <a:pt x="58" y="1569"/>
                      </a:lnTo>
                      <a:lnTo>
                        <a:pt x="57" y="1568"/>
                      </a:lnTo>
                      <a:lnTo>
                        <a:pt x="57" y="1568"/>
                      </a:lnTo>
                      <a:lnTo>
                        <a:pt x="56" y="1568"/>
                      </a:lnTo>
                      <a:lnTo>
                        <a:pt x="56" y="1566"/>
                      </a:lnTo>
                      <a:lnTo>
                        <a:pt x="56" y="1566"/>
                      </a:lnTo>
                      <a:lnTo>
                        <a:pt x="56" y="1568"/>
                      </a:lnTo>
                      <a:lnTo>
                        <a:pt x="55" y="1568"/>
                      </a:lnTo>
                      <a:lnTo>
                        <a:pt x="54" y="1568"/>
                      </a:lnTo>
                      <a:lnTo>
                        <a:pt x="54" y="1568"/>
                      </a:lnTo>
                      <a:lnTo>
                        <a:pt x="54" y="1569"/>
                      </a:lnTo>
                      <a:lnTo>
                        <a:pt x="54" y="1569"/>
                      </a:lnTo>
                      <a:lnTo>
                        <a:pt x="54" y="1569"/>
                      </a:lnTo>
                      <a:lnTo>
                        <a:pt x="55" y="1569"/>
                      </a:lnTo>
                      <a:lnTo>
                        <a:pt x="56" y="1568"/>
                      </a:lnTo>
                      <a:lnTo>
                        <a:pt x="56" y="1568"/>
                      </a:lnTo>
                      <a:lnTo>
                        <a:pt x="56" y="1569"/>
                      </a:lnTo>
                      <a:lnTo>
                        <a:pt x="57" y="1569"/>
                      </a:lnTo>
                      <a:lnTo>
                        <a:pt x="57" y="1569"/>
                      </a:lnTo>
                      <a:lnTo>
                        <a:pt x="58" y="1569"/>
                      </a:lnTo>
                      <a:lnTo>
                        <a:pt x="58" y="1570"/>
                      </a:lnTo>
                      <a:lnTo>
                        <a:pt x="57" y="1570"/>
                      </a:lnTo>
                      <a:lnTo>
                        <a:pt x="57" y="1571"/>
                      </a:lnTo>
                      <a:lnTo>
                        <a:pt x="58" y="1571"/>
                      </a:lnTo>
                      <a:lnTo>
                        <a:pt x="59" y="1571"/>
                      </a:lnTo>
                      <a:lnTo>
                        <a:pt x="59" y="1571"/>
                      </a:lnTo>
                      <a:lnTo>
                        <a:pt x="60" y="1571"/>
                      </a:lnTo>
                      <a:lnTo>
                        <a:pt x="60" y="1572"/>
                      </a:lnTo>
                      <a:lnTo>
                        <a:pt x="62" y="1572"/>
                      </a:lnTo>
                      <a:lnTo>
                        <a:pt x="62" y="1572"/>
                      </a:lnTo>
                      <a:lnTo>
                        <a:pt x="62" y="1573"/>
                      </a:lnTo>
                      <a:lnTo>
                        <a:pt x="63" y="1573"/>
                      </a:lnTo>
                      <a:lnTo>
                        <a:pt x="63" y="1574"/>
                      </a:lnTo>
                      <a:lnTo>
                        <a:pt x="63" y="1574"/>
                      </a:lnTo>
                      <a:lnTo>
                        <a:pt x="62" y="1575"/>
                      </a:lnTo>
                      <a:lnTo>
                        <a:pt x="62" y="1576"/>
                      </a:lnTo>
                      <a:lnTo>
                        <a:pt x="62" y="1576"/>
                      </a:lnTo>
                      <a:lnTo>
                        <a:pt x="62" y="1576"/>
                      </a:lnTo>
                      <a:lnTo>
                        <a:pt x="63" y="1577"/>
                      </a:lnTo>
                      <a:lnTo>
                        <a:pt x="62" y="1577"/>
                      </a:lnTo>
                      <a:lnTo>
                        <a:pt x="60" y="1577"/>
                      </a:lnTo>
                      <a:lnTo>
                        <a:pt x="60" y="1576"/>
                      </a:lnTo>
                      <a:lnTo>
                        <a:pt x="59" y="1576"/>
                      </a:lnTo>
                      <a:lnTo>
                        <a:pt x="57" y="1576"/>
                      </a:lnTo>
                      <a:lnTo>
                        <a:pt x="57" y="1575"/>
                      </a:lnTo>
                      <a:lnTo>
                        <a:pt x="56" y="1575"/>
                      </a:lnTo>
                      <a:lnTo>
                        <a:pt x="56" y="1575"/>
                      </a:lnTo>
                      <a:lnTo>
                        <a:pt x="56" y="1576"/>
                      </a:lnTo>
                      <a:lnTo>
                        <a:pt x="56" y="1576"/>
                      </a:lnTo>
                      <a:lnTo>
                        <a:pt x="56" y="1576"/>
                      </a:lnTo>
                      <a:lnTo>
                        <a:pt x="56" y="1577"/>
                      </a:lnTo>
                      <a:lnTo>
                        <a:pt x="56" y="1577"/>
                      </a:lnTo>
                      <a:lnTo>
                        <a:pt x="56" y="1577"/>
                      </a:lnTo>
                      <a:lnTo>
                        <a:pt x="56" y="1578"/>
                      </a:lnTo>
                      <a:lnTo>
                        <a:pt x="56" y="1578"/>
                      </a:lnTo>
                      <a:lnTo>
                        <a:pt x="54" y="1578"/>
                      </a:lnTo>
                      <a:lnTo>
                        <a:pt x="54" y="1579"/>
                      </a:lnTo>
                      <a:lnTo>
                        <a:pt x="53" y="1579"/>
                      </a:lnTo>
                      <a:lnTo>
                        <a:pt x="53" y="1579"/>
                      </a:lnTo>
                      <a:lnTo>
                        <a:pt x="53" y="1579"/>
                      </a:lnTo>
                      <a:lnTo>
                        <a:pt x="53" y="1579"/>
                      </a:lnTo>
                      <a:lnTo>
                        <a:pt x="53" y="1579"/>
                      </a:lnTo>
                      <a:lnTo>
                        <a:pt x="52" y="1579"/>
                      </a:lnTo>
                      <a:lnTo>
                        <a:pt x="52" y="1580"/>
                      </a:lnTo>
                      <a:lnTo>
                        <a:pt x="52" y="1581"/>
                      </a:lnTo>
                      <a:lnTo>
                        <a:pt x="53" y="1580"/>
                      </a:lnTo>
                      <a:lnTo>
                        <a:pt x="53" y="1581"/>
                      </a:lnTo>
                      <a:lnTo>
                        <a:pt x="53" y="1582"/>
                      </a:lnTo>
                      <a:lnTo>
                        <a:pt x="52" y="1582"/>
                      </a:lnTo>
                      <a:lnTo>
                        <a:pt x="52" y="1581"/>
                      </a:lnTo>
                      <a:lnTo>
                        <a:pt x="51" y="1581"/>
                      </a:lnTo>
                      <a:lnTo>
                        <a:pt x="51" y="1582"/>
                      </a:lnTo>
                      <a:lnTo>
                        <a:pt x="52" y="1583"/>
                      </a:lnTo>
                      <a:lnTo>
                        <a:pt x="52" y="1583"/>
                      </a:lnTo>
                      <a:lnTo>
                        <a:pt x="52" y="1584"/>
                      </a:lnTo>
                      <a:lnTo>
                        <a:pt x="52" y="1584"/>
                      </a:lnTo>
                      <a:lnTo>
                        <a:pt x="51" y="1583"/>
                      </a:lnTo>
                      <a:lnTo>
                        <a:pt x="50" y="1584"/>
                      </a:lnTo>
                      <a:lnTo>
                        <a:pt x="50" y="1583"/>
                      </a:lnTo>
                      <a:lnTo>
                        <a:pt x="50" y="1583"/>
                      </a:lnTo>
                      <a:lnTo>
                        <a:pt x="49" y="1583"/>
                      </a:lnTo>
                      <a:lnTo>
                        <a:pt x="49" y="1583"/>
                      </a:lnTo>
                      <a:lnTo>
                        <a:pt x="49" y="1583"/>
                      </a:lnTo>
                      <a:lnTo>
                        <a:pt x="48" y="1583"/>
                      </a:lnTo>
                      <a:lnTo>
                        <a:pt x="49" y="1584"/>
                      </a:lnTo>
                      <a:lnTo>
                        <a:pt x="50" y="1585"/>
                      </a:lnTo>
                      <a:lnTo>
                        <a:pt x="50" y="1585"/>
                      </a:lnTo>
                      <a:lnTo>
                        <a:pt x="51" y="1586"/>
                      </a:lnTo>
                      <a:lnTo>
                        <a:pt x="51" y="1587"/>
                      </a:lnTo>
                      <a:lnTo>
                        <a:pt x="50" y="1587"/>
                      </a:lnTo>
                      <a:lnTo>
                        <a:pt x="50" y="1588"/>
                      </a:lnTo>
                      <a:lnTo>
                        <a:pt x="49" y="1588"/>
                      </a:lnTo>
                      <a:lnTo>
                        <a:pt x="49" y="1588"/>
                      </a:lnTo>
                      <a:lnTo>
                        <a:pt x="48" y="1588"/>
                      </a:lnTo>
                      <a:lnTo>
                        <a:pt x="48" y="1587"/>
                      </a:lnTo>
                      <a:lnTo>
                        <a:pt x="47" y="1588"/>
                      </a:lnTo>
                      <a:lnTo>
                        <a:pt x="47" y="1588"/>
                      </a:lnTo>
                      <a:lnTo>
                        <a:pt x="47" y="1588"/>
                      </a:lnTo>
                      <a:lnTo>
                        <a:pt x="47" y="1589"/>
                      </a:lnTo>
                      <a:lnTo>
                        <a:pt x="46" y="1589"/>
                      </a:lnTo>
                      <a:lnTo>
                        <a:pt x="46" y="1590"/>
                      </a:lnTo>
                      <a:lnTo>
                        <a:pt x="45" y="1590"/>
                      </a:lnTo>
                      <a:lnTo>
                        <a:pt x="45" y="1589"/>
                      </a:lnTo>
                      <a:lnTo>
                        <a:pt x="43" y="1589"/>
                      </a:lnTo>
                      <a:lnTo>
                        <a:pt x="43" y="1589"/>
                      </a:lnTo>
                      <a:lnTo>
                        <a:pt x="42" y="1590"/>
                      </a:lnTo>
                      <a:lnTo>
                        <a:pt x="42" y="1590"/>
                      </a:lnTo>
                      <a:lnTo>
                        <a:pt x="41" y="1589"/>
                      </a:lnTo>
                      <a:lnTo>
                        <a:pt x="40" y="1589"/>
                      </a:lnTo>
                      <a:lnTo>
                        <a:pt x="40" y="1589"/>
                      </a:lnTo>
                      <a:lnTo>
                        <a:pt x="40" y="1590"/>
                      </a:lnTo>
                      <a:lnTo>
                        <a:pt x="40" y="1590"/>
                      </a:lnTo>
                      <a:lnTo>
                        <a:pt x="39" y="1590"/>
                      </a:lnTo>
                      <a:lnTo>
                        <a:pt x="39" y="1589"/>
                      </a:lnTo>
                      <a:lnTo>
                        <a:pt x="39" y="1589"/>
                      </a:lnTo>
                      <a:lnTo>
                        <a:pt x="39" y="1589"/>
                      </a:lnTo>
                      <a:lnTo>
                        <a:pt x="39" y="1588"/>
                      </a:lnTo>
                      <a:lnTo>
                        <a:pt x="39" y="1588"/>
                      </a:lnTo>
                      <a:lnTo>
                        <a:pt x="39" y="1587"/>
                      </a:lnTo>
                      <a:lnTo>
                        <a:pt x="40" y="1586"/>
                      </a:lnTo>
                      <a:lnTo>
                        <a:pt x="39" y="1586"/>
                      </a:lnTo>
                      <a:lnTo>
                        <a:pt x="39" y="1586"/>
                      </a:lnTo>
                      <a:lnTo>
                        <a:pt x="38" y="1586"/>
                      </a:lnTo>
                      <a:lnTo>
                        <a:pt x="38" y="1586"/>
                      </a:lnTo>
                      <a:lnTo>
                        <a:pt x="38" y="1586"/>
                      </a:lnTo>
                      <a:lnTo>
                        <a:pt x="37" y="1587"/>
                      </a:lnTo>
                      <a:lnTo>
                        <a:pt x="37" y="1587"/>
                      </a:lnTo>
                      <a:lnTo>
                        <a:pt x="37" y="1587"/>
                      </a:lnTo>
                      <a:lnTo>
                        <a:pt x="36" y="1587"/>
                      </a:lnTo>
                      <a:lnTo>
                        <a:pt x="36" y="1589"/>
                      </a:lnTo>
                      <a:lnTo>
                        <a:pt x="35" y="1589"/>
                      </a:lnTo>
                      <a:lnTo>
                        <a:pt x="34" y="1589"/>
                      </a:lnTo>
                      <a:lnTo>
                        <a:pt x="34" y="1589"/>
                      </a:lnTo>
                      <a:lnTo>
                        <a:pt x="33" y="1589"/>
                      </a:lnTo>
                      <a:lnTo>
                        <a:pt x="32" y="1589"/>
                      </a:lnTo>
                      <a:lnTo>
                        <a:pt x="32" y="1588"/>
                      </a:lnTo>
                      <a:lnTo>
                        <a:pt x="30" y="1589"/>
                      </a:lnTo>
                      <a:lnTo>
                        <a:pt x="29" y="1588"/>
                      </a:lnTo>
                      <a:lnTo>
                        <a:pt x="28" y="1588"/>
                      </a:lnTo>
                      <a:lnTo>
                        <a:pt x="27" y="1587"/>
                      </a:lnTo>
                      <a:lnTo>
                        <a:pt x="23" y="1587"/>
                      </a:lnTo>
                      <a:lnTo>
                        <a:pt x="23" y="1586"/>
                      </a:lnTo>
                      <a:lnTo>
                        <a:pt x="22" y="1586"/>
                      </a:lnTo>
                      <a:lnTo>
                        <a:pt x="22" y="1585"/>
                      </a:lnTo>
                      <a:lnTo>
                        <a:pt x="22" y="1584"/>
                      </a:lnTo>
                      <a:lnTo>
                        <a:pt x="23" y="1584"/>
                      </a:lnTo>
                      <a:lnTo>
                        <a:pt x="23" y="1584"/>
                      </a:lnTo>
                      <a:lnTo>
                        <a:pt x="23" y="1583"/>
                      </a:lnTo>
                      <a:lnTo>
                        <a:pt x="23" y="1580"/>
                      </a:lnTo>
                      <a:lnTo>
                        <a:pt x="25" y="1580"/>
                      </a:lnTo>
                      <a:lnTo>
                        <a:pt x="25" y="1579"/>
                      </a:lnTo>
                      <a:lnTo>
                        <a:pt x="26" y="1579"/>
                      </a:lnTo>
                      <a:lnTo>
                        <a:pt x="27" y="1578"/>
                      </a:lnTo>
                      <a:lnTo>
                        <a:pt x="28" y="1578"/>
                      </a:lnTo>
                      <a:lnTo>
                        <a:pt x="28" y="1578"/>
                      </a:lnTo>
                      <a:lnTo>
                        <a:pt x="29" y="1578"/>
                      </a:lnTo>
                      <a:lnTo>
                        <a:pt x="30" y="1578"/>
                      </a:lnTo>
                      <a:lnTo>
                        <a:pt x="30" y="1579"/>
                      </a:lnTo>
                      <a:lnTo>
                        <a:pt x="31" y="1579"/>
                      </a:lnTo>
                      <a:lnTo>
                        <a:pt x="30" y="1578"/>
                      </a:lnTo>
                      <a:lnTo>
                        <a:pt x="30" y="1578"/>
                      </a:lnTo>
                      <a:lnTo>
                        <a:pt x="31" y="1578"/>
                      </a:lnTo>
                      <a:lnTo>
                        <a:pt x="31" y="1578"/>
                      </a:lnTo>
                      <a:lnTo>
                        <a:pt x="31" y="1579"/>
                      </a:lnTo>
                      <a:lnTo>
                        <a:pt x="32" y="1579"/>
                      </a:lnTo>
                      <a:lnTo>
                        <a:pt x="32" y="1578"/>
                      </a:lnTo>
                      <a:lnTo>
                        <a:pt x="32" y="1578"/>
                      </a:lnTo>
                      <a:lnTo>
                        <a:pt x="32" y="1578"/>
                      </a:lnTo>
                      <a:lnTo>
                        <a:pt x="33" y="1576"/>
                      </a:lnTo>
                      <a:lnTo>
                        <a:pt x="33" y="1576"/>
                      </a:lnTo>
                      <a:lnTo>
                        <a:pt x="32" y="1576"/>
                      </a:lnTo>
                      <a:lnTo>
                        <a:pt x="32" y="1575"/>
                      </a:lnTo>
                      <a:lnTo>
                        <a:pt x="31" y="1575"/>
                      </a:lnTo>
                      <a:lnTo>
                        <a:pt x="30" y="1574"/>
                      </a:lnTo>
                      <a:lnTo>
                        <a:pt x="31" y="1573"/>
                      </a:lnTo>
                      <a:lnTo>
                        <a:pt x="31" y="1573"/>
                      </a:lnTo>
                      <a:lnTo>
                        <a:pt x="32" y="1573"/>
                      </a:lnTo>
                      <a:lnTo>
                        <a:pt x="33" y="1573"/>
                      </a:lnTo>
                      <a:lnTo>
                        <a:pt x="34" y="1573"/>
                      </a:lnTo>
                      <a:lnTo>
                        <a:pt x="34" y="1573"/>
                      </a:lnTo>
                      <a:lnTo>
                        <a:pt x="34" y="1573"/>
                      </a:lnTo>
                      <a:lnTo>
                        <a:pt x="34" y="1572"/>
                      </a:lnTo>
                      <a:lnTo>
                        <a:pt x="34" y="1572"/>
                      </a:lnTo>
                      <a:lnTo>
                        <a:pt x="34" y="1571"/>
                      </a:lnTo>
                      <a:lnTo>
                        <a:pt x="34" y="1570"/>
                      </a:lnTo>
                      <a:lnTo>
                        <a:pt x="34" y="1570"/>
                      </a:lnTo>
                      <a:lnTo>
                        <a:pt x="34" y="1569"/>
                      </a:lnTo>
                      <a:lnTo>
                        <a:pt x="34" y="1569"/>
                      </a:lnTo>
                      <a:lnTo>
                        <a:pt x="34" y="1568"/>
                      </a:lnTo>
                      <a:lnTo>
                        <a:pt x="34" y="1568"/>
                      </a:lnTo>
                      <a:lnTo>
                        <a:pt x="34" y="1568"/>
                      </a:lnTo>
                      <a:lnTo>
                        <a:pt x="35" y="1568"/>
                      </a:lnTo>
                      <a:lnTo>
                        <a:pt x="35" y="1566"/>
                      </a:lnTo>
                      <a:lnTo>
                        <a:pt x="35" y="1566"/>
                      </a:lnTo>
                      <a:lnTo>
                        <a:pt x="35" y="1568"/>
                      </a:lnTo>
                      <a:lnTo>
                        <a:pt x="36" y="1568"/>
                      </a:lnTo>
                      <a:lnTo>
                        <a:pt x="36" y="1566"/>
                      </a:lnTo>
                      <a:lnTo>
                        <a:pt x="34" y="1565"/>
                      </a:lnTo>
                      <a:lnTo>
                        <a:pt x="34" y="1566"/>
                      </a:lnTo>
                      <a:lnTo>
                        <a:pt x="34" y="1565"/>
                      </a:lnTo>
                      <a:lnTo>
                        <a:pt x="33" y="1564"/>
                      </a:lnTo>
                      <a:lnTo>
                        <a:pt x="33" y="1564"/>
                      </a:lnTo>
                      <a:lnTo>
                        <a:pt x="33" y="1564"/>
                      </a:lnTo>
                      <a:lnTo>
                        <a:pt x="32" y="1564"/>
                      </a:lnTo>
                      <a:lnTo>
                        <a:pt x="32" y="1564"/>
                      </a:lnTo>
                      <a:lnTo>
                        <a:pt x="32" y="1564"/>
                      </a:lnTo>
                      <a:lnTo>
                        <a:pt x="31" y="1564"/>
                      </a:lnTo>
                      <a:lnTo>
                        <a:pt x="30" y="1564"/>
                      </a:lnTo>
                      <a:lnTo>
                        <a:pt x="30" y="1563"/>
                      </a:lnTo>
                      <a:lnTo>
                        <a:pt x="30" y="1562"/>
                      </a:lnTo>
                      <a:lnTo>
                        <a:pt x="32" y="1563"/>
                      </a:lnTo>
                      <a:lnTo>
                        <a:pt x="32" y="1562"/>
                      </a:lnTo>
                      <a:lnTo>
                        <a:pt x="32" y="1562"/>
                      </a:lnTo>
                      <a:lnTo>
                        <a:pt x="34" y="1562"/>
                      </a:lnTo>
                      <a:lnTo>
                        <a:pt x="34" y="1562"/>
                      </a:lnTo>
                      <a:lnTo>
                        <a:pt x="35" y="1562"/>
                      </a:lnTo>
                      <a:lnTo>
                        <a:pt x="36" y="1563"/>
                      </a:lnTo>
                      <a:lnTo>
                        <a:pt x="36" y="1563"/>
                      </a:lnTo>
                      <a:lnTo>
                        <a:pt x="36" y="1562"/>
                      </a:lnTo>
                      <a:lnTo>
                        <a:pt x="37" y="1562"/>
                      </a:lnTo>
                      <a:lnTo>
                        <a:pt x="37" y="1562"/>
                      </a:lnTo>
                      <a:lnTo>
                        <a:pt x="37" y="1562"/>
                      </a:lnTo>
                      <a:lnTo>
                        <a:pt x="38" y="1562"/>
                      </a:lnTo>
                      <a:lnTo>
                        <a:pt x="38" y="1562"/>
                      </a:lnTo>
                      <a:lnTo>
                        <a:pt x="39" y="1562"/>
                      </a:lnTo>
                      <a:lnTo>
                        <a:pt x="41" y="1561"/>
                      </a:lnTo>
                      <a:lnTo>
                        <a:pt x="42" y="1561"/>
                      </a:lnTo>
                      <a:lnTo>
                        <a:pt x="43" y="1560"/>
                      </a:lnTo>
                      <a:lnTo>
                        <a:pt x="43" y="1559"/>
                      </a:lnTo>
                      <a:lnTo>
                        <a:pt x="43" y="1559"/>
                      </a:lnTo>
                      <a:lnTo>
                        <a:pt x="44" y="1558"/>
                      </a:lnTo>
                      <a:lnTo>
                        <a:pt x="44" y="1558"/>
                      </a:lnTo>
                      <a:lnTo>
                        <a:pt x="44" y="1559"/>
                      </a:lnTo>
                      <a:lnTo>
                        <a:pt x="45" y="1558"/>
                      </a:lnTo>
                      <a:lnTo>
                        <a:pt x="45" y="1558"/>
                      </a:lnTo>
                      <a:lnTo>
                        <a:pt x="45" y="1558"/>
                      </a:lnTo>
                      <a:lnTo>
                        <a:pt x="46" y="1556"/>
                      </a:lnTo>
                      <a:lnTo>
                        <a:pt x="47" y="1552"/>
                      </a:lnTo>
                      <a:lnTo>
                        <a:pt x="46" y="1552"/>
                      </a:lnTo>
                      <a:lnTo>
                        <a:pt x="46" y="1551"/>
                      </a:lnTo>
                      <a:lnTo>
                        <a:pt x="46" y="1551"/>
                      </a:lnTo>
                      <a:lnTo>
                        <a:pt x="45" y="1551"/>
                      </a:lnTo>
                      <a:lnTo>
                        <a:pt x="45" y="1551"/>
                      </a:lnTo>
                      <a:lnTo>
                        <a:pt x="45" y="1550"/>
                      </a:lnTo>
                      <a:lnTo>
                        <a:pt x="46" y="1550"/>
                      </a:lnTo>
                      <a:lnTo>
                        <a:pt x="46" y="1550"/>
                      </a:lnTo>
                      <a:lnTo>
                        <a:pt x="45" y="1549"/>
                      </a:lnTo>
                      <a:lnTo>
                        <a:pt x="45" y="1549"/>
                      </a:lnTo>
                      <a:lnTo>
                        <a:pt x="45" y="1548"/>
                      </a:lnTo>
                      <a:lnTo>
                        <a:pt x="45" y="1548"/>
                      </a:lnTo>
                      <a:lnTo>
                        <a:pt x="45" y="1548"/>
                      </a:lnTo>
                      <a:lnTo>
                        <a:pt x="45" y="1546"/>
                      </a:lnTo>
                      <a:lnTo>
                        <a:pt x="45" y="1545"/>
                      </a:lnTo>
                      <a:lnTo>
                        <a:pt x="47" y="1545"/>
                      </a:lnTo>
                      <a:lnTo>
                        <a:pt x="47" y="1545"/>
                      </a:lnTo>
                      <a:close/>
                      <a:moveTo>
                        <a:pt x="282" y="1545"/>
                      </a:moveTo>
                      <a:lnTo>
                        <a:pt x="283" y="1546"/>
                      </a:lnTo>
                      <a:lnTo>
                        <a:pt x="283" y="1546"/>
                      </a:lnTo>
                      <a:lnTo>
                        <a:pt x="284" y="1546"/>
                      </a:lnTo>
                      <a:lnTo>
                        <a:pt x="286" y="1547"/>
                      </a:lnTo>
                      <a:lnTo>
                        <a:pt x="286" y="1547"/>
                      </a:lnTo>
                      <a:lnTo>
                        <a:pt x="287" y="1547"/>
                      </a:lnTo>
                      <a:lnTo>
                        <a:pt x="287" y="1547"/>
                      </a:lnTo>
                      <a:lnTo>
                        <a:pt x="287" y="1548"/>
                      </a:lnTo>
                      <a:lnTo>
                        <a:pt x="288" y="1549"/>
                      </a:lnTo>
                      <a:lnTo>
                        <a:pt x="289" y="1549"/>
                      </a:lnTo>
                      <a:lnTo>
                        <a:pt x="289" y="1550"/>
                      </a:lnTo>
                      <a:lnTo>
                        <a:pt x="290" y="1550"/>
                      </a:lnTo>
                      <a:lnTo>
                        <a:pt x="290" y="1549"/>
                      </a:lnTo>
                      <a:lnTo>
                        <a:pt x="291" y="1549"/>
                      </a:lnTo>
                      <a:lnTo>
                        <a:pt x="291" y="1551"/>
                      </a:lnTo>
                      <a:lnTo>
                        <a:pt x="292" y="1552"/>
                      </a:lnTo>
                      <a:lnTo>
                        <a:pt x="293" y="1553"/>
                      </a:lnTo>
                      <a:lnTo>
                        <a:pt x="293" y="1552"/>
                      </a:lnTo>
                      <a:lnTo>
                        <a:pt x="294" y="1552"/>
                      </a:lnTo>
                      <a:lnTo>
                        <a:pt x="295" y="1552"/>
                      </a:lnTo>
                      <a:lnTo>
                        <a:pt x="296" y="1553"/>
                      </a:lnTo>
                      <a:lnTo>
                        <a:pt x="297" y="1554"/>
                      </a:lnTo>
                      <a:lnTo>
                        <a:pt x="297" y="1554"/>
                      </a:lnTo>
                      <a:lnTo>
                        <a:pt x="297" y="1554"/>
                      </a:lnTo>
                      <a:lnTo>
                        <a:pt x="298" y="1555"/>
                      </a:lnTo>
                      <a:lnTo>
                        <a:pt x="298" y="1555"/>
                      </a:lnTo>
                      <a:lnTo>
                        <a:pt x="299" y="1556"/>
                      </a:lnTo>
                      <a:lnTo>
                        <a:pt x="299" y="1556"/>
                      </a:lnTo>
                      <a:lnTo>
                        <a:pt x="299" y="1557"/>
                      </a:lnTo>
                      <a:lnTo>
                        <a:pt x="300" y="1558"/>
                      </a:lnTo>
                      <a:lnTo>
                        <a:pt x="300" y="1559"/>
                      </a:lnTo>
                      <a:lnTo>
                        <a:pt x="300" y="1559"/>
                      </a:lnTo>
                      <a:lnTo>
                        <a:pt x="300" y="1560"/>
                      </a:lnTo>
                      <a:lnTo>
                        <a:pt x="299" y="1561"/>
                      </a:lnTo>
                      <a:lnTo>
                        <a:pt x="298" y="1561"/>
                      </a:lnTo>
                      <a:lnTo>
                        <a:pt x="298" y="1561"/>
                      </a:lnTo>
                      <a:lnTo>
                        <a:pt x="294" y="1562"/>
                      </a:lnTo>
                      <a:lnTo>
                        <a:pt x="293" y="1562"/>
                      </a:lnTo>
                      <a:lnTo>
                        <a:pt x="293" y="1563"/>
                      </a:lnTo>
                      <a:lnTo>
                        <a:pt x="294" y="1564"/>
                      </a:lnTo>
                      <a:lnTo>
                        <a:pt x="295" y="1564"/>
                      </a:lnTo>
                      <a:lnTo>
                        <a:pt x="298" y="1564"/>
                      </a:lnTo>
                      <a:lnTo>
                        <a:pt x="298" y="1564"/>
                      </a:lnTo>
                      <a:lnTo>
                        <a:pt x="301" y="1564"/>
                      </a:lnTo>
                      <a:lnTo>
                        <a:pt x="301" y="1565"/>
                      </a:lnTo>
                      <a:lnTo>
                        <a:pt x="302" y="1566"/>
                      </a:lnTo>
                      <a:lnTo>
                        <a:pt x="302" y="1566"/>
                      </a:lnTo>
                      <a:lnTo>
                        <a:pt x="301" y="1568"/>
                      </a:lnTo>
                      <a:lnTo>
                        <a:pt x="301" y="1568"/>
                      </a:lnTo>
                      <a:lnTo>
                        <a:pt x="301" y="1568"/>
                      </a:lnTo>
                      <a:lnTo>
                        <a:pt x="301" y="1569"/>
                      </a:lnTo>
                      <a:lnTo>
                        <a:pt x="301" y="1569"/>
                      </a:lnTo>
                      <a:lnTo>
                        <a:pt x="301" y="1570"/>
                      </a:lnTo>
                      <a:lnTo>
                        <a:pt x="300" y="1571"/>
                      </a:lnTo>
                      <a:lnTo>
                        <a:pt x="299" y="1572"/>
                      </a:lnTo>
                      <a:lnTo>
                        <a:pt x="300" y="1579"/>
                      </a:lnTo>
                      <a:lnTo>
                        <a:pt x="299" y="1580"/>
                      </a:lnTo>
                      <a:lnTo>
                        <a:pt x="299" y="1580"/>
                      </a:lnTo>
                      <a:lnTo>
                        <a:pt x="299" y="1580"/>
                      </a:lnTo>
                      <a:lnTo>
                        <a:pt x="298" y="1581"/>
                      </a:lnTo>
                      <a:lnTo>
                        <a:pt x="297" y="1582"/>
                      </a:lnTo>
                      <a:lnTo>
                        <a:pt x="297" y="1582"/>
                      </a:lnTo>
                      <a:lnTo>
                        <a:pt x="297" y="1583"/>
                      </a:lnTo>
                      <a:lnTo>
                        <a:pt x="297" y="1584"/>
                      </a:lnTo>
                      <a:lnTo>
                        <a:pt x="296" y="1584"/>
                      </a:lnTo>
                      <a:lnTo>
                        <a:pt x="296" y="1585"/>
                      </a:lnTo>
                      <a:lnTo>
                        <a:pt x="295" y="1586"/>
                      </a:lnTo>
                      <a:lnTo>
                        <a:pt x="295" y="1586"/>
                      </a:lnTo>
                      <a:lnTo>
                        <a:pt x="294" y="1586"/>
                      </a:lnTo>
                      <a:lnTo>
                        <a:pt x="292" y="1587"/>
                      </a:lnTo>
                      <a:lnTo>
                        <a:pt x="291" y="1588"/>
                      </a:lnTo>
                      <a:lnTo>
                        <a:pt x="291" y="1589"/>
                      </a:lnTo>
                      <a:lnTo>
                        <a:pt x="291" y="1589"/>
                      </a:lnTo>
                      <a:lnTo>
                        <a:pt x="291" y="1590"/>
                      </a:lnTo>
                      <a:lnTo>
                        <a:pt x="290" y="1590"/>
                      </a:lnTo>
                      <a:lnTo>
                        <a:pt x="290" y="1591"/>
                      </a:lnTo>
                      <a:lnTo>
                        <a:pt x="290" y="1591"/>
                      </a:lnTo>
                      <a:lnTo>
                        <a:pt x="290" y="1592"/>
                      </a:lnTo>
                      <a:lnTo>
                        <a:pt x="289" y="1592"/>
                      </a:lnTo>
                      <a:lnTo>
                        <a:pt x="289" y="1592"/>
                      </a:lnTo>
                      <a:lnTo>
                        <a:pt x="288" y="1592"/>
                      </a:lnTo>
                      <a:lnTo>
                        <a:pt x="288" y="1593"/>
                      </a:lnTo>
                      <a:lnTo>
                        <a:pt x="287" y="1593"/>
                      </a:lnTo>
                      <a:lnTo>
                        <a:pt x="287" y="1593"/>
                      </a:lnTo>
                      <a:lnTo>
                        <a:pt x="287" y="1593"/>
                      </a:lnTo>
                      <a:lnTo>
                        <a:pt x="287" y="1593"/>
                      </a:lnTo>
                      <a:lnTo>
                        <a:pt x="286" y="1593"/>
                      </a:lnTo>
                      <a:lnTo>
                        <a:pt x="284" y="1593"/>
                      </a:lnTo>
                      <a:lnTo>
                        <a:pt x="284" y="1593"/>
                      </a:lnTo>
                      <a:lnTo>
                        <a:pt x="283" y="1593"/>
                      </a:lnTo>
                      <a:lnTo>
                        <a:pt x="282" y="1593"/>
                      </a:lnTo>
                      <a:lnTo>
                        <a:pt x="282" y="1593"/>
                      </a:lnTo>
                      <a:lnTo>
                        <a:pt x="282" y="1592"/>
                      </a:lnTo>
                      <a:lnTo>
                        <a:pt x="281" y="1592"/>
                      </a:lnTo>
                      <a:lnTo>
                        <a:pt x="281" y="1590"/>
                      </a:lnTo>
                      <a:lnTo>
                        <a:pt x="280" y="1591"/>
                      </a:lnTo>
                      <a:lnTo>
                        <a:pt x="279" y="1590"/>
                      </a:lnTo>
                      <a:lnTo>
                        <a:pt x="280" y="1590"/>
                      </a:lnTo>
                      <a:lnTo>
                        <a:pt x="279" y="1589"/>
                      </a:lnTo>
                      <a:lnTo>
                        <a:pt x="279" y="1588"/>
                      </a:lnTo>
                      <a:lnTo>
                        <a:pt x="278" y="1588"/>
                      </a:lnTo>
                      <a:lnTo>
                        <a:pt x="278" y="1588"/>
                      </a:lnTo>
                      <a:lnTo>
                        <a:pt x="277" y="1588"/>
                      </a:lnTo>
                      <a:lnTo>
                        <a:pt x="276" y="1588"/>
                      </a:lnTo>
                      <a:lnTo>
                        <a:pt x="276" y="1587"/>
                      </a:lnTo>
                      <a:lnTo>
                        <a:pt x="275" y="1587"/>
                      </a:lnTo>
                      <a:lnTo>
                        <a:pt x="275" y="1587"/>
                      </a:lnTo>
                      <a:lnTo>
                        <a:pt x="275" y="1587"/>
                      </a:lnTo>
                      <a:lnTo>
                        <a:pt x="274" y="1586"/>
                      </a:lnTo>
                      <a:lnTo>
                        <a:pt x="274" y="1585"/>
                      </a:lnTo>
                      <a:lnTo>
                        <a:pt x="274" y="1585"/>
                      </a:lnTo>
                      <a:lnTo>
                        <a:pt x="274" y="1584"/>
                      </a:lnTo>
                      <a:lnTo>
                        <a:pt x="274" y="1584"/>
                      </a:lnTo>
                      <a:lnTo>
                        <a:pt x="274" y="1583"/>
                      </a:lnTo>
                      <a:lnTo>
                        <a:pt x="273" y="1582"/>
                      </a:lnTo>
                      <a:lnTo>
                        <a:pt x="273" y="1581"/>
                      </a:lnTo>
                      <a:lnTo>
                        <a:pt x="273" y="1581"/>
                      </a:lnTo>
                      <a:lnTo>
                        <a:pt x="272" y="1580"/>
                      </a:lnTo>
                      <a:lnTo>
                        <a:pt x="272" y="1580"/>
                      </a:lnTo>
                      <a:lnTo>
                        <a:pt x="272" y="1579"/>
                      </a:lnTo>
                      <a:lnTo>
                        <a:pt x="271" y="1578"/>
                      </a:lnTo>
                      <a:lnTo>
                        <a:pt x="271" y="1578"/>
                      </a:lnTo>
                      <a:lnTo>
                        <a:pt x="271" y="1579"/>
                      </a:lnTo>
                      <a:lnTo>
                        <a:pt x="269" y="1578"/>
                      </a:lnTo>
                      <a:lnTo>
                        <a:pt x="269" y="1578"/>
                      </a:lnTo>
                      <a:lnTo>
                        <a:pt x="268" y="1577"/>
                      </a:lnTo>
                      <a:lnTo>
                        <a:pt x="267" y="1577"/>
                      </a:lnTo>
                      <a:lnTo>
                        <a:pt x="267" y="1576"/>
                      </a:lnTo>
                      <a:lnTo>
                        <a:pt x="267" y="1576"/>
                      </a:lnTo>
                      <a:lnTo>
                        <a:pt x="267" y="1576"/>
                      </a:lnTo>
                      <a:lnTo>
                        <a:pt x="266" y="1576"/>
                      </a:lnTo>
                      <a:lnTo>
                        <a:pt x="266" y="1575"/>
                      </a:lnTo>
                      <a:lnTo>
                        <a:pt x="265" y="1575"/>
                      </a:lnTo>
                      <a:lnTo>
                        <a:pt x="265" y="1574"/>
                      </a:lnTo>
                      <a:lnTo>
                        <a:pt x="263" y="1573"/>
                      </a:lnTo>
                      <a:lnTo>
                        <a:pt x="263" y="1572"/>
                      </a:lnTo>
                      <a:lnTo>
                        <a:pt x="262" y="1572"/>
                      </a:lnTo>
                      <a:lnTo>
                        <a:pt x="262" y="1571"/>
                      </a:lnTo>
                      <a:lnTo>
                        <a:pt x="261" y="1571"/>
                      </a:lnTo>
                      <a:lnTo>
                        <a:pt x="261" y="1570"/>
                      </a:lnTo>
                      <a:lnTo>
                        <a:pt x="260" y="1570"/>
                      </a:lnTo>
                      <a:lnTo>
                        <a:pt x="260" y="1571"/>
                      </a:lnTo>
                      <a:lnTo>
                        <a:pt x="260" y="1571"/>
                      </a:lnTo>
                      <a:lnTo>
                        <a:pt x="259" y="1569"/>
                      </a:lnTo>
                      <a:lnTo>
                        <a:pt x="258" y="1568"/>
                      </a:lnTo>
                      <a:lnTo>
                        <a:pt x="257" y="1568"/>
                      </a:lnTo>
                      <a:lnTo>
                        <a:pt x="257" y="1568"/>
                      </a:lnTo>
                      <a:lnTo>
                        <a:pt x="256" y="1566"/>
                      </a:lnTo>
                      <a:lnTo>
                        <a:pt x="255" y="1565"/>
                      </a:lnTo>
                      <a:lnTo>
                        <a:pt x="255" y="1564"/>
                      </a:lnTo>
                      <a:lnTo>
                        <a:pt x="256" y="1564"/>
                      </a:lnTo>
                      <a:lnTo>
                        <a:pt x="257" y="1564"/>
                      </a:lnTo>
                      <a:lnTo>
                        <a:pt x="257" y="1564"/>
                      </a:lnTo>
                      <a:lnTo>
                        <a:pt x="258" y="1564"/>
                      </a:lnTo>
                      <a:lnTo>
                        <a:pt x="258" y="1564"/>
                      </a:lnTo>
                      <a:lnTo>
                        <a:pt x="259" y="1563"/>
                      </a:lnTo>
                      <a:lnTo>
                        <a:pt x="260" y="1562"/>
                      </a:lnTo>
                      <a:lnTo>
                        <a:pt x="260" y="1560"/>
                      </a:lnTo>
                      <a:lnTo>
                        <a:pt x="261" y="1560"/>
                      </a:lnTo>
                      <a:lnTo>
                        <a:pt x="261" y="1559"/>
                      </a:lnTo>
                      <a:lnTo>
                        <a:pt x="262" y="1559"/>
                      </a:lnTo>
                      <a:lnTo>
                        <a:pt x="262" y="1558"/>
                      </a:lnTo>
                      <a:lnTo>
                        <a:pt x="263" y="1558"/>
                      </a:lnTo>
                      <a:lnTo>
                        <a:pt x="263" y="1558"/>
                      </a:lnTo>
                      <a:lnTo>
                        <a:pt x="265" y="1557"/>
                      </a:lnTo>
                      <a:lnTo>
                        <a:pt x="266" y="1556"/>
                      </a:lnTo>
                      <a:lnTo>
                        <a:pt x="266" y="1556"/>
                      </a:lnTo>
                      <a:lnTo>
                        <a:pt x="266" y="1555"/>
                      </a:lnTo>
                      <a:lnTo>
                        <a:pt x="266" y="1555"/>
                      </a:lnTo>
                      <a:lnTo>
                        <a:pt x="267" y="1555"/>
                      </a:lnTo>
                      <a:lnTo>
                        <a:pt x="267" y="1553"/>
                      </a:lnTo>
                      <a:lnTo>
                        <a:pt x="267" y="1553"/>
                      </a:lnTo>
                      <a:lnTo>
                        <a:pt x="268" y="1552"/>
                      </a:lnTo>
                      <a:lnTo>
                        <a:pt x="269" y="1551"/>
                      </a:lnTo>
                      <a:lnTo>
                        <a:pt x="269" y="1551"/>
                      </a:lnTo>
                      <a:lnTo>
                        <a:pt x="270" y="1550"/>
                      </a:lnTo>
                      <a:lnTo>
                        <a:pt x="271" y="1550"/>
                      </a:lnTo>
                      <a:lnTo>
                        <a:pt x="274" y="1547"/>
                      </a:lnTo>
                      <a:lnTo>
                        <a:pt x="276" y="1548"/>
                      </a:lnTo>
                      <a:lnTo>
                        <a:pt x="277" y="1548"/>
                      </a:lnTo>
                      <a:lnTo>
                        <a:pt x="277" y="1548"/>
                      </a:lnTo>
                      <a:lnTo>
                        <a:pt x="277" y="1549"/>
                      </a:lnTo>
                      <a:lnTo>
                        <a:pt x="278" y="1548"/>
                      </a:lnTo>
                      <a:lnTo>
                        <a:pt x="278" y="1548"/>
                      </a:lnTo>
                      <a:lnTo>
                        <a:pt x="278" y="1548"/>
                      </a:lnTo>
                      <a:lnTo>
                        <a:pt x="278" y="1547"/>
                      </a:lnTo>
                      <a:lnTo>
                        <a:pt x="279" y="1547"/>
                      </a:lnTo>
                      <a:lnTo>
                        <a:pt x="279" y="1547"/>
                      </a:lnTo>
                      <a:lnTo>
                        <a:pt x="278" y="1547"/>
                      </a:lnTo>
                      <a:lnTo>
                        <a:pt x="278" y="1547"/>
                      </a:lnTo>
                      <a:lnTo>
                        <a:pt x="279" y="1546"/>
                      </a:lnTo>
                      <a:lnTo>
                        <a:pt x="280" y="1545"/>
                      </a:lnTo>
                      <a:lnTo>
                        <a:pt x="282" y="1545"/>
                      </a:lnTo>
                      <a:lnTo>
                        <a:pt x="282" y="1545"/>
                      </a:lnTo>
                      <a:close/>
                      <a:moveTo>
                        <a:pt x="59" y="1544"/>
                      </a:moveTo>
                      <a:lnTo>
                        <a:pt x="59" y="1545"/>
                      </a:lnTo>
                      <a:lnTo>
                        <a:pt x="62" y="1545"/>
                      </a:lnTo>
                      <a:lnTo>
                        <a:pt x="63" y="1547"/>
                      </a:lnTo>
                      <a:lnTo>
                        <a:pt x="63" y="1547"/>
                      </a:lnTo>
                      <a:lnTo>
                        <a:pt x="63" y="1547"/>
                      </a:lnTo>
                      <a:lnTo>
                        <a:pt x="63" y="1547"/>
                      </a:lnTo>
                      <a:lnTo>
                        <a:pt x="64" y="1548"/>
                      </a:lnTo>
                      <a:lnTo>
                        <a:pt x="64" y="1548"/>
                      </a:lnTo>
                      <a:lnTo>
                        <a:pt x="63" y="1549"/>
                      </a:lnTo>
                      <a:lnTo>
                        <a:pt x="62" y="1549"/>
                      </a:lnTo>
                      <a:lnTo>
                        <a:pt x="62" y="1549"/>
                      </a:lnTo>
                      <a:lnTo>
                        <a:pt x="62" y="1549"/>
                      </a:lnTo>
                      <a:lnTo>
                        <a:pt x="62" y="1550"/>
                      </a:lnTo>
                      <a:lnTo>
                        <a:pt x="62" y="1550"/>
                      </a:lnTo>
                      <a:lnTo>
                        <a:pt x="60" y="1551"/>
                      </a:lnTo>
                      <a:lnTo>
                        <a:pt x="59" y="1552"/>
                      </a:lnTo>
                      <a:lnTo>
                        <a:pt x="58" y="1552"/>
                      </a:lnTo>
                      <a:lnTo>
                        <a:pt x="58" y="1552"/>
                      </a:lnTo>
                      <a:lnTo>
                        <a:pt x="57" y="1552"/>
                      </a:lnTo>
                      <a:lnTo>
                        <a:pt x="57" y="1552"/>
                      </a:lnTo>
                      <a:lnTo>
                        <a:pt x="56" y="1551"/>
                      </a:lnTo>
                      <a:lnTo>
                        <a:pt x="56" y="1550"/>
                      </a:lnTo>
                      <a:lnTo>
                        <a:pt x="56" y="1549"/>
                      </a:lnTo>
                      <a:lnTo>
                        <a:pt x="57" y="1549"/>
                      </a:lnTo>
                      <a:lnTo>
                        <a:pt x="58" y="1547"/>
                      </a:lnTo>
                      <a:lnTo>
                        <a:pt x="58" y="1547"/>
                      </a:lnTo>
                      <a:lnTo>
                        <a:pt x="57" y="1546"/>
                      </a:lnTo>
                      <a:lnTo>
                        <a:pt x="57" y="1546"/>
                      </a:lnTo>
                      <a:lnTo>
                        <a:pt x="58" y="1545"/>
                      </a:lnTo>
                      <a:lnTo>
                        <a:pt x="58" y="1544"/>
                      </a:lnTo>
                      <a:lnTo>
                        <a:pt x="58" y="1545"/>
                      </a:lnTo>
                      <a:lnTo>
                        <a:pt x="59" y="1544"/>
                      </a:lnTo>
                      <a:lnTo>
                        <a:pt x="59" y="1544"/>
                      </a:lnTo>
                      <a:lnTo>
                        <a:pt x="59" y="1544"/>
                      </a:lnTo>
                      <a:close/>
                      <a:moveTo>
                        <a:pt x="83" y="1533"/>
                      </a:moveTo>
                      <a:lnTo>
                        <a:pt x="83" y="1533"/>
                      </a:lnTo>
                      <a:lnTo>
                        <a:pt x="84" y="1533"/>
                      </a:lnTo>
                      <a:lnTo>
                        <a:pt x="84" y="1533"/>
                      </a:lnTo>
                      <a:lnTo>
                        <a:pt x="84" y="1533"/>
                      </a:lnTo>
                      <a:lnTo>
                        <a:pt x="84" y="1533"/>
                      </a:lnTo>
                      <a:lnTo>
                        <a:pt x="85" y="1533"/>
                      </a:lnTo>
                      <a:lnTo>
                        <a:pt x="84" y="1535"/>
                      </a:lnTo>
                      <a:lnTo>
                        <a:pt x="85" y="1536"/>
                      </a:lnTo>
                      <a:lnTo>
                        <a:pt x="84" y="1536"/>
                      </a:lnTo>
                      <a:lnTo>
                        <a:pt x="84" y="1537"/>
                      </a:lnTo>
                      <a:lnTo>
                        <a:pt x="84" y="1537"/>
                      </a:lnTo>
                      <a:lnTo>
                        <a:pt x="84" y="1537"/>
                      </a:lnTo>
                      <a:lnTo>
                        <a:pt x="84" y="1537"/>
                      </a:lnTo>
                      <a:lnTo>
                        <a:pt x="84" y="1538"/>
                      </a:lnTo>
                      <a:lnTo>
                        <a:pt x="84" y="1539"/>
                      </a:lnTo>
                      <a:lnTo>
                        <a:pt x="84" y="1539"/>
                      </a:lnTo>
                      <a:lnTo>
                        <a:pt x="83" y="1540"/>
                      </a:lnTo>
                      <a:lnTo>
                        <a:pt x="83" y="1541"/>
                      </a:lnTo>
                      <a:lnTo>
                        <a:pt x="83" y="1542"/>
                      </a:lnTo>
                      <a:lnTo>
                        <a:pt x="83" y="1543"/>
                      </a:lnTo>
                      <a:lnTo>
                        <a:pt x="83" y="1543"/>
                      </a:lnTo>
                      <a:lnTo>
                        <a:pt x="82" y="1542"/>
                      </a:lnTo>
                      <a:lnTo>
                        <a:pt x="82" y="1543"/>
                      </a:lnTo>
                      <a:lnTo>
                        <a:pt x="82" y="1543"/>
                      </a:lnTo>
                      <a:lnTo>
                        <a:pt x="81" y="1543"/>
                      </a:lnTo>
                      <a:lnTo>
                        <a:pt x="80" y="1543"/>
                      </a:lnTo>
                      <a:lnTo>
                        <a:pt x="79" y="1543"/>
                      </a:lnTo>
                      <a:lnTo>
                        <a:pt x="79" y="1542"/>
                      </a:lnTo>
                      <a:lnTo>
                        <a:pt x="78" y="1542"/>
                      </a:lnTo>
                      <a:lnTo>
                        <a:pt x="79" y="1543"/>
                      </a:lnTo>
                      <a:lnTo>
                        <a:pt x="80" y="1543"/>
                      </a:lnTo>
                      <a:lnTo>
                        <a:pt x="80" y="1543"/>
                      </a:lnTo>
                      <a:lnTo>
                        <a:pt x="81" y="1543"/>
                      </a:lnTo>
                      <a:lnTo>
                        <a:pt x="81" y="1543"/>
                      </a:lnTo>
                      <a:lnTo>
                        <a:pt x="82" y="1544"/>
                      </a:lnTo>
                      <a:lnTo>
                        <a:pt x="82" y="1544"/>
                      </a:lnTo>
                      <a:lnTo>
                        <a:pt x="83" y="1544"/>
                      </a:lnTo>
                      <a:lnTo>
                        <a:pt x="83" y="1544"/>
                      </a:lnTo>
                      <a:lnTo>
                        <a:pt x="82" y="1545"/>
                      </a:lnTo>
                      <a:lnTo>
                        <a:pt x="82" y="1545"/>
                      </a:lnTo>
                      <a:lnTo>
                        <a:pt x="82" y="1546"/>
                      </a:lnTo>
                      <a:lnTo>
                        <a:pt x="82" y="1546"/>
                      </a:lnTo>
                      <a:lnTo>
                        <a:pt x="82" y="1546"/>
                      </a:lnTo>
                      <a:lnTo>
                        <a:pt x="82" y="1546"/>
                      </a:lnTo>
                      <a:lnTo>
                        <a:pt x="81" y="1547"/>
                      </a:lnTo>
                      <a:lnTo>
                        <a:pt x="82" y="1547"/>
                      </a:lnTo>
                      <a:lnTo>
                        <a:pt x="81" y="1547"/>
                      </a:lnTo>
                      <a:lnTo>
                        <a:pt x="81" y="1547"/>
                      </a:lnTo>
                      <a:lnTo>
                        <a:pt x="80" y="1548"/>
                      </a:lnTo>
                      <a:lnTo>
                        <a:pt x="80" y="1548"/>
                      </a:lnTo>
                      <a:lnTo>
                        <a:pt x="79" y="1547"/>
                      </a:lnTo>
                      <a:lnTo>
                        <a:pt x="78" y="1547"/>
                      </a:lnTo>
                      <a:lnTo>
                        <a:pt x="77" y="1547"/>
                      </a:lnTo>
                      <a:lnTo>
                        <a:pt x="77" y="1546"/>
                      </a:lnTo>
                      <a:lnTo>
                        <a:pt x="77" y="1546"/>
                      </a:lnTo>
                      <a:lnTo>
                        <a:pt x="76" y="1545"/>
                      </a:lnTo>
                      <a:lnTo>
                        <a:pt x="76" y="1545"/>
                      </a:lnTo>
                      <a:lnTo>
                        <a:pt x="76" y="1544"/>
                      </a:lnTo>
                      <a:lnTo>
                        <a:pt x="76" y="1544"/>
                      </a:lnTo>
                      <a:lnTo>
                        <a:pt x="76" y="1543"/>
                      </a:lnTo>
                      <a:lnTo>
                        <a:pt x="76" y="1543"/>
                      </a:lnTo>
                      <a:lnTo>
                        <a:pt x="76" y="1543"/>
                      </a:lnTo>
                      <a:lnTo>
                        <a:pt x="76" y="1542"/>
                      </a:lnTo>
                      <a:lnTo>
                        <a:pt x="76" y="1542"/>
                      </a:lnTo>
                      <a:lnTo>
                        <a:pt x="77" y="1541"/>
                      </a:lnTo>
                      <a:lnTo>
                        <a:pt x="77" y="1540"/>
                      </a:lnTo>
                      <a:lnTo>
                        <a:pt x="77" y="1539"/>
                      </a:lnTo>
                      <a:lnTo>
                        <a:pt x="76" y="1538"/>
                      </a:lnTo>
                      <a:lnTo>
                        <a:pt x="75" y="1538"/>
                      </a:lnTo>
                      <a:lnTo>
                        <a:pt x="76" y="1538"/>
                      </a:lnTo>
                      <a:lnTo>
                        <a:pt x="76" y="1537"/>
                      </a:lnTo>
                      <a:lnTo>
                        <a:pt x="76" y="1536"/>
                      </a:lnTo>
                      <a:lnTo>
                        <a:pt x="76" y="1536"/>
                      </a:lnTo>
                      <a:lnTo>
                        <a:pt x="75" y="1535"/>
                      </a:lnTo>
                      <a:lnTo>
                        <a:pt x="75" y="1535"/>
                      </a:lnTo>
                      <a:lnTo>
                        <a:pt x="76" y="1535"/>
                      </a:lnTo>
                      <a:lnTo>
                        <a:pt x="75" y="1534"/>
                      </a:lnTo>
                      <a:lnTo>
                        <a:pt x="76" y="1534"/>
                      </a:lnTo>
                      <a:lnTo>
                        <a:pt x="78" y="1535"/>
                      </a:lnTo>
                      <a:lnTo>
                        <a:pt x="78" y="1535"/>
                      </a:lnTo>
                      <a:lnTo>
                        <a:pt x="79" y="1534"/>
                      </a:lnTo>
                      <a:lnTo>
                        <a:pt x="79" y="1534"/>
                      </a:lnTo>
                      <a:lnTo>
                        <a:pt x="79" y="1533"/>
                      </a:lnTo>
                      <a:lnTo>
                        <a:pt x="80" y="1534"/>
                      </a:lnTo>
                      <a:lnTo>
                        <a:pt x="80" y="1534"/>
                      </a:lnTo>
                      <a:lnTo>
                        <a:pt x="81" y="1534"/>
                      </a:lnTo>
                      <a:lnTo>
                        <a:pt x="81" y="1534"/>
                      </a:lnTo>
                      <a:lnTo>
                        <a:pt x="81" y="1534"/>
                      </a:lnTo>
                      <a:lnTo>
                        <a:pt x="81" y="1534"/>
                      </a:lnTo>
                      <a:lnTo>
                        <a:pt x="82" y="1534"/>
                      </a:lnTo>
                      <a:lnTo>
                        <a:pt x="82" y="1534"/>
                      </a:lnTo>
                      <a:lnTo>
                        <a:pt x="83" y="1533"/>
                      </a:lnTo>
                      <a:close/>
                      <a:moveTo>
                        <a:pt x="309" y="1504"/>
                      </a:moveTo>
                      <a:lnTo>
                        <a:pt x="309" y="1504"/>
                      </a:lnTo>
                      <a:lnTo>
                        <a:pt x="310" y="1505"/>
                      </a:lnTo>
                      <a:lnTo>
                        <a:pt x="311" y="1505"/>
                      </a:lnTo>
                      <a:lnTo>
                        <a:pt x="312" y="1505"/>
                      </a:lnTo>
                      <a:lnTo>
                        <a:pt x="313" y="1505"/>
                      </a:lnTo>
                      <a:lnTo>
                        <a:pt x="314" y="1507"/>
                      </a:lnTo>
                      <a:lnTo>
                        <a:pt x="314" y="1508"/>
                      </a:lnTo>
                      <a:lnTo>
                        <a:pt x="313" y="1508"/>
                      </a:lnTo>
                      <a:lnTo>
                        <a:pt x="313" y="1510"/>
                      </a:lnTo>
                      <a:lnTo>
                        <a:pt x="312" y="1511"/>
                      </a:lnTo>
                      <a:lnTo>
                        <a:pt x="311" y="1511"/>
                      </a:lnTo>
                      <a:lnTo>
                        <a:pt x="311" y="1511"/>
                      </a:lnTo>
                      <a:lnTo>
                        <a:pt x="310" y="1511"/>
                      </a:lnTo>
                      <a:lnTo>
                        <a:pt x="309" y="1511"/>
                      </a:lnTo>
                      <a:lnTo>
                        <a:pt x="309" y="1511"/>
                      </a:lnTo>
                      <a:lnTo>
                        <a:pt x="308" y="1511"/>
                      </a:lnTo>
                      <a:lnTo>
                        <a:pt x="308" y="1510"/>
                      </a:lnTo>
                      <a:lnTo>
                        <a:pt x="308" y="1510"/>
                      </a:lnTo>
                      <a:lnTo>
                        <a:pt x="307" y="1511"/>
                      </a:lnTo>
                      <a:lnTo>
                        <a:pt x="307" y="1512"/>
                      </a:lnTo>
                      <a:lnTo>
                        <a:pt x="308" y="1513"/>
                      </a:lnTo>
                      <a:lnTo>
                        <a:pt x="308" y="1514"/>
                      </a:lnTo>
                      <a:lnTo>
                        <a:pt x="309" y="1514"/>
                      </a:lnTo>
                      <a:lnTo>
                        <a:pt x="309" y="1514"/>
                      </a:lnTo>
                      <a:lnTo>
                        <a:pt x="309" y="1515"/>
                      </a:lnTo>
                      <a:lnTo>
                        <a:pt x="309" y="1515"/>
                      </a:lnTo>
                      <a:lnTo>
                        <a:pt x="309" y="1515"/>
                      </a:lnTo>
                      <a:lnTo>
                        <a:pt x="308" y="1516"/>
                      </a:lnTo>
                      <a:lnTo>
                        <a:pt x="307" y="1516"/>
                      </a:lnTo>
                      <a:lnTo>
                        <a:pt x="307" y="1517"/>
                      </a:lnTo>
                      <a:lnTo>
                        <a:pt x="307" y="1517"/>
                      </a:lnTo>
                      <a:lnTo>
                        <a:pt x="306" y="1518"/>
                      </a:lnTo>
                      <a:lnTo>
                        <a:pt x="306" y="1518"/>
                      </a:lnTo>
                      <a:lnTo>
                        <a:pt x="305" y="1518"/>
                      </a:lnTo>
                      <a:lnTo>
                        <a:pt x="305" y="1518"/>
                      </a:lnTo>
                      <a:lnTo>
                        <a:pt x="303" y="1518"/>
                      </a:lnTo>
                      <a:lnTo>
                        <a:pt x="302" y="1517"/>
                      </a:lnTo>
                      <a:lnTo>
                        <a:pt x="302" y="1517"/>
                      </a:lnTo>
                      <a:lnTo>
                        <a:pt x="302" y="1517"/>
                      </a:lnTo>
                      <a:lnTo>
                        <a:pt x="302" y="1516"/>
                      </a:lnTo>
                      <a:lnTo>
                        <a:pt x="301" y="1516"/>
                      </a:lnTo>
                      <a:lnTo>
                        <a:pt x="301" y="1516"/>
                      </a:lnTo>
                      <a:lnTo>
                        <a:pt x="299" y="1514"/>
                      </a:lnTo>
                      <a:lnTo>
                        <a:pt x="299" y="1513"/>
                      </a:lnTo>
                      <a:lnTo>
                        <a:pt x="298" y="1512"/>
                      </a:lnTo>
                      <a:lnTo>
                        <a:pt x="298" y="1510"/>
                      </a:lnTo>
                      <a:lnTo>
                        <a:pt x="299" y="1509"/>
                      </a:lnTo>
                      <a:lnTo>
                        <a:pt x="301" y="1509"/>
                      </a:lnTo>
                      <a:lnTo>
                        <a:pt x="301" y="1508"/>
                      </a:lnTo>
                      <a:lnTo>
                        <a:pt x="302" y="1508"/>
                      </a:lnTo>
                      <a:lnTo>
                        <a:pt x="302" y="1508"/>
                      </a:lnTo>
                      <a:lnTo>
                        <a:pt x="303" y="1508"/>
                      </a:lnTo>
                      <a:lnTo>
                        <a:pt x="303" y="1507"/>
                      </a:lnTo>
                      <a:lnTo>
                        <a:pt x="305" y="1507"/>
                      </a:lnTo>
                      <a:lnTo>
                        <a:pt x="306" y="1508"/>
                      </a:lnTo>
                      <a:lnTo>
                        <a:pt x="306" y="1509"/>
                      </a:lnTo>
                      <a:lnTo>
                        <a:pt x="306" y="1509"/>
                      </a:lnTo>
                      <a:lnTo>
                        <a:pt x="306" y="1508"/>
                      </a:lnTo>
                      <a:lnTo>
                        <a:pt x="305" y="1507"/>
                      </a:lnTo>
                      <a:lnTo>
                        <a:pt x="305" y="1507"/>
                      </a:lnTo>
                      <a:lnTo>
                        <a:pt x="306" y="1507"/>
                      </a:lnTo>
                      <a:lnTo>
                        <a:pt x="306" y="1506"/>
                      </a:lnTo>
                      <a:lnTo>
                        <a:pt x="306" y="1505"/>
                      </a:lnTo>
                      <a:lnTo>
                        <a:pt x="307" y="1504"/>
                      </a:lnTo>
                      <a:lnTo>
                        <a:pt x="307" y="1505"/>
                      </a:lnTo>
                      <a:lnTo>
                        <a:pt x="309" y="1504"/>
                      </a:lnTo>
                      <a:close/>
                      <a:moveTo>
                        <a:pt x="352" y="1442"/>
                      </a:moveTo>
                      <a:lnTo>
                        <a:pt x="353" y="1443"/>
                      </a:lnTo>
                      <a:lnTo>
                        <a:pt x="354" y="1442"/>
                      </a:lnTo>
                      <a:lnTo>
                        <a:pt x="354" y="1442"/>
                      </a:lnTo>
                      <a:lnTo>
                        <a:pt x="354" y="1443"/>
                      </a:lnTo>
                      <a:lnTo>
                        <a:pt x="355" y="1442"/>
                      </a:lnTo>
                      <a:lnTo>
                        <a:pt x="356" y="1443"/>
                      </a:lnTo>
                      <a:lnTo>
                        <a:pt x="356" y="1443"/>
                      </a:lnTo>
                      <a:lnTo>
                        <a:pt x="357" y="1444"/>
                      </a:lnTo>
                      <a:lnTo>
                        <a:pt x="358" y="1444"/>
                      </a:lnTo>
                      <a:lnTo>
                        <a:pt x="359" y="1443"/>
                      </a:lnTo>
                      <a:lnTo>
                        <a:pt x="359" y="1443"/>
                      </a:lnTo>
                      <a:lnTo>
                        <a:pt x="361" y="1444"/>
                      </a:lnTo>
                      <a:lnTo>
                        <a:pt x="362" y="1444"/>
                      </a:lnTo>
                      <a:lnTo>
                        <a:pt x="362" y="1445"/>
                      </a:lnTo>
                      <a:lnTo>
                        <a:pt x="363" y="1445"/>
                      </a:lnTo>
                      <a:lnTo>
                        <a:pt x="363" y="1445"/>
                      </a:lnTo>
                      <a:lnTo>
                        <a:pt x="363" y="1444"/>
                      </a:lnTo>
                      <a:lnTo>
                        <a:pt x="363" y="1445"/>
                      </a:lnTo>
                      <a:lnTo>
                        <a:pt x="364" y="1446"/>
                      </a:lnTo>
                      <a:lnTo>
                        <a:pt x="365" y="1446"/>
                      </a:lnTo>
                      <a:lnTo>
                        <a:pt x="366" y="1447"/>
                      </a:lnTo>
                      <a:lnTo>
                        <a:pt x="368" y="1449"/>
                      </a:lnTo>
                      <a:lnTo>
                        <a:pt x="368" y="1449"/>
                      </a:lnTo>
                      <a:lnTo>
                        <a:pt x="369" y="1451"/>
                      </a:lnTo>
                      <a:lnTo>
                        <a:pt x="369" y="1452"/>
                      </a:lnTo>
                      <a:lnTo>
                        <a:pt x="369" y="1452"/>
                      </a:lnTo>
                      <a:lnTo>
                        <a:pt x="369" y="1454"/>
                      </a:lnTo>
                      <a:lnTo>
                        <a:pt x="369" y="1454"/>
                      </a:lnTo>
                      <a:lnTo>
                        <a:pt x="369" y="1455"/>
                      </a:lnTo>
                      <a:lnTo>
                        <a:pt x="368" y="1456"/>
                      </a:lnTo>
                      <a:lnTo>
                        <a:pt x="367" y="1456"/>
                      </a:lnTo>
                      <a:lnTo>
                        <a:pt x="368" y="1457"/>
                      </a:lnTo>
                      <a:lnTo>
                        <a:pt x="368" y="1458"/>
                      </a:lnTo>
                      <a:lnTo>
                        <a:pt x="368" y="1459"/>
                      </a:lnTo>
                      <a:lnTo>
                        <a:pt x="367" y="1459"/>
                      </a:lnTo>
                      <a:lnTo>
                        <a:pt x="367" y="1460"/>
                      </a:lnTo>
                      <a:lnTo>
                        <a:pt x="367" y="1460"/>
                      </a:lnTo>
                      <a:lnTo>
                        <a:pt x="367" y="1459"/>
                      </a:lnTo>
                      <a:lnTo>
                        <a:pt x="366" y="1459"/>
                      </a:lnTo>
                      <a:lnTo>
                        <a:pt x="366" y="1460"/>
                      </a:lnTo>
                      <a:lnTo>
                        <a:pt x="366" y="1461"/>
                      </a:lnTo>
                      <a:lnTo>
                        <a:pt x="365" y="1462"/>
                      </a:lnTo>
                      <a:lnTo>
                        <a:pt x="364" y="1462"/>
                      </a:lnTo>
                      <a:lnTo>
                        <a:pt x="363" y="1462"/>
                      </a:lnTo>
                      <a:lnTo>
                        <a:pt x="362" y="1462"/>
                      </a:lnTo>
                      <a:lnTo>
                        <a:pt x="361" y="1463"/>
                      </a:lnTo>
                      <a:lnTo>
                        <a:pt x="357" y="1462"/>
                      </a:lnTo>
                      <a:lnTo>
                        <a:pt x="356" y="1462"/>
                      </a:lnTo>
                      <a:lnTo>
                        <a:pt x="356" y="1462"/>
                      </a:lnTo>
                      <a:lnTo>
                        <a:pt x="355" y="1462"/>
                      </a:lnTo>
                      <a:lnTo>
                        <a:pt x="355" y="1462"/>
                      </a:lnTo>
                      <a:lnTo>
                        <a:pt x="354" y="1461"/>
                      </a:lnTo>
                      <a:lnTo>
                        <a:pt x="354" y="1460"/>
                      </a:lnTo>
                      <a:lnTo>
                        <a:pt x="353" y="1459"/>
                      </a:lnTo>
                      <a:lnTo>
                        <a:pt x="352" y="1458"/>
                      </a:lnTo>
                      <a:lnTo>
                        <a:pt x="352" y="1458"/>
                      </a:lnTo>
                      <a:lnTo>
                        <a:pt x="351" y="1458"/>
                      </a:lnTo>
                      <a:lnTo>
                        <a:pt x="351" y="1457"/>
                      </a:lnTo>
                      <a:lnTo>
                        <a:pt x="350" y="1457"/>
                      </a:lnTo>
                      <a:lnTo>
                        <a:pt x="350" y="1456"/>
                      </a:lnTo>
                      <a:lnTo>
                        <a:pt x="350" y="1456"/>
                      </a:lnTo>
                      <a:lnTo>
                        <a:pt x="350" y="1456"/>
                      </a:lnTo>
                      <a:lnTo>
                        <a:pt x="348" y="1452"/>
                      </a:lnTo>
                      <a:lnTo>
                        <a:pt x="347" y="1451"/>
                      </a:lnTo>
                      <a:lnTo>
                        <a:pt x="347" y="1451"/>
                      </a:lnTo>
                      <a:lnTo>
                        <a:pt x="347" y="1450"/>
                      </a:lnTo>
                      <a:lnTo>
                        <a:pt x="347" y="1450"/>
                      </a:lnTo>
                      <a:lnTo>
                        <a:pt x="347" y="1448"/>
                      </a:lnTo>
                      <a:lnTo>
                        <a:pt x="347" y="1448"/>
                      </a:lnTo>
                      <a:lnTo>
                        <a:pt x="347" y="1446"/>
                      </a:lnTo>
                      <a:lnTo>
                        <a:pt x="348" y="1445"/>
                      </a:lnTo>
                      <a:lnTo>
                        <a:pt x="348" y="1444"/>
                      </a:lnTo>
                      <a:lnTo>
                        <a:pt x="348" y="1444"/>
                      </a:lnTo>
                      <a:lnTo>
                        <a:pt x="349" y="1443"/>
                      </a:lnTo>
                      <a:lnTo>
                        <a:pt x="350" y="1444"/>
                      </a:lnTo>
                      <a:lnTo>
                        <a:pt x="350" y="1442"/>
                      </a:lnTo>
                      <a:lnTo>
                        <a:pt x="351" y="1442"/>
                      </a:lnTo>
                      <a:lnTo>
                        <a:pt x="352" y="1442"/>
                      </a:lnTo>
                      <a:close/>
                      <a:moveTo>
                        <a:pt x="96" y="1433"/>
                      </a:moveTo>
                      <a:lnTo>
                        <a:pt x="97" y="1433"/>
                      </a:lnTo>
                      <a:lnTo>
                        <a:pt x="97" y="1434"/>
                      </a:lnTo>
                      <a:lnTo>
                        <a:pt x="97" y="1435"/>
                      </a:lnTo>
                      <a:lnTo>
                        <a:pt x="97" y="1435"/>
                      </a:lnTo>
                      <a:lnTo>
                        <a:pt x="96" y="1435"/>
                      </a:lnTo>
                      <a:lnTo>
                        <a:pt x="95" y="1436"/>
                      </a:lnTo>
                      <a:lnTo>
                        <a:pt x="95" y="1436"/>
                      </a:lnTo>
                      <a:lnTo>
                        <a:pt x="95" y="1436"/>
                      </a:lnTo>
                      <a:lnTo>
                        <a:pt x="95" y="1436"/>
                      </a:lnTo>
                      <a:lnTo>
                        <a:pt x="94" y="1435"/>
                      </a:lnTo>
                      <a:lnTo>
                        <a:pt x="95" y="1434"/>
                      </a:lnTo>
                      <a:lnTo>
                        <a:pt x="96" y="1433"/>
                      </a:lnTo>
                      <a:lnTo>
                        <a:pt x="96" y="1433"/>
                      </a:lnTo>
                      <a:lnTo>
                        <a:pt x="96" y="1433"/>
                      </a:lnTo>
                      <a:close/>
                      <a:moveTo>
                        <a:pt x="102" y="1408"/>
                      </a:moveTo>
                      <a:lnTo>
                        <a:pt x="102" y="1409"/>
                      </a:lnTo>
                      <a:lnTo>
                        <a:pt x="101" y="1409"/>
                      </a:lnTo>
                      <a:lnTo>
                        <a:pt x="101" y="1409"/>
                      </a:lnTo>
                      <a:lnTo>
                        <a:pt x="101" y="1411"/>
                      </a:lnTo>
                      <a:lnTo>
                        <a:pt x="101" y="1412"/>
                      </a:lnTo>
                      <a:lnTo>
                        <a:pt x="101" y="1413"/>
                      </a:lnTo>
                      <a:lnTo>
                        <a:pt x="101" y="1413"/>
                      </a:lnTo>
                      <a:lnTo>
                        <a:pt x="101" y="1412"/>
                      </a:lnTo>
                      <a:lnTo>
                        <a:pt x="102" y="1411"/>
                      </a:lnTo>
                      <a:lnTo>
                        <a:pt x="102" y="1410"/>
                      </a:lnTo>
                      <a:lnTo>
                        <a:pt x="102" y="1411"/>
                      </a:lnTo>
                      <a:lnTo>
                        <a:pt x="103" y="1411"/>
                      </a:lnTo>
                      <a:lnTo>
                        <a:pt x="102" y="1412"/>
                      </a:lnTo>
                      <a:lnTo>
                        <a:pt x="102" y="1414"/>
                      </a:lnTo>
                      <a:lnTo>
                        <a:pt x="102" y="1416"/>
                      </a:lnTo>
                      <a:lnTo>
                        <a:pt x="102" y="1416"/>
                      </a:lnTo>
                      <a:lnTo>
                        <a:pt x="101" y="1416"/>
                      </a:lnTo>
                      <a:lnTo>
                        <a:pt x="100" y="1416"/>
                      </a:lnTo>
                      <a:lnTo>
                        <a:pt x="100" y="1417"/>
                      </a:lnTo>
                      <a:lnTo>
                        <a:pt x="98" y="1418"/>
                      </a:lnTo>
                      <a:lnTo>
                        <a:pt x="98" y="1418"/>
                      </a:lnTo>
                      <a:lnTo>
                        <a:pt x="97" y="1418"/>
                      </a:lnTo>
                      <a:lnTo>
                        <a:pt x="97" y="1418"/>
                      </a:lnTo>
                      <a:lnTo>
                        <a:pt x="96" y="1418"/>
                      </a:lnTo>
                      <a:lnTo>
                        <a:pt x="97" y="1418"/>
                      </a:lnTo>
                      <a:lnTo>
                        <a:pt x="97" y="1418"/>
                      </a:lnTo>
                      <a:lnTo>
                        <a:pt x="97" y="1418"/>
                      </a:lnTo>
                      <a:lnTo>
                        <a:pt x="98" y="1418"/>
                      </a:lnTo>
                      <a:lnTo>
                        <a:pt x="98" y="1419"/>
                      </a:lnTo>
                      <a:lnTo>
                        <a:pt x="97" y="1419"/>
                      </a:lnTo>
                      <a:lnTo>
                        <a:pt x="96" y="1419"/>
                      </a:lnTo>
                      <a:lnTo>
                        <a:pt x="97" y="1420"/>
                      </a:lnTo>
                      <a:lnTo>
                        <a:pt x="95" y="1420"/>
                      </a:lnTo>
                      <a:lnTo>
                        <a:pt x="95" y="1419"/>
                      </a:lnTo>
                      <a:lnTo>
                        <a:pt x="93" y="1418"/>
                      </a:lnTo>
                      <a:lnTo>
                        <a:pt x="93" y="1418"/>
                      </a:lnTo>
                      <a:lnTo>
                        <a:pt x="93" y="1418"/>
                      </a:lnTo>
                      <a:lnTo>
                        <a:pt x="93" y="1418"/>
                      </a:lnTo>
                      <a:lnTo>
                        <a:pt x="93" y="1418"/>
                      </a:lnTo>
                      <a:lnTo>
                        <a:pt x="93" y="1418"/>
                      </a:lnTo>
                      <a:lnTo>
                        <a:pt x="91" y="1417"/>
                      </a:lnTo>
                      <a:lnTo>
                        <a:pt x="91" y="1417"/>
                      </a:lnTo>
                      <a:lnTo>
                        <a:pt x="92" y="1417"/>
                      </a:lnTo>
                      <a:lnTo>
                        <a:pt x="92" y="1416"/>
                      </a:lnTo>
                      <a:lnTo>
                        <a:pt x="92" y="1416"/>
                      </a:lnTo>
                      <a:lnTo>
                        <a:pt x="93" y="1416"/>
                      </a:lnTo>
                      <a:lnTo>
                        <a:pt x="93" y="1416"/>
                      </a:lnTo>
                      <a:lnTo>
                        <a:pt x="93" y="1416"/>
                      </a:lnTo>
                      <a:lnTo>
                        <a:pt x="93" y="1414"/>
                      </a:lnTo>
                      <a:lnTo>
                        <a:pt x="93" y="1414"/>
                      </a:lnTo>
                      <a:lnTo>
                        <a:pt x="93" y="1414"/>
                      </a:lnTo>
                      <a:lnTo>
                        <a:pt x="93" y="1414"/>
                      </a:lnTo>
                      <a:lnTo>
                        <a:pt x="93" y="1413"/>
                      </a:lnTo>
                      <a:lnTo>
                        <a:pt x="94" y="1413"/>
                      </a:lnTo>
                      <a:lnTo>
                        <a:pt x="94" y="1413"/>
                      </a:lnTo>
                      <a:lnTo>
                        <a:pt x="94" y="1412"/>
                      </a:lnTo>
                      <a:lnTo>
                        <a:pt x="94" y="1412"/>
                      </a:lnTo>
                      <a:lnTo>
                        <a:pt x="94" y="1412"/>
                      </a:lnTo>
                      <a:lnTo>
                        <a:pt x="94" y="1411"/>
                      </a:lnTo>
                      <a:lnTo>
                        <a:pt x="95" y="1410"/>
                      </a:lnTo>
                      <a:lnTo>
                        <a:pt x="96" y="1410"/>
                      </a:lnTo>
                      <a:lnTo>
                        <a:pt x="96" y="1410"/>
                      </a:lnTo>
                      <a:lnTo>
                        <a:pt x="97" y="1409"/>
                      </a:lnTo>
                      <a:lnTo>
                        <a:pt x="100" y="1410"/>
                      </a:lnTo>
                      <a:lnTo>
                        <a:pt x="100" y="1409"/>
                      </a:lnTo>
                      <a:lnTo>
                        <a:pt x="98" y="1409"/>
                      </a:lnTo>
                      <a:lnTo>
                        <a:pt x="100" y="1408"/>
                      </a:lnTo>
                      <a:lnTo>
                        <a:pt x="100" y="1408"/>
                      </a:lnTo>
                      <a:lnTo>
                        <a:pt x="100" y="1409"/>
                      </a:lnTo>
                      <a:lnTo>
                        <a:pt x="101" y="1409"/>
                      </a:lnTo>
                      <a:lnTo>
                        <a:pt x="101" y="1408"/>
                      </a:lnTo>
                      <a:lnTo>
                        <a:pt x="102" y="1408"/>
                      </a:lnTo>
                      <a:lnTo>
                        <a:pt x="102" y="1408"/>
                      </a:lnTo>
                      <a:close/>
                      <a:moveTo>
                        <a:pt x="65" y="1408"/>
                      </a:moveTo>
                      <a:lnTo>
                        <a:pt x="65" y="1409"/>
                      </a:lnTo>
                      <a:lnTo>
                        <a:pt x="64" y="1409"/>
                      </a:lnTo>
                      <a:lnTo>
                        <a:pt x="64" y="1409"/>
                      </a:lnTo>
                      <a:lnTo>
                        <a:pt x="64" y="1411"/>
                      </a:lnTo>
                      <a:lnTo>
                        <a:pt x="64" y="1411"/>
                      </a:lnTo>
                      <a:lnTo>
                        <a:pt x="64" y="1411"/>
                      </a:lnTo>
                      <a:lnTo>
                        <a:pt x="63" y="1411"/>
                      </a:lnTo>
                      <a:lnTo>
                        <a:pt x="63" y="1413"/>
                      </a:lnTo>
                      <a:lnTo>
                        <a:pt x="62" y="1414"/>
                      </a:lnTo>
                      <a:lnTo>
                        <a:pt x="62" y="1414"/>
                      </a:lnTo>
                      <a:lnTo>
                        <a:pt x="63" y="1414"/>
                      </a:lnTo>
                      <a:lnTo>
                        <a:pt x="64" y="1414"/>
                      </a:lnTo>
                      <a:lnTo>
                        <a:pt x="64" y="1413"/>
                      </a:lnTo>
                      <a:lnTo>
                        <a:pt x="66" y="1413"/>
                      </a:lnTo>
                      <a:lnTo>
                        <a:pt x="66" y="1412"/>
                      </a:lnTo>
                      <a:lnTo>
                        <a:pt x="67" y="1412"/>
                      </a:lnTo>
                      <a:lnTo>
                        <a:pt x="67" y="1412"/>
                      </a:lnTo>
                      <a:lnTo>
                        <a:pt x="68" y="1412"/>
                      </a:lnTo>
                      <a:lnTo>
                        <a:pt x="68" y="1412"/>
                      </a:lnTo>
                      <a:lnTo>
                        <a:pt x="68" y="1412"/>
                      </a:lnTo>
                      <a:lnTo>
                        <a:pt x="69" y="1411"/>
                      </a:lnTo>
                      <a:lnTo>
                        <a:pt x="70" y="1411"/>
                      </a:lnTo>
                      <a:lnTo>
                        <a:pt x="72" y="1412"/>
                      </a:lnTo>
                      <a:lnTo>
                        <a:pt x="72" y="1413"/>
                      </a:lnTo>
                      <a:lnTo>
                        <a:pt x="74" y="1414"/>
                      </a:lnTo>
                      <a:lnTo>
                        <a:pt x="74" y="1416"/>
                      </a:lnTo>
                      <a:lnTo>
                        <a:pt x="75" y="1416"/>
                      </a:lnTo>
                      <a:lnTo>
                        <a:pt x="75" y="1417"/>
                      </a:lnTo>
                      <a:lnTo>
                        <a:pt x="75" y="1417"/>
                      </a:lnTo>
                      <a:lnTo>
                        <a:pt x="75" y="1418"/>
                      </a:lnTo>
                      <a:lnTo>
                        <a:pt x="75" y="1418"/>
                      </a:lnTo>
                      <a:lnTo>
                        <a:pt x="76" y="1418"/>
                      </a:lnTo>
                      <a:lnTo>
                        <a:pt x="78" y="1418"/>
                      </a:lnTo>
                      <a:lnTo>
                        <a:pt x="78" y="1419"/>
                      </a:lnTo>
                      <a:lnTo>
                        <a:pt x="79" y="1419"/>
                      </a:lnTo>
                      <a:lnTo>
                        <a:pt x="80" y="1420"/>
                      </a:lnTo>
                      <a:lnTo>
                        <a:pt x="80" y="1420"/>
                      </a:lnTo>
                      <a:lnTo>
                        <a:pt x="80" y="1419"/>
                      </a:lnTo>
                      <a:lnTo>
                        <a:pt x="80" y="1419"/>
                      </a:lnTo>
                      <a:lnTo>
                        <a:pt x="82" y="1419"/>
                      </a:lnTo>
                      <a:lnTo>
                        <a:pt x="82" y="1420"/>
                      </a:lnTo>
                      <a:lnTo>
                        <a:pt x="83" y="1420"/>
                      </a:lnTo>
                      <a:lnTo>
                        <a:pt x="84" y="1420"/>
                      </a:lnTo>
                      <a:lnTo>
                        <a:pt x="84" y="1421"/>
                      </a:lnTo>
                      <a:lnTo>
                        <a:pt x="85" y="1423"/>
                      </a:lnTo>
                      <a:lnTo>
                        <a:pt x="85" y="1424"/>
                      </a:lnTo>
                      <a:lnTo>
                        <a:pt x="85" y="1424"/>
                      </a:lnTo>
                      <a:lnTo>
                        <a:pt x="85" y="1424"/>
                      </a:lnTo>
                      <a:lnTo>
                        <a:pt x="84" y="1425"/>
                      </a:lnTo>
                      <a:lnTo>
                        <a:pt x="84" y="1425"/>
                      </a:lnTo>
                      <a:lnTo>
                        <a:pt x="83" y="1425"/>
                      </a:lnTo>
                      <a:lnTo>
                        <a:pt x="83" y="1425"/>
                      </a:lnTo>
                      <a:lnTo>
                        <a:pt x="84" y="1424"/>
                      </a:lnTo>
                      <a:lnTo>
                        <a:pt x="84" y="1424"/>
                      </a:lnTo>
                      <a:lnTo>
                        <a:pt x="83" y="1424"/>
                      </a:lnTo>
                      <a:lnTo>
                        <a:pt x="82" y="1424"/>
                      </a:lnTo>
                      <a:lnTo>
                        <a:pt x="82" y="1424"/>
                      </a:lnTo>
                      <a:lnTo>
                        <a:pt x="82" y="1425"/>
                      </a:lnTo>
                      <a:lnTo>
                        <a:pt x="83" y="1426"/>
                      </a:lnTo>
                      <a:lnTo>
                        <a:pt x="84" y="1426"/>
                      </a:lnTo>
                      <a:lnTo>
                        <a:pt x="85" y="1427"/>
                      </a:lnTo>
                      <a:lnTo>
                        <a:pt x="85" y="1427"/>
                      </a:lnTo>
                      <a:lnTo>
                        <a:pt x="86" y="1428"/>
                      </a:lnTo>
                      <a:lnTo>
                        <a:pt x="86" y="1428"/>
                      </a:lnTo>
                      <a:lnTo>
                        <a:pt x="85" y="1428"/>
                      </a:lnTo>
                      <a:lnTo>
                        <a:pt x="85" y="1428"/>
                      </a:lnTo>
                      <a:lnTo>
                        <a:pt x="85" y="1428"/>
                      </a:lnTo>
                      <a:lnTo>
                        <a:pt x="85" y="1428"/>
                      </a:lnTo>
                      <a:lnTo>
                        <a:pt x="86" y="1429"/>
                      </a:lnTo>
                      <a:lnTo>
                        <a:pt x="86" y="1429"/>
                      </a:lnTo>
                      <a:lnTo>
                        <a:pt x="87" y="1429"/>
                      </a:lnTo>
                      <a:lnTo>
                        <a:pt x="87" y="1430"/>
                      </a:lnTo>
                      <a:lnTo>
                        <a:pt x="89" y="1430"/>
                      </a:lnTo>
                      <a:lnTo>
                        <a:pt x="89" y="1430"/>
                      </a:lnTo>
                      <a:lnTo>
                        <a:pt x="89" y="1430"/>
                      </a:lnTo>
                      <a:lnTo>
                        <a:pt x="89" y="1431"/>
                      </a:lnTo>
                      <a:lnTo>
                        <a:pt x="90" y="1431"/>
                      </a:lnTo>
                      <a:lnTo>
                        <a:pt x="91" y="1431"/>
                      </a:lnTo>
                      <a:lnTo>
                        <a:pt x="91" y="1432"/>
                      </a:lnTo>
                      <a:lnTo>
                        <a:pt x="90" y="1432"/>
                      </a:lnTo>
                      <a:lnTo>
                        <a:pt x="91" y="1432"/>
                      </a:lnTo>
                      <a:lnTo>
                        <a:pt x="91" y="1433"/>
                      </a:lnTo>
                      <a:lnTo>
                        <a:pt x="91" y="1433"/>
                      </a:lnTo>
                      <a:lnTo>
                        <a:pt x="89" y="1434"/>
                      </a:lnTo>
                      <a:lnTo>
                        <a:pt x="88" y="1434"/>
                      </a:lnTo>
                      <a:lnTo>
                        <a:pt x="88" y="1434"/>
                      </a:lnTo>
                      <a:lnTo>
                        <a:pt x="88" y="1433"/>
                      </a:lnTo>
                      <a:lnTo>
                        <a:pt x="87" y="1433"/>
                      </a:lnTo>
                      <a:lnTo>
                        <a:pt x="87" y="1433"/>
                      </a:lnTo>
                      <a:lnTo>
                        <a:pt x="86" y="1433"/>
                      </a:lnTo>
                      <a:lnTo>
                        <a:pt x="85" y="1433"/>
                      </a:lnTo>
                      <a:lnTo>
                        <a:pt x="85" y="1433"/>
                      </a:lnTo>
                      <a:lnTo>
                        <a:pt x="84" y="1433"/>
                      </a:lnTo>
                      <a:lnTo>
                        <a:pt x="84" y="1433"/>
                      </a:lnTo>
                      <a:lnTo>
                        <a:pt x="85" y="1433"/>
                      </a:lnTo>
                      <a:lnTo>
                        <a:pt x="86" y="1434"/>
                      </a:lnTo>
                      <a:lnTo>
                        <a:pt x="86" y="1434"/>
                      </a:lnTo>
                      <a:lnTo>
                        <a:pt x="87" y="1434"/>
                      </a:lnTo>
                      <a:lnTo>
                        <a:pt x="88" y="1435"/>
                      </a:lnTo>
                      <a:lnTo>
                        <a:pt x="88" y="1435"/>
                      </a:lnTo>
                      <a:lnTo>
                        <a:pt x="89" y="1434"/>
                      </a:lnTo>
                      <a:lnTo>
                        <a:pt x="89" y="1434"/>
                      </a:lnTo>
                      <a:lnTo>
                        <a:pt x="91" y="1434"/>
                      </a:lnTo>
                      <a:lnTo>
                        <a:pt x="91" y="1434"/>
                      </a:lnTo>
                      <a:lnTo>
                        <a:pt x="92" y="1434"/>
                      </a:lnTo>
                      <a:lnTo>
                        <a:pt x="92" y="1434"/>
                      </a:lnTo>
                      <a:lnTo>
                        <a:pt x="91" y="1434"/>
                      </a:lnTo>
                      <a:lnTo>
                        <a:pt x="91" y="1433"/>
                      </a:lnTo>
                      <a:lnTo>
                        <a:pt x="92" y="1434"/>
                      </a:lnTo>
                      <a:lnTo>
                        <a:pt x="92" y="1433"/>
                      </a:lnTo>
                      <a:lnTo>
                        <a:pt x="93" y="1433"/>
                      </a:lnTo>
                      <a:lnTo>
                        <a:pt x="93" y="1433"/>
                      </a:lnTo>
                      <a:lnTo>
                        <a:pt x="94" y="1433"/>
                      </a:lnTo>
                      <a:lnTo>
                        <a:pt x="94" y="1432"/>
                      </a:lnTo>
                      <a:lnTo>
                        <a:pt x="95" y="1432"/>
                      </a:lnTo>
                      <a:lnTo>
                        <a:pt x="95" y="1432"/>
                      </a:lnTo>
                      <a:lnTo>
                        <a:pt x="96" y="1432"/>
                      </a:lnTo>
                      <a:lnTo>
                        <a:pt x="96" y="1432"/>
                      </a:lnTo>
                      <a:lnTo>
                        <a:pt x="96" y="1432"/>
                      </a:lnTo>
                      <a:lnTo>
                        <a:pt x="96" y="1433"/>
                      </a:lnTo>
                      <a:lnTo>
                        <a:pt x="95" y="1433"/>
                      </a:lnTo>
                      <a:lnTo>
                        <a:pt x="95" y="1433"/>
                      </a:lnTo>
                      <a:lnTo>
                        <a:pt x="95" y="1433"/>
                      </a:lnTo>
                      <a:lnTo>
                        <a:pt x="95" y="1434"/>
                      </a:lnTo>
                      <a:lnTo>
                        <a:pt x="94" y="1436"/>
                      </a:lnTo>
                      <a:lnTo>
                        <a:pt x="94" y="1436"/>
                      </a:lnTo>
                      <a:lnTo>
                        <a:pt x="94" y="1436"/>
                      </a:lnTo>
                      <a:lnTo>
                        <a:pt x="94" y="1436"/>
                      </a:lnTo>
                      <a:lnTo>
                        <a:pt x="94" y="1436"/>
                      </a:lnTo>
                      <a:lnTo>
                        <a:pt x="94" y="1436"/>
                      </a:lnTo>
                      <a:lnTo>
                        <a:pt x="94" y="1436"/>
                      </a:lnTo>
                      <a:lnTo>
                        <a:pt x="93" y="1436"/>
                      </a:lnTo>
                      <a:lnTo>
                        <a:pt x="93" y="1437"/>
                      </a:lnTo>
                      <a:lnTo>
                        <a:pt x="93" y="1437"/>
                      </a:lnTo>
                      <a:lnTo>
                        <a:pt x="93" y="1438"/>
                      </a:lnTo>
                      <a:lnTo>
                        <a:pt x="93" y="1438"/>
                      </a:lnTo>
                      <a:lnTo>
                        <a:pt x="92" y="1438"/>
                      </a:lnTo>
                      <a:lnTo>
                        <a:pt x="92" y="1438"/>
                      </a:lnTo>
                      <a:lnTo>
                        <a:pt x="92" y="1438"/>
                      </a:lnTo>
                      <a:lnTo>
                        <a:pt x="90" y="1438"/>
                      </a:lnTo>
                      <a:lnTo>
                        <a:pt x="90" y="1439"/>
                      </a:lnTo>
                      <a:lnTo>
                        <a:pt x="89" y="1439"/>
                      </a:lnTo>
                      <a:lnTo>
                        <a:pt x="88" y="1440"/>
                      </a:lnTo>
                      <a:lnTo>
                        <a:pt x="88" y="1440"/>
                      </a:lnTo>
                      <a:lnTo>
                        <a:pt x="86" y="1439"/>
                      </a:lnTo>
                      <a:lnTo>
                        <a:pt x="86" y="1440"/>
                      </a:lnTo>
                      <a:lnTo>
                        <a:pt x="86" y="1440"/>
                      </a:lnTo>
                      <a:lnTo>
                        <a:pt x="86" y="1440"/>
                      </a:lnTo>
                      <a:lnTo>
                        <a:pt x="86" y="1441"/>
                      </a:lnTo>
                      <a:lnTo>
                        <a:pt x="85" y="1441"/>
                      </a:lnTo>
                      <a:lnTo>
                        <a:pt x="85" y="1441"/>
                      </a:lnTo>
                      <a:lnTo>
                        <a:pt x="84" y="1441"/>
                      </a:lnTo>
                      <a:lnTo>
                        <a:pt x="84" y="1440"/>
                      </a:lnTo>
                      <a:lnTo>
                        <a:pt x="84" y="1439"/>
                      </a:lnTo>
                      <a:lnTo>
                        <a:pt x="84" y="1439"/>
                      </a:lnTo>
                      <a:lnTo>
                        <a:pt x="83" y="1439"/>
                      </a:lnTo>
                      <a:lnTo>
                        <a:pt x="83" y="1439"/>
                      </a:lnTo>
                      <a:lnTo>
                        <a:pt x="81" y="1438"/>
                      </a:lnTo>
                      <a:lnTo>
                        <a:pt x="80" y="1437"/>
                      </a:lnTo>
                      <a:lnTo>
                        <a:pt x="80" y="1437"/>
                      </a:lnTo>
                      <a:lnTo>
                        <a:pt x="80" y="1438"/>
                      </a:lnTo>
                      <a:lnTo>
                        <a:pt x="80" y="1438"/>
                      </a:lnTo>
                      <a:lnTo>
                        <a:pt x="82" y="1438"/>
                      </a:lnTo>
                      <a:lnTo>
                        <a:pt x="82" y="1439"/>
                      </a:lnTo>
                      <a:lnTo>
                        <a:pt x="83" y="1439"/>
                      </a:lnTo>
                      <a:lnTo>
                        <a:pt x="83" y="1440"/>
                      </a:lnTo>
                      <a:lnTo>
                        <a:pt x="83" y="1440"/>
                      </a:lnTo>
                      <a:lnTo>
                        <a:pt x="83" y="1440"/>
                      </a:lnTo>
                      <a:lnTo>
                        <a:pt x="84" y="1441"/>
                      </a:lnTo>
                      <a:lnTo>
                        <a:pt x="85" y="1441"/>
                      </a:lnTo>
                      <a:lnTo>
                        <a:pt x="85" y="1442"/>
                      </a:lnTo>
                      <a:lnTo>
                        <a:pt x="85" y="1442"/>
                      </a:lnTo>
                      <a:lnTo>
                        <a:pt x="85" y="1442"/>
                      </a:lnTo>
                      <a:lnTo>
                        <a:pt x="87" y="1442"/>
                      </a:lnTo>
                      <a:lnTo>
                        <a:pt x="88" y="1442"/>
                      </a:lnTo>
                      <a:lnTo>
                        <a:pt x="88" y="1443"/>
                      </a:lnTo>
                      <a:lnTo>
                        <a:pt x="88" y="1443"/>
                      </a:lnTo>
                      <a:lnTo>
                        <a:pt x="89" y="1443"/>
                      </a:lnTo>
                      <a:lnTo>
                        <a:pt x="89" y="1443"/>
                      </a:lnTo>
                      <a:lnTo>
                        <a:pt x="89" y="1443"/>
                      </a:lnTo>
                      <a:lnTo>
                        <a:pt x="89" y="1442"/>
                      </a:lnTo>
                      <a:lnTo>
                        <a:pt x="89" y="1442"/>
                      </a:lnTo>
                      <a:lnTo>
                        <a:pt x="89" y="1441"/>
                      </a:lnTo>
                      <a:lnTo>
                        <a:pt x="89" y="1441"/>
                      </a:lnTo>
                      <a:lnTo>
                        <a:pt x="89" y="1442"/>
                      </a:lnTo>
                      <a:lnTo>
                        <a:pt x="88" y="1442"/>
                      </a:lnTo>
                      <a:lnTo>
                        <a:pt x="88" y="1442"/>
                      </a:lnTo>
                      <a:lnTo>
                        <a:pt x="87" y="1441"/>
                      </a:lnTo>
                      <a:lnTo>
                        <a:pt x="88" y="1441"/>
                      </a:lnTo>
                      <a:lnTo>
                        <a:pt x="89" y="1441"/>
                      </a:lnTo>
                      <a:lnTo>
                        <a:pt x="90" y="1440"/>
                      </a:lnTo>
                      <a:lnTo>
                        <a:pt x="91" y="1440"/>
                      </a:lnTo>
                      <a:lnTo>
                        <a:pt x="90" y="1442"/>
                      </a:lnTo>
                      <a:lnTo>
                        <a:pt x="91" y="1442"/>
                      </a:lnTo>
                      <a:lnTo>
                        <a:pt x="91" y="1442"/>
                      </a:lnTo>
                      <a:lnTo>
                        <a:pt x="90" y="1442"/>
                      </a:lnTo>
                      <a:lnTo>
                        <a:pt x="90" y="1443"/>
                      </a:lnTo>
                      <a:lnTo>
                        <a:pt x="90" y="1443"/>
                      </a:lnTo>
                      <a:lnTo>
                        <a:pt x="90" y="1443"/>
                      </a:lnTo>
                      <a:lnTo>
                        <a:pt x="91" y="1444"/>
                      </a:lnTo>
                      <a:lnTo>
                        <a:pt x="91" y="1444"/>
                      </a:lnTo>
                      <a:lnTo>
                        <a:pt x="92" y="1442"/>
                      </a:lnTo>
                      <a:lnTo>
                        <a:pt x="92" y="1442"/>
                      </a:lnTo>
                      <a:lnTo>
                        <a:pt x="94" y="1442"/>
                      </a:lnTo>
                      <a:lnTo>
                        <a:pt x="94" y="1443"/>
                      </a:lnTo>
                      <a:lnTo>
                        <a:pt x="94" y="1443"/>
                      </a:lnTo>
                      <a:lnTo>
                        <a:pt x="95" y="1444"/>
                      </a:lnTo>
                      <a:lnTo>
                        <a:pt x="95" y="1444"/>
                      </a:lnTo>
                      <a:lnTo>
                        <a:pt x="94" y="1444"/>
                      </a:lnTo>
                      <a:lnTo>
                        <a:pt x="94" y="1444"/>
                      </a:lnTo>
                      <a:lnTo>
                        <a:pt x="94" y="1444"/>
                      </a:lnTo>
                      <a:lnTo>
                        <a:pt x="94" y="1445"/>
                      </a:lnTo>
                      <a:lnTo>
                        <a:pt x="94" y="1445"/>
                      </a:lnTo>
                      <a:lnTo>
                        <a:pt x="94" y="1445"/>
                      </a:lnTo>
                      <a:lnTo>
                        <a:pt x="94" y="1445"/>
                      </a:lnTo>
                      <a:lnTo>
                        <a:pt x="94" y="1446"/>
                      </a:lnTo>
                      <a:lnTo>
                        <a:pt x="94" y="1446"/>
                      </a:lnTo>
                      <a:lnTo>
                        <a:pt x="94" y="1447"/>
                      </a:lnTo>
                      <a:lnTo>
                        <a:pt x="95" y="1447"/>
                      </a:lnTo>
                      <a:lnTo>
                        <a:pt x="95" y="1448"/>
                      </a:lnTo>
                      <a:lnTo>
                        <a:pt x="95" y="1450"/>
                      </a:lnTo>
                      <a:lnTo>
                        <a:pt x="95" y="1450"/>
                      </a:lnTo>
                      <a:lnTo>
                        <a:pt x="95" y="1450"/>
                      </a:lnTo>
                      <a:lnTo>
                        <a:pt x="95" y="1450"/>
                      </a:lnTo>
                      <a:lnTo>
                        <a:pt x="96" y="1450"/>
                      </a:lnTo>
                      <a:lnTo>
                        <a:pt x="97" y="1450"/>
                      </a:lnTo>
                      <a:lnTo>
                        <a:pt x="97" y="1450"/>
                      </a:lnTo>
                      <a:lnTo>
                        <a:pt x="97" y="1449"/>
                      </a:lnTo>
                      <a:lnTo>
                        <a:pt x="98" y="1449"/>
                      </a:lnTo>
                      <a:lnTo>
                        <a:pt x="98" y="1449"/>
                      </a:lnTo>
                      <a:lnTo>
                        <a:pt x="98" y="1449"/>
                      </a:lnTo>
                      <a:lnTo>
                        <a:pt x="100" y="1449"/>
                      </a:lnTo>
                      <a:lnTo>
                        <a:pt x="100" y="1449"/>
                      </a:lnTo>
                      <a:lnTo>
                        <a:pt x="101" y="1450"/>
                      </a:lnTo>
                      <a:lnTo>
                        <a:pt x="101" y="1451"/>
                      </a:lnTo>
                      <a:lnTo>
                        <a:pt x="101" y="1451"/>
                      </a:lnTo>
                      <a:lnTo>
                        <a:pt x="101" y="1452"/>
                      </a:lnTo>
                      <a:lnTo>
                        <a:pt x="101" y="1452"/>
                      </a:lnTo>
                      <a:lnTo>
                        <a:pt x="101" y="1452"/>
                      </a:lnTo>
                      <a:lnTo>
                        <a:pt x="100" y="1454"/>
                      </a:lnTo>
                      <a:lnTo>
                        <a:pt x="100" y="1454"/>
                      </a:lnTo>
                      <a:lnTo>
                        <a:pt x="100" y="1454"/>
                      </a:lnTo>
                      <a:lnTo>
                        <a:pt x="98" y="1454"/>
                      </a:lnTo>
                      <a:lnTo>
                        <a:pt x="98" y="1455"/>
                      </a:lnTo>
                      <a:lnTo>
                        <a:pt x="100" y="1456"/>
                      </a:lnTo>
                      <a:lnTo>
                        <a:pt x="100" y="1456"/>
                      </a:lnTo>
                      <a:lnTo>
                        <a:pt x="100" y="1456"/>
                      </a:lnTo>
                      <a:lnTo>
                        <a:pt x="100" y="1456"/>
                      </a:lnTo>
                      <a:lnTo>
                        <a:pt x="100" y="1457"/>
                      </a:lnTo>
                      <a:lnTo>
                        <a:pt x="100" y="1457"/>
                      </a:lnTo>
                      <a:lnTo>
                        <a:pt x="100" y="1458"/>
                      </a:lnTo>
                      <a:lnTo>
                        <a:pt x="98" y="1459"/>
                      </a:lnTo>
                      <a:lnTo>
                        <a:pt x="98" y="1460"/>
                      </a:lnTo>
                      <a:lnTo>
                        <a:pt x="98" y="1460"/>
                      </a:lnTo>
                      <a:lnTo>
                        <a:pt x="97" y="1460"/>
                      </a:lnTo>
                      <a:lnTo>
                        <a:pt x="97" y="1460"/>
                      </a:lnTo>
                      <a:lnTo>
                        <a:pt x="97" y="1460"/>
                      </a:lnTo>
                      <a:lnTo>
                        <a:pt x="96" y="1461"/>
                      </a:lnTo>
                      <a:lnTo>
                        <a:pt x="95" y="1460"/>
                      </a:lnTo>
                      <a:lnTo>
                        <a:pt x="95" y="1461"/>
                      </a:lnTo>
                      <a:lnTo>
                        <a:pt x="94" y="1460"/>
                      </a:lnTo>
                      <a:lnTo>
                        <a:pt x="93" y="1459"/>
                      </a:lnTo>
                      <a:lnTo>
                        <a:pt x="93" y="1459"/>
                      </a:lnTo>
                      <a:lnTo>
                        <a:pt x="93" y="1460"/>
                      </a:lnTo>
                      <a:lnTo>
                        <a:pt x="93" y="1461"/>
                      </a:lnTo>
                      <a:lnTo>
                        <a:pt x="92" y="1461"/>
                      </a:lnTo>
                      <a:lnTo>
                        <a:pt x="93" y="1461"/>
                      </a:lnTo>
                      <a:lnTo>
                        <a:pt x="92" y="1462"/>
                      </a:lnTo>
                      <a:lnTo>
                        <a:pt x="92" y="1463"/>
                      </a:lnTo>
                      <a:lnTo>
                        <a:pt x="92" y="1463"/>
                      </a:lnTo>
                      <a:lnTo>
                        <a:pt x="91" y="1463"/>
                      </a:lnTo>
                      <a:lnTo>
                        <a:pt x="92" y="1463"/>
                      </a:lnTo>
                      <a:lnTo>
                        <a:pt x="92" y="1464"/>
                      </a:lnTo>
                      <a:lnTo>
                        <a:pt x="91" y="1464"/>
                      </a:lnTo>
                      <a:lnTo>
                        <a:pt x="91" y="1464"/>
                      </a:lnTo>
                      <a:lnTo>
                        <a:pt x="90" y="1465"/>
                      </a:lnTo>
                      <a:lnTo>
                        <a:pt x="89" y="1466"/>
                      </a:lnTo>
                      <a:lnTo>
                        <a:pt x="89" y="1467"/>
                      </a:lnTo>
                      <a:lnTo>
                        <a:pt x="88" y="1467"/>
                      </a:lnTo>
                      <a:lnTo>
                        <a:pt x="88" y="1468"/>
                      </a:lnTo>
                      <a:lnTo>
                        <a:pt x="90" y="1469"/>
                      </a:lnTo>
                      <a:lnTo>
                        <a:pt x="90" y="1469"/>
                      </a:lnTo>
                      <a:lnTo>
                        <a:pt x="89" y="1469"/>
                      </a:lnTo>
                      <a:lnTo>
                        <a:pt x="89" y="1469"/>
                      </a:lnTo>
                      <a:lnTo>
                        <a:pt x="89" y="1469"/>
                      </a:lnTo>
                      <a:lnTo>
                        <a:pt x="89" y="1470"/>
                      </a:lnTo>
                      <a:lnTo>
                        <a:pt x="89" y="1470"/>
                      </a:lnTo>
                      <a:lnTo>
                        <a:pt x="90" y="1472"/>
                      </a:lnTo>
                      <a:lnTo>
                        <a:pt x="89" y="1472"/>
                      </a:lnTo>
                      <a:lnTo>
                        <a:pt x="88" y="1473"/>
                      </a:lnTo>
                      <a:lnTo>
                        <a:pt x="88" y="1473"/>
                      </a:lnTo>
                      <a:lnTo>
                        <a:pt x="87" y="1474"/>
                      </a:lnTo>
                      <a:lnTo>
                        <a:pt x="87" y="1474"/>
                      </a:lnTo>
                      <a:lnTo>
                        <a:pt x="87" y="1474"/>
                      </a:lnTo>
                      <a:lnTo>
                        <a:pt x="87" y="1475"/>
                      </a:lnTo>
                      <a:lnTo>
                        <a:pt x="87" y="1475"/>
                      </a:lnTo>
                      <a:lnTo>
                        <a:pt x="87" y="1475"/>
                      </a:lnTo>
                      <a:lnTo>
                        <a:pt x="87" y="1476"/>
                      </a:lnTo>
                      <a:lnTo>
                        <a:pt x="87" y="1476"/>
                      </a:lnTo>
                      <a:lnTo>
                        <a:pt x="87" y="1476"/>
                      </a:lnTo>
                      <a:lnTo>
                        <a:pt x="88" y="1477"/>
                      </a:lnTo>
                      <a:lnTo>
                        <a:pt x="87" y="1477"/>
                      </a:lnTo>
                      <a:lnTo>
                        <a:pt x="87" y="1477"/>
                      </a:lnTo>
                      <a:lnTo>
                        <a:pt x="86" y="1477"/>
                      </a:lnTo>
                      <a:lnTo>
                        <a:pt x="86" y="1478"/>
                      </a:lnTo>
                      <a:lnTo>
                        <a:pt x="87" y="1479"/>
                      </a:lnTo>
                      <a:lnTo>
                        <a:pt x="86" y="1480"/>
                      </a:lnTo>
                      <a:lnTo>
                        <a:pt x="86" y="1481"/>
                      </a:lnTo>
                      <a:lnTo>
                        <a:pt x="86" y="1481"/>
                      </a:lnTo>
                      <a:lnTo>
                        <a:pt x="85" y="1481"/>
                      </a:lnTo>
                      <a:lnTo>
                        <a:pt x="85" y="1481"/>
                      </a:lnTo>
                      <a:lnTo>
                        <a:pt x="84" y="1481"/>
                      </a:lnTo>
                      <a:lnTo>
                        <a:pt x="84" y="1482"/>
                      </a:lnTo>
                      <a:lnTo>
                        <a:pt x="84" y="1482"/>
                      </a:lnTo>
                      <a:lnTo>
                        <a:pt x="83" y="1481"/>
                      </a:lnTo>
                      <a:lnTo>
                        <a:pt x="83" y="1481"/>
                      </a:lnTo>
                      <a:lnTo>
                        <a:pt x="82" y="1481"/>
                      </a:lnTo>
                      <a:lnTo>
                        <a:pt x="82" y="1481"/>
                      </a:lnTo>
                      <a:lnTo>
                        <a:pt x="82" y="1481"/>
                      </a:lnTo>
                      <a:lnTo>
                        <a:pt x="82" y="1482"/>
                      </a:lnTo>
                      <a:lnTo>
                        <a:pt x="82" y="1482"/>
                      </a:lnTo>
                      <a:lnTo>
                        <a:pt x="82" y="1482"/>
                      </a:lnTo>
                      <a:lnTo>
                        <a:pt x="81" y="1482"/>
                      </a:lnTo>
                      <a:lnTo>
                        <a:pt x="80" y="1482"/>
                      </a:lnTo>
                      <a:lnTo>
                        <a:pt x="79" y="1481"/>
                      </a:lnTo>
                      <a:lnTo>
                        <a:pt x="78" y="1481"/>
                      </a:lnTo>
                      <a:lnTo>
                        <a:pt x="77" y="1481"/>
                      </a:lnTo>
                      <a:lnTo>
                        <a:pt x="77" y="1479"/>
                      </a:lnTo>
                      <a:lnTo>
                        <a:pt x="78" y="1479"/>
                      </a:lnTo>
                      <a:lnTo>
                        <a:pt x="78" y="1480"/>
                      </a:lnTo>
                      <a:lnTo>
                        <a:pt x="78" y="1479"/>
                      </a:lnTo>
                      <a:lnTo>
                        <a:pt x="78" y="1479"/>
                      </a:lnTo>
                      <a:lnTo>
                        <a:pt x="77" y="1479"/>
                      </a:lnTo>
                      <a:lnTo>
                        <a:pt x="77" y="1478"/>
                      </a:lnTo>
                      <a:lnTo>
                        <a:pt x="77" y="1477"/>
                      </a:lnTo>
                      <a:lnTo>
                        <a:pt x="77" y="1477"/>
                      </a:lnTo>
                      <a:lnTo>
                        <a:pt x="77" y="1478"/>
                      </a:lnTo>
                      <a:lnTo>
                        <a:pt x="77" y="1478"/>
                      </a:lnTo>
                      <a:lnTo>
                        <a:pt x="77" y="1478"/>
                      </a:lnTo>
                      <a:lnTo>
                        <a:pt x="76" y="1478"/>
                      </a:lnTo>
                      <a:lnTo>
                        <a:pt x="76" y="1477"/>
                      </a:lnTo>
                      <a:lnTo>
                        <a:pt x="75" y="1477"/>
                      </a:lnTo>
                      <a:lnTo>
                        <a:pt x="74" y="1477"/>
                      </a:lnTo>
                      <a:lnTo>
                        <a:pt x="74" y="1479"/>
                      </a:lnTo>
                      <a:lnTo>
                        <a:pt x="73" y="1478"/>
                      </a:lnTo>
                      <a:lnTo>
                        <a:pt x="73" y="1478"/>
                      </a:lnTo>
                      <a:lnTo>
                        <a:pt x="73" y="1479"/>
                      </a:lnTo>
                      <a:lnTo>
                        <a:pt x="72" y="1479"/>
                      </a:lnTo>
                      <a:lnTo>
                        <a:pt x="71" y="1479"/>
                      </a:lnTo>
                      <a:lnTo>
                        <a:pt x="70" y="1478"/>
                      </a:lnTo>
                      <a:lnTo>
                        <a:pt x="70" y="1477"/>
                      </a:lnTo>
                      <a:lnTo>
                        <a:pt x="69" y="1477"/>
                      </a:lnTo>
                      <a:lnTo>
                        <a:pt x="69" y="1477"/>
                      </a:lnTo>
                      <a:lnTo>
                        <a:pt x="69" y="1478"/>
                      </a:lnTo>
                      <a:lnTo>
                        <a:pt x="69" y="1479"/>
                      </a:lnTo>
                      <a:lnTo>
                        <a:pt x="69" y="1479"/>
                      </a:lnTo>
                      <a:lnTo>
                        <a:pt x="69" y="1479"/>
                      </a:lnTo>
                      <a:lnTo>
                        <a:pt x="69" y="1480"/>
                      </a:lnTo>
                      <a:lnTo>
                        <a:pt x="70" y="1480"/>
                      </a:lnTo>
                      <a:lnTo>
                        <a:pt x="70" y="1480"/>
                      </a:lnTo>
                      <a:lnTo>
                        <a:pt x="70" y="1481"/>
                      </a:lnTo>
                      <a:lnTo>
                        <a:pt x="71" y="1481"/>
                      </a:lnTo>
                      <a:lnTo>
                        <a:pt x="71" y="1480"/>
                      </a:lnTo>
                      <a:lnTo>
                        <a:pt x="71" y="1480"/>
                      </a:lnTo>
                      <a:lnTo>
                        <a:pt x="72" y="1481"/>
                      </a:lnTo>
                      <a:lnTo>
                        <a:pt x="72" y="1481"/>
                      </a:lnTo>
                      <a:lnTo>
                        <a:pt x="72" y="1481"/>
                      </a:lnTo>
                      <a:lnTo>
                        <a:pt x="73" y="1480"/>
                      </a:lnTo>
                      <a:lnTo>
                        <a:pt x="73" y="1480"/>
                      </a:lnTo>
                      <a:lnTo>
                        <a:pt x="74" y="1479"/>
                      </a:lnTo>
                      <a:lnTo>
                        <a:pt x="74" y="1479"/>
                      </a:lnTo>
                      <a:lnTo>
                        <a:pt x="76" y="1479"/>
                      </a:lnTo>
                      <a:lnTo>
                        <a:pt x="77" y="1480"/>
                      </a:lnTo>
                      <a:lnTo>
                        <a:pt x="77" y="1480"/>
                      </a:lnTo>
                      <a:lnTo>
                        <a:pt x="77" y="1481"/>
                      </a:lnTo>
                      <a:lnTo>
                        <a:pt x="77" y="1482"/>
                      </a:lnTo>
                      <a:lnTo>
                        <a:pt x="79" y="1482"/>
                      </a:lnTo>
                      <a:lnTo>
                        <a:pt x="78" y="1482"/>
                      </a:lnTo>
                      <a:lnTo>
                        <a:pt x="78" y="1482"/>
                      </a:lnTo>
                      <a:lnTo>
                        <a:pt x="78" y="1483"/>
                      </a:lnTo>
                      <a:lnTo>
                        <a:pt x="78" y="1483"/>
                      </a:lnTo>
                      <a:lnTo>
                        <a:pt x="78" y="1483"/>
                      </a:lnTo>
                      <a:lnTo>
                        <a:pt x="78" y="1484"/>
                      </a:lnTo>
                      <a:lnTo>
                        <a:pt x="79" y="1484"/>
                      </a:lnTo>
                      <a:lnTo>
                        <a:pt x="80" y="1485"/>
                      </a:lnTo>
                      <a:lnTo>
                        <a:pt x="83" y="1484"/>
                      </a:lnTo>
                      <a:lnTo>
                        <a:pt x="84" y="1484"/>
                      </a:lnTo>
                      <a:lnTo>
                        <a:pt x="84" y="1485"/>
                      </a:lnTo>
                      <a:lnTo>
                        <a:pt x="84" y="1487"/>
                      </a:lnTo>
                      <a:lnTo>
                        <a:pt x="85" y="1486"/>
                      </a:lnTo>
                      <a:lnTo>
                        <a:pt x="86" y="1487"/>
                      </a:lnTo>
                      <a:lnTo>
                        <a:pt x="86" y="1487"/>
                      </a:lnTo>
                      <a:lnTo>
                        <a:pt x="86" y="1488"/>
                      </a:lnTo>
                      <a:lnTo>
                        <a:pt x="86" y="1488"/>
                      </a:lnTo>
                      <a:lnTo>
                        <a:pt x="86" y="1489"/>
                      </a:lnTo>
                      <a:lnTo>
                        <a:pt x="86" y="1489"/>
                      </a:lnTo>
                      <a:lnTo>
                        <a:pt x="86" y="1489"/>
                      </a:lnTo>
                      <a:lnTo>
                        <a:pt x="85" y="1493"/>
                      </a:lnTo>
                      <a:lnTo>
                        <a:pt x="86" y="1493"/>
                      </a:lnTo>
                      <a:lnTo>
                        <a:pt x="86" y="1494"/>
                      </a:lnTo>
                      <a:lnTo>
                        <a:pt x="86" y="1494"/>
                      </a:lnTo>
                      <a:lnTo>
                        <a:pt x="87" y="1494"/>
                      </a:lnTo>
                      <a:lnTo>
                        <a:pt x="87" y="1494"/>
                      </a:lnTo>
                      <a:lnTo>
                        <a:pt x="87" y="1496"/>
                      </a:lnTo>
                      <a:lnTo>
                        <a:pt x="87" y="1496"/>
                      </a:lnTo>
                      <a:lnTo>
                        <a:pt x="88" y="1497"/>
                      </a:lnTo>
                      <a:lnTo>
                        <a:pt x="89" y="1498"/>
                      </a:lnTo>
                      <a:lnTo>
                        <a:pt x="89" y="1499"/>
                      </a:lnTo>
                      <a:lnTo>
                        <a:pt x="88" y="1499"/>
                      </a:lnTo>
                      <a:lnTo>
                        <a:pt x="88" y="1500"/>
                      </a:lnTo>
                      <a:lnTo>
                        <a:pt x="89" y="1501"/>
                      </a:lnTo>
                      <a:lnTo>
                        <a:pt x="89" y="1502"/>
                      </a:lnTo>
                      <a:lnTo>
                        <a:pt x="89" y="1502"/>
                      </a:lnTo>
                      <a:lnTo>
                        <a:pt x="89" y="1503"/>
                      </a:lnTo>
                      <a:lnTo>
                        <a:pt x="89" y="1503"/>
                      </a:lnTo>
                      <a:lnTo>
                        <a:pt x="89" y="1504"/>
                      </a:lnTo>
                      <a:lnTo>
                        <a:pt x="89" y="1504"/>
                      </a:lnTo>
                      <a:lnTo>
                        <a:pt x="89" y="1504"/>
                      </a:lnTo>
                      <a:lnTo>
                        <a:pt x="90" y="1504"/>
                      </a:lnTo>
                      <a:lnTo>
                        <a:pt x="90" y="1505"/>
                      </a:lnTo>
                      <a:lnTo>
                        <a:pt x="89" y="1505"/>
                      </a:lnTo>
                      <a:lnTo>
                        <a:pt x="89" y="1506"/>
                      </a:lnTo>
                      <a:lnTo>
                        <a:pt x="89" y="1506"/>
                      </a:lnTo>
                      <a:lnTo>
                        <a:pt x="89" y="1506"/>
                      </a:lnTo>
                      <a:lnTo>
                        <a:pt x="88" y="1507"/>
                      </a:lnTo>
                      <a:lnTo>
                        <a:pt x="87" y="1507"/>
                      </a:lnTo>
                      <a:lnTo>
                        <a:pt x="87" y="1507"/>
                      </a:lnTo>
                      <a:lnTo>
                        <a:pt x="88" y="1509"/>
                      </a:lnTo>
                      <a:lnTo>
                        <a:pt x="87" y="1509"/>
                      </a:lnTo>
                      <a:lnTo>
                        <a:pt x="87" y="1509"/>
                      </a:lnTo>
                      <a:lnTo>
                        <a:pt x="86" y="1509"/>
                      </a:lnTo>
                      <a:lnTo>
                        <a:pt x="85" y="1510"/>
                      </a:lnTo>
                      <a:lnTo>
                        <a:pt x="83" y="1510"/>
                      </a:lnTo>
                      <a:lnTo>
                        <a:pt x="81" y="1510"/>
                      </a:lnTo>
                      <a:lnTo>
                        <a:pt x="78" y="1508"/>
                      </a:lnTo>
                      <a:lnTo>
                        <a:pt x="77" y="1508"/>
                      </a:lnTo>
                      <a:lnTo>
                        <a:pt x="77" y="1508"/>
                      </a:lnTo>
                      <a:lnTo>
                        <a:pt x="77" y="1508"/>
                      </a:lnTo>
                      <a:lnTo>
                        <a:pt x="78" y="1508"/>
                      </a:lnTo>
                      <a:lnTo>
                        <a:pt x="78" y="1509"/>
                      </a:lnTo>
                      <a:lnTo>
                        <a:pt x="78" y="1510"/>
                      </a:lnTo>
                      <a:lnTo>
                        <a:pt x="78" y="1511"/>
                      </a:lnTo>
                      <a:lnTo>
                        <a:pt x="78" y="1511"/>
                      </a:lnTo>
                      <a:lnTo>
                        <a:pt x="77" y="1511"/>
                      </a:lnTo>
                      <a:lnTo>
                        <a:pt x="77" y="1511"/>
                      </a:lnTo>
                      <a:lnTo>
                        <a:pt x="76" y="1511"/>
                      </a:lnTo>
                      <a:lnTo>
                        <a:pt x="76" y="1510"/>
                      </a:lnTo>
                      <a:lnTo>
                        <a:pt x="76" y="1510"/>
                      </a:lnTo>
                      <a:lnTo>
                        <a:pt x="75" y="1510"/>
                      </a:lnTo>
                      <a:lnTo>
                        <a:pt x="74" y="1510"/>
                      </a:lnTo>
                      <a:lnTo>
                        <a:pt x="74" y="1509"/>
                      </a:lnTo>
                      <a:lnTo>
                        <a:pt x="74" y="1509"/>
                      </a:lnTo>
                      <a:lnTo>
                        <a:pt x="73" y="1509"/>
                      </a:lnTo>
                      <a:lnTo>
                        <a:pt x="73" y="1510"/>
                      </a:lnTo>
                      <a:lnTo>
                        <a:pt x="73" y="1510"/>
                      </a:lnTo>
                      <a:lnTo>
                        <a:pt x="72" y="1510"/>
                      </a:lnTo>
                      <a:lnTo>
                        <a:pt x="72" y="1510"/>
                      </a:lnTo>
                      <a:lnTo>
                        <a:pt x="71" y="1510"/>
                      </a:lnTo>
                      <a:lnTo>
                        <a:pt x="71" y="1509"/>
                      </a:lnTo>
                      <a:lnTo>
                        <a:pt x="71" y="1509"/>
                      </a:lnTo>
                      <a:lnTo>
                        <a:pt x="70" y="1509"/>
                      </a:lnTo>
                      <a:lnTo>
                        <a:pt x="69" y="1509"/>
                      </a:lnTo>
                      <a:lnTo>
                        <a:pt x="69" y="1509"/>
                      </a:lnTo>
                      <a:lnTo>
                        <a:pt x="69" y="1510"/>
                      </a:lnTo>
                      <a:lnTo>
                        <a:pt x="69" y="1510"/>
                      </a:lnTo>
                      <a:lnTo>
                        <a:pt x="70" y="1510"/>
                      </a:lnTo>
                      <a:lnTo>
                        <a:pt x="71" y="1511"/>
                      </a:lnTo>
                      <a:lnTo>
                        <a:pt x="72" y="1511"/>
                      </a:lnTo>
                      <a:lnTo>
                        <a:pt x="72" y="1511"/>
                      </a:lnTo>
                      <a:lnTo>
                        <a:pt x="73" y="1512"/>
                      </a:lnTo>
                      <a:lnTo>
                        <a:pt x="73" y="1512"/>
                      </a:lnTo>
                      <a:lnTo>
                        <a:pt x="73" y="1511"/>
                      </a:lnTo>
                      <a:lnTo>
                        <a:pt x="73" y="1510"/>
                      </a:lnTo>
                      <a:lnTo>
                        <a:pt x="74" y="1510"/>
                      </a:lnTo>
                      <a:lnTo>
                        <a:pt x="74" y="1511"/>
                      </a:lnTo>
                      <a:lnTo>
                        <a:pt x="76" y="1511"/>
                      </a:lnTo>
                      <a:lnTo>
                        <a:pt x="76" y="1511"/>
                      </a:lnTo>
                      <a:lnTo>
                        <a:pt x="76" y="1511"/>
                      </a:lnTo>
                      <a:lnTo>
                        <a:pt x="77" y="1511"/>
                      </a:lnTo>
                      <a:lnTo>
                        <a:pt x="77" y="1512"/>
                      </a:lnTo>
                      <a:lnTo>
                        <a:pt x="77" y="1512"/>
                      </a:lnTo>
                      <a:lnTo>
                        <a:pt x="78" y="1512"/>
                      </a:lnTo>
                      <a:lnTo>
                        <a:pt x="78" y="1512"/>
                      </a:lnTo>
                      <a:lnTo>
                        <a:pt x="78" y="1512"/>
                      </a:lnTo>
                      <a:lnTo>
                        <a:pt x="77" y="1513"/>
                      </a:lnTo>
                      <a:lnTo>
                        <a:pt x="76" y="1513"/>
                      </a:lnTo>
                      <a:lnTo>
                        <a:pt x="76" y="1513"/>
                      </a:lnTo>
                      <a:lnTo>
                        <a:pt x="76" y="1513"/>
                      </a:lnTo>
                      <a:lnTo>
                        <a:pt x="76" y="1513"/>
                      </a:lnTo>
                      <a:lnTo>
                        <a:pt x="76" y="1513"/>
                      </a:lnTo>
                      <a:lnTo>
                        <a:pt x="76" y="1513"/>
                      </a:lnTo>
                      <a:lnTo>
                        <a:pt x="75" y="1513"/>
                      </a:lnTo>
                      <a:lnTo>
                        <a:pt x="75" y="1513"/>
                      </a:lnTo>
                      <a:lnTo>
                        <a:pt x="74" y="1513"/>
                      </a:lnTo>
                      <a:lnTo>
                        <a:pt x="73" y="1512"/>
                      </a:lnTo>
                      <a:lnTo>
                        <a:pt x="73" y="1514"/>
                      </a:lnTo>
                      <a:lnTo>
                        <a:pt x="75" y="1514"/>
                      </a:lnTo>
                      <a:lnTo>
                        <a:pt x="76" y="1515"/>
                      </a:lnTo>
                      <a:lnTo>
                        <a:pt x="76" y="1514"/>
                      </a:lnTo>
                      <a:lnTo>
                        <a:pt x="76" y="1514"/>
                      </a:lnTo>
                      <a:lnTo>
                        <a:pt x="77" y="1514"/>
                      </a:lnTo>
                      <a:lnTo>
                        <a:pt x="78" y="1514"/>
                      </a:lnTo>
                      <a:lnTo>
                        <a:pt x="78" y="1513"/>
                      </a:lnTo>
                      <a:lnTo>
                        <a:pt x="80" y="1513"/>
                      </a:lnTo>
                      <a:lnTo>
                        <a:pt x="80" y="1513"/>
                      </a:lnTo>
                      <a:lnTo>
                        <a:pt x="81" y="1513"/>
                      </a:lnTo>
                      <a:lnTo>
                        <a:pt x="81" y="1513"/>
                      </a:lnTo>
                      <a:lnTo>
                        <a:pt x="82" y="1513"/>
                      </a:lnTo>
                      <a:lnTo>
                        <a:pt x="83" y="1513"/>
                      </a:lnTo>
                      <a:lnTo>
                        <a:pt x="83" y="1513"/>
                      </a:lnTo>
                      <a:lnTo>
                        <a:pt x="85" y="1513"/>
                      </a:lnTo>
                      <a:lnTo>
                        <a:pt x="85" y="1513"/>
                      </a:lnTo>
                      <a:lnTo>
                        <a:pt x="86" y="1514"/>
                      </a:lnTo>
                      <a:lnTo>
                        <a:pt x="87" y="1514"/>
                      </a:lnTo>
                      <a:lnTo>
                        <a:pt x="87" y="1515"/>
                      </a:lnTo>
                      <a:lnTo>
                        <a:pt x="87" y="1515"/>
                      </a:lnTo>
                      <a:lnTo>
                        <a:pt x="88" y="1515"/>
                      </a:lnTo>
                      <a:lnTo>
                        <a:pt x="88" y="1516"/>
                      </a:lnTo>
                      <a:lnTo>
                        <a:pt x="89" y="1515"/>
                      </a:lnTo>
                      <a:lnTo>
                        <a:pt x="90" y="1516"/>
                      </a:lnTo>
                      <a:lnTo>
                        <a:pt x="89" y="1517"/>
                      </a:lnTo>
                      <a:lnTo>
                        <a:pt x="89" y="1518"/>
                      </a:lnTo>
                      <a:lnTo>
                        <a:pt x="89" y="1518"/>
                      </a:lnTo>
                      <a:lnTo>
                        <a:pt x="89" y="1518"/>
                      </a:lnTo>
                      <a:lnTo>
                        <a:pt x="88" y="1518"/>
                      </a:lnTo>
                      <a:lnTo>
                        <a:pt x="89" y="1519"/>
                      </a:lnTo>
                      <a:lnTo>
                        <a:pt x="89" y="1518"/>
                      </a:lnTo>
                      <a:lnTo>
                        <a:pt x="90" y="1518"/>
                      </a:lnTo>
                      <a:lnTo>
                        <a:pt x="90" y="1519"/>
                      </a:lnTo>
                      <a:lnTo>
                        <a:pt x="90" y="1519"/>
                      </a:lnTo>
                      <a:lnTo>
                        <a:pt x="90" y="1519"/>
                      </a:lnTo>
                      <a:lnTo>
                        <a:pt x="91" y="1519"/>
                      </a:lnTo>
                      <a:lnTo>
                        <a:pt x="91" y="1519"/>
                      </a:lnTo>
                      <a:lnTo>
                        <a:pt x="91" y="1520"/>
                      </a:lnTo>
                      <a:lnTo>
                        <a:pt x="91" y="1520"/>
                      </a:lnTo>
                      <a:lnTo>
                        <a:pt x="91" y="1519"/>
                      </a:lnTo>
                      <a:lnTo>
                        <a:pt x="93" y="1519"/>
                      </a:lnTo>
                      <a:lnTo>
                        <a:pt x="93" y="1520"/>
                      </a:lnTo>
                      <a:lnTo>
                        <a:pt x="93" y="1520"/>
                      </a:lnTo>
                      <a:lnTo>
                        <a:pt x="93" y="1521"/>
                      </a:lnTo>
                      <a:lnTo>
                        <a:pt x="93" y="1521"/>
                      </a:lnTo>
                      <a:lnTo>
                        <a:pt x="93" y="1521"/>
                      </a:lnTo>
                      <a:lnTo>
                        <a:pt x="94" y="1521"/>
                      </a:lnTo>
                      <a:lnTo>
                        <a:pt x="94" y="1522"/>
                      </a:lnTo>
                      <a:lnTo>
                        <a:pt x="96" y="1522"/>
                      </a:lnTo>
                      <a:lnTo>
                        <a:pt x="96" y="1522"/>
                      </a:lnTo>
                      <a:lnTo>
                        <a:pt x="96" y="1522"/>
                      </a:lnTo>
                      <a:lnTo>
                        <a:pt x="97" y="1523"/>
                      </a:lnTo>
                      <a:lnTo>
                        <a:pt x="97" y="1523"/>
                      </a:lnTo>
                      <a:lnTo>
                        <a:pt x="96" y="1523"/>
                      </a:lnTo>
                      <a:lnTo>
                        <a:pt x="96" y="1524"/>
                      </a:lnTo>
                      <a:lnTo>
                        <a:pt x="96" y="1524"/>
                      </a:lnTo>
                      <a:lnTo>
                        <a:pt x="96" y="1524"/>
                      </a:lnTo>
                      <a:lnTo>
                        <a:pt x="96" y="1524"/>
                      </a:lnTo>
                      <a:lnTo>
                        <a:pt x="96" y="1525"/>
                      </a:lnTo>
                      <a:lnTo>
                        <a:pt x="95" y="1525"/>
                      </a:lnTo>
                      <a:lnTo>
                        <a:pt x="94" y="1526"/>
                      </a:lnTo>
                      <a:lnTo>
                        <a:pt x="95" y="1526"/>
                      </a:lnTo>
                      <a:lnTo>
                        <a:pt x="95" y="1526"/>
                      </a:lnTo>
                      <a:lnTo>
                        <a:pt x="95" y="1526"/>
                      </a:lnTo>
                      <a:lnTo>
                        <a:pt x="94" y="1527"/>
                      </a:lnTo>
                      <a:lnTo>
                        <a:pt x="94" y="1526"/>
                      </a:lnTo>
                      <a:lnTo>
                        <a:pt x="94" y="1527"/>
                      </a:lnTo>
                      <a:lnTo>
                        <a:pt x="94" y="1527"/>
                      </a:lnTo>
                      <a:lnTo>
                        <a:pt x="92" y="1527"/>
                      </a:lnTo>
                      <a:lnTo>
                        <a:pt x="92" y="1528"/>
                      </a:lnTo>
                      <a:lnTo>
                        <a:pt x="92" y="1528"/>
                      </a:lnTo>
                      <a:lnTo>
                        <a:pt x="92" y="1530"/>
                      </a:lnTo>
                      <a:lnTo>
                        <a:pt x="93" y="1530"/>
                      </a:lnTo>
                      <a:lnTo>
                        <a:pt x="93" y="1532"/>
                      </a:lnTo>
                      <a:lnTo>
                        <a:pt x="90" y="1531"/>
                      </a:lnTo>
                      <a:lnTo>
                        <a:pt x="90" y="1531"/>
                      </a:lnTo>
                      <a:lnTo>
                        <a:pt x="90" y="1531"/>
                      </a:lnTo>
                      <a:lnTo>
                        <a:pt x="90" y="1531"/>
                      </a:lnTo>
                      <a:lnTo>
                        <a:pt x="89" y="1530"/>
                      </a:lnTo>
                      <a:lnTo>
                        <a:pt x="88" y="1530"/>
                      </a:lnTo>
                      <a:lnTo>
                        <a:pt x="88" y="1530"/>
                      </a:lnTo>
                      <a:lnTo>
                        <a:pt x="87" y="1530"/>
                      </a:lnTo>
                      <a:lnTo>
                        <a:pt x="85" y="1528"/>
                      </a:lnTo>
                      <a:lnTo>
                        <a:pt x="85" y="1528"/>
                      </a:lnTo>
                      <a:lnTo>
                        <a:pt x="83" y="1526"/>
                      </a:lnTo>
                      <a:lnTo>
                        <a:pt x="82" y="1526"/>
                      </a:lnTo>
                      <a:lnTo>
                        <a:pt x="81" y="1526"/>
                      </a:lnTo>
                      <a:lnTo>
                        <a:pt x="81" y="1526"/>
                      </a:lnTo>
                      <a:lnTo>
                        <a:pt x="81" y="1526"/>
                      </a:lnTo>
                      <a:lnTo>
                        <a:pt x="79" y="1526"/>
                      </a:lnTo>
                      <a:lnTo>
                        <a:pt x="78" y="1526"/>
                      </a:lnTo>
                      <a:lnTo>
                        <a:pt x="78" y="1525"/>
                      </a:lnTo>
                      <a:lnTo>
                        <a:pt x="78" y="1525"/>
                      </a:lnTo>
                      <a:lnTo>
                        <a:pt x="78" y="1526"/>
                      </a:lnTo>
                      <a:lnTo>
                        <a:pt x="78" y="1526"/>
                      </a:lnTo>
                      <a:lnTo>
                        <a:pt x="77" y="1527"/>
                      </a:lnTo>
                      <a:lnTo>
                        <a:pt x="77" y="1527"/>
                      </a:lnTo>
                      <a:lnTo>
                        <a:pt x="78" y="1527"/>
                      </a:lnTo>
                      <a:lnTo>
                        <a:pt x="78" y="1528"/>
                      </a:lnTo>
                      <a:lnTo>
                        <a:pt x="77" y="1528"/>
                      </a:lnTo>
                      <a:lnTo>
                        <a:pt x="77" y="1528"/>
                      </a:lnTo>
                      <a:lnTo>
                        <a:pt x="76" y="1528"/>
                      </a:lnTo>
                      <a:lnTo>
                        <a:pt x="75" y="1528"/>
                      </a:lnTo>
                      <a:lnTo>
                        <a:pt x="75" y="1528"/>
                      </a:lnTo>
                      <a:lnTo>
                        <a:pt x="75" y="1528"/>
                      </a:lnTo>
                      <a:lnTo>
                        <a:pt x="74" y="1528"/>
                      </a:lnTo>
                      <a:lnTo>
                        <a:pt x="74" y="1527"/>
                      </a:lnTo>
                      <a:lnTo>
                        <a:pt x="74" y="1527"/>
                      </a:lnTo>
                      <a:lnTo>
                        <a:pt x="73" y="1527"/>
                      </a:lnTo>
                      <a:lnTo>
                        <a:pt x="73" y="1527"/>
                      </a:lnTo>
                      <a:lnTo>
                        <a:pt x="73" y="1528"/>
                      </a:lnTo>
                      <a:lnTo>
                        <a:pt x="73" y="1528"/>
                      </a:lnTo>
                      <a:lnTo>
                        <a:pt x="72" y="1528"/>
                      </a:lnTo>
                      <a:lnTo>
                        <a:pt x="71" y="1528"/>
                      </a:lnTo>
                      <a:lnTo>
                        <a:pt x="70" y="1528"/>
                      </a:lnTo>
                      <a:lnTo>
                        <a:pt x="70" y="1528"/>
                      </a:lnTo>
                      <a:lnTo>
                        <a:pt x="69" y="1528"/>
                      </a:lnTo>
                      <a:lnTo>
                        <a:pt x="69" y="1528"/>
                      </a:lnTo>
                      <a:lnTo>
                        <a:pt x="68" y="1528"/>
                      </a:lnTo>
                      <a:lnTo>
                        <a:pt x="66" y="1528"/>
                      </a:lnTo>
                      <a:lnTo>
                        <a:pt x="66" y="1528"/>
                      </a:lnTo>
                      <a:lnTo>
                        <a:pt x="65" y="1528"/>
                      </a:lnTo>
                      <a:lnTo>
                        <a:pt x="65" y="1528"/>
                      </a:lnTo>
                      <a:lnTo>
                        <a:pt x="63" y="1528"/>
                      </a:lnTo>
                      <a:lnTo>
                        <a:pt x="62" y="1527"/>
                      </a:lnTo>
                      <a:lnTo>
                        <a:pt x="62" y="1526"/>
                      </a:lnTo>
                      <a:lnTo>
                        <a:pt x="62" y="1525"/>
                      </a:lnTo>
                      <a:lnTo>
                        <a:pt x="60" y="1525"/>
                      </a:lnTo>
                      <a:lnTo>
                        <a:pt x="59" y="1524"/>
                      </a:lnTo>
                      <a:lnTo>
                        <a:pt x="59" y="1524"/>
                      </a:lnTo>
                      <a:lnTo>
                        <a:pt x="58" y="1524"/>
                      </a:lnTo>
                      <a:lnTo>
                        <a:pt x="58" y="1523"/>
                      </a:lnTo>
                      <a:lnTo>
                        <a:pt x="58" y="1523"/>
                      </a:lnTo>
                      <a:lnTo>
                        <a:pt x="58" y="1522"/>
                      </a:lnTo>
                      <a:lnTo>
                        <a:pt x="59" y="1522"/>
                      </a:lnTo>
                      <a:lnTo>
                        <a:pt x="58" y="1521"/>
                      </a:lnTo>
                      <a:lnTo>
                        <a:pt x="58" y="1521"/>
                      </a:lnTo>
                      <a:lnTo>
                        <a:pt x="58" y="1520"/>
                      </a:lnTo>
                      <a:lnTo>
                        <a:pt x="57" y="1519"/>
                      </a:lnTo>
                      <a:lnTo>
                        <a:pt x="57" y="1518"/>
                      </a:lnTo>
                      <a:lnTo>
                        <a:pt x="56" y="1518"/>
                      </a:lnTo>
                      <a:lnTo>
                        <a:pt x="56" y="1518"/>
                      </a:lnTo>
                      <a:lnTo>
                        <a:pt x="56" y="1518"/>
                      </a:lnTo>
                      <a:lnTo>
                        <a:pt x="55" y="1518"/>
                      </a:lnTo>
                      <a:lnTo>
                        <a:pt x="55" y="1519"/>
                      </a:lnTo>
                      <a:lnTo>
                        <a:pt x="54" y="1519"/>
                      </a:lnTo>
                      <a:lnTo>
                        <a:pt x="54" y="1518"/>
                      </a:lnTo>
                      <a:lnTo>
                        <a:pt x="54" y="1518"/>
                      </a:lnTo>
                      <a:lnTo>
                        <a:pt x="54" y="1517"/>
                      </a:lnTo>
                      <a:lnTo>
                        <a:pt x="55" y="1517"/>
                      </a:lnTo>
                      <a:lnTo>
                        <a:pt x="55" y="1518"/>
                      </a:lnTo>
                      <a:lnTo>
                        <a:pt x="56" y="1517"/>
                      </a:lnTo>
                      <a:lnTo>
                        <a:pt x="56" y="1516"/>
                      </a:lnTo>
                      <a:lnTo>
                        <a:pt x="56" y="1515"/>
                      </a:lnTo>
                      <a:lnTo>
                        <a:pt x="56" y="1514"/>
                      </a:lnTo>
                      <a:lnTo>
                        <a:pt x="56" y="1514"/>
                      </a:lnTo>
                      <a:lnTo>
                        <a:pt x="56" y="1514"/>
                      </a:lnTo>
                      <a:lnTo>
                        <a:pt x="56" y="1513"/>
                      </a:lnTo>
                      <a:lnTo>
                        <a:pt x="55" y="1512"/>
                      </a:lnTo>
                      <a:lnTo>
                        <a:pt x="55" y="1512"/>
                      </a:lnTo>
                      <a:lnTo>
                        <a:pt x="55" y="1511"/>
                      </a:lnTo>
                      <a:lnTo>
                        <a:pt x="54" y="1511"/>
                      </a:lnTo>
                      <a:lnTo>
                        <a:pt x="54" y="1510"/>
                      </a:lnTo>
                      <a:lnTo>
                        <a:pt x="55" y="1506"/>
                      </a:lnTo>
                      <a:lnTo>
                        <a:pt x="55" y="1506"/>
                      </a:lnTo>
                      <a:lnTo>
                        <a:pt x="55" y="1505"/>
                      </a:lnTo>
                      <a:lnTo>
                        <a:pt x="54" y="1505"/>
                      </a:lnTo>
                      <a:lnTo>
                        <a:pt x="54" y="1504"/>
                      </a:lnTo>
                      <a:lnTo>
                        <a:pt x="54" y="1504"/>
                      </a:lnTo>
                      <a:lnTo>
                        <a:pt x="54" y="1503"/>
                      </a:lnTo>
                      <a:lnTo>
                        <a:pt x="54" y="1503"/>
                      </a:lnTo>
                      <a:lnTo>
                        <a:pt x="54" y="1502"/>
                      </a:lnTo>
                      <a:lnTo>
                        <a:pt x="53" y="1501"/>
                      </a:lnTo>
                      <a:lnTo>
                        <a:pt x="53" y="1499"/>
                      </a:lnTo>
                      <a:lnTo>
                        <a:pt x="52" y="1499"/>
                      </a:lnTo>
                      <a:lnTo>
                        <a:pt x="52" y="1498"/>
                      </a:lnTo>
                      <a:lnTo>
                        <a:pt x="52" y="1497"/>
                      </a:lnTo>
                      <a:lnTo>
                        <a:pt x="52" y="1497"/>
                      </a:lnTo>
                      <a:lnTo>
                        <a:pt x="52" y="1496"/>
                      </a:lnTo>
                      <a:lnTo>
                        <a:pt x="52" y="1495"/>
                      </a:lnTo>
                      <a:lnTo>
                        <a:pt x="52" y="1494"/>
                      </a:lnTo>
                      <a:lnTo>
                        <a:pt x="52" y="1493"/>
                      </a:lnTo>
                      <a:lnTo>
                        <a:pt x="52" y="1490"/>
                      </a:lnTo>
                      <a:lnTo>
                        <a:pt x="52" y="1489"/>
                      </a:lnTo>
                      <a:lnTo>
                        <a:pt x="51" y="1489"/>
                      </a:lnTo>
                      <a:lnTo>
                        <a:pt x="51" y="1488"/>
                      </a:lnTo>
                      <a:lnTo>
                        <a:pt x="51" y="1488"/>
                      </a:lnTo>
                      <a:lnTo>
                        <a:pt x="51" y="1488"/>
                      </a:lnTo>
                      <a:lnTo>
                        <a:pt x="52" y="1487"/>
                      </a:lnTo>
                      <a:lnTo>
                        <a:pt x="52" y="1484"/>
                      </a:lnTo>
                      <a:lnTo>
                        <a:pt x="51" y="1483"/>
                      </a:lnTo>
                      <a:lnTo>
                        <a:pt x="50" y="1483"/>
                      </a:lnTo>
                      <a:lnTo>
                        <a:pt x="50" y="1482"/>
                      </a:lnTo>
                      <a:lnTo>
                        <a:pt x="50" y="1482"/>
                      </a:lnTo>
                      <a:lnTo>
                        <a:pt x="50" y="1482"/>
                      </a:lnTo>
                      <a:lnTo>
                        <a:pt x="50" y="1482"/>
                      </a:lnTo>
                      <a:lnTo>
                        <a:pt x="50" y="1481"/>
                      </a:lnTo>
                      <a:lnTo>
                        <a:pt x="50" y="1481"/>
                      </a:lnTo>
                      <a:lnTo>
                        <a:pt x="50" y="1480"/>
                      </a:lnTo>
                      <a:lnTo>
                        <a:pt x="50" y="1478"/>
                      </a:lnTo>
                      <a:lnTo>
                        <a:pt x="50" y="1478"/>
                      </a:lnTo>
                      <a:lnTo>
                        <a:pt x="50" y="1477"/>
                      </a:lnTo>
                      <a:lnTo>
                        <a:pt x="49" y="1477"/>
                      </a:lnTo>
                      <a:lnTo>
                        <a:pt x="49" y="1477"/>
                      </a:lnTo>
                      <a:lnTo>
                        <a:pt x="49" y="1477"/>
                      </a:lnTo>
                      <a:lnTo>
                        <a:pt x="49" y="1477"/>
                      </a:lnTo>
                      <a:lnTo>
                        <a:pt x="48" y="1476"/>
                      </a:lnTo>
                      <a:lnTo>
                        <a:pt x="47" y="1475"/>
                      </a:lnTo>
                      <a:lnTo>
                        <a:pt x="47" y="1475"/>
                      </a:lnTo>
                      <a:lnTo>
                        <a:pt x="47" y="1475"/>
                      </a:lnTo>
                      <a:lnTo>
                        <a:pt x="46" y="1475"/>
                      </a:lnTo>
                      <a:lnTo>
                        <a:pt x="46" y="1476"/>
                      </a:lnTo>
                      <a:lnTo>
                        <a:pt x="46" y="1476"/>
                      </a:lnTo>
                      <a:lnTo>
                        <a:pt x="45" y="1476"/>
                      </a:lnTo>
                      <a:lnTo>
                        <a:pt x="45" y="1476"/>
                      </a:lnTo>
                      <a:lnTo>
                        <a:pt x="44" y="1475"/>
                      </a:lnTo>
                      <a:lnTo>
                        <a:pt x="44" y="1475"/>
                      </a:lnTo>
                      <a:lnTo>
                        <a:pt x="45" y="1474"/>
                      </a:lnTo>
                      <a:lnTo>
                        <a:pt x="45" y="1474"/>
                      </a:lnTo>
                      <a:lnTo>
                        <a:pt x="45" y="1474"/>
                      </a:lnTo>
                      <a:lnTo>
                        <a:pt x="46" y="1474"/>
                      </a:lnTo>
                      <a:lnTo>
                        <a:pt x="49" y="1474"/>
                      </a:lnTo>
                      <a:lnTo>
                        <a:pt x="49" y="1474"/>
                      </a:lnTo>
                      <a:lnTo>
                        <a:pt x="49" y="1474"/>
                      </a:lnTo>
                      <a:lnTo>
                        <a:pt x="49" y="1474"/>
                      </a:lnTo>
                      <a:lnTo>
                        <a:pt x="50" y="1474"/>
                      </a:lnTo>
                      <a:lnTo>
                        <a:pt x="49" y="1473"/>
                      </a:lnTo>
                      <a:lnTo>
                        <a:pt x="50" y="1473"/>
                      </a:lnTo>
                      <a:lnTo>
                        <a:pt x="50" y="1473"/>
                      </a:lnTo>
                      <a:lnTo>
                        <a:pt x="50" y="1473"/>
                      </a:lnTo>
                      <a:lnTo>
                        <a:pt x="50" y="1473"/>
                      </a:lnTo>
                      <a:lnTo>
                        <a:pt x="50" y="1473"/>
                      </a:lnTo>
                      <a:lnTo>
                        <a:pt x="50" y="1472"/>
                      </a:lnTo>
                      <a:lnTo>
                        <a:pt x="51" y="1471"/>
                      </a:lnTo>
                      <a:lnTo>
                        <a:pt x="51" y="1471"/>
                      </a:lnTo>
                      <a:lnTo>
                        <a:pt x="51" y="1471"/>
                      </a:lnTo>
                      <a:lnTo>
                        <a:pt x="51" y="1470"/>
                      </a:lnTo>
                      <a:lnTo>
                        <a:pt x="51" y="1470"/>
                      </a:lnTo>
                      <a:lnTo>
                        <a:pt x="51" y="1469"/>
                      </a:lnTo>
                      <a:lnTo>
                        <a:pt x="51" y="1469"/>
                      </a:lnTo>
                      <a:lnTo>
                        <a:pt x="51" y="1467"/>
                      </a:lnTo>
                      <a:lnTo>
                        <a:pt x="52" y="1466"/>
                      </a:lnTo>
                      <a:lnTo>
                        <a:pt x="52" y="1463"/>
                      </a:lnTo>
                      <a:lnTo>
                        <a:pt x="50" y="1463"/>
                      </a:lnTo>
                      <a:lnTo>
                        <a:pt x="50" y="1462"/>
                      </a:lnTo>
                      <a:lnTo>
                        <a:pt x="50" y="1462"/>
                      </a:lnTo>
                      <a:lnTo>
                        <a:pt x="51" y="1462"/>
                      </a:lnTo>
                      <a:lnTo>
                        <a:pt x="51" y="1462"/>
                      </a:lnTo>
                      <a:lnTo>
                        <a:pt x="52" y="1462"/>
                      </a:lnTo>
                      <a:lnTo>
                        <a:pt x="52" y="1461"/>
                      </a:lnTo>
                      <a:lnTo>
                        <a:pt x="52" y="1461"/>
                      </a:lnTo>
                      <a:lnTo>
                        <a:pt x="52" y="1459"/>
                      </a:lnTo>
                      <a:lnTo>
                        <a:pt x="52" y="1458"/>
                      </a:lnTo>
                      <a:lnTo>
                        <a:pt x="52" y="1458"/>
                      </a:lnTo>
                      <a:lnTo>
                        <a:pt x="52" y="1457"/>
                      </a:lnTo>
                      <a:lnTo>
                        <a:pt x="52" y="1457"/>
                      </a:lnTo>
                      <a:lnTo>
                        <a:pt x="53" y="1456"/>
                      </a:lnTo>
                      <a:lnTo>
                        <a:pt x="53" y="1456"/>
                      </a:lnTo>
                      <a:lnTo>
                        <a:pt x="53" y="1455"/>
                      </a:lnTo>
                      <a:lnTo>
                        <a:pt x="54" y="1455"/>
                      </a:lnTo>
                      <a:lnTo>
                        <a:pt x="54" y="1455"/>
                      </a:lnTo>
                      <a:lnTo>
                        <a:pt x="54" y="1455"/>
                      </a:lnTo>
                      <a:lnTo>
                        <a:pt x="54" y="1456"/>
                      </a:lnTo>
                      <a:lnTo>
                        <a:pt x="55" y="1455"/>
                      </a:lnTo>
                      <a:lnTo>
                        <a:pt x="55" y="1455"/>
                      </a:lnTo>
                      <a:lnTo>
                        <a:pt x="55" y="1454"/>
                      </a:lnTo>
                      <a:lnTo>
                        <a:pt x="55" y="1454"/>
                      </a:lnTo>
                      <a:lnTo>
                        <a:pt x="56" y="1454"/>
                      </a:lnTo>
                      <a:lnTo>
                        <a:pt x="56" y="1452"/>
                      </a:lnTo>
                      <a:lnTo>
                        <a:pt x="56" y="1452"/>
                      </a:lnTo>
                      <a:lnTo>
                        <a:pt x="56" y="1451"/>
                      </a:lnTo>
                      <a:lnTo>
                        <a:pt x="57" y="1451"/>
                      </a:lnTo>
                      <a:lnTo>
                        <a:pt x="57" y="1450"/>
                      </a:lnTo>
                      <a:lnTo>
                        <a:pt x="57" y="1449"/>
                      </a:lnTo>
                      <a:lnTo>
                        <a:pt x="56" y="1449"/>
                      </a:lnTo>
                      <a:lnTo>
                        <a:pt x="56" y="1448"/>
                      </a:lnTo>
                      <a:lnTo>
                        <a:pt x="56" y="1448"/>
                      </a:lnTo>
                      <a:lnTo>
                        <a:pt x="56" y="1447"/>
                      </a:lnTo>
                      <a:lnTo>
                        <a:pt x="56" y="1447"/>
                      </a:lnTo>
                      <a:lnTo>
                        <a:pt x="56" y="1447"/>
                      </a:lnTo>
                      <a:lnTo>
                        <a:pt x="56" y="1446"/>
                      </a:lnTo>
                      <a:lnTo>
                        <a:pt x="57" y="1446"/>
                      </a:lnTo>
                      <a:lnTo>
                        <a:pt x="56" y="1445"/>
                      </a:lnTo>
                      <a:lnTo>
                        <a:pt x="57" y="1444"/>
                      </a:lnTo>
                      <a:lnTo>
                        <a:pt x="57" y="1443"/>
                      </a:lnTo>
                      <a:lnTo>
                        <a:pt x="57" y="1440"/>
                      </a:lnTo>
                      <a:lnTo>
                        <a:pt x="57" y="1438"/>
                      </a:lnTo>
                      <a:lnTo>
                        <a:pt x="57" y="1438"/>
                      </a:lnTo>
                      <a:lnTo>
                        <a:pt x="57" y="1437"/>
                      </a:lnTo>
                      <a:lnTo>
                        <a:pt x="57" y="1437"/>
                      </a:lnTo>
                      <a:lnTo>
                        <a:pt x="57" y="1437"/>
                      </a:lnTo>
                      <a:lnTo>
                        <a:pt x="57" y="1436"/>
                      </a:lnTo>
                      <a:lnTo>
                        <a:pt x="56" y="1436"/>
                      </a:lnTo>
                      <a:lnTo>
                        <a:pt x="57" y="1436"/>
                      </a:lnTo>
                      <a:lnTo>
                        <a:pt x="56" y="1435"/>
                      </a:lnTo>
                      <a:lnTo>
                        <a:pt x="56" y="1434"/>
                      </a:lnTo>
                      <a:lnTo>
                        <a:pt x="56" y="1434"/>
                      </a:lnTo>
                      <a:lnTo>
                        <a:pt x="56" y="1433"/>
                      </a:lnTo>
                      <a:lnTo>
                        <a:pt x="55" y="1430"/>
                      </a:lnTo>
                      <a:lnTo>
                        <a:pt x="55" y="1429"/>
                      </a:lnTo>
                      <a:lnTo>
                        <a:pt x="54" y="1425"/>
                      </a:lnTo>
                      <a:lnTo>
                        <a:pt x="53" y="1424"/>
                      </a:lnTo>
                      <a:lnTo>
                        <a:pt x="53" y="1424"/>
                      </a:lnTo>
                      <a:lnTo>
                        <a:pt x="52" y="1422"/>
                      </a:lnTo>
                      <a:lnTo>
                        <a:pt x="51" y="1420"/>
                      </a:lnTo>
                      <a:lnTo>
                        <a:pt x="50" y="1420"/>
                      </a:lnTo>
                      <a:lnTo>
                        <a:pt x="50" y="1419"/>
                      </a:lnTo>
                      <a:lnTo>
                        <a:pt x="50" y="1419"/>
                      </a:lnTo>
                      <a:lnTo>
                        <a:pt x="50" y="1418"/>
                      </a:lnTo>
                      <a:lnTo>
                        <a:pt x="51" y="1417"/>
                      </a:lnTo>
                      <a:lnTo>
                        <a:pt x="52" y="1417"/>
                      </a:lnTo>
                      <a:lnTo>
                        <a:pt x="53" y="1418"/>
                      </a:lnTo>
                      <a:lnTo>
                        <a:pt x="54" y="1418"/>
                      </a:lnTo>
                      <a:lnTo>
                        <a:pt x="54" y="1418"/>
                      </a:lnTo>
                      <a:lnTo>
                        <a:pt x="55" y="1417"/>
                      </a:lnTo>
                      <a:lnTo>
                        <a:pt x="55" y="1417"/>
                      </a:lnTo>
                      <a:lnTo>
                        <a:pt x="55" y="1417"/>
                      </a:lnTo>
                      <a:lnTo>
                        <a:pt x="55" y="1416"/>
                      </a:lnTo>
                      <a:lnTo>
                        <a:pt x="55" y="1416"/>
                      </a:lnTo>
                      <a:lnTo>
                        <a:pt x="56" y="1416"/>
                      </a:lnTo>
                      <a:lnTo>
                        <a:pt x="56" y="1414"/>
                      </a:lnTo>
                      <a:lnTo>
                        <a:pt x="56" y="1414"/>
                      </a:lnTo>
                      <a:lnTo>
                        <a:pt x="56" y="1413"/>
                      </a:lnTo>
                      <a:lnTo>
                        <a:pt x="57" y="1413"/>
                      </a:lnTo>
                      <a:lnTo>
                        <a:pt x="57" y="1412"/>
                      </a:lnTo>
                      <a:lnTo>
                        <a:pt x="57" y="1412"/>
                      </a:lnTo>
                      <a:lnTo>
                        <a:pt x="57" y="1413"/>
                      </a:lnTo>
                      <a:lnTo>
                        <a:pt x="57" y="1413"/>
                      </a:lnTo>
                      <a:lnTo>
                        <a:pt x="57" y="1413"/>
                      </a:lnTo>
                      <a:lnTo>
                        <a:pt x="58" y="1412"/>
                      </a:lnTo>
                      <a:lnTo>
                        <a:pt x="59" y="1413"/>
                      </a:lnTo>
                      <a:lnTo>
                        <a:pt x="59" y="1413"/>
                      </a:lnTo>
                      <a:lnTo>
                        <a:pt x="60" y="1413"/>
                      </a:lnTo>
                      <a:lnTo>
                        <a:pt x="60" y="1413"/>
                      </a:lnTo>
                      <a:lnTo>
                        <a:pt x="62" y="1413"/>
                      </a:lnTo>
                      <a:lnTo>
                        <a:pt x="62" y="1412"/>
                      </a:lnTo>
                      <a:lnTo>
                        <a:pt x="63" y="1411"/>
                      </a:lnTo>
                      <a:lnTo>
                        <a:pt x="63" y="1411"/>
                      </a:lnTo>
                      <a:lnTo>
                        <a:pt x="63" y="1410"/>
                      </a:lnTo>
                      <a:lnTo>
                        <a:pt x="63" y="1410"/>
                      </a:lnTo>
                      <a:lnTo>
                        <a:pt x="63" y="1407"/>
                      </a:lnTo>
                      <a:lnTo>
                        <a:pt x="64" y="1406"/>
                      </a:lnTo>
                      <a:lnTo>
                        <a:pt x="65" y="1405"/>
                      </a:lnTo>
                      <a:lnTo>
                        <a:pt x="65" y="1405"/>
                      </a:lnTo>
                      <a:lnTo>
                        <a:pt x="65" y="1406"/>
                      </a:lnTo>
                      <a:lnTo>
                        <a:pt x="65" y="1407"/>
                      </a:lnTo>
                      <a:lnTo>
                        <a:pt x="65" y="1408"/>
                      </a:lnTo>
                      <a:close/>
                      <a:moveTo>
                        <a:pt x="92" y="1390"/>
                      </a:moveTo>
                      <a:lnTo>
                        <a:pt x="93" y="1391"/>
                      </a:lnTo>
                      <a:lnTo>
                        <a:pt x="93" y="1391"/>
                      </a:lnTo>
                      <a:lnTo>
                        <a:pt x="94" y="1391"/>
                      </a:lnTo>
                      <a:lnTo>
                        <a:pt x="94" y="1391"/>
                      </a:lnTo>
                      <a:lnTo>
                        <a:pt x="95" y="1392"/>
                      </a:lnTo>
                      <a:lnTo>
                        <a:pt x="94" y="1392"/>
                      </a:lnTo>
                      <a:lnTo>
                        <a:pt x="94" y="1392"/>
                      </a:lnTo>
                      <a:lnTo>
                        <a:pt x="94" y="1392"/>
                      </a:lnTo>
                      <a:lnTo>
                        <a:pt x="94" y="1393"/>
                      </a:lnTo>
                      <a:lnTo>
                        <a:pt x="94" y="1393"/>
                      </a:lnTo>
                      <a:lnTo>
                        <a:pt x="94" y="1393"/>
                      </a:lnTo>
                      <a:lnTo>
                        <a:pt x="92" y="1392"/>
                      </a:lnTo>
                      <a:lnTo>
                        <a:pt x="92" y="1392"/>
                      </a:lnTo>
                      <a:lnTo>
                        <a:pt x="92" y="1392"/>
                      </a:lnTo>
                      <a:lnTo>
                        <a:pt x="91" y="1392"/>
                      </a:lnTo>
                      <a:lnTo>
                        <a:pt x="91" y="1390"/>
                      </a:lnTo>
                      <a:lnTo>
                        <a:pt x="91" y="1390"/>
                      </a:lnTo>
                      <a:lnTo>
                        <a:pt x="91" y="1390"/>
                      </a:lnTo>
                      <a:lnTo>
                        <a:pt x="91" y="1390"/>
                      </a:lnTo>
                      <a:lnTo>
                        <a:pt x="92" y="1390"/>
                      </a:lnTo>
                      <a:lnTo>
                        <a:pt x="92" y="1390"/>
                      </a:lnTo>
                      <a:close/>
                      <a:moveTo>
                        <a:pt x="85" y="1386"/>
                      </a:moveTo>
                      <a:lnTo>
                        <a:pt x="85" y="1386"/>
                      </a:lnTo>
                      <a:lnTo>
                        <a:pt x="86" y="1386"/>
                      </a:lnTo>
                      <a:lnTo>
                        <a:pt x="86" y="1386"/>
                      </a:lnTo>
                      <a:lnTo>
                        <a:pt x="85" y="1387"/>
                      </a:lnTo>
                      <a:lnTo>
                        <a:pt x="85" y="1387"/>
                      </a:lnTo>
                      <a:lnTo>
                        <a:pt x="85" y="1387"/>
                      </a:lnTo>
                      <a:lnTo>
                        <a:pt x="85" y="1386"/>
                      </a:lnTo>
                      <a:lnTo>
                        <a:pt x="84" y="1386"/>
                      </a:lnTo>
                      <a:lnTo>
                        <a:pt x="84" y="1386"/>
                      </a:lnTo>
                      <a:lnTo>
                        <a:pt x="85" y="1386"/>
                      </a:lnTo>
                      <a:lnTo>
                        <a:pt x="85" y="1386"/>
                      </a:lnTo>
                      <a:close/>
                      <a:moveTo>
                        <a:pt x="83" y="1381"/>
                      </a:moveTo>
                      <a:lnTo>
                        <a:pt x="84" y="1381"/>
                      </a:lnTo>
                      <a:lnTo>
                        <a:pt x="84" y="1381"/>
                      </a:lnTo>
                      <a:lnTo>
                        <a:pt x="85" y="1383"/>
                      </a:lnTo>
                      <a:lnTo>
                        <a:pt x="86" y="1382"/>
                      </a:lnTo>
                      <a:lnTo>
                        <a:pt x="87" y="1383"/>
                      </a:lnTo>
                      <a:lnTo>
                        <a:pt x="86" y="1384"/>
                      </a:lnTo>
                      <a:lnTo>
                        <a:pt x="87" y="1384"/>
                      </a:lnTo>
                      <a:lnTo>
                        <a:pt x="87" y="1385"/>
                      </a:lnTo>
                      <a:lnTo>
                        <a:pt x="87" y="1385"/>
                      </a:lnTo>
                      <a:lnTo>
                        <a:pt x="86" y="1385"/>
                      </a:lnTo>
                      <a:lnTo>
                        <a:pt x="86" y="1386"/>
                      </a:lnTo>
                      <a:lnTo>
                        <a:pt x="87" y="1386"/>
                      </a:lnTo>
                      <a:lnTo>
                        <a:pt x="87" y="1386"/>
                      </a:lnTo>
                      <a:lnTo>
                        <a:pt x="86" y="1386"/>
                      </a:lnTo>
                      <a:lnTo>
                        <a:pt x="86" y="1386"/>
                      </a:lnTo>
                      <a:lnTo>
                        <a:pt x="84" y="1385"/>
                      </a:lnTo>
                      <a:lnTo>
                        <a:pt x="84" y="1384"/>
                      </a:lnTo>
                      <a:lnTo>
                        <a:pt x="83" y="1383"/>
                      </a:lnTo>
                      <a:lnTo>
                        <a:pt x="83" y="1383"/>
                      </a:lnTo>
                      <a:lnTo>
                        <a:pt x="83" y="1382"/>
                      </a:lnTo>
                      <a:lnTo>
                        <a:pt x="82" y="1382"/>
                      </a:lnTo>
                      <a:lnTo>
                        <a:pt x="82" y="1381"/>
                      </a:lnTo>
                      <a:lnTo>
                        <a:pt x="83" y="1381"/>
                      </a:lnTo>
                      <a:lnTo>
                        <a:pt x="83" y="1381"/>
                      </a:lnTo>
                      <a:lnTo>
                        <a:pt x="83" y="1381"/>
                      </a:lnTo>
                      <a:close/>
                      <a:moveTo>
                        <a:pt x="100" y="1381"/>
                      </a:moveTo>
                      <a:lnTo>
                        <a:pt x="100" y="1381"/>
                      </a:lnTo>
                      <a:lnTo>
                        <a:pt x="101" y="1382"/>
                      </a:lnTo>
                      <a:lnTo>
                        <a:pt x="101" y="1382"/>
                      </a:lnTo>
                      <a:lnTo>
                        <a:pt x="100" y="1382"/>
                      </a:lnTo>
                      <a:lnTo>
                        <a:pt x="98" y="1382"/>
                      </a:lnTo>
                      <a:lnTo>
                        <a:pt x="98" y="1381"/>
                      </a:lnTo>
                      <a:lnTo>
                        <a:pt x="100" y="1381"/>
                      </a:lnTo>
                      <a:close/>
                      <a:moveTo>
                        <a:pt x="74" y="1375"/>
                      </a:moveTo>
                      <a:lnTo>
                        <a:pt x="76" y="1376"/>
                      </a:lnTo>
                      <a:lnTo>
                        <a:pt x="76" y="1378"/>
                      </a:lnTo>
                      <a:lnTo>
                        <a:pt x="75" y="1379"/>
                      </a:lnTo>
                      <a:lnTo>
                        <a:pt x="74" y="1379"/>
                      </a:lnTo>
                      <a:lnTo>
                        <a:pt x="74" y="1380"/>
                      </a:lnTo>
                      <a:lnTo>
                        <a:pt x="72" y="1380"/>
                      </a:lnTo>
                      <a:lnTo>
                        <a:pt x="72" y="1381"/>
                      </a:lnTo>
                      <a:lnTo>
                        <a:pt x="71" y="1382"/>
                      </a:lnTo>
                      <a:lnTo>
                        <a:pt x="71" y="1382"/>
                      </a:lnTo>
                      <a:lnTo>
                        <a:pt x="72" y="1381"/>
                      </a:lnTo>
                      <a:lnTo>
                        <a:pt x="73" y="1382"/>
                      </a:lnTo>
                      <a:lnTo>
                        <a:pt x="73" y="1381"/>
                      </a:lnTo>
                      <a:lnTo>
                        <a:pt x="73" y="1381"/>
                      </a:lnTo>
                      <a:lnTo>
                        <a:pt x="75" y="1381"/>
                      </a:lnTo>
                      <a:lnTo>
                        <a:pt x="76" y="1382"/>
                      </a:lnTo>
                      <a:lnTo>
                        <a:pt x="76" y="1382"/>
                      </a:lnTo>
                      <a:lnTo>
                        <a:pt x="76" y="1381"/>
                      </a:lnTo>
                      <a:lnTo>
                        <a:pt x="77" y="1381"/>
                      </a:lnTo>
                      <a:lnTo>
                        <a:pt x="77" y="1380"/>
                      </a:lnTo>
                      <a:lnTo>
                        <a:pt x="77" y="1380"/>
                      </a:lnTo>
                      <a:lnTo>
                        <a:pt x="77" y="1380"/>
                      </a:lnTo>
                      <a:lnTo>
                        <a:pt x="76" y="1380"/>
                      </a:lnTo>
                      <a:lnTo>
                        <a:pt x="76" y="1379"/>
                      </a:lnTo>
                      <a:lnTo>
                        <a:pt x="77" y="1379"/>
                      </a:lnTo>
                      <a:lnTo>
                        <a:pt x="77" y="1379"/>
                      </a:lnTo>
                      <a:lnTo>
                        <a:pt x="78" y="1379"/>
                      </a:lnTo>
                      <a:lnTo>
                        <a:pt x="78" y="1379"/>
                      </a:lnTo>
                      <a:lnTo>
                        <a:pt x="78" y="1380"/>
                      </a:lnTo>
                      <a:lnTo>
                        <a:pt x="79" y="1380"/>
                      </a:lnTo>
                      <a:lnTo>
                        <a:pt x="79" y="1380"/>
                      </a:lnTo>
                      <a:lnTo>
                        <a:pt x="80" y="1380"/>
                      </a:lnTo>
                      <a:lnTo>
                        <a:pt x="81" y="1381"/>
                      </a:lnTo>
                      <a:lnTo>
                        <a:pt x="81" y="1381"/>
                      </a:lnTo>
                      <a:lnTo>
                        <a:pt x="81" y="1382"/>
                      </a:lnTo>
                      <a:lnTo>
                        <a:pt x="83" y="1383"/>
                      </a:lnTo>
                      <a:lnTo>
                        <a:pt x="83" y="1385"/>
                      </a:lnTo>
                      <a:lnTo>
                        <a:pt x="84" y="1385"/>
                      </a:lnTo>
                      <a:lnTo>
                        <a:pt x="84" y="1386"/>
                      </a:lnTo>
                      <a:lnTo>
                        <a:pt x="84" y="1386"/>
                      </a:lnTo>
                      <a:lnTo>
                        <a:pt x="84" y="1386"/>
                      </a:lnTo>
                      <a:lnTo>
                        <a:pt x="84" y="1386"/>
                      </a:lnTo>
                      <a:lnTo>
                        <a:pt x="85" y="1388"/>
                      </a:lnTo>
                      <a:lnTo>
                        <a:pt x="85" y="1388"/>
                      </a:lnTo>
                      <a:lnTo>
                        <a:pt x="85" y="1387"/>
                      </a:lnTo>
                      <a:lnTo>
                        <a:pt x="85" y="1387"/>
                      </a:lnTo>
                      <a:lnTo>
                        <a:pt x="86" y="1387"/>
                      </a:lnTo>
                      <a:lnTo>
                        <a:pt x="86" y="1388"/>
                      </a:lnTo>
                      <a:lnTo>
                        <a:pt x="87" y="1387"/>
                      </a:lnTo>
                      <a:lnTo>
                        <a:pt x="87" y="1386"/>
                      </a:lnTo>
                      <a:lnTo>
                        <a:pt x="88" y="1385"/>
                      </a:lnTo>
                      <a:lnTo>
                        <a:pt x="87" y="1384"/>
                      </a:lnTo>
                      <a:lnTo>
                        <a:pt x="87" y="1384"/>
                      </a:lnTo>
                      <a:lnTo>
                        <a:pt x="87" y="1383"/>
                      </a:lnTo>
                      <a:lnTo>
                        <a:pt x="89" y="1384"/>
                      </a:lnTo>
                      <a:lnTo>
                        <a:pt x="90" y="1383"/>
                      </a:lnTo>
                      <a:lnTo>
                        <a:pt x="91" y="1384"/>
                      </a:lnTo>
                      <a:lnTo>
                        <a:pt x="91" y="1385"/>
                      </a:lnTo>
                      <a:lnTo>
                        <a:pt x="90" y="1385"/>
                      </a:lnTo>
                      <a:lnTo>
                        <a:pt x="90" y="1385"/>
                      </a:lnTo>
                      <a:lnTo>
                        <a:pt x="91" y="1385"/>
                      </a:lnTo>
                      <a:lnTo>
                        <a:pt x="91" y="1386"/>
                      </a:lnTo>
                      <a:lnTo>
                        <a:pt x="91" y="1386"/>
                      </a:lnTo>
                      <a:lnTo>
                        <a:pt x="91" y="1387"/>
                      </a:lnTo>
                      <a:lnTo>
                        <a:pt x="91" y="1388"/>
                      </a:lnTo>
                      <a:lnTo>
                        <a:pt x="91" y="1388"/>
                      </a:lnTo>
                      <a:lnTo>
                        <a:pt x="92" y="1387"/>
                      </a:lnTo>
                      <a:lnTo>
                        <a:pt x="91" y="1386"/>
                      </a:lnTo>
                      <a:lnTo>
                        <a:pt x="92" y="1386"/>
                      </a:lnTo>
                      <a:lnTo>
                        <a:pt x="92" y="1386"/>
                      </a:lnTo>
                      <a:lnTo>
                        <a:pt x="94" y="1386"/>
                      </a:lnTo>
                      <a:lnTo>
                        <a:pt x="94" y="1387"/>
                      </a:lnTo>
                      <a:lnTo>
                        <a:pt x="95" y="1387"/>
                      </a:lnTo>
                      <a:lnTo>
                        <a:pt x="96" y="1389"/>
                      </a:lnTo>
                      <a:lnTo>
                        <a:pt x="97" y="1389"/>
                      </a:lnTo>
                      <a:lnTo>
                        <a:pt x="98" y="1390"/>
                      </a:lnTo>
                      <a:lnTo>
                        <a:pt x="98" y="1390"/>
                      </a:lnTo>
                      <a:lnTo>
                        <a:pt x="98" y="1390"/>
                      </a:lnTo>
                      <a:lnTo>
                        <a:pt x="97" y="1391"/>
                      </a:lnTo>
                      <a:lnTo>
                        <a:pt x="97" y="1391"/>
                      </a:lnTo>
                      <a:lnTo>
                        <a:pt x="97" y="1391"/>
                      </a:lnTo>
                      <a:lnTo>
                        <a:pt x="96" y="1392"/>
                      </a:lnTo>
                      <a:lnTo>
                        <a:pt x="96" y="1392"/>
                      </a:lnTo>
                      <a:lnTo>
                        <a:pt x="96" y="1392"/>
                      </a:lnTo>
                      <a:lnTo>
                        <a:pt x="95" y="1391"/>
                      </a:lnTo>
                      <a:lnTo>
                        <a:pt x="96" y="1391"/>
                      </a:lnTo>
                      <a:lnTo>
                        <a:pt x="95" y="1391"/>
                      </a:lnTo>
                      <a:lnTo>
                        <a:pt x="95" y="1390"/>
                      </a:lnTo>
                      <a:lnTo>
                        <a:pt x="95" y="1391"/>
                      </a:lnTo>
                      <a:lnTo>
                        <a:pt x="94" y="1391"/>
                      </a:lnTo>
                      <a:lnTo>
                        <a:pt x="94" y="1391"/>
                      </a:lnTo>
                      <a:lnTo>
                        <a:pt x="94" y="1391"/>
                      </a:lnTo>
                      <a:lnTo>
                        <a:pt x="94" y="1391"/>
                      </a:lnTo>
                      <a:lnTo>
                        <a:pt x="93" y="1391"/>
                      </a:lnTo>
                      <a:lnTo>
                        <a:pt x="93" y="1390"/>
                      </a:lnTo>
                      <a:lnTo>
                        <a:pt x="92" y="1390"/>
                      </a:lnTo>
                      <a:lnTo>
                        <a:pt x="92" y="1389"/>
                      </a:lnTo>
                      <a:lnTo>
                        <a:pt x="91" y="1389"/>
                      </a:lnTo>
                      <a:lnTo>
                        <a:pt x="91" y="1390"/>
                      </a:lnTo>
                      <a:lnTo>
                        <a:pt x="91" y="1391"/>
                      </a:lnTo>
                      <a:lnTo>
                        <a:pt x="91" y="1392"/>
                      </a:lnTo>
                      <a:lnTo>
                        <a:pt x="91" y="1392"/>
                      </a:lnTo>
                      <a:lnTo>
                        <a:pt x="91" y="1392"/>
                      </a:lnTo>
                      <a:lnTo>
                        <a:pt x="91" y="1393"/>
                      </a:lnTo>
                      <a:lnTo>
                        <a:pt x="90" y="1393"/>
                      </a:lnTo>
                      <a:lnTo>
                        <a:pt x="90" y="1393"/>
                      </a:lnTo>
                      <a:lnTo>
                        <a:pt x="91" y="1393"/>
                      </a:lnTo>
                      <a:lnTo>
                        <a:pt x="91" y="1392"/>
                      </a:lnTo>
                      <a:lnTo>
                        <a:pt x="92" y="1392"/>
                      </a:lnTo>
                      <a:lnTo>
                        <a:pt x="92" y="1393"/>
                      </a:lnTo>
                      <a:lnTo>
                        <a:pt x="94" y="1393"/>
                      </a:lnTo>
                      <a:lnTo>
                        <a:pt x="94" y="1394"/>
                      </a:lnTo>
                      <a:lnTo>
                        <a:pt x="95" y="1394"/>
                      </a:lnTo>
                      <a:lnTo>
                        <a:pt x="95" y="1394"/>
                      </a:lnTo>
                      <a:lnTo>
                        <a:pt x="95" y="1394"/>
                      </a:lnTo>
                      <a:lnTo>
                        <a:pt x="97" y="1394"/>
                      </a:lnTo>
                      <a:lnTo>
                        <a:pt x="97" y="1395"/>
                      </a:lnTo>
                      <a:lnTo>
                        <a:pt x="97" y="1396"/>
                      </a:lnTo>
                      <a:lnTo>
                        <a:pt x="96" y="1395"/>
                      </a:lnTo>
                      <a:lnTo>
                        <a:pt x="96" y="1395"/>
                      </a:lnTo>
                      <a:lnTo>
                        <a:pt x="95" y="1394"/>
                      </a:lnTo>
                      <a:lnTo>
                        <a:pt x="95" y="1395"/>
                      </a:lnTo>
                      <a:lnTo>
                        <a:pt x="95" y="1395"/>
                      </a:lnTo>
                      <a:lnTo>
                        <a:pt x="95" y="1395"/>
                      </a:lnTo>
                      <a:lnTo>
                        <a:pt x="95" y="1395"/>
                      </a:lnTo>
                      <a:lnTo>
                        <a:pt x="95" y="1395"/>
                      </a:lnTo>
                      <a:lnTo>
                        <a:pt x="94" y="1395"/>
                      </a:lnTo>
                      <a:lnTo>
                        <a:pt x="93" y="1396"/>
                      </a:lnTo>
                      <a:lnTo>
                        <a:pt x="91" y="1396"/>
                      </a:lnTo>
                      <a:lnTo>
                        <a:pt x="91" y="1395"/>
                      </a:lnTo>
                      <a:lnTo>
                        <a:pt x="91" y="1395"/>
                      </a:lnTo>
                      <a:lnTo>
                        <a:pt x="91" y="1395"/>
                      </a:lnTo>
                      <a:lnTo>
                        <a:pt x="90" y="1395"/>
                      </a:lnTo>
                      <a:lnTo>
                        <a:pt x="90" y="1394"/>
                      </a:lnTo>
                      <a:lnTo>
                        <a:pt x="89" y="1393"/>
                      </a:lnTo>
                      <a:lnTo>
                        <a:pt x="88" y="1392"/>
                      </a:lnTo>
                      <a:lnTo>
                        <a:pt x="88" y="1392"/>
                      </a:lnTo>
                      <a:lnTo>
                        <a:pt x="88" y="1393"/>
                      </a:lnTo>
                      <a:lnTo>
                        <a:pt x="89" y="1394"/>
                      </a:lnTo>
                      <a:lnTo>
                        <a:pt x="90" y="1395"/>
                      </a:lnTo>
                      <a:lnTo>
                        <a:pt x="90" y="1395"/>
                      </a:lnTo>
                      <a:lnTo>
                        <a:pt x="89" y="1395"/>
                      </a:lnTo>
                      <a:lnTo>
                        <a:pt x="88" y="1395"/>
                      </a:lnTo>
                      <a:lnTo>
                        <a:pt x="88" y="1395"/>
                      </a:lnTo>
                      <a:lnTo>
                        <a:pt x="89" y="1395"/>
                      </a:lnTo>
                      <a:lnTo>
                        <a:pt x="88" y="1395"/>
                      </a:lnTo>
                      <a:lnTo>
                        <a:pt x="88" y="1395"/>
                      </a:lnTo>
                      <a:lnTo>
                        <a:pt x="88" y="1395"/>
                      </a:lnTo>
                      <a:lnTo>
                        <a:pt x="89" y="1396"/>
                      </a:lnTo>
                      <a:lnTo>
                        <a:pt x="88" y="1397"/>
                      </a:lnTo>
                      <a:lnTo>
                        <a:pt x="89" y="1398"/>
                      </a:lnTo>
                      <a:lnTo>
                        <a:pt x="88" y="1398"/>
                      </a:lnTo>
                      <a:lnTo>
                        <a:pt x="88" y="1398"/>
                      </a:lnTo>
                      <a:lnTo>
                        <a:pt x="88" y="1398"/>
                      </a:lnTo>
                      <a:lnTo>
                        <a:pt x="88" y="1397"/>
                      </a:lnTo>
                      <a:lnTo>
                        <a:pt x="87" y="1398"/>
                      </a:lnTo>
                      <a:lnTo>
                        <a:pt x="87" y="1396"/>
                      </a:lnTo>
                      <a:lnTo>
                        <a:pt x="86" y="1396"/>
                      </a:lnTo>
                      <a:lnTo>
                        <a:pt x="86" y="1395"/>
                      </a:lnTo>
                      <a:lnTo>
                        <a:pt x="86" y="1395"/>
                      </a:lnTo>
                      <a:lnTo>
                        <a:pt x="86" y="1395"/>
                      </a:lnTo>
                      <a:lnTo>
                        <a:pt x="86" y="1394"/>
                      </a:lnTo>
                      <a:lnTo>
                        <a:pt x="86" y="1394"/>
                      </a:lnTo>
                      <a:lnTo>
                        <a:pt x="86" y="1394"/>
                      </a:lnTo>
                      <a:lnTo>
                        <a:pt x="85" y="1394"/>
                      </a:lnTo>
                      <a:lnTo>
                        <a:pt x="85" y="1394"/>
                      </a:lnTo>
                      <a:lnTo>
                        <a:pt x="85" y="1394"/>
                      </a:lnTo>
                      <a:lnTo>
                        <a:pt x="85" y="1394"/>
                      </a:lnTo>
                      <a:lnTo>
                        <a:pt x="85" y="1395"/>
                      </a:lnTo>
                      <a:lnTo>
                        <a:pt x="85" y="1395"/>
                      </a:lnTo>
                      <a:lnTo>
                        <a:pt x="85" y="1396"/>
                      </a:lnTo>
                      <a:lnTo>
                        <a:pt x="86" y="1396"/>
                      </a:lnTo>
                      <a:lnTo>
                        <a:pt x="85" y="1396"/>
                      </a:lnTo>
                      <a:lnTo>
                        <a:pt x="85" y="1396"/>
                      </a:lnTo>
                      <a:lnTo>
                        <a:pt x="84" y="1396"/>
                      </a:lnTo>
                      <a:lnTo>
                        <a:pt x="84" y="1396"/>
                      </a:lnTo>
                      <a:lnTo>
                        <a:pt x="85" y="1397"/>
                      </a:lnTo>
                      <a:lnTo>
                        <a:pt x="85" y="1397"/>
                      </a:lnTo>
                      <a:lnTo>
                        <a:pt x="85" y="1396"/>
                      </a:lnTo>
                      <a:lnTo>
                        <a:pt x="86" y="1396"/>
                      </a:lnTo>
                      <a:lnTo>
                        <a:pt x="86" y="1397"/>
                      </a:lnTo>
                      <a:lnTo>
                        <a:pt x="85" y="1397"/>
                      </a:lnTo>
                      <a:lnTo>
                        <a:pt x="85" y="1398"/>
                      </a:lnTo>
                      <a:lnTo>
                        <a:pt x="85" y="1398"/>
                      </a:lnTo>
                      <a:lnTo>
                        <a:pt x="85" y="1398"/>
                      </a:lnTo>
                      <a:lnTo>
                        <a:pt x="85" y="1398"/>
                      </a:lnTo>
                      <a:lnTo>
                        <a:pt x="86" y="1398"/>
                      </a:lnTo>
                      <a:lnTo>
                        <a:pt x="87" y="1398"/>
                      </a:lnTo>
                      <a:lnTo>
                        <a:pt x="87" y="1398"/>
                      </a:lnTo>
                      <a:lnTo>
                        <a:pt x="86" y="1399"/>
                      </a:lnTo>
                      <a:lnTo>
                        <a:pt x="87" y="1400"/>
                      </a:lnTo>
                      <a:lnTo>
                        <a:pt x="88" y="1400"/>
                      </a:lnTo>
                      <a:lnTo>
                        <a:pt x="88" y="1401"/>
                      </a:lnTo>
                      <a:lnTo>
                        <a:pt x="88" y="1401"/>
                      </a:lnTo>
                      <a:lnTo>
                        <a:pt x="88" y="1400"/>
                      </a:lnTo>
                      <a:lnTo>
                        <a:pt x="89" y="1400"/>
                      </a:lnTo>
                      <a:lnTo>
                        <a:pt x="90" y="1400"/>
                      </a:lnTo>
                      <a:lnTo>
                        <a:pt x="90" y="1400"/>
                      </a:lnTo>
                      <a:lnTo>
                        <a:pt x="89" y="1400"/>
                      </a:lnTo>
                      <a:lnTo>
                        <a:pt x="89" y="1399"/>
                      </a:lnTo>
                      <a:lnTo>
                        <a:pt x="89" y="1399"/>
                      </a:lnTo>
                      <a:lnTo>
                        <a:pt x="89" y="1399"/>
                      </a:lnTo>
                      <a:lnTo>
                        <a:pt x="88" y="1399"/>
                      </a:lnTo>
                      <a:lnTo>
                        <a:pt x="89" y="1398"/>
                      </a:lnTo>
                      <a:lnTo>
                        <a:pt x="90" y="1398"/>
                      </a:lnTo>
                      <a:lnTo>
                        <a:pt x="90" y="1398"/>
                      </a:lnTo>
                      <a:lnTo>
                        <a:pt x="91" y="1398"/>
                      </a:lnTo>
                      <a:lnTo>
                        <a:pt x="92" y="1398"/>
                      </a:lnTo>
                      <a:lnTo>
                        <a:pt x="93" y="1398"/>
                      </a:lnTo>
                      <a:lnTo>
                        <a:pt x="94" y="1398"/>
                      </a:lnTo>
                      <a:lnTo>
                        <a:pt x="95" y="1398"/>
                      </a:lnTo>
                      <a:lnTo>
                        <a:pt x="95" y="1398"/>
                      </a:lnTo>
                      <a:lnTo>
                        <a:pt x="94" y="1398"/>
                      </a:lnTo>
                      <a:lnTo>
                        <a:pt x="95" y="1399"/>
                      </a:lnTo>
                      <a:lnTo>
                        <a:pt x="96" y="1399"/>
                      </a:lnTo>
                      <a:lnTo>
                        <a:pt x="96" y="1399"/>
                      </a:lnTo>
                      <a:lnTo>
                        <a:pt x="96" y="1400"/>
                      </a:lnTo>
                      <a:lnTo>
                        <a:pt x="97" y="1400"/>
                      </a:lnTo>
                      <a:lnTo>
                        <a:pt x="97" y="1401"/>
                      </a:lnTo>
                      <a:lnTo>
                        <a:pt x="98" y="1401"/>
                      </a:lnTo>
                      <a:lnTo>
                        <a:pt x="98" y="1401"/>
                      </a:lnTo>
                      <a:lnTo>
                        <a:pt x="98" y="1402"/>
                      </a:lnTo>
                      <a:lnTo>
                        <a:pt x="98" y="1403"/>
                      </a:lnTo>
                      <a:lnTo>
                        <a:pt x="100" y="1403"/>
                      </a:lnTo>
                      <a:lnTo>
                        <a:pt x="100" y="1403"/>
                      </a:lnTo>
                      <a:lnTo>
                        <a:pt x="98" y="1404"/>
                      </a:lnTo>
                      <a:lnTo>
                        <a:pt x="98" y="1404"/>
                      </a:lnTo>
                      <a:lnTo>
                        <a:pt x="97" y="1404"/>
                      </a:lnTo>
                      <a:lnTo>
                        <a:pt x="97" y="1404"/>
                      </a:lnTo>
                      <a:lnTo>
                        <a:pt x="97" y="1404"/>
                      </a:lnTo>
                      <a:lnTo>
                        <a:pt x="97" y="1404"/>
                      </a:lnTo>
                      <a:lnTo>
                        <a:pt x="97" y="1404"/>
                      </a:lnTo>
                      <a:lnTo>
                        <a:pt x="97" y="1405"/>
                      </a:lnTo>
                      <a:lnTo>
                        <a:pt x="98" y="1405"/>
                      </a:lnTo>
                      <a:lnTo>
                        <a:pt x="98" y="1405"/>
                      </a:lnTo>
                      <a:lnTo>
                        <a:pt x="100" y="1405"/>
                      </a:lnTo>
                      <a:lnTo>
                        <a:pt x="98" y="1406"/>
                      </a:lnTo>
                      <a:lnTo>
                        <a:pt x="98" y="1406"/>
                      </a:lnTo>
                      <a:lnTo>
                        <a:pt x="98" y="1407"/>
                      </a:lnTo>
                      <a:lnTo>
                        <a:pt x="98" y="1407"/>
                      </a:lnTo>
                      <a:lnTo>
                        <a:pt x="100" y="1407"/>
                      </a:lnTo>
                      <a:lnTo>
                        <a:pt x="100" y="1408"/>
                      </a:lnTo>
                      <a:lnTo>
                        <a:pt x="97" y="1409"/>
                      </a:lnTo>
                      <a:lnTo>
                        <a:pt x="96" y="1409"/>
                      </a:lnTo>
                      <a:lnTo>
                        <a:pt x="96" y="1408"/>
                      </a:lnTo>
                      <a:lnTo>
                        <a:pt x="96" y="1409"/>
                      </a:lnTo>
                      <a:lnTo>
                        <a:pt x="95" y="1409"/>
                      </a:lnTo>
                      <a:lnTo>
                        <a:pt x="95" y="1409"/>
                      </a:lnTo>
                      <a:lnTo>
                        <a:pt x="93" y="1409"/>
                      </a:lnTo>
                      <a:lnTo>
                        <a:pt x="93" y="1409"/>
                      </a:lnTo>
                      <a:lnTo>
                        <a:pt x="92" y="1408"/>
                      </a:lnTo>
                      <a:lnTo>
                        <a:pt x="92" y="1409"/>
                      </a:lnTo>
                      <a:lnTo>
                        <a:pt x="91" y="1409"/>
                      </a:lnTo>
                      <a:lnTo>
                        <a:pt x="91" y="1410"/>
                      </a:lnTo>
                      <a:lnTo>
                        <a:pt x="91" y="1410"/>
                      </a:lnTo>
                      <a:lnTo>
                        <a:pt x="91" y="1411"/>
                      </a:lnTo>
                      <a:lnTo>
                        <a:pt x="92" y="1411"/>
                      </a:lnTo>
                      <a:lnTo>
                        <a:pt x="92" y="1412"/>
                      </a:lnTo>
                      <a:lnTo>
                        <a:pt x="90" y="1412"/>
                      </a:lnTo>
                      <a:lnTo>
                        <a:pt x="88" y="1411"/>
                      </a:lnTo>
                      <a:lnTo>
                        <a:pt x="88" y="1411"/>
                      </a:lnTo>
                      <a:lnTo>
                        <a:pt x="87" y="1410"/>
                      </a:lnTo>
                      <a:lnTo>
                        <a:pt x="86" y="1410"/>
                      </a:lnTo>
                      <a:lnTo>
                        <a:pt x="86" y="1410"/>
                      </a:lnTo>
                      <a:lnTo>
                        <a:pt x="85" y="1410"/>
                      </a:lnTo>
                      <a:lnTo>
                        <a:pt x="85" y="1410"/>
                      </a:lnTo>
                      <a:lnTo>
                        <a:pt x="85" y="1410"/>
                      </a:lnTo>
                      <a:lnTo>
                        <a:pt x="85" y="1410"/>
                      </a:lnTo>
                      <a:lnTo>
                        <a:pt x="85" y="1411"/>
                      </a:lnTo>
                      <a:lnTo>
                        <a:pt x="85" y="1411"/>
                      </a:lnTo>
                      <a:lnTo>
                        <a:pt x="85" y="1412"/>
                      </a:lnTo>
                      <a:lnTo>
                        <a:pt x="85" y="1412"/>
                      </a:lnTo>
                      <a:lnTo>
                        <a:pt x="86" y="1412"/>
                      </a:lnTo>
                      <a:lnTo>
                        <a:pt x="86" y="1412"/>
                      </a:lnTo>
                      <a:lnTo>
                        <a:pt x="86" y="1412"/>
                      </a:lnTo>
                      <a:lnTo>
                        <a:pt x="87" y="1413"/>
                      </a:lnTo>
                      <a:lnTo>
                        <a:pt x="88" y="1413"/>
                      </a:lnTo>
                      <a:lnTo>
                        <a:pt x="88" y="1413"/>
                      </a:lnTo>
                      <a:lnTo>
                        <a:pt x="89" y="1413"/>
                      </a:lnTo>
                      <a:lnTo>
                        <a:pt x="90" y="1413"/>
                      </a:lnTo>
                      <a:lnTo>
                        <a:pt x="90" y="1413"/>
                      </a:lnTo>
                      <a:lnTo>
                        <a:pt x="90" y="1414"/>
                      </a:lnTo>
                      <a:lnTo>
                        <a:pt x="91" y="1416"/>
                      </a:lnTo>
                      <a:lnTo>
                        <a:pt x="91" y="1416"/>
                      </a:lnTo>
                      <a:lnTo>
                        <a:pt x="89" y="1416"/>
                      </a:lnTo>
                      <a:lnTo>
                        <a:pt x="89" y="1417"/>
                      </a:lnTo>
                      <a:lnTo>
                        <a:pt x="89" y="1417"/>
                      </a:lnTo>
                      <a:lnTo>
                        <a:pt x="89" y="1418"/>
                      </a:lnTo>
                      <a:lnTo>
                        <a:pt x="87" y="1417"/>
                      </a:lnTo>
                      <a:lnTo>
                        <a:pt x="87" y="1418"/>
                      </a:lnTo>
                      <a:lnTo>
                        <a:pt x="86" y="1418"/>
                      </a:lnTo>
                      <a:lnTo>
                        <a:pt x="87" y="1418"/>
                      </a:lnTo>
                      <a:lnTo>
                        <a:pt x="86" y="1419"/>
                      </a:lnTo>
                      <a:lnTo>
                        <a:pt x="86" y="1418"/>
                      </a:lnTo>
                      <a:lnTo>
                        <a:pt x="85" y="1418"/>
                      </a:lnTo>
                      <a:lnTo>
                        <a:pt x="85" y="1417"/>
                      </a:lnTo>
                      <a:lnTo>
                        <a:pt x="85" y="1417"/>
                      </a:lnTo>
                      <a:lnTo>
                        <a:pt x="85" y="1417"/>
                      </a:lnTo>
                      <a:lnTo>
                        <a:pt x="85" y="1417"/>
                      </a:lnTo>
                      <a:lnTo>
                        <a:pt x="85" y="1417"/>
                      </a:lnTo>
                      <a:lnTo>
                        <a:pt x="86" y="1417"/>
                      </a:lnTo>
                      <a:lnTo>
                        <a:pt x="85" y="1416"/>
                      </a:lnTo>
                      <a:lnTo>
                        <a:pt x="86" y="1416"/>
                      </a:lnTo>
                      <a:lnTo>
                        <a:pt x="86" y="1414"/>
                      </a:lnTo>
                      <a:lnTo>
                        <a:pt x="86" y="1414"/>
                      </a:lnTo>
                      <a:lnTo>
                        <a:pt x="86" y="1414"/>
                      </a:lnTo>
                      <a:lnTo>
                        <a:pt x="87" y="1416"/>
                      </a:lnTo>
                      <a:lnTo>
                        <a:pt x="87" y="1414"/>
                      </a:lnTo>
                      <a:lnTo>
                        <a:pt x="87" y="1414"/>
                      </a:lnTo>
                      <a:lnTo>
                        <a:pt x="87" y="1413"/>
                      </a:lnTo>
                      <a:lnTo>
                        <a:pt x="86" y="1413"/>
                      </a:lnTo>
                      <a:lnTo>
                        <a:pt x="86" y="1414"/>
                      </a:lnTo>
                      <a:lnTo>
                        <a:pt x="85" y="1414"/>
                      </a:lnTo>
                      <a:lnTo>
                        <a:pt x="85" y="1414"/>
                      </a:lnTo>
                      <a:lnTo>
                        <a:pt x="84" y="1413"/>
                      </a:lnTo>
                      <a:lnTo>
                        <a:pt x="84" y="1413"/>
                      </a:lnTo>
                      <a:lnTo>
                        <a:pt x="84" y="1413"/>
                      </a:lnTo>
                      <a:lnTo>
                        <a:pt x="84" y="1413"/>
                      </a:lnTo>
                      <a:lnTo>
                        <a:pt x="83" y="1413"/>
                      </a:lnTo>
                      <a:lnTo>
                        <a:pt x="83" y="1412"/>
                      </a:lnTo>
                      <a:lnTo>
                        <a:pt x="82" y="1412"/>
                      </a:lnTo>
                      <a:lnTo>
                        <a:pt x="82" y="1412"/>
                      </a:lnTo>
                      <a:lnTo>
                        <a:pt x="81" y="1412"/>
                      </a:lnTo>
                      <a:lnTo>
                        <a:pt x="81" y="1412"/>
                      </a:lnTo>
                      <a:lnTo>
                        <a:pt x="81" y="1412"/>
                      </a:lnTo>
                      <a:lnTo>
                        <a:pt x="82" y="1413"/>
                      </a:lnTo>
                      <a:lnTo>
                        <a:pt x="82" y="1413"/>
                      </a:lnTo>
                      <a:lnTo>
                        <a:pt x="81" y="1413"/>
                      </a:lnTo>
                      <a:lnTo>
                        <a:pt x="80" y="1413"/>
                      </a:lnTo>
                      <a:lnTo>
                        <a:pt x="80" y="1411"/>
                      </a:lnTo>
                      <a:lnTo>
                        <a:pt x="79" y="1411"/>
                      </a:lnTo>
                      <a:lnTo>
                        <a:pt x="78" y="1411"/>
                      </a:lnTo>
                      <a:lnTo>
                        <a:pt x="78" y="1411"/>
                      </a:lnTo>
                      <a:lnTo>
                        <a:pt x="78" y="1411"/>
                      </a:lnTo>
                      <a:lnTo>
                        <a:pt x="77" y="1411"/>
                      </a:lnTo>
                      <a:lnTo>
                        <a:pt x="77" y="1412"/>
                      </a:lnTo>
                      <a:lnTo>
                        <a:pt x="78" y="1412"/>
                      </a:lnTo>
                      <a:lnTo>
                        <a:pt x="78" y="1414"/>
                      </a:lnTo>
                      <a:lnTo>
                        <a:pt x="77" y="1414"/>
                      </a:lnTo>
                      <a:lnTo>
                        <a:pt x="77" y="1413"/>
                      </a:lnTo>
                      <a:lnTo>
                        <a:pt x="75" y="1413"/>
                      </a:lnTo>
                      <a:lnTo>
                        <a:pt x="75" y="1412"/>
                      </a:lnTo>
                      <a:lnTo>
                        <a:pt x="74" y="1412"/>
                      </a:lnTo>
                      <a:lnTo>
                        <a:pt x="74" y="1412"/>
                      </a:lnTo>
                      <a:lnTo>
                        <a:pt x="74" y="1411"/>
                      </a:lnTo>
                      <a:lnTo>
                        <a:pt x="74" y="1411"/>
                      </a:lnTo>
                      <a:lnTo>
                        <a:pt x="73" y="1410"/>
                      </a:lnTo>
                      <a:lnTo>
                        <a:pt x="72" y="1409"/>
                      </a:lnTo>
                      <a:lnTo>
                        <a:pt x="70" y="1409"/>
                      </a:lnTo>
                      <a:lnTo>
                        <a:pt x="69" y="1409"/>
                      </a:lnTo>
                      <a:lnTo>
                        <a:pt x="69" y="1409"/>
                      </a:lnTo>
                      <a:lnTo>
                        <a:pt x="68" y="1408"/>
                      </a:lnTo>
                      <a:lnTo>
                        <a:pt x="66" y="1408"/>
                      </a:lnTo>
                      <a:lnTo>
                        <a:pt x="66" y="1407"/>
                      </a:lnTo>
                      <a:lnTo>
                        <a:pt x="66" y="1407"/>
                      </a:lnTo>
                      <a:lnTo>
                        <a:pt x="67" y="1407"/>
                      </a:lnTo>
                      <a:lnTo>
                        <a:pt x="67" y="1407"/>
                      </a:lnTo>
                      <a:lnTo>
                        <a:pt x="68" y="1407"/>
                      </a:lnTo>
                      <a:lnTo>
                        <a:pt x="69" y="1407"/>
                      </a:lnTo>
                      <a:lnTo>
                        <a:pt x="70" y="1406"/>
                      </a:lnTo>
                      <a:lnTo>
                        <a:pt x="67" y="1406"/>
                      </a:lnTo>
                      <a:lnTo>
                        <a:pt x="67" y="1405"/>
                      </a:lnTo>
                      <a:lnTo>
                        <a:pt x="67" y="1405"/>
                      </a:lnTo>
                      <a:lnTo>
                        <a:pt x="66" y="1405"/>
                      </a:lnTo>
                      <a:lnTo>
                        <a:pt x="65" y="1404"/>
                      </a:lnTo>
                      <a:lnTo>
                        <a:pt x="64" y="1404"/>
                      </a:lnTo>
                      <a:lnTo>
                        <a:pt x="63" y="1404"/>
                      </a:lnTo>
                      <a:lnTo>
                        <a:pt x="63" y="1404"/>
                      </a:lnTo>
                      <a:lnTo>
                        <a:pt x="62" y="1405"/>
                      </a:lnTo>
                      <a:lnTo>
                        <a:pt x="62" y="1404"/>
                      </a:lnTo>
                      <a:lnTo>
                        <a:pt x="60" y="1404"/>
                      </a:lnTo>
                      <a:lnTo>
                        <a:pt x="60" y="1403"/>
                      </a:lnTo>
                      <a:lnTo>
                        <a:pt x="59" y="1403"/>
                      </a:lnTo>
                      <a:lnTo>
                        <a:pt x="59" y="1404"/>
                      </a:lnTo>
                      <a:lnTo>
                        <a:pt x="58" y="1404"/>
                      </a:lnTo>
                      <a:lnTo>
                        <a:pt x="58" y="1403"/>
                      </a:lnTo>
                      <a:lnTo>
                        <a:pt x="58" y="1399"/>
                      </a:lnTo>
                      <a:lnTo>
                        <a:pt x="58" y="1399"/>
                      </a:lnTo>
                      <a:lnTo>
                        <a:pt x="58" y="1399"/>
                      </a:lnTo>
                      <a:lnTo>
                        <a:pt x="58" y="1397"/>
                      </a:lnTo>
                      <a:lnTo>
                        <a:pt x="57" y="1396"/>
                      </a:lnTo>
                      <a:lnTo>
                        <a:pt x="56" y="1395"/>
                      </a:lnTo>
                      <a:lnTo>
                        <a:pt x="56" y="1395"/>
                      </a:lnTo>
                      <a:lnTo>
                        <a:pt x="57" y="1395"/>
                      </a:lnTo>
                      <a:lnTo>
                        <a:pt x="56" y="1395"/>
                      </a:lnTo>
                      <a:lnTo>
                        <a:pt x="56" y="1395"/>
                      </a:lnTo>
                      <a:lnTo>
                        <a:pt x="54" y="1394"/>
                      </a:lnTo>
                      <a:lnTo>
                        <a:pt x="54" y="1392"/>
                      </a:lnTo>
                      <a:lnTo>
                        <a:pt x="54" y="1392"/>
                      </a:lnTo>
                      <a:lnTo>
                        <a:pt x="54" y="1391"/>
                      </a:lnTo>
                      <a:lnTo>
                        <a:pt x="55" y="1391"/>
                      </a:lnTo>
                      <a:lnTo>
                        <a:pt x="56" y="1391"/>
                      </a:lnTo>
                      <a:lnTo>
                        <a:pt x="56" y="1391"/>
                      </a:lnTo>
                      <a:lnTo>
                        <a:pt x="56" y="1391"/>
                      </a:lnTo>
                      <a:lnTo>
                        <a:pt x="56" y="1391"/>
                      </a:lnTo>
                      <a:lnTo>
                        <a:pt x="56" y="1390"/>
                      </a:lnTo>
                      <a:lnTo>
                        <a:pt x="56" y="1389"/>
                      </a:lnTo>
                      <a:lnTo>
                        <a:pt x="56" y="1389"/>
                      </a:lnTo>
                      <a:lnTo>
                        <a:pt x="54" y="1389"/>
                      </a:lnTo>
                      <a:lnTo>
                        <a:pt x="54" y="1388"/>
                      </a:lnTo>
                      <a:lnTo>
                        <a:pt x="54" y="1388"/>
                      </a:lnTo>
                      <a:lnTo>
                        <a:pt x="54" y="1388"/>
                      </a:lnTo>
                      <a:lnTo>
                        <a:pt x="55" y="1387"/>
                      </a:lnTo>
                      <a:lnTo>
                        <a:pt x="55" y="1387"/>
                      </a:lnTo>
                      <a:lnTo>
                        <a:pt x="54" y="1387"/>
                      </a:lnTo>
                      <a:lnTo>
                        <a:pt x="54" y="1386"/>
                      </a:lnTo>
                      <a:lnTo>
                        <a:pt x="54" y="1385"/>
                      </a:lnTo>
                      <a:lnTo>
                        <a:pt x="55" y="1385"/>
                      </a:lnTo>
                      <a:lnTo>
                        <a:pt x="55" y="1385"/>
                      </a:lnTo>
                      <a:lnTo>
                        <a:pt x="56" y="1385"/>
                      </a:lnTo>
                      <a:lnTo>
                        <a:pt x="56" y="1384"/>
                      </a:lnTo>
                      <a:lnTo>
                        <a:pt x="56" y="1384"/>
                      </a:lnTo>
                      <a:lnTo>
                        <a:pt x="57" y="1384"/>
                      </a:lnTo>
                      <a:lnTo>
                        <a:pt x="57" y="1384"/>
                      </a:lnTo>
                      <a:lnTo>
                        <a:pt x="58" y="1384"/>
                      </a:lnTo>
                      <a:lnTo>
                        <a:pt x="58" y="1384"/>
                      </a:lnTo>
                      <a:lnTo>
                        <a:pt x="59" y="1384"/>
                      </a:lnTo>
                      <a:lnTo>
                        <a:pt x="59" y="1384"/>
                      </a:lnTo>
                      <a:lnTo>
                        <a:pt x="60" y="1384"/>
                      </a:lnTo>
                      <a:lnTo>
                        <a:pt x="62" y="1384"/>
                      </a:lnTo>
                      <a:lnTo>
                        <a:pt x="62" y="1383"/>
                      </a:lnTo>
                      <a:lnTo>
                        <a:pt x="62" y="1383"/>
                      </a:lnTo>
                      <a:lnTo>
                        <a:pt x="63" y="1382"/>
                      </a:lnTo>
                      <a:lnTo>
                        <a:pt x="63" y="1381"/>
                      </a:lnTo>
                      <a:lnTo>
                        <a:pt x="63" y="1380"/>
                      </a:lnTo>
                      <a:lnTo>
                        <a:pt x="64" y="1379"/>
                      </a:lnTo>
                      <a:lnTo>
                        <a:pt x="64" y="1376"/>
                      </a:lnTo>
                      <a:lnTo>
                        <a:pt x="65" y="1376"/>
                      </a:lnTo>
                      <a:lnTo>
                        <a:pt x="65" y="1376"/>
                      </a:lnTo>
                      <a:lnTo>
                        <a:pt x="66" y="1376"/>
                      </a:lnTo>
                      <a:lnTo>
                        <a:pt x="69" y="1376"/>
                      </a:lnTo>
                      <a:lnTo>
                        <a:pt x="69" y="1380"/>
                      </a:lnTo>
                      <a:lnTo>
                        <a:pt x="69" y="1380"/>
                      </a:lnTo>
                      <a:lnTo>
                        <a:pt x="70" y="1380"/>
                      </a:lnTo>
                      <a:lnTo>
                        <a:pt x="70" y="1380"/>
                      </a:lnTo>
                      <a:lnTo>
                        <a:pt x="70" y="1379"/>
                      </a:lnTo>
                      <a:lnTo>
                        <a:pt x="70" y="1379"/>
                      </a:lnTo>
                      <a:lnTo>
                        <a:pt x="70" y="1378"/>
                      </a:lnTo>
                      <a:lnTo>
                        <a:pt x="71" y="1376"/>
                      </a:lnTo>
                      <a:lnTo>
                        <a:pt x="71" y="1378"/>
                      </a:lnTo>
                      <a:lnTo>
                        <a:pt x="71" y="1378"/>
                      </a:lnTo>
                      <a:lnTo>
                        <a:pt x="73" y="1378"/>
                      </a:lnTo>
                      <a:lnTo>
                        <a:pt x="73" y="1379"/>
                      </a:lnTo>
                      <a:lnTo>
                        <a:pt x="74" y="1379"/>
                      </a:lnTo>
                      <a:lnTo>
                        <a:pt x="74" y="1378"/>
                      </a:lnTo>
                      <a:lnTo>
                        <a:pt x="74" y="1378"/>
                      </a:lnTo>
                      <a:lnTo>
                        <a:pt x="74" y="1378"/>
                      </a:lnTo>
                      <a:lnTo>
                        <a:pt x="75" y="1376"/>
                      </a:lnTo>
                      <a:lnTo>
                        <a:pt x="74" y="1376"/>
                      </a:lnTo>
                      <a:lnTo>
                        <a:pt x="74" y="1375"/>
                      </a:lnTo>
                      <a:lnTo>
                        <a:pt x="74" y="1375"/>
                      </a:lnTo>
                      <a:close/>
                      <a:moveTo>
                        <a:pt x="98" y="1372"/>
                      </a:moveTo>
                      <a:lnTo>
                        <a:pt x="101" y="1373"/>
                      </a:lnTo>
                      <a:lnTo>
                        <a:pt x="101" y="1373"/>
                      </a:lnTo>
                      <a:lnTo>
                        <a:pt x="101" y="1373"/>
                      </a:lnTo>
                      <a:lnTo>
                        <a:pt x="102" y="1373"/>
                      </a:lnTo>
                      <a:lnTo>
                        <a:pt x="102" y="1373"/>
                      </a:lnTo>
                      <a:lnTo>
                        <a:pt x="102" y="1373"/>
                      </a:lnTo>
                      <a:lnTo>
                        <a:pt x="102" y="1373"/>
                      </a:lnTo>
                      <a:lnTo>
                        <a:pt x="102" y="1373"/>
                      </a:lnTo>
                      <a:lnTo>
                        <a:pt x="103" y="1372"/>
                      </a:lnTo>
                      <a:lnTo>
                        <a:pt x="103" y="1373"/>
                      </a:lnTo>
                      <a:lnTo>
                        <a:pt x="103" y="1373"/>
                      </a:lnTo>
                      <a:lnTo>
                        <a:pt x="104" y="1372"/>
                      </a:lnTo>
                      <a:lnTo>
                        <a:pt x="105" y="1372"/>
                      </a:lnTo>
                      <a:lnTo>
                        <a:pt x="106" y="1373"/>
                      </a:lnTo>
                      <a:lnTo>
                        <a:pt x="107" y="1373"/>
                      </a:lnTo>
                      <a:lnTo>
                        <a:pt x="106" y="1374"/>
                      </a:lnTo>
                      <a:lnTo>
                        <a:pt x="107" y="1375"/>
                      </a:lnTo>
                      <a:lnTo>
                        <a:pt x="108" y="1375"/>
                      </a:lnTo>
                      <a:lnTo>
                        <a:pt x="108" y="1376"/>
                      </a:lnTo>
                      <a:lnTo>
                        <a:pt x="108" y="1376"/>
                      </a:lnTo>
                      <a:lnTo>
                        <a:pt x="108" y="1378"/>
                      </a:lnTo>
                      <a:lnTo>
                        <a:pt x="108" y="1378"/>
                      </a:lnTo>
                      <a:lnTo>
                        <a:pt x="108" y="1378"/>
                      </a:lnTo>
                      <a:lnTo>
                        <a:pt x="108" y="1379"/>
                      </a:lnTo>
                      <a:lnTo>
                        <a:pt x="107" y="1379"/>
                      </a:lnTo>
                      <a:lnTo>
                        <a:pt x="107" y="1378"/>
                      </a:lnTo>
                      <a:lnTo>
                        <a:pt x="106" y="1378"/>
                      </a:lnTo>
                      <a:lnTo>
                        <a:pt x="106" y="1379"/>
                      </a:lnTo>
                      <a:lnTo>
                        <a:pt x="105" y="1379"/>
                      </a:lnTo>
                      <a:lnTo>
                        <a:pt x="105" y="1379"/>
                      </a:lnTo>
                      <a:lnTo>
                        <a:pt x="107" y="1379"/>
                      </a:lnTo>
                      <a:lnTo>
                        <a:pt x="107" y="1379"/>
                      </a:lnTo>
                      <a:lnTo>
                        <a:pt x="108" y="1379"/>
                      </a:lnTo>
                      <a:lnTo>
                        <a:pt x="108" y="1380"/>
                      </a:lnTo>
                      <a:lnTo>
                        <a:pt x="108" y="1380"/>
                      </a:lnTo>
                      <a:lnTo>
                        <a:pt x="108" y="1381"/>
                      </a:lnTo>
                      <a:lnTo>
                        <a:pt x="108" y="1381"/>
                      </a:lnTo>
                      <a:lnTo>
                        <a:pt x="108" y="1382"/>
                      </a:lnTo>
                      <a:lnTo>
                        <a:pt x="107" y="1382"/>
                      </a:lnTo>
                      <a:lnTo>
                        <a:pt x="107" y="1383"/>
                      </a:lnTo>
                      <a:lnTo>
                        <a:pt x="108" y="1383"/>
                      </a:lnTo>
                      <a:lnTo>
                        <a:pt x="107" y="1383"/>
                      </a:lnTo>
                      <a:lnTo>
                        <a:pt x="107" y="1383"/>
                      </a:lnTo>
                      <a:lnTo>
                        <a:pt x="107" y="1383"/>
                      </a:lnTo>
                      <a:lnTo>
                        <a:pt x="106" y="1383"/>
                      </a:lnTo>
                      <a:lnTo>
                        <a:pt x="106" y="1384"/>
                      </a:lnTo>
                      <a:lnTo>
                        <a:pt x="106" y="1384"/>
                      </a:lnTo>
                      <a:lnTo>
                        <a:pt x="106" y="1384"/>
                      </a:lnTo>
                      <a:lnTo>
                        <a:pt x="106" y="1385"/>
                      </a:lnTo>
                      <a:lnTo>
                        <a:pt x="105" y="1385"/>
                      </a:lnTo>
                      <a:lnTo>
                        <a:pt x="105" y="1385"/>
                      </a:lnTo>
                      <a:lnTo>
                        <a:pt x="105" y="1385"/>
                      </a:lnTo>
                      <a:lnTo>
                        <a:pt x="105" y="1386"/>
                      </a:lnTo>
                      <a:lnTo>
                        <a:pt x="105" y="1386"/>
                      </a:lnTo>
                      <a:lnTo>
                        <a:pt x="104" y="1386"/>
                      </a:lnTo>
                      <a:lnTo>
                        <a:pt x="104" y="1387"/>
                      </a:lnTo>
                      <a:lnTo>
                        <a:pt x="103" y="1387"/>
                      </a:lnTo>
                      <a:lnTo>
                        <a:pt x="103" y="1386"/>
                      </a:lnTo>
                      <a:lnTo>
                        <a:pt x="103" y="1385"/>
                      </a:lnTo>
                      <a:lnTo>
                        <a:pt x="102" y="1386"/>
                      </a:lnTo>
                      <a:lnTo>
                        <a:pt x="102" y="1385"/>
                      </a:lnTo>
                      <a:lnTo>
                        <a:pt x="101" y="1385"/>
                      </a:lnTo>
                      <a:lnTo>
                        <a:pt x="101" y="1384"/>
                      </a:lnTo>
                      <a:lnTo>
                        <a:pt x="102" y="1384"/>
                      </a:lnTo>
                      <a:lnTo>
                        <a:pt x="102" y="1384"/>
                      </a:lnTo>
                      <a:lnTo>
                        <a:pt x="101" y="1383"/>
                      </a:lnTo>
                      <a:lnTo>
                        <a:pt x="102" y="1383"/>
                      </a:lnTo>
                      <a:lnTo>
                        <a:pt x="102" y="1382"/>
                      </a:lnTo>
                      <a:lnTo>
                        <a:pt x="102" y="1382"/>
                      </a:lnTo>
                      <a:lnTo>
                        <a:pt x="102" y="1382"/>
                      </a:lnTo>
                      <a:lnTo>
                        <a:pt x="102" y="1381"/>
                      </a:lnTo>
                      <a:lnTo>
                        <a:pt x="101" y="1381"/>
                      </a:lnTo>
                      <a:lnTo>
                        <a:pt x="101" y="1380"/>
                      </a:lnTo>
                      <a:lnTo>
                        <a:pt x="100" y="1380"/>
                      </a:lnTo>
                      <a:lnTo>
                        <a:pt x="100" y="1380"/>
                      </a:lnTo>
                      <a:lnTo>
                        <a:pt x="98" y="1380"/>
                      </a:lnTo>
                      <a:lnTo>
                        <a:pt x="98" y="1380"/>
                      </a:lnTo>
                      <a:lnTo>
                        <a:pt x="98" y="1380"/>
                      </a:lnTo>
                      <a:lnTo>
                        <a:pt x="98" y="1379"/>
                      </a:lnTo>
                      <a:lnTo>
                        <a:pt x="97" y="1379"/>
                      </a:lnTo>
                      <a:lnTo>
                        <a:pt x="97" y="1378"/>
                      </a:lnTo>
                      <a:lnTo>
                        <a:pt x="97" y="1378"/>
                      </a:lnTo>
                      <a:lnTo>
                        <a:pt x="97" y="1376"/>
                      </a:lnTo>
                      <a:lnTo>
                        <a:pt x="98" y="1375"/>
                      </a:lnTo>
                      <a:lnTo>
                        <a:pt x="98" y="1374"/>
                      </a:lnTo>
                      <a:lnTo>
                        <a:pt x="100" y="1375"/>
                      </a:lnTo>
                      <a:lnTo>
                        <a:pt x="102" y="1376"/>
                      </a:lnTo>
                      <a:lnTo>
                        <a:pt x="102" y="1376"/>
                      </a:lnTo>
                      <a:lnTo>
                        <a:pt x="103" y="1376"/>
                      </a:lnTo>
                      <a:lnTo>
                        <a:pt x="104" y="1376"/>
                      </a:lnTo>
                      <a:lnTo>
                        <a:pt x="104" y="1375"/>
                      </a:lnTo>
                      <a:lnTo>
                        <a:pt x="103" y="1375"/>
                      </a:lnTo>
                      <a:lnTo>
                        <a:pt x="101" y="1374"/>
                      </a:lnTo>
                      <a:lnTo>
                        <a:pt x="100" y="1374"/>
                      </a:lnTo>
                      <a:lnTo>
                        <a:pt x="100" y="1373"/>
                      </a:lnTo>
                      <a:lnTo>
                        <a:pt x="98" y="1373"/>
                      </a:lnTo>
                      <a:lnTo>
                        <a:pt x="97" y="1373"/>
                      </a:lnTo>
                      <a:lnTo>
                        <a:pt x="97" y="1372"/>
                      </a:lnTo>
                      <a:lnTo>
                        <a:pt x="98" y="1372"/>
                      </a:lnTo>
                      <a:lnTo>
                        <a:pt x="98" y="1372"/>
                      </a:lnTo>
                      <a:close/>
                      <a:moveTo>
                        <a:pt x="217" y="1372"/>
                      </a:moveTo>
                      <a:lnTo>
                        <a:pt x="217" y="1373"/>
                      </a:lnTo>
                      <a:lnTo>
                        <a:pt x="217" y="1374"/>
                      </a:lnTo>
                      <a:lnTo>
                        <a:pt x="217" y="1374"/>
                      </a:lnTo>
                      <a:lnTo>
                        <a:pt x="217" y="1373"/>
                      </a:lnTo>
                      <a:lnTo>
                        <a:pt x="216" y="1373"/>
                      </a:lnTo>
                      <a:lnTo>
                        <a:pt x="216" y="1373"/>
                      </a:lnTo>
                      <a:lnTo>
                        <a:pt x="217" y="1372"/>
                      </a:lnTo>
                      <a:close/>
                      <a:moveTo>
                        <a:pt x="85" y="1369"/>
                      </a:moveTo>
                      <a:lnTo>
                        <a:pt x="85" y="1370"/>
                      </a:lnTo>
                      <a:lnTo>
                        <a:pt x="86" y="1370"/>
                      </a:lnTo>
                      <a:lnTo>
                        <a:pt x="86" y="1371"/>
                      </a:lnTo>
                      <a:lnTo>
                        <a:pt x="87" y="1371"/>
                      </a:lnTo>
                      <a:lnTo>
                        <a:pt x="87" y="1372"/>
                      </a:lnTo>
                      <a:lnTo>
                        <a:pt x="86" y="1372"/>
                      </a:lnTo>
                      <a:lnTo>
                        <a:pt x="86" y="1373"/>
                      </a:lnTo>
                      <a:lnTo>
                        <a:pt x="86" y="1373"/>
                      </a:lnTo>
                      <a:lnTo>
                        <a:pt x="86" y="1373"/>
                      </a:lnTo>
                      <a:lnTo>
                        <a:pt x="88" y="1373"/>
                      </a:lnTo>
                      <a:lnTo>
                        <a:pt x="88" y="1372"/>
                      </a:lnTo>
                      <a:lnTo>
                        <a:pt x="87" y="1372"/>
                      </a:lnTo>
                      <a:lnTo>
                        <a:pt x="87" y="1371"/>
                      </a:lnTo>
                      <a:lnTo>
                        <a:pt x="88" y="1371"/>
                      </a:lnTo>
                      <a:lnTo>
                        <a:pt x="88" y="1371"/>
                      </a:lnTo>
                      <a:lnTo>
                        <a:pt x="90" y="1371"/>
                      </a:lnTo>
                      <a:lnTo>
                        <a:pt x="90" y="1371"/>
                      </a:lnTo>
                      <a:lnTo>
                        <a:pt x="91" y="1371"/>
                      </a:lnTo>
                      <a:lnTo>
                        <a:pt x="91" y="1372"/>
                      </a:lnTo>
                      <a:lnTo>
                        <a:pt x="92" y="1372"/>
                      </a:lnTo>
                      <a:lnTo>
                        <a:pt x="92" y="1372"/>
                      </a:lnTo>
                      <a:lnTo>
                        <a:pt x="93" y="1373"/>
                      </a:lnTo>
                      <a:lnTo>
                        <a:pt x="92" y="1373"/>
                      </a:lnTo>
                      <a:lnTo>
                        <a:pt x="93" y="1374"/>
                      </a:lnTo>
                      <a:lnTo>
                        <a:pt x="92" y="1374"/>
                      </a:lnTo>
                      <a:lnTo>
                        <a:pt x="93" y="1374"/>
                      </a:lnTo>
                      <a:lnTo>
                        <a:pt x="94" y="1374"/>
                      </a:lnTo>
                      <a:lnTo>
                        <a:pt x="93" y="1374"/>
                      </a:lnTo>
                      <a:lnTo>
                        <a:pt x="93" y="1374"/>
                      </a:lnTo>
                      <a:lnTo>
                        <a:pt x="93" y="1373"/>
                      </a:lnTo>
                      <a:lnTo>
                        <a:pt x="93" y="1373"/>
                      </a:lnTo>
                      <a:lnTo>
                        <a:pt x="94" y="1372"/>
                      </a:lnTo>
                      <a:lnTo>
                        <a:pt x="94" y="1371"/>
                      </a:lnTo>
                      <a:lnTo>
                        <a:pt x="94" y="1371"/>
                      </a:lnTo>
                      <a:lnTo>
                        <a:pt x="95" y="1372"/>
                      </a:lnTo>
                      <a:lnTo>
                        <a:pt x="95" y="1372"/>
                      </a:lnTo>
                      <a:lnTo>
                        <a:pt x="96" y="1373"/>
                      </a:lnTo>
                      <a:lnTo>
                        <a:pt x="95" y="1373"/>
                      </a:lnTo>
                      <a:lnTo>
                        <a:pt x="94" y="1373"/>
                      </a:lnTo>
                      <a:lnTo>
                        <a:pt x="95" y="1374"/>
                      </a:lnTo>
                      <a:lnTo>
                        <a:pt x="96" y="1374"/>
                      </a:lnTo>
                      <a:lnTo>
                        <a:pt x="95" y="1375"/>
                      </a:lnTo>
                      <a:lnTo>
                        <a:pt x="96" y="1376"/>
                      </a:lnTo>
                      <a:lnTo>
                        <a:pt x="96" y="1378"/>
                      </a:lnTo>
                      <a:lnTo>
                        <a:pt x="96" y="1379"/>
                      </a:lnTo>
                      <a:lnTo>
                        <a:pt x="96" y="1379"/>
                      </a:lnTo>
                      <a:lnTo>
                        <a:pt x="96" y="1380"/>
                      </a:lnTo>
                      <a:lnTo>
                        <a:pt x="97" y="1380"/>
                      </a:lnTo>
                      <a:lnTo>
                        <a:pt x="97" y="1381"/>
                      </a:lnTo>
                      <a:lnTo>
                        <a:pt x="98" y="1381"/>
                      </a:lnTo>
                      <a:lnTo>
                        <a:pt x="98" y="1382"/>
                      </a:lnTo>
                      <a:lnTo>
                        <a:pt x="98" y="1382"/>
                      </a:lnTo>
                      <a:lnTo>
                        <a:pt x="98" y="1382"/>
                      </a:lnTo>
                      <a:lnTo>
                        <a:pt x="100" y="1383"/>
                      </a:lnTo>
                      <a:lnTo>
                        <a:pt x="98" y="1383"/>
                      </a:lnTo>
                      <a:lnTo>
                        <a:pt x="98" y="1384"/>
                      </a:lnTo>
                      <a:lnTo>
                        <a:pt x="98" y="1384"/>
                      </a:lnTo>
                      <a:lnTo>
                        <a:pt x="98" y="1385"/>
                      </a:lnTo>
                      <a:lnTo>
                        <a:pt x="98" y="1385"/>
                      </a:lnTo>
                      <a:lnTo>
                        <a:pt x="97" y="1385"/>
                      </a:lnTo>
                      <a:lnTo>
                        <a:pt x="97" y="1385"/>
                      </a:lnTo>
                      <a:lnTo>
                        <a:pt x="96" y="1385"/>
                      </a:lnTo>
                      <a:lnTo>
                        <a:pt x="96" y="1384"/>
                      </a:lnTo>
                      <a:lnTo>
                        <a:pt x="94" y="1384"/>
                      </a:lnTo>
                      <a:lnTo>
                        <a:pt x="94" y="1384"/>
                      </a:lnTo>
                      <a:lnTo>
                        <a:pt x="94" y="1384"/>
                      </a:lnTo>
                      <a:lnTo>
                        <a:pt x="94" y="1383"/>
                      </a:lnTo>
                      <a:lnTo>
                        <a:pt x="94" y="1383"/>
                      </a:lnTo>
                      <a:lnTo>
                        <a:pt x="93" y="1383"/>
                      </a:lnTo>
                      <a:lnTo>
                        <a:pt x="92" y="1382"/>
                      </a:lnTo>
                      <a:lnTo>
                        <a:pt x="92" y="1382"/>
                      </a:lnTo>
                      <a:lnTo>
                        <a:pt x="92" y="1381"/>
                      </a:lnTo>
                      <a:lnTo>
                        <a:pt x="91" y="1381"/>
                      </a:lnTo>
                      <a:lnTo>
                        <a:pt x="91" y="1381"/>
                      </a:lnTo>
                      <a:lnTo>
                        <a:pt x="91" y="1382"/>
                      </a:lnTo>
                      <a:lnTo>
                        <a:pt x="91" y="1382"/>
                      </a:lnTo>
                      <a:lnTo>
                        <a:pt x="91" y="1383"/>
                      </a:lnTo>
                      <a:lnTo>
                        <a:pt x="90" y="1383"/>
                      </a:lnTo>
                      <a:lnTo>
                        <a:pt x="89" y="1383"/>
                      </a:lnTo>
                      <a:lnTo>
                        <a:pt x="88" y="1383"/>
                      </a:lnTo>
                      <a:lnTo>
                        <a:pt x="87" y="1381"/>
                      </a:lnTo>
                      <a:lnTo>
                        <a:pt x="88" y="1381"/>
                      </a:lnTo>
                      <a:lnTo>
                        <a:pt x="87" y="1380"/>
                      </a:lnTo>
                      <a:lnTo>
                        <a:pt x="87" y="1380"/>
                      </a:lnTo>
                      <a:lnTo>
                        <a:pt x="87" y="1379"/>
                      </a:lnTo>
                      <a:lnTo>
                        <a:pt x="86" y="1380"/>
                      </a:lnTo>
                      <a:lnTo>
                        <a:pt x="86" y="1379"/>
                      </a:lnTo>
                      <a:lnTo>
                        <a:pt x="86" y="1379"/>
                      </a:lnTo>
                      <a:lnTo>
                        <a:pt x="85" y="1379"/>
                      </a:lnTo>
                      <a:lnTo>
                        <a:pt x="85" y="1378"/>
                      </a:lnTo>
                      <a:lnTo>
                        <a:pt x="84" y="1378"/>
                      </a:lnTo>
                      <a:lnTo>
                        <a:pt x="84" y="1379"/>
                      </a:lnTo>
                      <a:lnTo>
                        <a:pt x="85" y="1379"/>
                      </a:lnTo>
                      <a:lnTo>
                        <a:pt x="85" y="1380"/>
                      </a:lnTo>
                      <a:lnTo>
                        <a:pt x="84" y="1380"/>
                      </a:lnTo>
                      <a:lnTo>
                        <a:pt x="83" y="1380"/>
                      </a:lnTo>
                      <a:lnTo>
                        <a:pt x="83" y="1379"/>
                      </a:lnTo>
                      <a:lnTo>
                        <a:pt x="82" y="1379"/>
                      </a:lnTo>
                      <a:lnTo>
                        <a:pt x="82" y="1379"/>
                      </a:lnTo>
                      <a:lnTo>
                        <a:pt x="83" y="1378"/>
                      </a:lnTo>
                      <a:lnTo>
                        <a:pt x="83" y="1378"/>
                      </a:lnTo>
                      <a:lnTo>
                        <a:pt x="83" y="1376"/>
                      </a:lnTo>
                      <a:lnTo>
                        <a:pt x="82" y="1376"/>
                      </a:lnTo>
                      <a:lnTo>
                        <a:pt x="81" y="1378"/>
                      </a:lnTo>
                      <a:lnTo>
                        <a:pt x="81" y="1378"/>
                      </a:lnTo>
                      <a:lnTo>
                        <a:pt x="81" y="1379"/>
                      </a:lnTo>
                      <a:lnTo>
                        <a:pt x="80" y="1378"/>
                      </a:lnTo>
                      <a:lnTo>
                        <a:pt x="78" y="1379"/>
                      </a:lnTo>
                      <a:lnTo>
                        <a:pt x="78" y="1378"/>
                      </a:lnTo>
                      <a:lnTo>
                        <a:pt x="80" y="1378"/>
                      </a:lnTo>
                      <a:lnTo>
                        <a:pt x="80" y="1378"/>
                      </a:lnTo>
                      <a:lnTo>
                        <a:pt x="80" y="1378"/>
                      </a:lnTo>
                      <a:lnTo>
                        <a:pt x="80" y="1376"/>
                      </a:lnTo>
                      <a:lnTo>
                        <a:pt x="80" y="1376"/>
                      </a:lnTo>
                      <a:lnTo>
                        <a:pt x="81" y="1376"/>
                      </a:lnTo>
                      <a:lnTo>
                        <a:pt x="81" y="1376"/>
                      </a:lnTo>
                      <a:lnTo>
                        <a:pt x="81" y="1376"/>
                      </a:lnTo>
                      <a:lnTo>
                        <a:pt x="81" y="1376"/>
                      </a:lnTo>
                      <a:lnTo>
                        <a:pt x="80" y="1375"/>
                      </a:lnTo>
                      <a:lnTo>
                        <a:pt x="80" y="1375"/>
                      </a:lnTo>
                      <a:lnTo>
                        <a:pt x="80" y="1375"/>
                      </a:lnTo>
                      <a:lnTo>
                        <a:pt x="80" y="1375"/>
                      </a:lnTo>
                      <a:lnTo>
                        <a:pt x="80" y="1375"/>
                      </a:lnTo>
                      <a:lnTo>
                        <a:pt x="78" y="1375"/>
                      </a:lnTo>
                      <a:lnTo>
                        <a:pt x="78" y="1374"/>
                      </a:lnTo>
                      <a:lnTo>
                        <a:pt x="78" y="1374"/>
                      </a:lnTo>
                      <a:lnTo>
                        <a:pt x="78" y="1374"/>
                      </a:lnTo>
                      <a:lnTo>
                        <a:pt x="77" y="1373"/>
                      </a:lnTo>
                      <a:lnTo>
                        <a:pt x="77" y="1373"/>
                      </a:lnTo>
                      <a:lnTo>
                        <a:pt x="78" y="1373"/>
                      </a:lnTo>
                      <a:lnTo>
                        <a:pt x="78" y="1372"/>
                      </a:lnTo>
                      <a:lnTo>
                        <a:pt x="79" y="1372"/>
                      </a:lnTo>
                      <a:lnTo>
                        <a:pt x="79" y="1373"/>
                      </a:lnTo>
                      <a:lnTo>
                        <a:pt x="79" y="1373"/>
                      </a:lnTo>
                      <a:lnTo>
                        <a:pt x="79" y="1373"/>
                      </a:lnTo>
                      <a:lnTo>
                        <a:pt x="80" y="1373"/>
                      </a:lnTo>
                      <a:lnTo>
                        <a:pt x="80" y="1373"/>
                      </a:lnTo>
                      <a:lnTo>
                        <a:pt x="80" y="1374"/>
                      </a:lnTo>
                      <a:lnTo>
                        <a:pt x="81" y="1374"/>
                      </a:lnTo>
                      <a:lnTo>
                        <a:pt x="81" y="1374"/>
                      </a:lnTo>
                      <a:lnTo>
                        <a:pt x="81" y="1374"/>
                      </a:lnTo>
                      <a:lnTo>
                        <a:pt x="82" y="1374"/>
                      </a:lnTo>
                      <a:lnTo>
                        <a:pt x="82" y="1375"/>
                      </a:lnTo>
                      <a:lnTo>
                        <a:pt x="83" y="1375"/>
                      </a:lnTo>
                      <a:lnTo>
                        <a:pt x="83" y="1374"/>
                      </a:lnTo>
                      <a:lnTo>
                        <a:pt x="83" y="1374"/>
                      </a:lnTo>
                      <a:lnTo>
                        <a:pt x="83" y="1374"/>
                      </a:lnTo>
                      <a:lnTo>
                        <a:pt x="83" y="1374"/>
                      </a:lnTo>
                      <a:lnTo>
                        <a:pt x="83" y="1373"/>
                      </a:lnTo>
                      <a:lnTo>
                        <a:pt x="83" y="1373"/>
                      </a:lnTo>
                      <a:lnTo>
                        <a:pt x="84" y="1373"/>
                      </a:lnTo>
                      <a:lnTo>
                        <a:pt x="84" y="1374"/>
                      </a:lnTo>
                      <a:lnTo>
                        <a:pt x="85" y="1374"/>
                      </a:lnTo>
                      <a:lnTo>
                        <a:pt x="85" y="1373"/>
                      </a:lnTo>
                      <a:lnTo>
                        <a:pt x="85" y="1373"/>
                      </a:lnTo>
                      <a:lnTo>
                        <a:pt x="85" y="1373"/>
                      </a:lnTo>
                      <a:lnTo>
                        <a:pt x="84" y="1373"/>
                      </a:lnTo>
                      <a:lnTo>
                        <a:pt x="85" y="1373"/>
                      </a:lnTo>
                      <a:lnTo>
                        <a:pt x="85" y="1372"/>
                      </a:lnTo>
                      <a:lnTo>
                        <a:pt x="84" y="1372"/>
                      </a:lnTo>
                      <a:lnTo>
                        <a:pt x="84" y="1372"/>
                      </a:lnTo>
                      <a:lnTo>
                        <a:pt x="84" y="1372"/>
                      </a:lnTo>
                      <a:lnTo>
                        <a:pt x="82" y="1371"/>
                      </a:lnTo>
                      <a:lnTo>
                        <a:pt x="82" y="1371"/>
                      </a:lnTo>
                      <a:lnTo>
                        <a:pt x="83" y="1371"/>
                      </a:lnTo>
                      <a:lnTo>
                        <a:pt x="83" y="1371"/>
                      </a:lnTo>
                      <a:lnTo>
                        <a:pt x="83" y="1370"/>
                      </a:lnTo>
                      <a:lnTo>
                        <a:pt x="82" y="1371"/>
                      </a:lnTo>
                      <a:lnTo>
                        <a:pt x="81" y="1370"/>
                      </a:lnTo>
                      <a:lnTo>
                        <a:pt x="81" y="1370"/>
                      </a:lnTo>
                      <a:lnTo>
                        <a:pt x="81" y="1370"/>
                      </a:lnTo>
                      <a:lnTo>
                        <a:pt x="82" y="1369"/>
                      </a:lnTo>
                      <a:lnTo>
                        <a:pt x="83" y="1370"/>
                      </a:lnTo>
                      <a:lnTo>
                        <a:pt x="85" y="1369"/>
                      </a:lnTo>
                      <a:close/>
                      <a:moveTo>
                        <a:pt x="351" y="1367"/>
                      </a:moveTo>
                      <a:lnTo>
                        <a:pt x="352" y="1368"/>
                      </a:lnTo>
                      <a:lnTo>
                        <a:pt x="352" y="1368"/>
                      </a:lnTo>
                      <a:lnTo>
                        <a:pt x="353" y="1369"/>
                      </a:lnTo>
                      <a:lnTo>
                        <a:pt x="353" y="1371"/>
                      </a:lnTo>
                      <a:lnTo>
                        <a:pt x="354" y="1372"/>
                      </a:lnTo>
                      <a:lnTo>
                        <a:pt x="354" y="1372"/>
                      </a:lnTo>
                      <a:lnTo>
                        <a:pt x="354" y="1373"/>
                      </a:lnTo>
                      <a:lnTo>
                        <a:pt x="355" y="1373"/>
                      </a:lnTo>
                      <a:lnTo>
                        <a:pt x="355" y="1373"/>
                      </a:lnTo>
                      <a:lnTo>
                        <a:pt x="355" y="1375"/>
                      </a:lnTo>
                      <a:lnTo>
                        <a:pt x="356" y="1375"/>
                      </a:lnTo>
                      <a:lnTo>
                        <a:pt x="356" y="1376"/>
                      </a:lnTo>
                      <a:lnTo>
                        <a:pt x="356" y="1378"/>
                      </a:lnTo>
                      <a:lnTo>
                        <a:pt x="355" y="1378"/>
                      </a:lnTo>
                      <a:lnTo>
                        <a:pt x="356" y="1379"/>
                      </a:lnTo>
                      <a:lnTo>
                        <a:pt x="355" y="1381"/>
                      </a:lnTo>
                      <a:lnTo>
                        <a:pt x="355" y="1382"/>
                      </a:lnTo>
                      <a:lnTo>
                        <a:pt x="355" y="1382"/>
                      </a:lnTo>
                      <a:lnTo>
                        <a:pt x="355" y="1383"/>
                      </a:lnTo>
                      <a:lnTo>
                        <a:pt x="355" y="1384"/>
                      </a:lnTo>
                      <a:lnTo>
                        <a:pt x="354" y="1384"/>
                      </a:lnTo>
                      <a:lnTo>
                        <a:pt x="354" y="1385"/>
                      </a:lnTo>
                      <a:lnTo>
                        <a:pt x="354" y="1385"/>
                      </a:lnTo>
                      <a:lnTo>
                        <a:pt x="354" y="1387"/>
                      </a:lnTo>
                      <a:lnTo>
                        <a:pt x="353" y="1388"/>
                      </a:lnTo>
                      <a:lnTo>
                        <a:pt x="353" y="1389"/>
                      </a:lnTo>
                      <a:lnTo>
                        <a:pt x="352" y="1390"/>
                      </a:lnTo>
                      <a:lnTo>
                        <a:pt x="352" y="1391"/>
                      </a:lnTo>
                      <a:lnTo>
                        <a:pt x="352" y="1392"/>
                      </a:lnTo>
                      <a:lnTo>
                        <a:pt x="351" y="1392"/>
                      </a:lnTo>
                      <a:lnTo>
                        <a:pt x="351" y="1393"/>
                      </a:lnTo>
                      <a:lnTo>
                        <a:pt x="351" y="1393"/>
                      </a:lnTo>
                      <a:lnTo>
                        <a:pt x="350" y="1394"/>
                      </a:lnTo>
                      <a:lnTo>
                        <a:pt x="350" y="1394"/>
                      </a:lnTo>
                      <a:lnTo>
                        <a:pt x="350" y="1394"/>
                      </a:lnTo>
                      <a:lnTo>
                        <a:pt x="350" y="1395"/>
                      </a:lnTo>
                      <a:lnTo>
                        <a:pt x="349" y="1395"/>
                      </a:lnTo>
                      <a:lnTo>
                        <a:pt x="349" y="1395"/>
                      </a:lnTo>
                      <a:lnTo>
                        <a:pt x="348" y="1395"/>
                      </a:lnTo>
                      <a:lnTo>
                        <a:pt x="348" y="1396"/>
                      </a:lnTo>
                      <a:lnTo>
                        <a:pt x="348" y="1396"/>
                      </a:lnTo>
                      <a:lnTo>
                        <a:pt x="346" y="1397"/>
                      </a:lnTo>
                      <a:lnTo>
                        <a:pt x="346" y="1398"/>
                      </a:lnTo>
                      <a:lnTo>
                        <a:pt x="346" y="1398"/>
                      </a:lnTo>
                      <a:lnTo>
                        <a:pt x="346" y="1398"/>
                      </a:lnTo>
                      <a:lnTo>
                        <a:pt x="346" y="1399"/>
                      </a:lnTo>
                      <a:lnTo>
                        <a:pt x="345" y="1399"/>
                      </a:lnTo>
                      <a:lnTo>
                        <a:pt x="345" y="1400"/>
                      </a:lnTo>
                      <a:lnTo>
                        <a:pt x="345" y="1400"/>
                      </a:lnTo>
                      <a:lnTo>
                        <a:pt x="345" y="1401"/>
                      </a:lnTo>
                      <a:lnTo>
                        <a:pt x="345" y="1401"/>
                      </a:lnTo>
                      <a:lnTo>
                        <a:pt x="345" y="1402"/>
                      </a:lnTo>
                      <a:lnTo>
                        <a:pt x="346" y="1404"/>
                      </a:lnTo>
                      <a:lnTo>
                        <a:pt x="346" y="1404"/>
                      </a:lnTo>
                      <a:lnTo>
                        <a:pt x="347" y="1405"/>
                      </a:lnTo>
                      <a:lnTo>
                        <a:pt x="347" y="1405"/>
                      </a:lnTo>
                      <a:lnTo>
                        <a:pt x="347" y="1405"/>
                      </a:lnTo>
                      <a:lnTo>
                        <a:pt x="347" y="1405"/>
                      </a:lnTo>
                      <a:lnTo>
                        <a:pt x="347" y="1406"/>
                      </a:lnTo>
                      <a:lnTo>
                        <a:pt x="347" y="1407"/>
                      </a:lnTo>
                      <a:lnTo>
                        <a:pt x="347" y="1408"/>
                      </a:lnTo>
                      <a:lnTo>
                        <a:pt x="347" y="1410"/>
                      </a:lnTo>
                      <a:lnTo>
                        <a:pt x="348" y="1410"/>
                      </a:lnTo>
                      <a:lnTo>
                        <a:pt x="348" y="1411"/>
                      </a:lnTo>
                      <a:lnTo>
                        <a:pt x="348" y="1416"/>
                      </a:lnTo>
                      <a:lnTo>
                        <a:pt x="348" y="1418"/>
                      </a:lnTo>
                      <a:lnTo>
                        <a:pt x="348" y="1418"/>
                      </a:lnTo>
                      <a:lnTo>
                        <a:pt x="348" y="1419"/>
                      </a:lnTo>
                      <a:lnTo>
                        <a:pt x="349" y="1420"/>
                      </a:lnTo>
                      <a:lnTo>
                        <a:pt x="349" y="1420"/>
                      </a:lnTo>
                      <a:lnTo>
                        <a:pt x="349" y="1421"/>
                      </a:lnTo>
                      <a:lnTo>
                        <a:pt x="350" y="1422"/>
                      </a:lnTo>
                      <a:lnTo>
                        <a:pt x="351" y="1423"/>
                      </a:lnTo>
                      <a:lnTo>
                        <a:pt x="351" y="1424"/>
                      </a:lnTo>
                      <a:lnTo>
                        <a:pt x="351" y="1425"/>
                      </a:lnTo>
                      <a:lnTo>
                        <a:pt x="352" y="1425"/>
                      </a:lnTo>
                      <a:lnTo>
                        <a:pt x="352" y="1425"/>
                      </a:lnTo>
                      <a:lnTo>
                        <a:pt x="353" y="1425"/>
                      </a:lnTo>
                      <a:lnTo>
                        <a:pt x="353" y="1425"/>
                      </a:lnTo>
                      <a:lnTo>
                        <a:pt x="353" y="1426"/>
                      </a:lnTo>
                      <a:lnTo>
                        <a:pt x="353" y="1429"/>
                      </a:lnTo>
                      <a:lnTo>
                        <a:pt x="353" y="1431"/>
                      </a:lnTo>
                      <a:lnTo>
                        <a:pt x="352" y="1432"/>
                      </a:lnTo>
                      <a:lnTo>
                        <a:pt x="352" y="1433"/>
                      </a:lnTo>
                      <a:lnTo>
                        <a:pt x="351" y="1433"/>
                      </a:lnTo>
                      <a:lnTo>
                        <a:pt x="351" y="1433"/>
                      </a:lnTo>
                      <a:lnTo>
                        <a:pt x="351" y="1433"/>
                      </a:lnTo>
                      <a:lnTo>
                        <a:pt x="351" y="1434"/>
                      </a:lnTo>
                      <a:lnTo>
                        <a:pt x="350" y="1434"/>
                      </a:lnTo>
                      <a:lnTo>
                        <a:pt x="350" y="1434"/>
                      </a:lnTo>
                      <a:lnTo>
                        <a:pt x="349" y="1435"/>
                      </a:lnTo>
                      <a:lnTo>
                        <a:pt x="348" y="1437"/>
                      </a:lnTo>
                      <a:lnTo>
                        <a:pt x="348" y="1438"/>
                      </a:lnTo>
                      <a:lnTo>
                        <a:pt x="348" y="1438"/>
                      </a:lnTo>
                      <a:lnTo>
                        <a:pt x="348" y="1438"/>
                      </a:lnTo>
                      <a:lnTo>
                        <a:pt x="347" y="1439"/>
                      </a:lnTo>
                      <a:lnTo>
                        <a:pt x="346" y="1439"/>
                      </a:lnTo>
                      <a:lnTo>
                        <a:pt x="346" y="1439"/>
                      </a:lnTo>
                      <a:lnTo>
                        <a:pt x="345" y="1439"/>
                      </a:lnTo>
                      <a:lnTo>
                        <a:pt x="344" y="1440"/>
                      </a:lnTo>
                      <a:lnTo>
                        <a:pt x="344" y="1440"/>
                      </a:lnTo>
                      <a:lnTo>
                        <a:pt x="344" y="1440"/>
                      </a:lnTo>
                      <a:lnTo>
                        <a:pt x="343" y="1440"/>
                      </a:lnTo>
                      <a:lnTo>
                        <a:pt x="342" y="1441"/>
                      </a:lnTo>
                      <a:lnTo>
                        <a:pt x="341" y="1441"/>
                      </a:lnTo>
                      <a:lnTo>
                        <a:pt x="340" y="1440"/>
                      </a:lnTo>
                      <a:lnTo>
                        <a:pt x="339" y="1440"/>
                      </a:lnTo>
                      <a:lnTo>
                        <a:pt x="338" y="1439"/>
                      </a:lnTo>
                      <a:lnTo>
                        <a:pt x="338" y="1439"/>
                      </a:lnTo>
                      <a:lnTo>
                        <a:pt x="337" y="1439"/>
                      </a:lnTo>
                      <a:lnTo>
                        <a:pt x="337" y="1438"/>
                      </a:lnTo>
                      <a:lnTo>
                        <a:pt x="337" y="1437"/>
                      </a:lnTo>
                      <a:lnTo>
                        <a:pt x="337" y="1436"/>
                      </a:lnTo>
                      <a:lnTo>
                        <a:pt x="337" y="1436"/>
                      </a:lnTo>
                      <a:lnTo>
                        <a:pt x="337" y="1434"/>
                      </a:lnTo>
                      <a:lnTo>
                        <a:pt x="336" y="1434"/>
                      </a:lnTo>
                      <a:lnTo>
                        <a:pt x="336" y="1432"/>
                      </a:lnTo>
                      <a:lnTo>
                        <a:pt x="335" y="1432"/>
                      </a:lnTo>
                      <a:lnTo>
                        <a:pt x="334" y="1432"/>
                      </a:lnTo>
                      <a:lnTo>
                        <a:pt x="334" y="1432"/>
                      </a:lnTo>
                      <a:lnTo>
                        <a:pt x="334" y="1432"/>
                      </a:lnTo>
                      <a:lnTo>
                        <a:pt x="334" y="1432"/>
                      </a:lnTo>
                      <a:lnTo>
                        <a:pt x="334" y="1433"/>
                      </a:lnTo>
                      <a:lnTo>
                        <a:pt x="333" y="1432"/>
                      </a:lnTo>
                      <a:lnTo>
                        <a:pt x="334" y="1431"/>
                      </a:lnTo>
                      <a:lnTo>
                        <a:pt x="334" y="1431"/>
                      </a:lnTo>
                      <a:lnTo>
                        <a:pt x="334" y="1430"/>
                      </a:lnTo>
                      <a:lnTo>
                        <a:pt x="335" y="1429"/>
                      </a:lnTo>
                      <a:lnTo>
                        <a:pt x="334" y="1428"/>
                      </a:lnTo>
                      <a:lnTo>
                        <a:pt x="335" y="1428"/>
                      </a:lnTo>
                      <a:lnTo>
                        <a:pt x="335" y="1427"/>
                      </a:lnTo>
                      <a:lnTo>
                        <a:pt x="334" y="1427"/>
                      </a:lnTo>
                      <a:lnTo>
                        <a:pt x="334" y="1426"/>
                      </a:lnTo>
                      <a:lnTo>
                        <a:pt x="334" y="1426"/>
                      </a:lnTo>
                      <a:lnTo>
                        <a:pt x="334" y="1426"/>
                      </a:lnTo>
                      <a:lnTo>
                        <a:pt x="334" y="1425"/>
                      </a:lnTo>
                      <a:lnTo>
                        <a:pt x="334" y="1425"/>
                      </a:lnTo>
                      <a:lnTo>
                        <a:pt x="335" y="1424"/>
                      </a:lnTo>
                      <a:lnTo>
                        <a:pt x="335" y="1424"/>
                      </a:lnTo>
                      <a:lnTo>
                        <a:pt x="336" y="1422"/>
                      </a:lnTo>
                      <a:lnTo>
                        <a:pt x="336" y="1422"/>
                      </a:lnTo>
                      <a:lnTo>
                        <a:pt x="336" y="1420"/>
                      </a:lnTo>
                      <a:lnTo>
                        <a:pt x="336" y="1419"/>
                      </a:lnTo>
                      <a:lnTo>
                        <a:pt x="336" y="1418"/>
                      </a:lnTo>
                      <a:lnTo>
                        <a:pt x="335" y="1417"/>
                      </a:lnTo>
                      <a:lnTo>
                        <a:pt x="335" y="1416"/>
                      </a:lnTo>
                      <a:lnTo>
                        <a:pt x="335" y="1414"/>
                      </a:lnTo>
                      <a:lnTo>
                        <a:pt x="334" y="1412"/>
                      </a:lnTo>
                      <a:lnTo>
                        <a:pt x="334" y="1411"/>
                      </a:lnTo>
                      <a:lnTo>
                        <a:pt x="334" y="1411"/>
                      </a:lnTo>
                      <a:lnTo>
                        <a:pt x="335" y="1411"/>
                      </a:lnTo>
                      <a:lnTo>
                        <a:pt x="335" y="1410"/>
                      </a:lnTo>
                      <a:lnTo>
                        <a:pt x="334" y="1410"/>
                      </a:lnTo>
                      <a:lnTo>
                        <a:pt x="334" y="1407"/>
                      </a:lnTo>
                      <a:lnTo>
                        <a:pt x="334" y="1407"/>
                      </a:lnTo>
                      <a:lnTo>
                        <a:pt x="334" y="1404"/>
                      </a:lnTo>
                      <a:lnTo>
                        <a:pt x="334" y="1404"/>
                      </a:lnTo>
                      <a:lnTo>
                        <a:pt x="334" y="1403"/>
                      </a:lnTo>
                      <a:lnTo>
                        <a:pt x="335" y="1402"/>
                      </a:lnTo>
                      <a:lnTo>
                        <a:pt x="335" y="1401"/>
                      </a:lnTo>
                      <a:lnTo>
                        <a:pt x="335" y="1401"/>
                      </a:lnTo>
                      <a:lnTo>
                        <a:pt x="335" y="1399"/>
                      </a:lnTo>
                      <a:lnTo>
                        <a:pt x="336" y="1398"/>
                      </a:lnTo>
                      <a:lnTo>
                        <a:pt x="335" y="1397"/>
                      </a:lnTo>
                      <a:lnTo>
                        <a:pt x="336" y="1396"/>
                      </a:lnTo>
                      <a:lnTo>
                        <a:pt x="337" y="1395"/>
                      </a:lnTo>
                      <a:lnTo>
                        <a:pt x="337" y="1395"/>
                      </a:lnTo>
                      <a:lnTo>
                        <a:pt x="338" y="1393"/>
                      </a:lnTo>
                      <a:lnTo>
                        <a:pt x="338" y="1392"/>
                      </a:lnTo>
                      <a:lnTo>
                        <a:pt x="339" y="1391"/>
                      </a:lnTo>
                      <a:lnTo>
                        <a:pt x="339" y="1390"/>
                      </a:lnTo>
                      <a:lnTo>
                        <a:pt x="340" y="1390"/>
                      </a:lnTo>
                      <a:lnTo>
                        <a:pt x="340" y="1389"/>
                      </a:lnTo>
                      <a:lnTo>
                        <a:pt x="340" y="1389"/>
                      </a:lnTo>
                      <a:lnTo>
                        <a:pt x="341" y="1389"/>
                      </a:lnTo>
                      <a:lnTo>
                        <a:pt x="341" y="1389"/>
                      </a:lnTo>
                      <a:lnTo>
                        <a:pt x="341" y="1389"/>
                      </a:lnTo>
                      <a:lnTo>
                        <a:pt x="343" y="1390"/>
                      </a:lnTo>
                      <a:lnTo>
                        <a:pt x="343" y="1390"/>
                      </a:lnTo>
                      <a:lnTo>
                        <a:pt x="343" y="1390"/>
                      </a:lnTo>
                      <a:lnTo>
                        <a:pt x="344" y="1390"/>
                      </a:lnTo>
                      <a:lnTo>
                        <a:pt x="345" y="1390"/>
                      </a:lnTo>
                      <a:lnTo>
                        <a:pt x="346" y="1391"/>
                      </a:lnTo>
                      <a:lnTo>
                        <a:pt x="347" y="1391"/>
                      </a:lnTo>
                      <a:lnTo>
                        <a:pt x="347" y="1390"/>
                      </a:lnTo>
                      <a:lnTo>
                        <a:pt x="348" y="1390"/>
                      </a:lnTo>
                      <a:lnTo>
                        <a:pt x="348" y="1389"/>
                      </a:lnTo>
                      <a:lnTo>
                        <a:pt x="349" y="1389"/>
                      </a:lnTo>
                      <a:lnTo>
                        <a:pt x="349" y="1388"/>
                      </a:lnTo>
                      <a:lnTo>
                        <a:pt x="349" y="1388"/>
                      </a:lnTo>
                      <a:lnTo>
                        <a:pt x="348" y="1388"/>
                      </a:lnTo>
                      <a:lnTo>
                        <a:pt x="348" y="1387"/>
                      </a:lnTo>
                      <a:lnTo>
                        <a:pt x="346" y="1387"/>
                      </a:lnTo>
                      <a:lnTo>
                        <a:pt x="345" y="1386"/>
                      </a:lnTo>
                      <a:lnTo>
                        <a:pt x="345" y="1386"/>
                      </a:lnTo>
                      <a:lnTo>
                        <a:pt x="346" y="1386"/>
                      </a:lnTo>
                      <a:lnTo>
                        <a:pt x="346" y="1385"/>
                      </a:lnTo>
                      <a:lnTo>
                        <a:pt x="347" y="1385"/>
                      </a:lnTo>
                      <a:lnTo>
                        <a:pt x="347" y="1385"/>
                      </a:lnTo>
                      <a:lnTo>
                        <a:pt x="347" y="1384"/>
                      </a:lnTo>
                      <a:lnTo>
                        <a:pt x="347" y="1384"/>
                      </a:lnTo>
                      <a:lnTo>
                        <a:pt x="347" y="1383"/>
                      </a:lnTo>
                      <a:lnTo>
                        <a:pt x="347" y="1383"/>
                      </a:lnTo>
                      <a:lnTo>
                        <a:pt x="347" y="1384"/>
                      </a:lnTo>
                      <a:lnTo>
                        <a:pt x="346" y="1384"/>
                      </a:lnTo>
                      <a:lnTo>
                        <a:pt x="346" y="1383"/>
                      </a:lnTo>
                      <a:lnTo>
                        <a:pt x="345" y="1382"/>
                      </a:lnTo>
                      <a:lnTo>
                        <a:pt x="345" y="1381"/>
                      </a:lnTo>
                      <a:lnTo>
                        <a:pt x="344" y="1380"/>
                      </a:lnTo>
                      <a:lnTo>
                        <a:pt x="344" y="1378"/>
                      </a:lnTo>
                      <a:lnTo>
                        <a:pt x="344" y="1376"/>
                      </a:lnTo>
                      <a:lnTo>
                        <a:pt x="345" y="1376"/>
                      </a:lnTo>
                      <a:lnTo>
                        <a:pt x="345" y="1376"/>
                      </a:lnTo>
                      <a:lnTo>
                        <a:pt x="345" y="1376"/>
                      </a:lnTo>
                      <a:lnTo>
                        <a:pt x="346" y="1376"/>
                      </a:lnTo>
                      <a:lnTo>
                        <a:pt x="346" y="1376"/>
                      </a:lnTo>
                      <a:lnTo>
                        <a:pt x="346" y="1376"/>
                      </a:lnTo>
                      <a:lnTo>
                        <a:pt x="346" y="1375"/>
                      </a:lnTo>
                      <a:lnTo>
                        <a:pt x="347" y="1376"/>
                      </a:lnTo>
                      <a:lnTo>
                        <a:pt x="347" y="1376"/>
                      </a:lnTo>
                      <a:lnTo>
                        <a:pt x="348" y="1376"/>
                      </a:lnTo>
                      <a:lnTo>
                        <a:pt x="348" y="1379"/>
                      </a:lnTo>
                      <a:lnTo>
                        <a:pt x="348" y="1380"/>
                      </a:lnTo>
                      <a:lnTo>
                        <a:pt x="348" y="1380"/>
                      </a:lnTo>
                      <a:lnTo>
                        <a:pt x="347" y="1382"/>
                      </a:lnTo>
                      <a:lnTo>
                        <a:pt x="348" y="1382"/>
                      </a:lnTo>
                      <a:lnTo>
                        <a:pt x="348" y="1381"/>
                      </a:lnTo>
                      <a:lnTo>
                        <a:pt x="348" y="1380"/>
                      </a:lnTo>
                      <a:lnTo>
                        <a:pt x="349" y="1379"/>
                      </a:lnTo>
                      <a:lnTo>
                        <a:pt x="349" y="1379"/>
                      </a:lnTo>
                      <a:lnTo>
                        <a:pt x="349" y="1378"/>
                      </a:lnTo>
                      <a:lnTo>
                        <a:pt x="350" y="1378"/>
                      </a:lnTo>
                      <a:lnTo>
                        <a:pt x="350" y="1378"/>
                      </a:lnTo>
                      <a:lnTo>
                        <a:pt x="352" y="1378"/>
                      </a:lnTo>
                      <a:lnTo>
                        <a:pt x="353" y="1376"/>
                      </a:lnTo>
                      <a:lnTo>
                        <a:pt x="353" y="1376"/>
                      </a:lnTo>
                      <a:lnTo>
                        <a:pt x="353" y="1376"/>
                      </a:lnTo>
                      <a:lnTo>
                        <a:pt x="352" y="1375"/>
                      </a:lnTo>
                      <a:lnTo>
                        <a:pt x="352" y="1375"/>
                      </a:lnTo>
                      <a:lnTo>
                        <a:pt x="352" y="1375"/>
                      </a:lnTo>
                      <a:lnTo>
                        <a:pt x="353" y="1374"/>
                      </a:lnTo>
                      <a:lnTo>
                        <a:pt x="352" y="1373"/>
                      </a:lnTo>
                      <a:lnTo>
                        <a:pt x="353" y="1372"/>
                      </a:lnTo>
                      <a:lnTo>
                        <a:pt x="352" y="1371"/>
                      </a:lnTo>
                      <a:lnTo>
                        <a:pt x="352" y="1370"/>
                      </a:lnTo>
                      <a:lnTo>
                        <a:pt x="351" y="1370"/>
                      </a:lnTo>
                      <a:lnTo>
                        <a:pt x="350" y="1370"/>
                      </a:lnTo>
                      <a:lnTo>
                        <a:pt x="350" y="1369"/>
                      </a:lnTo>
                      <a:lnTo>
                        <a:pt x="349" y="1369"/>
                      </a:lnTo>
                      <a:lnTo>
                        <a:pt x="348" y="1368"/>
                      </a:lnTo>
                      <a:lnTo>
                        <a:pt x="349" y="1368"/>
                      </a:lnTo>
                      <a:lnTo>
                        <a:pt x="349" y="1368"/>
                      </a:lnTo>
                      <a:lnTo>
                        <a:pt x="350" y="1367"/>
                      </a:lnTo>
                      <a:lnTo>
                        <a:pt x="351" y="1367"/>
                      </a:lnTo>
                      <a:close/>
                      <a:moveTo>
                        <a:pt x="56" y="1354"/>
                      </a:moveTo>
                      <a:lnTo>
                        <a:pt x="57" y="1354"/>
                      </a:lnTo>
                      <a:lnTo>
                        <a:pt x="57" y="1355"/>
                      </a:lnTo>
                      <a:lnTo>
                        <a:pt x="56" y="1355"/>
                      </a:lnTo>
                      <a:lnTo>
                        <a:pt x="56" y="1356"/>
                      </a:lnTo>
                      <a:lnTo>
                        <a:pt x="56" y="1357"/>
                      </a:lnTo>
                      <a:lnTo>
                        <a:pt x="57" y="1357"/>
                      </a:lnTo>
                      <a:lnTo>
                        <a:pt x="57" y="1358"/>
                      </a:lnTo>
                      <a:lnTo>
                        <a:pt x="58" y="1358"/>
                      </a:lnTo>
                      <a:lnTo>
                        <a:pt x="58" y="1359"/>
                      </a:lnTo>
                      <a:lnTo>
                        <a:pt x="59" y="1359"/>
                      </a:lnTo>
                      <a:lnTo>
                        <a:pt x="59" y="1359"/>
                      </a:lnTo>
                      <a:lnTo>
                        <a:pt x="59" y="1359"/>
                      </a:lnTo>
                      <a:lnTo>
                        <a:pt x="59" y="1358"/>
                      </a:lnTo>
                      <a:lnTo>
                        <a:pt x="60" y="1358"/>
                      </a:lnTo>
                      <a:lnTo>
                        <a:pt x="60" y="1356"/>
                      </a:lnTo>
                      <a:lnTo>
                        <a:pt x="62" y="1356"/>
                      </a:lnTo>
                      <a:lnTo>
                        <a:pt x="63" y="1355"/>
                      </a:lnTo>
                      <a:lnTo>
                        <a:pt x="64" y="1355"/>
                      </a:lnTo>
                      <a:lnTo>
                        <a:pt x="65" y="1355"/>
                      </a:lnTo>
                      <a:lnTo>
                        <a:pt x="65" y="1356"/>
                      </a:lnTo>
                      <a:lnTo>
                        <a:pt x="65" y="1356"/>
                      </a:lnTo>
                      <a:lnTo>
                        <a:pt x="66" y="1356"/>
                      </a:lnTo>
                      <a:lnTo>
                        <a:pt x="66" y="1357"/>
                      </a:lnTo>
                      <a:lnTo>
                        <a:pt x="65" y="1357"/>
                      </a:lnTo>
                      <a:lnTo>
                        <a:pt x="65" y="1358"/>
                      </a:lnTo>
                      <a:lnTo>
                        <a:pt x="66" y="1357"/>
                      </a:lnTo>
                      <a:lnTo>
                        <a:pt x="66" y="1357"/>
                      </a:lnTo>
                      <a:lnTo>
                        <a:pt x="67" y="1357"/>
                      </a:lnTo>
                      <a:lnTo>
                        <a:pt x="67" y="1358"/>
                      </a:lnTo>
                      <a:lnTo>
                        <a:pt x="68" y="1359"/>
                      </a:lnTo>
                      <a:lnTo>
                        <a:pt x="68" y="1360"/>
                      </a:lnTo>
                      <a:lnTo>
                        <a:pt x="69" y="1360"/>
                      </a:lnTo>
                      <a:lnTo>
                        <a:pt x="70" y="1359"/>
                      </a:lnTo>
                      <a:lnTo>
                        <a:pt x="70" y="1360"/>
                      </a:lnTo>
                      <a:lnTo>
                        <a:pt x="71" y="1361"/>
                      </a:lnTo>
                      <a:lnTo>
                        <a:pt x="70" y="1362"/>
                      </a:lnTo>
                      <a:lnTo>
                        <a:pt x="70" y="1363"/>
                      </a:lnTo>
                      <a:lnTo>
                        <a:pt x="70" y="1363"/>
                      </a:lnTo>
                      <a:lnTo>
                        <a:pt x="69" y="1363"/>
                      </a:lnTo>
                      <a:lnTo>
                        <a:pt x="69" y="1363"/>
                      </a:lnTo>
                      <a:lnTo>
                        <a:pt x="69" y="1364"/>
                      </a:lnTo>
                      <a:lnTo>
                        <a:pt x="68" y="1364"/>
                      </a:lnTo>
                      <a:lnTo>
                        <a:pt x="68" y="1363"/>
                      </a:lnTo>
                      <a:lnTo>
                        <a:pt x="68" y="1363"/>
                      </a:lnTo>
                      <a:lnTo>
                        <a:pt x="68" y="1363"/>
                      </a:lnTo>
                      <a:lnTo>
                        <a:pt x="68" y="1363"/>
                      </a:lnTo>
                      <a:lnTo>
                        <a:pt x="68" y="1363"/>
                      </a:lnTo>
                      <a:lnTo>
                        <a:pt x="67" y="1363"/>
                      </a:lnTo>
                      <a:lnTo>
                        <a:pt x="66" y="1364"/>
                      </a:lnTo>
                      <a:lnTo>
                        <a:pt x="66" y="1365"/>
                      </a:lnTo>
                      <a:lnTo>
                        <a:pt x="67" y="1365"/>
                      </a:lnTo>
                      <a:lnTo>
                        <a:pt x="67" y="1366"/>
                      </a:lnTo>
                      <a:lnTo>
                        <a:pt x="68" y="1367"/>
                      </a:lnTo>
                      <a:lnTo>
                        <a:pt x="68" y="1367"/>
                      </a:lnTo>
                      <a:lnTo>
                        <a:pt x="68" y="1368"/>
                      </a:lnTo>
                      <a:lnTo>
                        <a:pt x="68" y="1369"/>
                      </a:lnTo>
                      <a:lnTo>
                        <a:pt x="67" y="1370"/>
                      </a:lnTo>
                      <a:lnTo>
                        <a:pt x="67" y="1371"/>
                      </a:lnTo>
                      <a:lnTo>
                        <a:pt x="67" y="1372"/>
                      </a:lnTo>
                      <a:lnTo>
                        <a:pt x="68" y="1372"/>
                      </a:lnTo>
                      <a:lnTo>
                        <a:pt x="68" y="1373"/>
                      </a:lnTo>
                      <a:lnTo>
                        <a:pt x="67" y="1373"/>
                      </a:lnTo>
                      <a:lnTo>
                        <a:pt x="67" y="1373"/>
                      </a:lnTo>
                      <a:lnTo>
                        <a:pt x="67" y="1374"/>
                      </a:lnTo>
                      <a:lnTo>
                        <a:pt x="67" y="1375"/>
                      </a:lnTo>
                      <a:lnTo>
                        <a:pt x="66" y="1374"/>
                      </a:lnTo>
                      <a:lnTo>
                        <a:pt x="66" y="1374"/>
                      </a:lnTo>
                      <a:lnTo>
                        <a:pt x="65" y="1373"/>
                      </a:lnTo>
                      <a:lnTo>
                        <a:pt x="64" y="1373"/>
                      </a:lnTo>
                      <a:lnTo>
                        <a:pt x="64" y="1373"/>
                      </a:lnTo>
                      <a:lnTo>
                        <a:pt x="64" y="1373"/>
                      </a:lnTo>
                      <a:lnTo>
                        <a:pt x="64" y="1372"/>
                      </a:lnTo>
                      <a:lnTo>
                        <a:pt x="64" y="1370"/>
                      </a:lnTo>
                      <a:lnTo>
                        <a:pt x="63" y="1370"/>
                      </a:lnTo>
                      <a:lnTo>
                        <a:pt x="63" y="1367"/>
                      </a:lnTo>
                      <a:lnTo>
                        <a:pt x="63" y="1366"/>
                      </a:lnTo>
                      <a:lnTo>
                        <a:pt x="63" y="1366"/>
                      </a:lnTo>
                      <a:lnTo>
                        <a:pt x="60" y="1364"/>
                      </a:lnTo>
                      <a:lnTo>
                        <a:pt x="59" y="1362"/>
                      </a:lnTo>
                      <a:lnTo>
                        <a:pt x="57" y="1360"/>
                      </a:lnTo>
                      <a:lnTo>
                        <a:pt x="57" y="1359"/>
                      </a:lnTo>
                      <a:lnTo>
                        <a:pt x="57" y="1359"/>
                      </a:lnTo>
                      <a:lnTo>
                        <a:pt x="55" y="1357"/>
                      </a:lnTo>
                      <a:lnTo>
                        <a:pt x="55" y="1357"/>
                      </a:lnTo>
                      <a:lnTo>
                        <a:pt x="55" y="1356"/>
                      </a:lnTo>
                      <a:lnTo>
                        <a:pt x="55" y="1356"/>
                      </a:lnTo>
                      <a:lnTo>
                        <a:pt x="56" y="1354"/>
                      </a:lnTo>
                      <a:lnTo>
                        <a:pt x="56" y="1354"/>
                      </a:lnTo>
                      <a:lnTo>
                        <a:pt x="56" y="1354"/>
                      </a:lnTo>
                      <a:close/>
                      <a:moveTo>
                        <a:pt x="50" y="1347"/>
                      </a:moveTo>
                      <a:lnTo>
                        <a:pt x="50" y="1347"/>
                      </a:lnTo>
                      <a:lnTo>
                        <a:pt x="50" y="1348"/>
                      </a:lnTo>
                      <a:lnTo>
                        <a:pt x="51" y="1348"/>
                      </a:lnTo>
                      <a:lnTo>
                        <a:pt x="51" y="1349"/>
                      </a:lnTo>
                      <a:lnTo>
                        <a:pt x="52" y="1350"/>
                      </a:lnTo>
                      <a:lnTo>
                        <a:pt x="52" y="1350"/>
                      </a:lnTo>
                      <a:lnTo>
                        <a:pt x="52" y="1350"/>
                      </a:lnTo>
                      <a:lnTo>
                        <a:pt x="53" y="1350"/>
                      </a:lnTo>
                      <a:lnTo>
                        <a:pt x="53" y="1350"/>
                      </a:lnTo>
                      <a:lnTo>
                        <a:pt x="56" y="1350"/>
                      </a:lnTo>
                      <a:lnTo>
                        <a:pt x="55" y="1351"/>
                      </a:lnTo>
                      <a:lnTo>
                        <a:pt x="56" y="1352"/>
                      </a:lnTo>
                      <a:lnTo>
                        <a:pt x="54" y="1352"/>
                      </a:lnTo>
                      <a:lnTo>
                        <a:pt x="55" y="1351"/>
                      </a:lnTo>
                      <a:lnTo>
                        <a:pt x="54" y="1351"/>
                      </a:lnTo>
                      <a:lnTo>
                        <a:pt x="54" y="1352"/>
                      </a:lnTo>
                      <a:lnTo>
                        <a:pt x="54" y="1352"/>
                      </a:lnTo>
                      <a:lnTo>
                        <a:pt x="55" y="1352"/>
                      </a:lnTo>
                      <a:lnTo>
                        <a:pt x="55" y="1353"/>
                      </a:lnTo>
                      <a:lnTo>
                        <a:pt x="56" y="1353"/>
                      </a:lnTo>
                      <a:lnTo>
                        <a:pt x="56" y="1353"/>
                      </a:lnTo>
                      <a:lnTo>
                        <a:pt x="54" y="1354"/>
                      </a:lnTo>
                      <a:lnTo>
                        <a:pt x="53" y="1354"/>
                      </a:lnTo>
                      <a:lnTo>
                        <a:pt x="53" y="1354"/>
                      </a:lnTo>
                      <a:lnTo>
                        <a:pt x="53" y="1354"/>
                      </a:lnTo>
                      <a:lnTo>
                        <a:pt x="53" y="1354"/>
                      </a:lnTo>
                      <a:lnTo>
                        <a:pt x="53" y="1354"/>
                      </a:lnTo>
                      <a:lnTo>
                        <a:pt x="52" y="1354"/>
                      </a:lnTo>
                      <a:lnTo>
                        <a:pt x="52" y="1354"/>
                      </a:lnTo>
                      <a:lnTo>
                        <a:pt x="51" y="1354"/>
                      </a:lnTo>
                      <a:lnTo>
                        <a:pt x="51" y="1353"/>
                      </a:lnTo>
                      <a:lnTo>
                        <a:pt x="50" y="1353"/>
                      </a:lnTo>
                      <a:lnTo>
                        <a:pt x="50" y="1352"/>
                      </a:lnTo>
                      <a:lnTo>
                        <a:pt x="50" y="1352"/>
                      </a:lnTo>
                      <a:lnTo>
                        <a:pt x="50" y="1351"/>
                      </a:lnTo>
                      <a:lnTo>
                        <a:pt x="49" y="1351"/>
                      </a:lnTo>
                      <a:lnTo>
                        <a:pt x="49" y="1349"/>
                      </a:lnTo>
                      <a:lnTo>
                        <a:pt x="49" y="1348"/>
                      </a:lnTo>
                      <a:lnTo>
                        <a:pt x="50" y="1347"/>
                      </a:lnTo>
                      <a:lnTo>
                        <a:pt x="50" y="1347"/>
                      </a:lnTo>
                      <a:lnTo>
                        <a:pt x="50" y="1347"/>
                      </a:lnTo>
                      <a:close/>
                      <a:moveTo>
                        <a:pt x="355" y="1368"/>
                      </a:moveTo>
                      <a:lnTo>
                        <a:pt x="355" y="1367"/>
                      </a:lnTo>
                      <a:lnTo>
                        <a:pt x="354" y="1367"/>
                      </a:lnTo>
                      <a:lnTo>
                        <a:pt x="354" y="1367"/>
                      </a:lnTo>
                      <a:lnTo>
                        <a:pt x="353" y="1367"/>
                      </a:lnTo>
                      <a:lnTo>
                        <a:pt x="353" y="1366"/>
                      </a:lnTo>
                      <a:lnTo>
                        <a:pt x="352" y="1366"/>
                      </a:lnTo>
                      <a:lnTo>
                        <a:pt x="352" y="1365"/>
                      </a:lnTo>
                      <a:lnTo>
                        <a:pt x="354" y="1366"/>
                      </a:lnTo>
                      <a:lnTo>
                        <a:pt x="354" y="1365"/>
                      </a:lnTo>
                      <a:lnTo>
                        <a:pt x="354" y="1365"/>
                      </a:lnTo>
                      <a:lnTo>
                        <a:pt x="353" y="1365"/>
                      </a:lnTo>
                      <a:lnTo>
                        <a:pt x="352" y="1363"/>
                      </a:lnTo>
                      <a:lnTo>
                        <a:pt x="352" y="1363"/>
                      </a:lnTo>
                      <a:lnTo>
                        <a:pt x="352" y="1363"/>
                      </a:lnTo>
                      <a:lnTo>
                        <a:pt x="352" y="1362"/>
                      </a:lnTo>
                      <a:lnTo>
                        <a:pt x="352" y="1361"/>
                      </a:lnTo>
                      <a:lnTo>
                        <a:pt x="353" y="1361"/>
                      </a:lnTo>
                      <a:lnTo>
                        <a:pt x="353" y="1361"/>
                      </a:lnTo>
                      <a:lnTo>
                        <a:pt x="353" y="1361"/>
                      </a:lnTo>
                      <a:lnTo>
                        <a:pt x="355" y="1359"/>
                      </a:lnTo>
                      <a:lnTo>
                        <a:pt x="355" y="1359"/>
                      </a:lnTo>
                      <a:lnTo>
                        <a:pt x="355" y="1358"/>
                      </a:lnTo>
                      <a:lnTo>
                        <a:pt x="355" y="1359"/>
                      </a:lnTo>
                      <a:lnTo>
                        <a:pt x="354" y="1359"/>
                      </a:lnTo>
                      <a:lnTo>
                        <a:pt x="354" y="1360"/>
                      </a:lnTo>
                      <a:lnTo>
                        <a:pt x="353" y="1360"/>
                      </a:lnTo>
                      <a:lnTo>
                        <a:pt x="352" y="1360"/>
                      </a:lnTo>
                      <a:lnTo>
                        <a:pt x="352" y="1359"/>
                      </a:lnTo>
                      <a:lnTo>
                        <a:pt x="352" y="1358"/>
                      </a:lnTo>
                      <a:lnTo>
                        <a:pt x="351" y="1358"/>
                      </a:lnTo>
                      <a:lnTo>
                        <a:pt x="351" y="1357"/>
                      </a:lnTo>
                      <a:lnTo>
                        <a:pt x="351" y="1357"/>
                      </a:lnTo>
                      <a:lnTo>
                        <a:pt x="351" y="1356"/>
                      </a:lnTo>
                      <a:lnTo>
                        <a:pt x="352" y="1356"/>
                      </a:lnTo>
                      <a:lnTo>
                        <a:pt x="353" y="1357"/>
                      </a:lnTo>
                      <a:lnTo>
                        <a:pt x="353" y="1357"/>
                      </a:lnTo>
                      <a:lnTo>
                        <a:pt x="354" y="1356"/>
                      </a:lnTo>
                      <a:lnTo>
                        <a:pt x="355" y="1356"/>
                      </a:lnTo>
                      <a:lnTo>
                        <a:pt x="356" y="1356"/>
                      </a:lnTo>
                      <a:lnTo>
                        <a:pt x="356" y="1355"/>
                      </a:lnTo>
                      <a:lnTo>
                        <a:pt x="355" y="1355"/>
                      </a:lnTo>
                      <a:lnTo>
                        <a:pt x="356" y="1355"/>
                      </a:lnTo>
                      <a:lnTo>
                        <a:pt x="355" y="1354"/>
                      </a:lnTo>
                      <a:lnTo>
                        <a:pt x="355" y="1354"/>
                      </a:lnTo>
                      <a:lnTo>
                        <a:pt x="355" y="1353"/>
                      </a:lnTo>
                      <a:lnTo>
                        <a:pt x="354" y="1352"/>
                      </a:lnTo>
                      <a:lnTo>
                        <a:pt x="354" y="1351"/>
                      </a:lnTo>
                      <a:lnTo>
                        <a:pt x="354" y="1351"/>
                      </a:lnTo>
                      <a:lnTo>
                        <a:pt x="354" y="1350"/>
                      </a:lnTo>
                      <a:lnTo>
                        <a:pt x="354" y="1350"/>
                      </a:lnTo>
                      <a:lnTo>
                        <a:pt x="355" y="1349"/>
                      </a:lnTo>
                      <a:lnTo>
                        <a:pt x="354" y="1348"/>
                      </a:lnTo>
                      <a:lnTo>
                        <a:pt x="354" y="1348"/>
                      </a:lnTo>
                      <a:lnTo>
                        <a:pt x="354" y="1348"/>
                      </a:lnTo>
                      <a:lnTo>
                        <a:pt x="353" y="1347"/>
                      </a:lnTo>
                      <a:lnTo>
                        <a:pt x="354" y="1347"/>
                      </a:lnTo>
                      <a:lnTo>
                        <a:pt x="354" y="1346"/>
                      </a:lnTo>
                      <a:lnTo>
                        <a:pt x="354" y="1345"/>
                      </a:lnTo>
                      <a:lnTo>
                        <a:pt x="355" y="1345"/>
                      </a:lnTo>
                      <a:lnTo>
                        <a:pt x="355" y="1344"/>
                      </a:lnTo>
                      <a:lnTo>
                        <a:pt x="355" y="1344"/>
                      </a:lnTo>
                      <a:lnTo>
                        <a:pt x="357" y="1344"/>
                      </a:lnTo>
                      <a:lnTo>
                        <a:pt x="357" y="1345"/>
                      </a:lnTo>
                      <a:lnTo>
                        <a:pt x="358" y="1346"/>
                      </a:lnTo>
                      <a:lnTo>
                        <a:pt x="358" y="1346"/>
                      </a:lnTo>
                      <a:lnTo>
                        <a:pt x="358" y="1346"/>
                      </a:lnTo>
                      <a:lnTo>
                        <a:pt x="359" y="1346"/>
                      </a:lnTo>
                      <a:lnTo>
                        <a:pt x="358" y="1345"/>
                      </a:lnTo>
                      <a:lnTo>
                        <a:pt x="359" y="1344"/>
                      </a:lnTo>
                      <a:lnTo>
                        <a:pt x="358" y="1343"/>
                      </a:lnTo>
                      <a:lnTo>
                        <a:pt x="357" y="1343"/>
                      </a:lnTo>
                      <a:lnTo>
                        <a:pt x="357" y="1343"/>
                      </a:lnTo>
                      <a:lnTo>
                        <a:pt x="357" y="1342"/>
                      </a:lnTo>
                      <a:lnTo>
                        <a:pt x="357" y="1341"/>
                      </a:lnTo>
                      <a:lnTo>
                        <a:pt x="359" y="1342"/>
                      </a:lnTo>
                      <a:lnTo>
                        <a:pt x="359" y="1341"/>
                      </a:lnTo>
                      <a:lnTo>
                        <a:pt x="361" y="1341"/>
                      </a:lnTo>
                      <a:lnTo>
                        <a:pt x="361" y="1342"/>
                      </a:lnTo>
                      <a:lnTo>
                        <a:pt x="361" y="1343"/>
                      </a:lnTo>
                      <a:lnTo>
                        <a:pt x="362" y="1344"/>
                      </a:lnTo>
                      <a:lnTo>
                        <a:pt x="361" y="1345"/>
                      </a:lnTo>
                      <a:lnTo>
                        <a:pt x="362" y="1347"/>
                      </a:lnTo>
                      <a:lnTo>
                        <a:pt x="362" y="1347"/>
                      </a:lnTo>
                      <a:lnTo>
                        <a:pt x="362" y="1347"/>
                      </a:lnTo>
                      <a:lnTo>
                        <a:pt x="362" y="1348"/>
                      </a:lnTo>
                      <a:lnTo>
                        <a:pt x="362" y="1349"/>
                      </a:lnTo>
                      <a:lnTo>
                        <a:pt x="361" y="1349"/>
                      </a:lnTo>
                      <a:lnTo>
                        <a:pt x="361" y="1350"/>
                      </a:lnTo>
                      <a:lnTo>
                        <a:pt x="362" y="1350"/>
                      </a:lnTo>
                      <a:lnTo>
                        <a:pt x="362" y="1350"/>
                      </a:lnTo>
                      <a:lnTo>
                        <a:pt x="361" y="1351"/>
                      </a:lnTo>
                      <a:lnTo>
                        <a:pt x="361" y="1351"/>
                      </a:lnTo>
                      <a:lnTo>
                        <a:pt x="361" y="1351"/>
                      </a:lnTo>
                      <a:lnTo>
                        <a:pt x="361" y="1353"/>
                      </a:lnTo>
                      <a:lnTo>
                        <a:pt x="361" y="1353"/>
                      </a:lnTo>
                      <a:lnTo>
                        <a:pt x="361" y="1354"/>
                      </a:lnTo>
                      <a:lnTo>
                        <a:pt x="361" y="1354"/>
                      </a:lnTo>
                      <a:lnTo>
                        <a:pt x="359" y="1354"/>
                      </a:lnTo>
                      <a:lnTo>
                        <a:pt x="359" y="1355"/>
                      </a:lnTo>
                      <a:lnTo>
                        <a:pt x="359" y="1356"/>
                      </a:lnTo>
                      <a:lnTo>
                        <a:pt x="359" y="1356"/>
                      </a:lnTo>
                      <a:lnTo>
                        <a:pt x="359" y="1357"/>
                      </a:lnTo>
                      <a:lnTo>
                        <a:pt x="359" y="1358"/>
                      </a:lnTo>
                      <a:lnTo>
                        <a:pt x="359" y="1358"/>
                      </a:lnTo>
                      <a:lnTo>
                        <a:pt x="359" y="1359"/>
                      </a:lnTo>
                      <a:lnTo>
                        <a:pt x="358" y="1359"/>
                      </a:lnTo>
                      <a:lnTo>
                        <a:pt x="358" y="1360"/>
                      </a:lnTo>
                      <a:lnTo>
                        <a:pt x="358" y="1361"/>
                      </a:lnTo>
                      <a:lnTo>
                        <a:pt x="357" y="1362"/>
                      </a:lnTo>
                      <a:lnTo>
                        <a:pt x="357" y="1362"/>
                      </a:lnTo>
                      <a:lnTo>
                        <a:pt x="357" y="1362"/>
                      </a:lnTo>
                      <a:lnTo>
                        <a:pt x="358" y="1363"/>
                      </a:lnTo>
                      <a:lnTo>
                        <a:pt x="358" y="1364"/>
                      </a:lnTo>
                      <a:lnTo>
                        <a:pt x="357" y="1364"/>
                      </a:lnTo>
                      <a:lnTo>
                        <a:pt x="357" y="1365"/>
                      </a:lnTo>
                      <a:lnTo>
                        <a:pt x="357" y="1365"/>
                      </a:lnTo>
                      <a:lnTo>
                        <a:pt x="357" y="1365"/>
                      </a:lnTo>
                      <a:lnTo>
                        <a:pt x="358" y="1366"/>
                      </a:lnTo>
                      <a:lnTo>
                        <a:pt x="358" y="1366"/>
                      </a:lnTo>
                      <a:lnTo>
                        <a:pt x="357" y="1366"/>
                      </a:lnTo>
                      <a:lnTo>
                        <a:pt x="357" y="1367"/>
                      </a:lnTo>
                      <a:lnTo>
                        <a:pt x="357" y="1367"/>
                      </a:lnTo>
                      <a:lnTo>
                        <a:pt x="357" y="1368"/>
                      </a:lnTo>
                      <a:lnTo>
                        <a:pt x="355" y="1368"/>
                      </a:lnTo>
                      <a:lnTo>
                        <a:pt x="355" y="1368"/>
                      </a:lnTo>
                      <a:close/>
                      <a:moveTo>
                        <a:pt x="110" y="1326"/>
                      </a:moveTo>
                      <a:lnTo>
                        <a:pt x="110" y="1326"/>
                      </a:lnTo>
                      <a:lnTo>
                        <a:pt x="112" y="1326"/>
                      </a:lnTo>
                      <a:lnTo>
                        <a:pt x="112" y="1327"/>
                      </a:lnTo>
                      <a:lnTo>
                        <a:pt x="113" y="1327"/>
                      </a:lnTo>
                      <a:lnTo>
                        <a:pt x="113" y="1328"/>
                      </a:lnTo>
                      <a:lnTo>
                        <a:pt x="113" y="1328"/>
                      </a:lnTo>
                      <a:lnTo>
                        <a:pt x="112" y="1328"/>
                      </a:lnTo>
                      <a:lnTo>
                        <a:pt x="113" y="1329"/>
                      </a:lnTo>
                      <a:lnTo>
                        <a:pt x="113" y="1329"/>
                      </a:lnTo>
                      <a:lnTo>
                        <a:pt x="112" y="1329"/>
                      </a:lnTo>
                      <a:lnTo>
                        <a:pt x="111" y="1329"/>
                      </a:lnTo>
                      <a:lnTo>
                        <a:pt x="111" y="1328"/>
                      </a:lnTo>
                      <a:lnTo>
                        <a:pt x="110" y="1328"/>
                      </a:lnTo>
                      <a:lnTo>
                        <a:pt x="110" y="1328"/>
                      </a:lnTo>
                      <a:lnTo>
                        <a:pt x="110" y="1328"/>
                      </a:lnTo>
                      <a:lnTo>
                        <a:pt x="108" y="1328"/>
                      </a:lnTo>
                      <a:lnTo>
                        <a:pt x="108" y="1327"/>
                      </a:lnTo>
                      <a:lnTo>
                        <a:pt x="109" y="1327"/>
                      </a:lnTo>
                      <a:lnTo>
                        <a:pt x="109" y="1327"/>
                      </a:lnTo>
                      <a:lnTo>
                        <a:pt x="109" y="1326"/>
                      </a:lnTo>
                      <a:lnTo>
                        <a:pt x="109" y="1326"/>
                      </a:lnTo>
                      <a:lnTo>
                        <a:pt x="109" y="1326"/>
                      </a:lnTo>
                      <a:lnTo>
                        <a:pt x="110" y="1326"/>
                      </a:lnTo>
                      <a:close/>
                      <a:moveTo>
                        <a:pt x="58" y="1308"/>
                      </a:moveTo>
                      <a:lnTo>
                        <a:pt x="60" y="1308"/>
                      </a:lnTo>
                      <a:lnTo>
                        <a:pt x="60" y="1309"/>
                      </a:lnTo>
                      <a:lnTo>
                        <a:pt x="62" y="1308"/>
                      </a:lnTo>
                      <a:lnTo>
                        <a:pt x="62" y="1308"/>
                      </a:lnTo>
                      <a:lnTo>
                        <a:pt x="63" y="1308"/>
                      </a:lnTo>
                      <a:lnTo>
                        <a:pt x="62" y="1309"/>
                      </a:lnTo>
                      <a:lnTo>
                        <a:pt x="62" y="1309"/>
                      </a:lnTo>
                      <a:lnTo>
                        <a:pt x="60" y="1310"/>
                      </a:lnTo>
                      <a:lnTo>
                        <a:pt x="60" y="1310"/>
                      </a:lnTo>
                      <a:lnTo>
                        <a:pt x="59" y="1311"/>
                      </a:lnTo>
                      <a:lnTo>
                        <a:pt x="58" y="1311"/>
                      </a:lnTo>
                      <a:lnTo>
                        <a:pt x="58" y="1313"/>
                      </a:lnTo>
                      <a:lnTo>
                        <a:pt x="58" y="1313"/>
                      </a:lnTo>
                      <a:lnTo>
                        <a:pt x="58" y="1314"/>
                      </a:lnTo>
                      <a:lnTo>
                        <a:pt x="58" y="1314"/>
                      </a:lnTo>
                      <a:lnTo>
                        <a:pt x="57" y="1314"/>
                      </a:lnTo>
                      <a:lnTo>
                        <a:pt x="57" y="1313"/>
                      </a:lnTo>
                      <a:lnTo>
                        <a:pt x="57" y="1313"/>
                      </a:lnTo>
                      <a:lnTo>
                        <a:pt x="57" y="1313"/>
                      </a:lnTo>
                      <a:lnTo>
                        <a:pt x="57" y="1312"/>
                      </a:lnTo>
                      <a:lnTo>
                        <a:pt x="57" y="1312"/>
                      </a:lnTo>
                      <a:lnTo>
                        <a:pt x="55" y="1312"/>
                      </a:lnTo>
                      <a:lnTo>
                        <a:pt x="55" y="1313"/>
                      </a:lnTo>
                      <a:lnTo>
                        <a:pt x="54" y="1313"/>
                      </a:lnTo>
                      <a:lnTo>
                        <a:pt x="53" y="1313"/>
                      </a:lnTo>
                      <a:lnTo>
                        <a:pt x="53" y="1313"/>
                      </a:lnTo>
                      <a:lnTo>
                        <a:pt x="53" y="1313"/>
                      </a:lnTo>
                      <a:lnTo>
                        <a:pt x="53" y="1313"/>
                      </a:lnTo>
                      <a:lnTo>
                        <a:pt x="53" y="1313"/>
                      </a:lnTo>
                      <a:lnTo>
                        <a:pt x="52" y="1313"/>
                      </a:lnTo>
                      <a:lnTo>
                        <a:pt x="52" y="1313"/>
                      </a:lnTo>
                      <a:lnTo>
                        <a:pt x="51" y="1313"/>
                      </a:lnTo>
                      <a:lnTo>
                        <a:pt x="51" y="1312"/>
                      </a:lnTo>
                      <a:lnTo>
                        <a:pt x="51" y="1312"/>
                      </a:lnTo>
                      <a:lnTo>
                        <a:pt x="50" y="1313"/>
                      </a:lnTo>
                      <a:lnTo>
                        <a:pt x="50" y="1313"/>
                      </a:lnTo>
                      <a:lnTo>
                        <a:pt x="49" y="1313"/>
                      </a:lnTo>
                      <a:lnTo>
                        <a:pt x="49" y="1312"/>
                      </a:lnTo>
                      <a:lnTo>
                        <a:pt x="48" y="1311"/>
                      </a:lnTo>
                      <a:lnTo>
                        <a:pt x="48" y="1310"/>
                      </a:lnTo>
                      <a:lnTo>
                        <a:pt x="49" y="1311"/>
                      </a:lnTo>
                      <a:lnTo>
                        <a:pt x="49" y="1311"/>
                      </a:lnTo>
                      <a:lnTo>
                        <a:pt x="50" y="1311"/>
                      </a:lnTo>
                      <a:lnTo>
                        <a:pt x="50" y="1311"/>
                      </a:lnTo>
                      <a:lnTo>
                        <a:pt x="50" y="1311"/>
                      </a:lnTo>
                      <a:lnTo>
                        <a:pt x="50" y="1311"/>
                      </a:lnTo>
                      <a:lnTo>
                        <a:pt x="52" y="1311"/>
                      </a:lnTo>
                      <a:lnTo>
                        <a:pt x="53" y="1310"/>
                      </a:lnTo>
                      <a:lnTo>
                        <a:pt x="54" y="1310"/>
                      </a:lnTo>
                      <a:lnTo>
                        <a:pt x="54" y="1309"/>
                      </a:lnTo>
                      <a:lnTo>
                        <a:pt x="53" y="1309"/>
                      </a:lnTo>
                      <a:lnTo>
                        <a:pt x="53" y="1308"/>
                      </a:lnTo>
                      <a:lnTo>
                        <a:pt x="53" y="1308"/>
                      </a:lnTo>
                      <a:lnTo>
                        <a:pt x="54" y="1308"/>
                      </a:lnTo>
                      <a:lnTo>
                        <a:pt x="54" y="1309"/>
                      </a:lnTo>
                      <a:lnTo>
                        <a:pt x="55" y="1308"/>
                      </a:lnTo>
                      <a:lnTo>
                        <a:pt x="54" y="1309"/>
                      </a:lnTo>
                      <a:lnTo>
                        <a:pt x="54" y="1310"/>
                      </a:lnTo>
                      <a:lnTo>
                        <a:pt x="55" y="1310"/>
                      </a:lnTo>
                      <a:lnTo>
                        <a:pt x="55" y="1309"/>
                      </a:lnTo>
                      <a:lnTo>
                        <a:pt x="56" y="1309"/>
                      </a:lnTo>
                      <a:lnTo>
                        <a:pt x="57" y="1309"/>
                      </a:lnTo>
                      <a:lnTo>
                        <a:pt x="57" y="1308"/>
                      </a:lnTo>
                      <a:lnTo>
                        <a:pt x="57" y="1308"/>
                      </a:lnTo>
                      <a:lnTo>
                        <a:pt x="58" y="1308"/>
                      </a:lnTo>
                      <a:lnTo>
                        <a:pt x="58" y="1308"/>
                      </a:lnTo>
                      <a:close/>
                      <a:moveTo>
                        <a:pt x="101" y="1296"/>
                      </a:moveTo>
                      <a:lnTo>
                        <a:pt x="101" y="1296"/>
                      </a:lnTo>
                      <a:lnTo>
                        <a:pt x="102" y="1297"/>
                      </a:lnTo>
                      <a:lnTo>
                        <a:pt x="103" y="1298"/>
                      </a:lnTo>
                      <a:lnTo>
                        <a:pt x="102" y="1298"/>
                      </a:lnTo>
                      <a:lnTo>
                        <a:pt x="101" y="1298"/>
                      </a:lnTo>
                      <a:lnTo>
                        <a:pt x="101" y="1298"/>
                      </a:lnTo>
                      <a:lnTo>
                        <a:pt x="101" y="1299"/>
                      </a:lnTo>
                      <a:lnTo>
                        <a:pt x="101" y="1299"/>
                      </a:lnTo>
                      <a:lnTo>
                        <a:pt x="102" y="1300"/>
                      </a:lnTo>
                      <a:lnTo>
                        <a:pt x="103" y="1299"/>
                      </a:lnTo>
                      <a:lnTo>
                        <a:pt x="103" y="1300"/>
                      </a:lnTo>
                      <a:lnTo>
                        <a:pt x="104" y="1300"/>
                      </a:lnTo>
                      <a:lnTo>
                        <a:pt x="105" y="1301"/>
                      </a:lnTo>
                      <a:lnTo>
                        <a:pt x="105" y="1301"/>
                      </a:lnTo>
                      <a:lnTo>
                        <a:pt x="105" y="1301"/>
                      </a:lnTo>
                      <a:lnTo>
                        <a:pt x="106" y="1301"/>
                      </a:lnTo>
                      <a:lnTo>
                        <a:pt x="106" y="1301"/>
                      </a:lnTo>
                      <a:lnTo>
                        <a:pt x="107" y="1303"/>
                      </a:lnTo>
                      <a:lnTo>
                        <a:pt x="107" y="1303"/>
                      </a:lnTo>
                      <a:lnTo>
                        <a:pt x="107" y="1303"/>
                      </a:lnTo>
                      <a:lnTo>
                        <a:pt x="106" y="1304"/>
                      </a:lnTo>
                      <a:lnTo>
                        <a:pt x="106" y="1304"/>
                      </a:lnTo>
                      <a:lnTo>
                        <a:pt x="107" y="1304"/>
                      </a:lnTo>
                      <a:lnTo>
                        <a:pt x="107" y="1304"/>
                      </a:lnTo>
                      <a:lnTo>
                        <a:pt x="108" y="1304"/>
                      </a:lnTo>
                      <a:lnTo>
                        <a:pt x="108" y="1304"/>
                      </a:lnTo>
                      <a:lnTo>
                        <a:pt x="107" y="1305"/>
                      </a:lnTo>
                      <a:lnTo>
                        <a:pt x="107" y="1305"/>
                      </a:lnTo>
                      <a:lnTo>
                        <a:pt x="108" y="1305"/>
                      </a:lnTo>
                      <a:lnTo>
                        <a:pt x="108" y="1305"/>
                      </a:lnTo>
                      <a:lnTo>
                        <a:pt x="108" y="1305"/>
                      </a:lnTo>
                      <a:lnTo>
                        <a:pt x="109" y="1305"/>
                      </a:lnTo>
                      <a:lnTo>
                        <a:pt x="109" y="1305"/>
                      </a:lnTo>
                      <a:lnTo>
                        <a:pt x="109" y="1306"/>
                      </a:lnTo>
                      <a:lnTo>
                        <a:pt x="109" y="1306"/>
                      </a:lnTo>
                      <a:lnTo>
                        <a:pt x="108" y="1306"/>
                      </a:lnTo>
                      <a:lnTo>
                        <a:pt x="108" y="1307"/>
                      </a:lnTo>
                      <a:lnTo>
                        <a:pt x="108" y="1307"/>
                      </a:lnTo>
                      <a:lnTo>
                        <a:pt x="108" y="1308"/>
                      </a:lnTo>
                      <a:lnTo>
                        <a:pt x="108" y="1308"/>
                      </a:lnTo>
                      <a:lnTo>
                        <a:pt x="108" y="1309"/>
                      </a:lnTo>
                      <a:lnTo>
                        <a:pt x="108" y="1309"/>
                      </a:lnTo>
                      <a:lnTo>
                        <a:pt x="108" y="1309"/>
                      </a:lnTo>
                      <a:lnTo>
                        <a:pt x="109" y="1309"/>
                      </a:lnTo>
                      <a:lnTo>
                        <a:pt x="109" y="1309"/>
                      </a:lnTo>
                      <a:lnTo>
                        <a:pt x="109" y="1310"/>
                      </a:lnTo>
                      <a:lnTo>
                        <a:pt x="108" y="1310"/>
                      </a:lnTo>
                      <a:lnTo>
                        <a:pt x="108" y="1310"/>
                      </a:lnTo>
                      <a:lnTo>
                        <a:pt x="107" y="1311"/>
                      </a:lnTo>
                      <a:lnTo>
                        <a:pt x="106" y="1311"/>
                      </a:lnTo>
                      <a:lnTo>
                        <a:pt x="107" y="1311"/>
                      </a:lnTo>
                      <a:lnTo>
                        <a:pt x="108" y="1311"/>
                      </a:lnTo>
                      <a:lnTo>
                        <a:pt x="108" y="1312"/>
                      </a:lnTo>
                      <a:lnTo>
                        <a:pt x="108" y="1312"/>
                      </a:lnTo>
                      <a:lnTo>
                        <a:pt x="107" y="1312"/>
                      </a:lnTo>
                      <a:lnTo>
                        <a:pt x="107" y="1312"/>
                      </a:lnTo>
                      <a:lnTo>
                        <a:pt x="108" y="1313"/>
                      </a:lnTo>
                      <a:lnTo>
                        <a:pt x="107" y="1313"/>
                      </a:lnTo>
                      <a:lnTo>
                        <a:pt x="107" y="1313"/>
                      </a:lnTo>
                      <a:lnTo>
                        <a:pt x="106" y="1313"/>
                      </a:lnTo>
                      <a:lnTo>
                        <a:pt x="106" y="1314"/>
                      </a:lnTo>
                      <a:lnTo>
                        <a:pt x="106" y="1314"/>
                      </a:lnTo>
                      <a:lnTo>
                        <a:pt x="107" y="1314"/>
                      </a:lnTo>
                      <a:lnTo>
                        <a:pt x="107" y="1314"/>
                      </a:lnTo>
                      <a:lnTo>
                        <a:pt x="109" y="1314"/>
                      </a:lnTo>
                      <a:lnTo>
                        <a:pt x="109" y="1314"/>
                      </a:lnTo>
                      <a:lnTo>
                        <a:pt x="109" y="1315"/>
                      </a:lnTo>
                      <a:lnTo>
                        <a:pt x="110" y="1314"/>
                      </a:lnTo>
                      <a:lnTo>
                        <a:pt x="110" y="1314"/>
                      </a:lnTo>
                      <a:lnTo>
                        <a:pt x="110" y="1315"/>
                      </a:lnTo>
                      <a:lnTo>
                        <a:pt x="110" y="1315"/>
                      </a:lnTo>
                      <a:lnTo>
                        <a:pt x="110" y="1315"/>
                      </a:lnTo>
                      <a:lnTo>
                        <a:pt x="110" y="1316"/>
                      </a:lnTo>
                      <a:lnTo>
                        <a:pt x="110" y="1316"/>
                      </a:lnTo>
                      <a:lnTo>
                        <a:pt x="110" y="1315"/>
                      </a:lnTo>
                      <a:lnTo>
                        <a:pt x="111" y="1315"/>
                      </a:lnTo>
                      <a:lnTo>
                        <a:pt x="111" y="1315"/>
                      </a:lnTo>
                      <a:lnTo>
                        <a:pt x="111" y="1315"/>
                      </a:lnTo>
                      <a:lnTo>
                        <a:pt x="111" y="1314"/>
                      </a:lnTo>
                      <a:lnTo>
                        <a:pt x="110" y="1314"/>
                      </a:lnTo>
                      <a:lnTo>
                        <a:pt x="110" y="1314"/>
                      </a:lnTo>
                      <a:lnTo>
                        <a:pt x="110" y="1314"/>
                      </a:lnTo>
                      <a:lnTo>
                        <a:pt x="111" y="1313"/>
                      </a:lnTo>
                      <a:lnTo>
                        <a:pt x="112" y="1312"/>
                      </a:lnTo>
                      <a:lnTo>
                        <a:pt x="112" y="1312"/>
                      </a:lnTo>
                      <a:lnTo>
                        <a:pt x="112" y="1311"/>
                      </a:lnTo>
                      <a:lnTo>
                        <a:pt x="112" y="1311"/>
                      </a:lnTo>
                      <a:lnTo>
                        <a:pt x="113" y="1311"/>
                      </a:lnTo>
                      <a:lnTo>
                        <a:pt x="114" y="1310"/>
                      </a:lnTo>
                      <a:lnTo>
                        <a:pt x="114" y="1310"/>
                      </a:lnTo>
                      <a:lnTo>
                        <a:pt x="115" y="1310"/>
                      </a:lnTo>
                      <a:lnTo>
                        <a:pt x="115" y="1311"/>
                      </a:lnTo>
                      <a:lnTo>
                        <a:pt x="115" y="1312"/>
                      </a:lnTo>
                      <a:lnTo>
                        <a:pt x="114" y="1312"/>
                      </a:lnTo>
                      <a:lnTo>
                        <a:pt x="114" y="1312"/>
                      </a:lnTo>
                      <a:lnTo>
                        <a:pt x="114" y="1312"/>
                      </a:lnTo>
                      <a:lnTo>
                        <a:pt x="114" y="1313"/>
                      </a:lnTo>
                      <a:lnTo>
                        <a:pt x="115" y="1313"/>
                      </a:lnTo>
                      <a:lnTo>
                        <a:pt x="115" y="1314"/>
                      </a:lnTo>
                      <a:lnTo>
                        <a:pt x="114" y="1314"/>
                      </a:lnTo>
                      <a:lnTo>
                        <a:pt x="114" y="1314"/>
                      </a:lnTo>
                      <a:lnTo>
                        <a:pt x="113" y="1314"/>
                      </a:lnTo>
                      <a:lnTo>
                        <a:pt x="113" y="1315"/>
                      </a:lnTo>
                      <a:lnTo>
                        <a:pt x="113" y="1315"/>
                      </a:lnTo>
                      <a:lnTo>
                        <a:pt x="113" y="1315"/>
                      </a:lnTo>
                      <a:lnTo>
                        <a:pt x="113" y="1315"/>
                      </a:lnTo>
                      <a:lnTo>
                        <a:pt x="114" y="1315"/>
                      </a:lnTo>
                      <a:lnTo>
                        <a:pt x="114" y="1315"/>
                      </a:lnTo>
                      <a:lnTo>
                        <a:pt x="113" y="1316"/>
                      </a:lnTo>
                      <a:lnTo>
                        <a:pt x="112" y="1316"/>
                      </a:lnTo>
                      <a:lnTo>
                        <a:pt x="112" y="1317"/>
                      </a:lnTo>
                      <a:lnTo>
                        <a:pt x="113" y="1317"/>
                      </a:lnTo>
                      <a:lnTo>
                        <a:pt x="112" y="1318"/>
                      </a:lnTo>
                      <a:lnTo>
                        <a:pt x="113" y="1318"/>
                      </a:lnTo>
                      <a:lnTo>
                        <a:pt x="114" y="1318"/>
                      </a:lnTo>
                      <a:lnTo>
                        <a:pt x="114" y="1318"/>
                      </a:lnTo>
                      <a:lnTo>
                        <a:pt x="115" y="1317"/>
                      </a:lnTo>
                      <a:lnTo>
                        <a:pt x="115" y="1317"/>
                      </a:lnTo>
                      <a:lnTo>
                        <a:pt x="115" y="1317"/>
                      </a:lnTo>
                      <a:lnTo>
                        <a:pt x="115" y="1317"/>
                      </a:lnTo>
                      <a:lnTo>
                        <a:pt x="114" y="1317"/>
                      </a:lnTo>
                      <a:lnTo>
                        <a:pt x="114" y="1316"/>
                      </a:lnTo>
                      <a:lnTo>
                        <a:pt x="114" y="1316"/>
                      </a:lnTo>
                      <a:lnTo>
                        <a:pt x="116" y="1315"/>
                      </a:lnTo>
                      <a:lnTo>
                        <a:pt x="116" y="1316"/>
                      </a:lnTo>
                      <a:lnTo>
                        <a:pt x="116" y="1316"/>
                      </a:lnTo>
                      <a:lnTo>
                        <a:pt x="118" y="1316"/>
                      </a:lnTo>
                      <a:lnTo>
                        <a:pt x="118" y="1316"/>
                      </a:lnTo>
                      <a:lnTo>
                        <a:pt x="117" y="1316"/>
                      </a:lnTo>
                      <a:lnTo>
                        <a:pt x="117" y="1315"/>
                      </a:lnTo>
                      <a:lnTo>
                        <a:pt x="119" y="1315"/>
                      </a:lnTo>
                      <a:lnTo>
                        <a:pt x="120" y="1316"/>
                      </a:lnTo>
                      <a:lnTo>
                        <a:pt x="119" y="1315"/>
                      </a:lnTo>
                      <a:lnTo>
                        <a:pt x="119" y="1315"/>
                      </a:lnTo>
                      <a:lnTo>
                        <a:pt x="119" y="1315"/>
                      </a:lnTo>
                      <a:lnTo>
                        <a:pt x="119" y="1315"/>
                      </a:lnTo>
                      <a:lnTo>
                        <a:pt x="119" y="1314"/>
                      </a:lnTo>
                      <a:lnTo>
                        <a:pt x="117" y="1314"/>
                      </a:lnTo>
                      <a:lnTo>
                        <a:pt x="117" y="1314"/>
                      </a:lnTo>
                      <a:lnTo>
                        <a:pt x="116" y="1313"/>
                      </a:lnTo>
                      <a:lnTo>
                        <a:pt x="115" y="1312"/>
                      </a:lnTo>
                      <a:lnTo>
                        <a:pt x="115" y="1312"/>
                      </a:lnTo>
                      <a:lnTo>
                        <a:pt x="116" y="1311"/>
                      </a:lnTo>
                      <a:lnTo>
                        <a:pt x="116" y="1310"/>
                      </a:lnTo>
                      <a:lnTo>
                        <a:pt x="117" y="1310"/>
                      </a:lnTo>
                      <a:lnTo>
                        <a:pt x="117" y="1311"/>
                      </a:lnTo>
                      <a:lnTo>
                        <a:pt x="118" y="1311"/>
                      </a:lnTo>
                      <a:lnTo>
                        <a:pt x="119" y="1312"/>
                      </a:lnTo>
                      <a:lnTo>
                        <a:pt x="120" y="1312"/>
                      </a:lnTo>
                      <a:lnTo>
                        <a:pt x="120" y="1312"/>
                      </a:lnTo>
                      <a:lnTo>
                        <a:pt x="120" y="1312"/>
                      </a:lnTo>
                      <a:lnTo>
                        <a:pt x="120" y="1311"/>
                      </a:lnTo>
                      <a:lnTo>
                        <a:pt x="119" y="1310"/>
                      </a:lnTo>
                      <a:lnTo>
                        <a:pt x="121" y="1309"/>
                      </a:lnTo>
                      <a:lnTo>
                        <a:pt x="121" y="1309"/>
                      </a:lnTo>
                      <a:lnTo>
                        <a:pt x="122" y="1310"/>
                      </a:lnTo>
                      <a:lnTo>
                        <a:pt x="122" y="1310"/>
                      </a:lnTo>
                      <a:lnTo>
                        <a:pt x="123" y="1311"/>
                      </a:lnTo>
                      <a:lnTo>
                        <a:pt x="123" y="1311"/>
                      </a:lnTo>
                      <a:lnTo>
                        <a:pt x="122" y="1312"/>
                      </a:lnTo>
                      <a:lnTo>
                        <a:pt x="121" y="1312"/>
                      </a:lnTo>
                      <a:lnTo>
                        <a:pt x="121" y="1313"/>
                      </a:lnTo>
                      <a:lnTo>
                        <a:pt x="121" y="1313"/>
                      </a:lnTo>
                      <a:lnTo>
                        <a:pt x="121" y="1313"/>
                      </a:lnTo>
                      <a:lnTo>
                        <a:pt x="120" y="1313"/>
                      </a:lnTo>
                      <a:lnTo>
                        <a:pt x="120" y="1314"/>
                      </a:lnTo>
                      <a:lnTo>
                        <a:pt x="121" y="1314"/>
                      </a:lnTo>
                      <a:lnTo>
                        <a:pt x="121" y="1314"/>
                      </a:lnTo>
                      <a:lnTo>
                        <a:pt x="121" y="1315"/>
                      </a:lnTo>
                      <a:lnTo>
                        <a:pt x="122" y="1315"/>
                      </a:lnTo>
                      <a:lnTo>
                        <a:pt x="122" y="1315"/>
                      </a:lnTo>
                      <a:lnTo>
                        <a:pt x="124" y="1316"/>
                      </a:lnTo>
                      <a:lnTo>
                        <a:pt x="124" y="1316"/>
                      </a:lnTo>
                      <a:lnTo>
                        <a:pt x="124" y="1316"/>
                      </a:lnTo>
                      <a:lnTo>
                        <a:pt x="124" y="1317"/>
                      </a:lnTo>
                      <a:lnTo>
                        <a:pt x="125" y="1317"/>
                      </a:lnTo>
                      <a:lnTo>
                        <a:pt x="125" y="1316"/>
                      </a:lnTo>
                      <a:lnTo>
                        <a:pt x="125" y="1316"/>
                      </a:lnTo>
                      <a:lnTo>
                        <a:pt x="126" y="1316"/>
                      </a:lnTo>
                      <a:lnTo>
                        <a:pt x="125" y="1316"/>
                      </a:lnTo>
                      <a:lnTo>
                        <a:pt x="126" y="1317"/>
                      </a:lnTo>
                      <a:lnTo>
                        <a:pt x="126" y="1317"/>
                      </a:lnTo>
                      <a:lnTo>
                        <a:pt x="126" y="1317"/>
                      </a:lnTo>
                      <a:lnTo>
                        <a:pt x="126" y="1317"/>
                      </a:lnTo>
                      <a:lnTo>
                        <a:pt x="127" y="1317"/>
                      </a:lnTo>
                      <a:lnTo>
                        <a:pt x="127" y="1318"/>
                      </a:lnTo>
                      <a:lnTo>
                        <a:pt x="127" y="1318"/>
                      </a:lnTo>
                      <a:lnTo>
                        <a:pt x="127" y="1318"/>
                      </a:lnTo>
                      <a:lnTo>
                        <a:pt x="128" y="1318"/>
                      </a:lnTo>
                      <a:lnTo>
                        <a:pt x="128" y="1319"/>
                      </a:lnTo>
                      <a:lnTo>
                        <a:pt x="128" y="1319"/>
                      </a:lnTo>
                      <a:lnTo>
                        <a:pt x="128" y="1320"/>
                      </a:lnTo>
                      <a:lnTo>
                        <a:pt x="127" y="1320"/>
                      </a:lnTo>
                      <a:lnTo>
                        <a:pt x="127" y="1320"/>
                      </a:lnTo>
                      <a:lnTo>
                        <a:pt x="127" y="1320"/>
                      </a:lnTo>
                      <a:lnTo>
                        <a:pt x="126" y="1321"/>
                      </a:lnTo>
                      <a:lnTo>
                        <a:pt x="127" y="1322"/>
                      </a:lnTo>
                      <a:lnTo>
                        <a:pt x="126" y="1322"/>
                      </a:lnTo>
                      <a:lnTo>
                        <a:pt x="126" y="1323"/>
                      </a:lnTo>
                      <a:lnTo>
                        <a:pt x="125" y="1323"/>
                      </a:lnTo>
                      <a:lnTo>
                        <a:pt x="125" y="1324"/>
                      </a:lnTo>
                      <a:lnTo>
                        <a:pt x="124" y="1325"/>
                      </a:lnTo>
                      <a:lnTo>
                        <a:pt x="124" y="1325"/>
                      </a:lnTo>
                      <a:lnTo>
                        <a:pt x="124" y="1325"/>
                      </a:lnTo>
                      <a:lnTo>
                        <a:pt x="124" y="1326"/>
                      </a:lnTo>
                      <a:lnTo>
                        <a:pt x="123" y="1326"/>
                      </a:lnTo>
                      <a:lnTo>
                        <a:pt x="123" y="1327"/>
                      </a:lnTo>
                      <a:lnTo>
                        <a:pt x="122" y="1327"/>
                      </a:lnTo>
                      <a:lnTo>
                        <a:pt x="122" y="1329"/>
                      </a:lnTo>
                      <a:lnTo>
                        <a:pt x="122" y="1330"/>
                      </a:lnTo>
                      <a:lnTo>
                        <a:pt x="121" y="1330"/>
                      </a:lnTo>
                      <a:lnTo>
                        <a:pt x="121" y="1331"/>
                      </a:lnTo>
                      <a:lnTo>
                        <a:pt x="120" y="1331"/>
                      </a:lnTo>
                      <a:lnTo>
                        <a:pt x="120" y="1332"/>
                      </a:lnTo>
                      <a:lnTo>
                        <a:pt x="120" y="1332"/>
                      </a:lnTo>
                      <a:lnTo>
                        <a:pt x="120" y="1331"/>
                      </a:lnTo>
                      <a:lnTo>
                        <a:pt x="119" y="1331"/>
                      </a:lnTo>
                      <a:lnTo>
                        <a:pt x="119" y="1331"/>
                      </a:lnTo>
                      <a:lnTo>
                        <a:pt x="118" y="1331"/>
                      </a:lnTo>
                      <a:lnTo>
                        <a:pt x="117" y="1330"/>
                      </a:lnTo>
                      <a:lnTo>
                        <a:pt x="117" y="1329"/>
                      </a:lnTo>
                      <a:lnTo>
                        <a:pt x="116" y="1328"/>
                      </a:lnTo>
                      <a:lnTo>
                        <a:pt x="116" y="1328"/>
                      </a:lnTo>
                      <a:lnTo>
                        <a:pt x="116" y="1328"/>
                      </a:lnTo>
                      <a:lnTo>
                        <a:pt x="115" y="1328"/>
                      </a:lnTo>
                      <a:lnTo>
                        <a:pt x="115" y="1327"/>
                      </a:lnTo>
                      <a:lnTo>
                        <a:pt x="115" y="1327"/>
                      </a:lnTo>
                      <a:lnTo>
                        <a:pt x="115" y="1327"/>
                      </a:lnTo>
                      <a:lnTo>
                        <a:pt x="115" y="1327"/>
                      </a:lnTo>
                      <a:lnTo>
                        <a:pt x="115" y="1326"/>
                      </a:lnTo>
                      <a:lnTo>
                        <a:pt x="115" y="1326"/>
                      </a:lnTo>
                      <a:lnTo>
                        <a:pt x="114" y="1326"/>
                      </a:lnTo>
                      <a:lnTo>
                        <a:pt x="114" y="1326"/>
                      </a:lnTo>
                      <a:lnTo>
                        <a:pt x="113" y="1325"/>
                      </a:lnTo>
                      <a:lnTo>
                        <a:pt x="113" y="1325"/>
                      </a:lnTo>
                      <a:lnTo>
                        <a:pt x="116" y="1324"/>
                      </a:lnTo>
                      <a:lnTo>
                        <a:pt x="116" y="1324"/>
                      </a:lnTo>
                      <a:lnTo>
                        <a:pt x="116" y="1324"/>
                      </a:lnTo>
                      <a:lnTo>
                        <a:pt x="116" y="1324"/>
                      </a:lnTo>
                      <a:lnTo>
                        <a:pt x="116" y="1323"/>
                      </a:lnTo>
                      <a:lnTo>
                        <a:pt x="117" y="1323"/>
                      </a:lnTo>
                      <a:lnTo>
                        <a:pt x="117" y="1322"/>
                      </a:lnTo>
                      <a:lnTo>
                        <a:pt x="117" y="1322"/>
                      </a:lnTo>
                      <a:lnTo>
                        <a:pt x="117" y="1322"/>
                      </a:lnTo>
                      <a:lnTo>
                        <a:pt x="117" y="1322"/>
                      </a:lnTo>
                      <a:lnTo>
                        <a:pt x="117" y="1322"/>
                      </a:lnTo>
                      <a:lnTo>
                        <a:pt x="116" y="1322"/>
                      </a:lnTo>
                      <a:lnTo>
                        <a:pt x="116" y="1323"/>
                      </a:lnTo>
                      <a:lnTo>
                        <a:pt x="115" y="1323"/>
                      </a:lnTo>
                      <a:lnTo>
                        <a:pt x="115" y="1323"/>
                      </a:lnTo>
                      <a:lnTo>
                        <a:pt x="114" y="1324"/>
                      </a:lnTo>
                      <a:lnTo>
                        <a:pt x="114" y="1324"/>
                      </a:lnTo>
                      <a:lnTo>
                        <a:pt x="113" y="1324"/>
                      </a:lnTo>
                      <a:lnTo>
                        <a:pt x="112" y="1324"/>
                      </a:lnTo>
                      <a:lnTo>
                        <a:pt x="111" y="1324"/>
                      </a:lnTo>
                      <a:lnTo>
                        <a:pt x="111" y="1325"/>
                      </a:lnTo>
                      <a:lnTo>
                        <a:pt x="111" y="1325"/>
                      </a:lnTo>
                      <a:lnTo>
                        <a:pt x="111" y="1325"/>
                      </a:lnTo>
                      <a:lnTo>
                        <a:pt x="111" y="1325"/>
                      </a:lnTo>
                      <a:lnTo>
                        <a:pt x="111" y="1325"/>
                      </a:lnTo>
                      <a:lnTo>
                        <a:pt x="111" y="1326"/>
                      </a:lnTo>
                      <a:lnTo>
                        <a:pt x="110" y="1325"/>
                      </a:lnTo>
                      <a:lnTo>
                        <a:pt x="110" y="1326"/>
                      </a:lnTo>
                      <a:lnTo>
                        <a:pt x="110" y="1325"/>
                      </a:lnTo>
                      <a:lnTo>
                        <a:pt x="110" y="1325"/>
                      </a:lnTo>
                      <a:lnTo>
                        <a:pt x="109" y="1323"/>
                      </a:lnTo>
                      <a:lnTo>
                        <a:pt x="109" y="1323"/>
                      </a:lnTo>
                      <a:lnTo>
                        <a:pt x="108" y="1322"/>
                      </a:lnTo>
                      <a:lnTo>
                        <a:pt x="107" y="1322"/>
                      </a:lnTo>
                      <a:lnTo>
                        <a:pt x="107" y="1323"/>
                      </a:lnTo>
                      <a:lnTo>
                        <a:pt x="108" y="1323"/>
                      </a:lnTo>
                      <a:lnTo>
                        <a:pt x="109" y="1324"/>
                      </a:lnTo>
                      <a:lnTo>
                        <a:pt x="109" y="1325"/>
                      </a:lnTo>
                      <a:lnTo>
                        <a:pt x="110" y="1325"/>
                      </a:lnTo>
                      <a:lnTo>
                        <a:pt x="108" y="1326"/>
                      </a:lnTo>
                      <a:lnTo>
                        <a:pt x="109" y="1326"/>
                      </a:lnTo>
                      <a:lnTo>
                        <a:pt x="109" y="1327"/>
                      </a:lnTo>
                      <a:lnTo>
                        <a:pt x="108" y="1327"/>
                      </a:lnTo>
                      <a:lnTo>
                        <a:pt x="108" y="1327"/>
                      </a:lnTo>
                      <a:lnTo>
                        <a:pt x="108" y="1327"/>
                      </a:lnTo>
                      <a:lnTo>
                        <a:pt x="108" y="1326"/>
                      </a:lnTo>
                      <a:lnTo>
                        <a:pt x="107" y="1327"/>
                      </a:lnTo>
                      <a:lnTo>
                        <a:pt x="107" y="1326"/>
                      </a:lnTo>
                      <a:lnTo>
                        <a:pt x="106" y="1326"/>
                      </a:lnTo>
                      <a:lnTo>
                        <a:pt x="106" y="1325"/>
                      </a:lnTo>
                      <a:lnTo>
                        <a:pt x="106" y="1325"/>
                      </a:lnTo>
                      <a:lnTo>
                        <a:pt x="106" y="1325"/>
                      </a:lnTo>
                      <a:lnTo>
                        <a:pt x="105" y="1325"/>
                      </a:lnTo>
                      <a:lnTo>
                        <a:pt x="105" y="1325"/>
                      </a:lnTo>
                      <a:lnTo>
                        <a:pt x="105" y="1325"/>
                      </a:lnTo>
                      <a:lnTo>
                        <a:pt x="105" y="1326"/>
                      </a:lnTo>
                      <a:lnTo>
                        <a:pt x="105" y="1326"/>
                      </a:lnTo>
                      <a:lnTo>
                        <a:pt x="106" y="1327"/>
                      </a:lnTo>
                      <a:lnTo>
                        <a:pt x="106" y="1327"/>
                      </a:lnTo>
                      <a:lnTo>
                        <a:pt x="105" y="1327"/>
                      </a:lnTo>
                      <a:lnTo>
                        <a:pt x="105" y="1327"/>
                      </a:lnTo>
                      <a:lnTo>
                        <a:pt x="105" y="1327"/>
                      </a:lnTo>
                      <a:lnTo>
                        <a:pt x="104" y="1327"/>
                      </a:lnTo>
                      <a:lnTo>
                        <a:pt x="104" y="1327"/>
                      </a:lnTo>
                      <a:lnTo>
                        <a:pt x="103" y="1327"/>
                      </a:lnTo>
                      <a:lnTo>
                        <a:pt x="103" y="1328"/>
                      </a:lnTo>
                      <a:lnTo>
                        <a:pt x="104" y="1328"/>
                      </a:lnTo>
                      <a:lnTo>
                        <a:pt x="104" y="1328"/>
                      </a:lnTo>
                      <a:lnTo>
                        <a:pt x="104" y="1328"/>
                      </a:lnTo>
                      <a:lnTo>
                        <a:pt x="104" y="1328"/>
                      </a:lnTo>
                      <a:lnTo>
                        <a:pt x="105" y="1328"/>
                      </a:lnTo>
                      <a:lnTo>
                        <a:pt x="105" y="1328"/>
                      </a:lnTo>
                      <a:lnTo>
                        <a:pt x="106" y="1328"/>
                      </a:lnTo>
                      <a:lnTo>
                        <a:pt x="106" y="1328"/>
                      </a:lnTo>
                      <a:lnTo>
                        <a:pt x="106" y="1328"/>
                      </a:lnTo>
                      <a:lnTo>
                        <a:pt x="106" y="1328"/>
                      </a:lnTo>
                      <a:lnTo>
                        <a:pt x="106" y="1327"/>
                      </a:lnTo>
                      <a:lnTo>
                        <a:pt x="107" y="1328"/>
                      </a:lnTo>
                      <a:lnTo>
                        <a:pt x="107" y="1328"/>
                      </a:lnTo>
                      <a:lnTo>
                        <a:pt x="107" y="1328"/>
                      </a:lnTo>
                      <a:lnTo>
                        <a:pt x="108" y="1328"/>
                      </a:lnTo>
                      <a:lnTo>
                        <a:pt x="108" y="1328"/>
                      </a:lnTo>
                      <a:lnTo>
                        <a:pt x="108" y="1329"/>
                      </a:lnTo>
                      <a:lnTo>
                        <a:pt x="108" y="1329"/>
                      </a:lnTo>
                      <a:lnTo>
                        <a:pt x="108" y="1329"/>
                      </a:lnTo>
                      <a:lnTo>
                        <a:pt x="108" y="1329"/>
                      </a:lnTo>
                      <a:lnTo>
                        <a:pt x="109" y="1329"/>
                      </a:lnTo>
                      <a:lnTo>
                        <a:pt x="109" y="1329"/>
                      </a:lnTo>
                      <a:lnTo>
                        <a:pt x="109" y="1328"/>
                      </a:lnTo>
                      <a:lnTo>
                        <a:pt x="109" y="1329"/>
                      </a:lnTo>
                      <a:lnTo>
                        <a:pt x="110" y="1329"/>
                      </a:lnTo>
                      <a:lnTo>
                        <a:pt x="110" y="1330"/>
                      </a:lnTo>
                      <a:lnTo>
                        <a:pt x="109" y="1330"/>
                      </a:lnTo>
                      <a:lnTo>
                        <a:pt x="110" y="1331"/>
                      </a:lnTo>
                      <a:lnTo>
                        <a:pt x="109" y="1331"/>
                      </a:lnTo>
                      <a:lnTo>
                        <a:pt x="109" y="1332"/>
                      </a:lnTo>
                      <a:lnTo>
                        <a:pt x="109" y="1332"/>
                      </a:lnTo>
                      <a:lnTo>
                        <a:pt x="109" y="1333"/>
                      </a:lnTo>
                      <a:lnTo>
                        <a:pt x="109" y="1333"/>
                      </a:lnTo>
                      <a:lnTo>
                        <a:pt x="109" y="1334"/>
                      </a:lnTo>
                      <a:lnTo>
                        <a:pt x="108" y="1334"/>
                      </a:lnTo>
                      <a:lnTo>
                        <a:pt x="109" y="1334"/>
                      </a:lnTo>
                      <a:lnTo>
                        <a:pt x="109" y="1335"/>
                      </a:lnTo>
                      <a:lnTo>
                        <a:pt x="109" y="1335"/>
                      </a:lnTo>
                      <a:lnTo>
                        <a:pt x="109" y="1335"/>
                      </a:lnTo>
                      <a:lnTo>
                        <a:pt x="109" y="1336"/>
                      </a:lnTo>
                      <a:lnTo>
                        <a:pt x="109" y="1336"/>
                      </a:lnTo>
                      <a:lnTo>
                        <a:pt x="109" y="1336"/>
                      </a:lnTo>
                      <a:lnTo>
                        <a:pt x="109" y="1336"/>
                      </a:lnTo>
                      <a:lnTo>
                        <a:pt x="107" y="1336"/>
                      </a:lnTo>
                      <a:lnTo>
                        <a:pt x="108" y="1337"/>
                      </a:lnTo>
                      <a:lnTo>
                        <a:pt x="109" y="1337"/>
                      </a:lnTo>
                      <a:lnTo>
                        <a:pt x="109" y="1337"/>
                      </a:lnTo>
                      <a:lnTo>
                        <a:pt x="109" y="1337"/>
                      </a:lnTo>
                      <a:lnTo>
                        <a:pt x="109" y="1337"/>
                      </a:lnTo>
                      <a:lnTo>
                        <a:pt x="109" y="1338"/>
                      </a:lnTo>
                      <a:lnTo>
                        <a:pt x="109" y="1338"/>
                      </a:lnTo>
                      <a:lnTo>
                        <a:pt x="109" y="1338"/>
                      </a:lnTo>
                      <a:lnTo>
                        <a:pt x="109" y="1339"/>
                      </a:lnTo>
                      <a:lnTo>
                        <a:pt x="109" y="1339"/>
                      </a:lnTo>
                      <a:lnTo>
                        <a:pt x="109" y="1339"/>
                      </a:lnTo>
                      <a:lnTo>
                        <a:pt x="110" y="1339"/>
                      </a:lnTo>
                      <a:lnTo>
                        <a:pt x="110" y="1339"/>
                      </a:lnTo>
                      <a:lnTo>
                        <a:pt x="110" y="1339"/>
                      </a:lnTo>
                      <a:lnTo>
                        <a:pt x="110" y="1339"/>
                      </a:lnTo>
                      <a:lnTo>
                        <a:pt x="110" y="1338"/>
                      </a:lnTo>
                      <a:lnTo>
                        <a:pt x="111" y="1338"/>
                      </a:lnTo>
                      <a:lnTo>
                        <a:pt x="111" y="1338"/>
                      </a:lnTo>
                      <a:lnTo>
                        <a:pt x="112" y="1337"/>
                      </a:lnTo>
                      <a:lnTo>
                        <a:pt x="113" y="1337"/>
                      </a:lnTo>
                      <a:lnTo>
                        <a:pt x="114" y="1338"/>
                      </a:lnTo>
                      <a:lnTo>
                        <a:pt x="115" y="1338"/>
                      </a:lnTo>
                      <a:lnTo>
                        <a:pt x="115" y="1337"/>
                      </a:lnTo>
                      <a:lnTo>
                        <a:pt x="116" y="1337"/>
                      </a:lnTo>
                      <a:lnTo>
                        <a:pt x="116" y="1337"/>
                      </a:lnTo>
                      <a:lnTo>
                        <a:pt x="117" y="1337"/>
                      </a:lnTo>
                      <a:lnTo>
                        <a:pt x="118" y="1336"/>
                      </a:lnTo>
                      <a:lnTo>
                        <a:pt x="119" y="1336"/>
                      </a:lnTo>
                      <a:lnTo>
                        <a:pt x="119" y="1336"/>
                      </a:lnTo>
                      <a:lnTo>
                        <a:pt x="119" y="1337"/>
                      </a:lnTo>
                      <a:lnTo>
                        <a:pt x="120" y="1337"/>
                      </a:lnTo>
                      <a:lnTo>
                        <a:pt x="120" y="1337"/>
                      </a:lnTo>
                      <a:lnTo>
                        <a:pt x="120" y="1339"/>
                      </a:lnTo>
                      <a:lnTo>
                        <a:pt x="120" y="1339"/>
                      </a:lnTo>
                      <a:lnTo>
                        <a:pt x="120" y="1341"/>
                      </a:lnTo>
                      <a:lnTo>
                        <a:pt x="119" y="1341"/>
                      </a:lnTo>
                      <a:lnTo>
                        <a:pt x="118" y="1342"/>
                      </a:lnTo>
                      <a:lnTo>
                        <a:pt x="118" y="1342"/>
                      </a:lnTo>
                      <a:lnTo>
                        <a:pt x="119" y="1342"/>
                      </a:lnTo>
                      <a:lnTo>
                        <a:pt x="119" y="1343"/>
                      </a:lnTo>
                      <a:lnTo>
                        <a:pt x="118" y="1344"/>
                      </a:lnTo>
                      <a:lnTo>
                        <a:pt x="118" y="1344"/>
                      </a:lnTo>
                      <a:lnTo>
                        <a:pt x="118" y="1344"/>
                      </a:lnTo>
                      <a:lnTo>
                        <a:pt x="118" y="1344"/>
                      </a:lnTo>
                      <a:lnTo>
                        <a:pt x="118" y="1345"/>
                      </a:lnTo>
                      <a:lnTo>
                        <a:pt x="118" y="1346"/>
                      </a:lnTo>
                      <a:lnTo>
                        <a:pt x="117" y="1347"/>
                      </a:lnTo>
                      <a:lnTo>
                        <a:pt x="117" y="1347"/>
                      </a:lnTo>
                      <a:lnTo>
                        <a:pt x="117" y="1348"/>
                      </a:lnTo>
                      <a:lnTo>
                        <a:pt x="117" y="1349"/>
                      </a:lnTo>
                      <a:lnTo>
                        <a:pt x="117" y="1349"/>
                      </a:lnTo>
                      <a:lnTo>
                        <a:pt x="116" y="1349"/>
                      </a:lnTo>
                      <a:lnTo>
                        <a:pt x="115" y="1350"/>
                      </a:lnTo>
                      <a:lnTo>
                        <a:pt x="114" y="1350"/>
                      </a:lnTo>
                      <a:lnTo>
                        <a:pt x="114" y="1350"/>
                      </a:lnTo>
                      <a:lnTo>
                        <a:pt x="114" y="1351"/>
                      </a:lnTo>
                      <a:lnTo>
                        <a:pt x="114" y="1351"/>
                      </a:lnTo>
                      <a:lnTo>
                        <a:pt x="114" y="1351"/>
                      </a:lnTo>
                      <a:lnTo>
                        <a:pt x="113" y="1351"/>
                      </a:lnTo>
                      <a:lnTo>
                        <a:pt x="113" y="1352"/>
                      </a:lnTo>
                      <a:lnTo>
                        <a:pt x="112" y="1351"/>
                      </a:lnTo>
                      <a:lnTo>
                        <a:pt x="111" y="1352"/>
                      </a:lnTo>
                      <a:lnTo>
                        <a:pt x="110" y="1352"/>
                      </a:lnTo>
                      <a:lnTo>
                        <a:pt x="109" y="1352"/>
                      </a:lnTo>
                      <a:lnTo>
                        <a:pt x="109" y="1352"/>
                      </a:lnTo>
                      <a:lnTo>
                        <a:pt x="108" y="1352"/>
                      </a:lnTo>
                      <a:lnTo>
                        <a:pt x="108" y="1352"/>
                      </a:lnTo>
                      <a:lnTo>
                        <a:pt x="107" y="1352"/>
                      </a:lnTo>
                      <a:lnTo>
                        <a:pt x="107" y="1352"/>
                      </a:lnTo>
                      <a:lnTo>
                        <a:pt x="106" y="1351"/>
                      </a:lnTo>
                      <a:lnTo>
                        <a:pt x="106" y="1350"/>
                      </a:lnTo>
                      <a:lnTo>
                        <a:pt x="106" y="1350"/>
                      </a:lnTo>
                      <a:lnTo>
                        <a:pt x="106" y="1349"/>
                      </a:lnTo>
                      <a:lnTo>
                        <a:pt x="105" y="1349"/>
                      </a:lnTo>
                      <a:lnTo>
                        <a:pt x="105" y="1350"/>
                      </a:lnTo>
                      <a:lnTo>
                        <a:pt x="104" y="1351"/>
                      </a:lnTo>
                      <a:lnTo>
                        <a:pt x="104" y="1351"/>
                      </a:lnTo>
                      <a:lnTo>
                        <a:pt x="104" y="1352"/>
                      </a:lnTo>
                      <a:lnTo>
                        <a:pt x="103" y="1352"/>
                      </a:lnTo>
                      <a:lnTo>
                        <a:pt x="102" y="1351"/>
                      </a:lnTo>
                      <a:lnTo>
                        <a:pt x="101" y="1351"/>
                      </a:lnTo>
                      <a:lnTo>
                        <a:pt x="98" y="1350"/>
                      </a:lnTo>
                      <a:lnTo>
                        <a:pt x="97" y="1351"/>
                      </a:lnTo>
                      <a:lnTo>
                        <a:pt x="97" y="1351"/>
                      </a:lnTo>
                      <a:lnTo>
                        <a:pt x="97" y="1351"/>
                      </a:lnTo>
                      <a:lnTo>
                        <a:pt x="97" y="1352"/>
                      </a:lnTo>
                      <a:lnTo>
                        <a:pt x="95" y="1352"/>
                      </a:lnTo>
                      <a:lnTo>
                        <a:pt x="95" y="1352"/>
                      </a:lnTo>
                      <a:lnTo>
                        <a:pt x="95" y="1353"/>
                      </a:lnTo>
                      <a:lnTo>
                        <a:pt x="95" y="1352"/>
                      </a:lnTo>
                      <a:lnTo>
                        <a:pt x="94" y="1352"/>
                      </a:lnTo>
                      <a:lnTo>
                        <a:pt x="94" y="1353"/>
                      </a:lnTo>
                      <a:lnTo>
                        <a:pt x="93" y="1352"/>
                      </a:lnTo>
                      <a:lnTo>
                        <a:pt x="93" y="1353"/>
                      </a:lnTo>
                      <a:lnTo>
                        <a:pt x="93" y="1353"/>
                      </a:lnTo>
                      <a:lnTo>
                        <a:pt x="88" y="1353"/>
                      </a:lnTo>
                      <a:lnTo>
                        <a:pt x="88" y="1353"/>
                      </a:lnTo>
                      <a:lnTo>
                        <a:pt x="87" y="1353"/>
                      </a:lnTo>
                      <a:lnTo>
                        <a:pt x="87" y="1353"/>
                      </a:lnTo>
                      <a:lnTo>
                        <a:pt x="87" y="1353"/>
                      </a:lnTo>
                      <a:lnTo>
                        <a:pt x="88" y="1354"/>
                      </a:lnTo>
                      <a:lnTo>
                        <a:pt x="88" y="1354"/>
                      </a:lnTo>
                      <a:lnTo>
                        <a:pt x="88" y="1353"/>
                      </a:lnTo>
                      <a:lnTo>
                        <a:pt x="88" y="1353"/>
                      </a:lnTo>
                      <a:lnTo>
                        <a:pt x="89" y="1354"/>
                      </a:lnTo>
                      <a:lnTo>
                        <a:pt x="90" y="1354"/>
                      </a:lnTo>
                      <a:lnTo>
                        <a:pt x="90" y="1354"/>
                      </a:lnTo>
                      <a:lnTo>
                        <a:pt x="91" y="1354"/>
                      </a:lnTo>
                      <a:lnTo>
                        <a:pt x="92" y="1354"/>
                      </a:lnTo>
                      <a:lnTo>
                        <a:pt x="93" y="1353"/>
                      </a:lnTo>
                      <a:lnTo>
                        <a:pt x="93" y="1354"/>
                      </a:lnTo>
                      <a:lnTo>
                        <a:pt x="95" y="1354"/>
                      </a:lnTo>
                      <a:lnTo>
                        <a:pt x="96" y="1354"/>
                      </a:lnTo>
                      <a:lnTo>
                        <a:pt x="96" y="1353"/>
                      </a:lnTo>
                      <a:lnTo>
                        <a:pt x="97" y="1353"/>
                      </a:lnTo>
                      <a:lnTo>
                        <a:pt x="97" y="1353"/>
                      </a:lnTo>
                      <a:lnTo>
                        <a:pt x="98" y="1354"/>
                      </a:lnTo>
                      <a:lnTo>
                        <a:pt x="98" y="1354"/>
                      </a:lnTo>
                      <a:lnTo>
                        <a:pt x="100" y="1354"/>
                      </a:lnTo>
                      <a:lnTo>
                        <a:pt x="100" y="1354"/>
                      </a:lnTo>
                      <a:lnTo>
                        <a:pt x="101" y="1354"/>
                      </a:lnTo>
                      <a:lnTo>
                        <a:pt x="101" y="1354"/>
                      </a:lnTo>
                      <a:lnTo>
                        <a:pt x="102" y="1353"/>
                      </a:lnTo>
                      <a:lnTo>
                        <a:pt x="103" y="1354"/>
                      </a:lnTo>
                      <a:lnTo>
                        <a:pt x="103" y="1354"/>
                      </a:lnTo>
                      <a:lnTo>
                        <a:pt x="104" y="1354"/>
                      </a:lnTo>
                      <a:lnTo>
                        <a:pt x="104" y="1354"/>
                      </a:lnTo>
                      <a:lnTo>
                        <a:pt x="104" y="1354"/>
                      </a:lnTo>
                      <a:lnTo>
                        <a:pt x="105" y="1355"/>
                      </a:lnTo>
                      <a:lnTo>
                        <a:pt x="105" y="1355"/>
                      </a:lnTo>
                      <a:lnTo>
                        <a:pt x="106" y="1355"/>
                      </a:lnTo>
                      <a:lnTo>
                        <a:pt x="106" y="1355"/>
                      </a:lnTo>
                      <a:lnTo>
                        <a:pt x="107" y="1355"/>
                      </a:lnTo>
                      <a:lnTo>
                        <a:pt x="107" y="1355"/>
                      </a:lnTo>
                      <a:lnTo>
                        <a:pt x="107" y="1355"/>
                      </a:lnTo>
                      <a:lnTo>
                        <a:pt x="107" y="1354"/>
                      </a:lnTo>
                      <a:lnTo>
                        <a:pt x="106" y="1354"/>
                      </a:lnTo>
                      <a:lnTo>
                        <a:pt x="106" y="1353"/>
                      </a:lnTo>
                      <a:lnTo>
                        <a:pt x="107" y="1352"/>
                      </a:lnTo>
                      <a:lnTo>
                        <a:pt x="108" y="1353"/>
                      </a:lnTo>
                      <a:lnTo>
                        <a:pt x="107" y="1352"/>
                      </a:lnTo>
                      <a:lnTo>
                        <a:pt x="108" y="1352"/>
                      </a:lnTo>
                      <a:lnTo>
                        <a:pt x="109" y="1352"/>
                      </a:lnTo>
                      <a:lnTo>
                        <a:pt x="111" y="1352"/>
                      </a:lnTo>
                      <a:lnTo>
                        <a:pt x="111" y="1353"/>
                      </a:lnTo>
                      <a:lnTo>
                        <a:pt x="111" y="1353"/>
                      </a:lnTo>
                      <a:lnTo>
                        <a:pt x="112" y="1353"/>
                      </a:lnTo>
                      <a:lnTo>
                        <a:pt x="113" y="1353"/>
                      </a:lnTo>
                      <a:lnTo>
                        <a:pt x="113" y="1354"/>
                      </a:lnTo>
                      <a:lnTo>
                        <a:pt x="113" y="1354"/>
                      </a:lnTo>
                      <a:lnTo>
                        <a:pt x="114" y="1356"/>
                      </a:lnTo>
                      <a:lnTo>
                        <a:pt x="113" y="1356"/>
                      </a:lnTo>
                      <a:lnTo>
                        <a:pt x="113" y="1357"/>
                      </a:lnTo>
                      <a:lnTo>
                        <a:pt x="112" y="1357"/>
                      </a:lnTo>
                      <a:lnTo>
                        <a:pt x="112" y="1358"/>
                      </a:lnTo>
                      <a:lnTo>
                        <a:pt x="113" y="1358"/>
                      </a:lnTo>
                      <a:lnTo>
                        <a:pt x="113" y="1359"/>
                      </a:lnTo>
                      <a:lnTo>
                        <a:pt x="114" y="1359"/>
                      </a:lnTo>
                      <a:lnTo>
                        <a:pt x="114" y="1360"/>
                      </a:lnTo>
                      <a:lnTo>
                        <a:pt x="113" y="1360"/>
                      </a:lnTo>
                      <a:lnTo>
                        <a:pt x="113" y="1361"/>
                      </a:lnTo>
                      <a:lnTo>
                        <a:pt x="113" y="1361"/>
                      </a:lnTo>
                      <a:lnTo>
                        <a:pt x="113" y="1362"/>
                      </a:lnTo>
                      <a:lnTo>
                        <a:pt x="113" y="1362"/>
                      </a:lnTo>
                      <a:lnTo>
                        <a:pt x="113" y="1362"/>
                      </a:lnTo>
                      <a:lnTo>
                        <a:pt x="112" y="1362"/>
                      </a:lnTo>
                      <a:lnTo>
                        <a:pt x="112" y="1363"/>
                      </a:lnTo>
                      <a:lnTo>
                        <a:pt x="113" y="1363"/>
                      </a:lnTo>
                      <a:lnTo>
                        <a:pt x="112" y="1363"/>
                      </a:lnTo>
                      <a:lnTo>
                        <a:pt x="113" y="1364"/>
                      </a:lnTo>
                      <a:lnTo>
                        <a:pt x="112" y="1364"/>
                      </a:lnTo>
                      <a:lnTo>
                        <a:pt x="112" y="1364"/>
                      </a:lnTo>
                      <a:lnTo>
                        <a:pt x="111" y="1364"/>
                      </a:lnTo>
                      <a:lnTo>
                        <a:pt x="111" y="1364"/>
                      </a:lnTo>
                      <a:lnTo>
                        <a:pt x="111" y="1365"/>
                      </a:lnTo>
                      <a:lnTo>
                        <a:pt x="111" y="1366"/>
                      </a:lnTo>
                      <a:lnTo>
                        <a:pt x="110" y="1366"/>
                      </a:lnTo>
                      <a:lnTo>
                        <a:pt x="110" y="1367"/>
                      </a:lnTo>
                      <a:lnTo>
                        <a:pt x="111" y="1367"/>
                      </a:lnTo>
                      <a:lnTo>
                        <a:pt x="110" y="1368"/>
                      </a:lnTo>
                      <a:lnTo>
                        <a:pt x="111" y="1369"/>
                      </a:lnTo>
                      <a:lnTo>
                        <a:pt x="111" y="1369"/>
                      </a:lnTo>
                      <a:lnTo>
                        <a:pt x="110" y="1370"/>
                      </a:lnTo>
                      <a:lnTo>
                        <a:pt x="110" y="1370"/>
                      </a:lnTo>
                      <a:lnTo>
                        <a:pt x="110" y="1370"/>
                      </a:lnTo>
                      <a:lnTo>
                        <a:pt x="110" y="1370"/>
                      </a:lnTo>
                      <a:lnTo>
                        <a:pt x="109" y="1370"/>
                      </a:lnTo>
                      <a:lnTo>
                        <a:pt x="108" y="1370"/>
                      </a:lnTo>
                      <a:lnTo>
                        <a:pt x="108" y="1370"/>
                      </a:lnTo>
                      <a:lnTo>
                        <a:pt x="108" y="1370"/>
                      </a:lnTo>
                      <a:lnTo>
                        <a:pt x="107" y="1370"/>
                      </a:lnTo>
                      <a:lnTo>
                        <a:pt x="107" y="1370"/>
                      </a:lnTo>
                      <a:lnTo>
                        <a:pt x="107" y="1371"/>
                      </a:lnTo>
                      <a:lnTo>
                        <a:pt x="105" y="1370"/>
                      </a:lnTo>
                      <a:lnTo>
                        <a:pt x="104" y="1371"/>
                      </a:lnTo>
                      <a:lnTo>
                        <a:pt x="104" y="1370"/>
                      </a:lnTo>
                      <a:lnTo>
                        <a:pt x="104" y="1370"/>
                      </a:lnTo>
                      <a:lnTo>
                        <a:pt x="104" y="1370"/>
                      </a:lnTo>
                      <a:lnTo>
                        <a:pt x="103" y="1370"/>
                      </a:lnTo>
                      <a:lnTo>
                        <a:pt x="102" y="1370"/>
                      </a:lnTo>
                      <a:lnTo>
                        <a:pt x="102" y="1370"/>
                      </a:lnTo>
                      <a:lnTo>
                        <a:pt x="101" y="1370"/>
                      </a:lnTo>
                      <a:lnTo>
                        <a:pt x="101" y="1369"/>
                      </a:lnTo>
                      <a:lnTo>
                        <a:pt x="100" y="1369"/>
                      </a:lnTo>
                      <a:lnTo>
                        <a:pt x="100" y="1370"/>
                      </a:lnTo>
                      <a:lnTo>
                        <a:pt x="100" y="1370"/>
                      </a:lnTo>
                      <a:lnTo>
                        <a:pt x="100" y="1371"/>
                      </a:lnTo>
                      <a:lnTo>
                        <a:pt x="98" y="1371"/>
                      </a:lnTo>
                      <a:lnTo>
                        <a:pt x="98" y="1371"/>
                      </a:lnTo>
                      <a:lnTo>
                        <a:pt x="100" y="1371"/>
                      </a:lnTo>
                      <a:lnTo>
                        <a:pt x="100" y="1371"/>
                      </a:lnTo>
                      <a:lnTo>
                        <a:pt x="100" y="1371"/>
                      </a:lnTo>
                      <a:lnTo>
                        <a:pt x="98" y="1371"/>
                      </a:lnTo>
                      <a:lnTo>
                        <a:pt x="97" y="1370"/>
                      </a:lnTo>
                      <a:lnTo>
                        <a:pt x="96" y="1371"/>
                      </a:lnTo>
                      <a:lnTo>
                        <a:pt x="96" y="1371"/>
                      </a:lnTo>
                      <a:lnTo>
                        <a:pt x="95" y="1370"/>
                      </a:lnTo>
                      <a:lnTo>
                        <a:pt x="95" y="1371"/>
                      </a:lnTo>
                      <a:lnTo>
                        <a:pt x="94" y="1371"/>
                      </a:lnTo>
                      <a:lnTo>
                        <a:pt x="93" y="1370"/>
                      </a:lnTo>
                      <a:lnTo>
                        <a:pt x="93" y="1370"/>
                      </a:lnTo>
                      <a:lnTo>
                        <a:pt x="92" y="1371"/>
                      </a:lnTo>
                      <a:lnTo>
                        <a:pt x="90" y="1371"/>
                      </a:lnTo>
                      <a:lnTo>
                        <a:pt x="89" y="1371"/>
                      </a:lnTo>
                      <a:lnTo>
                        <a:pt x="88" y="1371"/>
                      </a:lnTo>
                      <a:lnTo>
                        <a:pt x="88" y="1370"/>
                      </a:lnTo>
                      <a:lnTo>
                        <a:pt x="86" y="1370"/>
                      </a:lnTo>
                      <a:lnTo>
                        <a:pt x="86" y="1370"/>
                      </a:lnTo>
                      <a:lnTo>
                        <a:pt x="85" y="1369"/>
                      </a:lnTo>
                      <a:lnTo>
                        <a:pt x="85" y="1369"/>
                      </a:lnTo>
                      <a:lnTo>
                        <a:pt x="84" y="1369"/>
                      </a:lnTo>
                      <a:lnTo>
                        <a:pt x="82" y="1369"/>
                      </a:lnTo>
                      <a:lnTo>
                        <a:pt x="82" y="1368"/>
                      </a:lnTo>
                      <a:lnTo>
                        <a:pt x="82" y="1368"/>
                      </a:lnTo>
                      <a:lnTo>
                        <a:pt x="83" y="1368"/>
                      </a:lnTo>
                      <a:lnTo>
                        <a:pt x="82" y="1368"/>
                      </a:lnTo>
                      <a:lnTo>
                        <a:pt x="81" y="1368"/>
                      </a:lnTo>
                      <a:lnTo>
                        <a:pt x="81" y="1368"/>
                      </a:lnTo>
                      <a:lnTo>
                        <a:pt x="80" y="1369"/>
                      </a:lnTo>
                      <a:lnTo>
                        <a:pt x="79" y="1369"/>
                      </a:lnTo>
                      <a:lnTo>
                        <a:pt x="78" y="1369"/>
                      </a:lnTo>
                      <a:lnTo>
                        <a:pt x="79" y="1370"/>
                      </a:lnTo>
                      <a:lnTo>
                        <a:pt x="78" y="1370"/>
                      </a:lnTo>
                      <a:lnTo>
                        <a:pt x="78" y="1369"/>
                      </a:lnTo>
                      <a:lnTo>
                        <a:pt x="78" y="1369"/>
                      </a:lnTo>
                      <a:lnTo>
                        <a:pt x="78" y="1369"/>
                      </a:lnTo>
                      <a:lnTo>
                        <a:pt x="78" y="1370"/>
                      </a:lnTo>
                      <a:lnTo>
                        <a:pt x="77" y="1370"/>
                      </a:lnTo>
                      <a:lnTo>
                        <a:pt x="77" y="1371"/>
                      </a:lnTo>
                      <a:lnTo>
                        <a:pt x="76" y="1371"/>
                      </a:lnTo>
                      <a:lnTo>
                        <a:pt x="76" y="1370"/>
                      </a:lnTo>
                      <a:lnTo>
                        <a:pt x="76" y="1370"/>
                      </a:lnTo>
                      <a:lnTo>
                        <a:pt x="76" y="1371"/>
                      </a:lnTo>
                      <a:lnTo>
                        <a:pt x="75" y="1371"/>
                      </a:lnTo>
                      <a:lnTo>
                        <a:pt x="75" y="1370"/>
                      </a:lnTo>
                      <a:lnTo>
                        <a:pt x="74" y="1370"/>
                      </a:lnTo>
                      <a:lnTo>
                        <a:pt x="74" y="1370"/>
                      </a:lnTo>
                      <a:lnTo>
                        <a:pt x="73" y="1370"/>
                      </a:lnTo>
                      <a:lnTo>
                        <a:pt x="73" y="1369"/>
                      </a:lnTo>
                      <a:lnTo>
                        <a:pt x="72" y="1369"/>
                      </a:lnTo>
                      <a:lnTo>
                        <a:pt x="72" y="1368"/>
                      </a:lnTo>
                      <a:lnTo>
                        <a:pt x="71" y="1368"/>
                      </a:lnTo>
                      <a:lnTo>
                        <a:pt x="71" y="1367"/>
                      </a:lnTo>
                      <a:lnTo>
                        <a:pt x="71" y="1365"/>
                      </a:lnTo>
                      <a:lnTo>
                        <a:pt x="72" y="1365"/>
                      </a:lnTo>
                      <a:lnTo>
                        <a:pt x="72" y="1366"/>
                      </a:lnTo>
                      <a:lnTo>
                        <a:pt x="73" y="1366"/>
                      </a:lnTo>
                      <a:lnTo>
                        <a:pt x="73" y="1365"/>
                      </a:lnTo>
                      <a:lnTo>
                        <a:pt x="72" y="1365"/>
                      </a:lnTo>
                      <a:lnTo>
                        <a:pt x="72" y="1365"/>
                      </a:lnTo>
                      <a:lnTo>
                        <a:pt x="72" y="1365"/>
                      </a:lnTo>
                      <a:lnTo>
                        <a:pt x="72" y="1364"/>
                      </a:lnTo>
                      <a:lnTo>
                        <a:pt x="72" y="1364"/>
                      </a:lnTo>
                      <a:lnTo>
                        <a:pt x="72" y="1364"/>
                      </a:lnTo>
                      <a:lnTo>
                        <a:pt x="73" y="1364"/>
                      </a:lnTo>
                      <a:lnTo>
                        <a:pt x="73" y="1363"/>
                      </a:lnTo>
                      <a:lnTo>
                        <a:pt x="73" y="1363"/>
                      </a:lnTo>
                      <a:lnTo>
                        <a:pt x="73" y="1362"/>
                      </a:lnTo>
                      <a:lnTo>
                        <a:pt x="72" y="1362"/>
                      </a:lnTo>
                      <a:lnTo>
                        <a:pt x="72" y="1361"/>
                      </a:lnTo>
                      <a:lnTo>
                        <a:pt x="73" y="1361"/>
                      </a:lnTo>
                      <a:lnTo>
                        <a:pt x="73" y="1361"/>
                      </a:lnTo>
                      <a:lnTo>
                        <a:pt x="72" y="1360"/>
                      </a:lnTo>
                      <a:lnTo>
                        <a:pt x="71" y="1360"/>
                      </a:lnTo>
                      <a:lnTo>
                        <a:pt x="71" y="1360"/>
                      </a:lnTo>
                      <a:lnTo>
                        <a:pt x="71" y="1360"/>
                      </a:lnTo>
                      <a:lnTo>
                        <a:pt x="70" y="1360"/>
                      </a:lnTo>
                      <a:lnTo>
                        <a:pt x="70" y="1359"/>
                      </a:lnTo>
                      <a:lnTo>
                        <a:pt x="70" y="1359"/>
                      </a:lnTo>
                      <a:lnTo>
                        <a:pt x="70" y="1359"/>
                      </a:lnTo>
                      <a:lnTo>
                        <a:pt x="69" y="1359"/>
                      </a:lnTo>
                      <a:lnTo>
                        <a:pt x="69" y="1358"/>
                      </a:lnTo>
                      <a:lnTo>
                        <a:pt x="69" y="1358"/>
                      </a:lnTo>
                      <a:lnTo>
                        <a:pt x="69" y="1357"/>
                      </a:lnTo>
                      <a:lnTo>
                        <a:pt x="68" y="1357"/>
                      </a:lnTo>
                      <a:lnTo>
                        <a:pt x="68" y="1356"/>
                      </a:lnTo>
                      <a:lnTo>
                        <a:pt x="68" y="1356"/>
                      </a:lnTo>
                      <a:lnTo>
                        <a:pt x="67" y="1355"/>
                      </a:lnTo>
                      <a:lnTo>
                        <a:pt x="66" y="1355"/>
                      </a:lnTo>
                      <a:lnTo>
                        <a:pt x="66" y="1354"/>
                      </a:lnTo>
                      <a:lnTo>
                        <a:pt x="67" y="1353"/>
                      </a:lnTo>
                      <a:lnTo>
                        <a:pt x="66" y="1353"/>
                      </a:lnTo>
                      <a:lnTo>
                        <a:pt x="68" y="1353"/>
                      </a:lnTo>
                      <a:lnTo>
                        <a:pt x="68" y="1354"/>
                      </a:lnTo>
                      <a:lnTo>
                        <a:pt x="68" y="1354"/>
                      </a:lnTo>
                      <a:lnTo>
                        <a:pt x="68" y="1353"/>
                      </a:lnTo>
                      <a:lnTo>
                        <a:pt x="68" y="1353"/>
                      </a:lnTo>
                      <a:lnTo>
                        <a:pt x="68" y="1353"/>
                      </a:lnTo>
                      <a:lnTo>
                        <a:pt x="68" y="1353"/>
                      </a:lnTo>
                      <a:lnTo>
                        <a:pt x="67" y="1353"/>
                      </a:lnTo>
                      <a:lnTo>
                        <a:pt x="66" y="1353"/>
                      </a:lnTo>
                      <a:lnTo>
                        <a:pt x="65" y="1353"/>
                      </a:lnTo>
                      <a:lnTo>
                        <a:pt x="64" y="1352"/>
                      </a:lnTo>
                      <a:lnTo>
                        <a:pt x="64" y="1352"/>
                      </a:lnTo>
                      <a:lnTo>
                        <a:pt x="64" y="1352"/>
                      </a:lnTo>
                      <a:lnTo>
                        <a:pt x="64" y="1351"/>
                      </a:lnTo>
                      <a:lnTo>
                        <a:pt x="63" y="1351"/>
                      </a:lnTo>
                      <a:lnTo>
                        <a:pt x="62" y="1350"/>
                      </a:lnTo>
                      <a:lnTo>
                        <a:pt x="62" y="1350"/>
                      </a:lnTo>
                      <a:lnTo>
                        <a:pt x="60" y="1350"/>
                      </a:lnTo>
                      <a:lnTo>
                        <a:pt x="59" y="1349"/>
                      </a:lnTo>
                      <a:lnTo>
                        <a:pt x="58" y="1349"/>
                      </a:lnTo>
                      <a:lnTo>
                        <a:pt x="57" y="1348"/>
                      </a:lnTo>
                      <a:lnTo>
                        <a:pt x="56" y="1348"/>
                      </a:lnTo>
                      <a:lnTo>
                        <a:pt x="54" y="1345"/>
                      </a:lnTo>
                      <a:lnTo>
                        <a:pt x="52" y="1343"/>
                      </a:lnTo>
                      <a:lnTo>
                        <a:pt x="53" y="1343"/>
                      </a:lnTo>
                      <a:lnTo>
                        <a:pt x="52" y="1342"/>
                      </a:lnTo>
                      <a:lnTo>
                        <a:pt x="52" y="1342"/>
                      </a:lnTo>
                      <a:lnTo>
                        <a:pt x="51" y="1342"/>
                      </a:lnTo>
                      <a:lnTo>
                        <a:pt x="51" y="1342"/>
                      </a:lnTo>
                      <a:lnTo>
                        <a:pt x="51" y="1341"/>
                      </a:lnTo>
                      <a:lnTo>
                        <a:pt x="50" y="1341"/>
                      </a:lnTo>
                      <a:lnTo>
                        <a:pt x="49" y="1341"/>
                      </a:lnTo>
                      <a:lnTo>
                        <a:pt x="49" y="1339"/>
                      </a:lnTo>
                      <a:lnTo>
                        <a:pt x="49" y="1339"/>
                      </a:lnTo>
                      <a:lnTo>
                        <a:pt x="49" y="1341"/>
                      </a:lnTo>
                      <a:lnTo>
                        <a:pt x="49" y="1341"/>
                      </a:lnTo>
                      <a:lnTo>
                        <a:pt x="49" y="1342"/>
                      </a:lnTo>
                      <a:lnTo>
                        <a:pt x="49" y="1342"/>
                      </a:lnTo>
                      <a:lnTo>
                        <a:pt x="50" y="1342"/>
                      </a:lnTo>
                      <a:lnTo>
                        <a:pt x="50" y="1343"/>
                      </a:lnTo>
                      <a:lnTo>
                        <a:pt x="50" y="1343"/>
                      </a:lnTo>
                      <a:lnTo>
                        <a:pt x="50" y="1344"/>
                      </a:lnTo>
                      <a:lnTo>
                        <a:pt x="50" y="1344"/>
                      </a:lnTo>
                      <a:lnTo>
                        <a:pt x="49" y="1345"/>
                      </a:lnTo>
                      <a:lnTo>
                        <a:pt x="48" y="1345"/>
                      </a:lnTo>
                      <a:lnTo>
                        <a:pt x="48" y="1346"/>
                      </a:lnTo>
                      <a:lnTo>
                        <a:pt x="48" y="1346"/>
                      </a:lnTo>
                      <a:lnTo>
                        <a:pt x="47" y="1347"/>
                      </a:lnTo>
                      <a:lnTo>
                        <a:pt x="47" y="1347"/>
                      </a:lnTo>
                      <a:lnTo>
                        <a:pt x="46" y="1347"/>
                      </a:lnTo>
                      <a:lnTo>
                        <a:pt x="44" y="1347"/>
                      </a:lnTo>
                      <a:lnTo>
                        <a:pt x="44" y="1348"/>
                      </a:lnTo>
                      <a:lnTo>
                        <a:pt x="44" y="1348"/>
                      </a:lnTo>
                      <a:lnTo>
                        <a:pt x="44" y="1349"/>
                      </a:lnTo>
                      <a:lnTo>
                        <a:pt x="43" y="1349"/>
                      </a:lnTo>
                      <a:lnTo>
                        <a:pt x="42" y="1348"/>
                      </a:lnTo>
                      <a:lnTo>
                        <a:pt x="40" y="1348"/>
                      </a:lnTo>
                      <a:lnTo>
                        <a:pt x="40" y="1348"/>
                      </a:lnTo>
                      <a:lnTo>
                        <a:pt x="39" y="1348"/>
                      </a:lnTo>
                      <a:lnTo>
                        <a:pt x="38" y="1348"/>
                      </a:lnTo>
                      <a:lnTo>
                        <a:pt x="38" y="1348"/>
                      </a:lnTo>
                      <a:lnTo>
                        <a:pt x="39" y="1348"/>
                      </a:lnTo>
                      <a:lnTo>
                        <a:pt x="39" y="1347"/>
                      </a:lnTo>
                      <a:lnTo>
                        <a:pt x="39" y="1347"/>
                      </a:lnTo>
                      <a:lnTo>
                        <a:pt x="39" y="1346"/>
                      </a:lnTo>
                      <a:lnTo>
                        <a:pt x="39" y="1345"/>
                      </a:lnTo>
                      <a:lnTo>
                        <a:pt x="39" y="1345"/>
                      </a:lnTo>
                      <a:lnTo>
                        <a:pt x="39" y="1345"/>
                      </a:lnTo>
                      <a:lnTo>
                        <a:pt x="38" y="1344"/>
                      </a:lnTo>
                      <a:lnTo>
                        <a:pt x="38" y="1343"/>
                      </a:lnTo>
                      <a:lnTo>
                        <a:pt x="37" y="1343"/>
                      </a:lnTo>
                      <a:lnTo>
                        <a:pt x="37" y="1342"/>
                      </a:lnTo>
                      <a:lnTo>
                        <a:pt x="37" y="1342"/>
                      </a:lnTo>
                      <a:lnTo>
                        <a:pt x="37" y="1342"/>
                      </a:lnTo>
                      <a:lnTo>
                        <a:pt x="37" y="1341"/>
                      </a:lnTo>
                      <a:lnTo>
                        <a:pt x="36" y="1342"/>
                      </a:lnTo>
                      <a:lnTo>
                        <a:pt x="35" y="1342"/>
                      </a:lnTo>
                      <a:lnTo>
                        <a:pt x="34" y="1342"/>
                      </a:lnTo>
                      <a:lnTo>
                        <a:pt x="35" y="1341"/>
                      </a:lnTo>
                      <a:lnTo>
                        <a:pt x="35" y="1339"/>
                      </a:lnTo>
                      <a:lnTo>
                        <a:pt x="32" y="1338"/>
                      </a:lnTo>
                      <a:lnTo>
                        <a:pt x="31" y="1338"/>
                      </a:lnTo>
                      <a:lnTo>
                        <a:pt x="31" y="1339"/>
                      </a:lnTo>
                      <a:lnTo>
                        <a:pt x="31" y="1339"/>
                      </a:lnTo>
                      <a:lnTo>
                        <a:pt x="30" y="1339"/>
                      </a:lnTo>
                      <a:lnTo>
                        <a:pt x="30" y="1339"/>
                      </a:lnTo>
                      <a:lnTo>
                        <a:pt x="31" y="1339"/>
                      </a:lnTo>
                      <a:lnTo>
                        <a:pt x="31" y="1338"/>
                      </a:lnTo>
                      <a:lnTo>
                        <a:pt x="30" y="1338"/>
                      </a:lnTo>
                      <a:lnTo>
                        <a:pt x="30" y="1337"/>
                      </a:lnTo>
                      <a:lnTo>
                        <a:pt x="30" y="1337"/>
                      </a:lnTo>
                      <a:lnTo>
                        <a:pt x="29" y="1336"/>
                      </a:lnTo>
                      <a:lnTo>
                        <a:pt x="29" y="1336"/>
                      </a:lnTo>
                      <a:lnTo>
                        <a:pt x="29" y="1335"/>
                      </a:lnTo>
                      <a:lnTo>
                        <a:pt x="28" y="1334"/>
                      </a:lnTo>
                      <a:lnTo>
                        <a:pt x="28" y="1334"/>
                      </a:lnTo>
                      <a:lnTo>
                        <a:pt x="27" y="1334"/>
                      </a:lnTo>
                      <a:lnTo>
                        <a:pt x="27" y="1335"/>
                      </a:lnTo>
                      <a:lnTo>
                        <a:pt x="26" y="1335"/>
                      </a:lnTo>
                      <a:lnTo>
                        <a:pt x="26" y="1334"/>
                      </a:lnTo>
                      <a:lnTo>
                        <a:pt x="26" y="1334"/>
                      </a:lnTo>
                      <a:lnTo>
                        <a:pt x="26" y="1334"/>
                      </a:lnTo>
                      <a:lnTo>
                        <a:pt x="26" y="1332"/>
                      </a:lnTo>
                      <a:lnTo>
                        <a:pt x="26" y="1332"/>
                      </a:lnTo>
                      <a:lnTo>
                        <a:pt x="27" y="1332"/>
                      </a:lnTo>
                      <a:lnTo>
                        <a:pt x="27" y="1331"/>
                      </a:lnTo>
                      <a:lnTo>
                        <a:pt x="28" y="1331"/>
                      </a:lnTo>
                      <a:lnTo>
                        <a:pt x="28" y="1330"/>
                      </a:lnTo>
                      <a:lnTo>
                        <a:pt x="27" y="1330"/>
                      </a:lnTo>
                      <a:lnTo>
                        <a:pt x="27" y="1330"/>
                      </a:lnTo>
                      <a:lnTo>
                        <a:pt x="28" y="1329"/>
                      </a:lnTo>
                      <a:lnTo>
                        <a:pt x="28" y="1329"/>
                      </a:lnTo>
                      <a:lnTo>
                        <a:pt x="28" y="1330"/>
                      </a:lnTo>
                      <a:lnTo>
                        <a:pt x="29" y="1330"/>
                      </a:lnTo>
                      <a:lnTo>
                        <a:pt x="29" y="1330"/>
                      </a:lnTo>
                      <a:lnTo>
                        <a:pt x="29" y="1330"/>
                      </a:lnTo>
                      <a:lnTo>
                        <a:pt x="29" y="1332"/>
                      </a:lnTo>
                      <a:lnTo>
                        <a:pt x="30" y="1333"/>
                      </a:lnTo>
                      <a:lnTo>
                        <a:pt x="30" y="1333"/>
                      </a:lnTo>
                      <a:lnTo>
                        <a:pt x="31" y="1333"/>
                      </a:lnTo>
                      <a:lnTo>
                        <a:pt x="31" y="1333"/>
                      </a:lnTo>
                      <a:lnTo>
                        <a:pt x="32" y="1333"/>
                      </a:lnTo>
                      <a:lnTo>
                        <a:pt x="32" y="1333"/>
                      </a:lnTo>
                      <a:lnTo>
                        <a:pt x="32" y="1333"/>
                      </a:lnTo>
                      <a:lnTo>
                        <a:pt x="32" y="1332"/>
                      </a:lnTo>
                      <a:lnTo>
                        <a:pt x="32" y="1332"/>
                      </a:lnTo>
                      <a:lnTo>
                        <a:pt x="32" y="1331"/>
                      </a:lnTo>
                      <a:lnTo>
                        <a:pt x="31" y="1331"/>
                      </a:lnTo>
                      <a:lnTo>
                        <a:pt x="31" y="1331"/>
                      </a:lnTo>
                      <a:lnTo>
                        <a:pt x="31" y="1330"/>
                      </a:lnTo>
                      <a:lnTo>
                        <a:pt x="31" y="1330"/>
                      </a:lnTo>
                      <a:lnTo>
                        <a:pt x="32" y="1330"/>
                      </a:lnTo>
                      <a:lnTo>
                        <a:pt x="32" y="1330"/>
                      </a:lnTo>
                      <a:lnTo>
                        <a:pt x="32" y="1330"/>
                      </a:lnTo>
                      <a:lnTo>
                        <a:pt x="33" y="1329"/>
                      </a:lnTo>
                      <a:lnTo>
                        <a:pt x="32" y="1328"/>
                      </a:lnTo>
                      <a:lnTo>
                        <a:pt x="33" y="1327"/>
                      </a:lnTo>
                      <a:lnTo>
                        <a:pt x="32" y="1327"/>
                      </a:lnTo>
                      <a:lnTo>
                        <a:pt x="31" y="1326"/>
                      </a:lnTo>
                      <a:lnTo>
                        <a:pt x="31" y="1326"/>
                      </a:lnTo>
                      <a:lnTo>
                        <a:pt x="31" y="1326"/>
                      </a:lnTo>
                      <a:lnTo>
                        <a:pt x="30" y="1327"/>
                      </a:lnTo>
                      <a:lnTo>
                        <a:pt x="30" y="1326"/>
                      </a:lnTo>
                      <a:lnTo>
                        <a:pt x="31" y="1326"/>
                      </a:lnTo>
                      <a:lnTo>
                        <a:pt x="30" y="1325"/>
                      </a:lnTo>
                      <a:lnTo>
                        <a:pt x="31" y="1325"/>
                      </a:lnTo>
                      <a:lnTo>
                        <a:pt x="32" y="1325"/>
                      </a:lnTo>
                      <a:lnTo>
                        <a:pt x="32" y="1325"/>
                      </a:lnTo>
                      <a:lnTo>
                        <a:pt x="33" y="1325"/>
                      </a:lnTo>
                      <a:lnTo>
                        <a:pt x="33" y="1324"/>
                      </a:lnTo>
                      <a:lnTo>
                        <a:pt x="33" y="1324"/>
                      </a:lnTo>
                      <a:lnTo>
                        <a:pt x="33" y="1324"/>
                      </a:lnTo>
                      <a:lnTo>
                        <a:pt x="33" y="1324"/>
                      </a:lnTo>
                      <a:lnTo>
                        <a:pt x="33" y="1323"/>
                      </a:lnTo>
                      <a:lnTo>
                        <a:pt x="35" y="1324"/>
                      </a:lnTo>
                      <a:lnTo>
                        <a:pt x="35" y="1324"/>
                      </a:lnTo>
                      <a:lnTo>
                        <a:pt x="35" y="1323"/>
                      </a:lnTo>
                      <a:lnTo>
                        <a:pt x="35" y="1323"/>
                      </a:lnTo>
                      <a:lnTo>
                        <a:pt x="36" y="1322"/>
                      </a:lnTo>
                      <a:lnTo>
                        <a:pt x="36" y="1322"/>
                      </a:lnTo>
                      <a:lnTo>
                        <a:pt x="36" y="1321"/>
                      </a:lnTo>
                      <a:lnTo>
                        <a:pt x="36" y="1320"/>
                      </a:lnTo>
                      <a:lnTo>
                        <a:pt x="35" y="1320"/>
                      </a:lnTo>
                      <a:lnTo>
                        <a:pt x="35" y="1320"/>
                      </a:lnTo>
                      <a:lnTo>
                        <a:pt x="36" y="1319"/>
                      </a:lnTo>
                      <a:lnTo>
                        <a:pt x="36" y="1319"/>
                      </a:lnTo>
                      <a:lnTo>
                        <a:pt x="36" y="1319"/>
                      </a:lnTo>
                      <a:lnTo>
                        <a:pt x="36" y="1318"/>
                      </a:lnTo>
                      <a:lnTo>
                        <a:pt x="37" y="1317"/>
                      </a:lnTo>
                      <a:lnTo>
                        <a:pt x="38" y="1316"/>
                      </a:lnTo>
                      <a:lnTo>
                        <a:pt x="37" y="1316"/>
                      </a:lnTo>
                      <a:lnTo>
                        <a:pt x="37" y="1314"/>
                      </a:lnTo>
                      <a:lnTo>
                        <a:pt x="38" y="1314"/>
                      </a:lnTo>
                      <a:lnTo>
                        <a:pt x="38" y="1315"/>
                      </a:lnTo>
                      <a:lnTo>
                        <a:pt x="39" y="1315"/>
                      </a:lnTo>
                      <a:lnTo>
                        <a:pt x="38" y="1314"/>
                      </a:lnTo>
                      <a:lnTo>
                        <a:pt x="38" y="1314"/>
                      </a:lnTo>
                      <a:lnTo>
                        <a:pt x="38" y="1314"/>
                      </a:lnTo>
                      <a:lnTo>
                        <a:pt x="38" y="1313"/>
                      </a:lnTo>
                      <a:lnTo>
                        <a:pt x="37" y="1312"/>
                      </a:lnTo>
                      <a:lnTo>
                        <a:pt x="37" y="1312"/>
                      </a:lnTo>
                      <a:lnTo>
                        <a:pt x="37" y="1311"/>
                      </a:lnTo>
                      <a:lnTo>
                        <a:pt x="37" y="1311"/>
                      </a:lnTo>
                      <a:lnTo>
                        <a:pt x="38" y="1312"/>
                      </a:lnTo>
                      <a:lnTo>
                        <a:pt x="39" y="1311"/>
                      </a:lnTo>
                      <a:lnTo>
                        <a:pt x="38" y="1311"/>
                      </a:lnTo>
                      <a:lnTo>
                        <a:pt x="39" y="1311"/>
                      </a:lnTo>
                      <a:lnTo>
                        <a:pt x="39" y="1310"/>
                      </a:lnTo>
                      <a:lnTo>
                        <a:pt x="40" y="1310"/>
                      </a:lnTo>
                      <a:lnTo>
                        <a:pt x="41" y="1310"/>
                      </a:lnTo>
                      <a:lnTo>
                        <a:pt x="42" y="1311"/>
                      </a:lnTo>
                      <a:lnTo>
                        <a:pt x="42" y="1311"/>
                      </a:lnTo>
                      <a:lnTo>
                        <a:pt x="42" y="1312"/>
                      </a:lnTo>
                      <a:lnTo>
                        <a:pt x="43" y="1312"/>
                      </a:lnTo>
                      <a:lnTo>
                        <a:pt x="43" y="1311"/>
                      </a:lnTo>
                      <a:lnTo>
                        <a:pt x="43" y="1311"/>
                      </a:lnTo>
                      <a:lnTo>
                        <a:pt x="43" y="1311"/>
                      </a:lnTo>
                      <a:lnTo>
                        <a:pt x="43" y="1312"/>
                      </a:lnTo>
                      <a:lnTo>
                        <a:pt x="44" y="1312"/>
                      </a:lnTo>
                      <a:lnTo>
                        <a:pt x="45" y="1311"/>
                      </a:lnTo>
                      <a:lnTo>
                        <a:pt x="44" y="1311"/>
                      </a:lnTo>
                      <a:lnTo>
                        <a:pt x="44" y="1310"/>
                      </a:lnTo>
                      <a:lnTo>
                        <a:pt x="46" y="1310"/>
                      </a:lnTo>
                      <a:lnTo>
                        <a:pt x="46" y="1310"/>
                      </a:lnTo>
                      <a:lnTo>
                        <a:pt x="46" y="1310"/>
                      </a:lnTo>
                      <a:lnTo>
                        <a:pt x="47" y="1310"/>
                      </a:lnTo>
                      <a:lnTo>
                        <a:pt x="47" y="1312"/>
                      </a:lnTo>
                      <a:lnTo>
                        <a:pt x="49" y="1314"/>
                      </a:lnTo>
                      <a:lnTo>
                        <a:pt x="50" y="1314"/>
                      </a:lnTo>
                      <a:lnTo>
                        <a:pt x="51" y="1315"/>
                      </a:lnTo>
                      <a:lnTo>
                        <a:pt x="51" y="1315"/>
                      </a:lnTo>
                      <a:lnTo>
                        <a:pt x="51" y="1314"/>
                      </a:lnTo>
                      <a:lnTo>
                        <a:pt x="50" y="1314"/>
                      </a:lnTo>
                      <a:lnTo>
                        <a:pt x="50" y="1314"/>
                      </a:lnTo>
                      <a:lnTo>
                        <a:pt x="52" y="1314"/>
                      </a:lnTo>
                      <a:lnTo>
                        <a:pt x="53" y="1314"/>
                      </a:lnTo>
                      <a:lnTo>
                        <a:pt x="53" y="1315"/>
                      </a:lnTo>
                      <a:lnTo>
                        <a:pt x="52" y="1316"/>
                      </a:lnTo>
                      <a:lnTo>
                        <a:pt x="52" y="1316"/>
                      </a:lnTo>
                      <a:lnTo>
                        <a:pt x="52" y="1316"/>
                      </a:lnTo>
                      <a:lnTo>
                        <a:pt x="54" y="1317"/>
                      </a:lnTo>
                      <a:lnTo>
                        <a:pt x="53" y="1316"/>
                      </a:lnTo>
                      <a:lnTo>
                        <a:pt x="54" y="1317"/>
                      </a:lnTo>
                      <a:lnTo>
                        <a:pt x="55" y="1317"/>
                      </a:lnTo>
                      <a:lnTo>
                        <a:pt x="56" y="1316"/>
                      </a:lnTo>
                      <a:lnTo>
                        <a:pt x="57" y="1316"/>
                      </a:lnTo>
                      <a:lnTo>
                        <a:pt x="57" y="1317"/>
                      </a:lnTo>
                      <a:lnTo>
                        <a:pt x="57" y="1317"/>
                      </a:lnTo>
                      <a:lnTo>
                        <a:pt x="56" y="1317"/>
                      </a:lnTo>
                      <a:lnTo>
                        <a:pt x="55" y="1318"/>
                      </a:lnTo>
                      <a:lnTo>
                        <a:pt x="55" y="1318"/>
                      </a:lnTo>
                      <a:lnTo>
                        <a:pt x="55" y="1317"/>
                      </a:lnTo>
                      <a:lnTo>
                        <a:pt x="54" y="1317"/>
                      </a:lnTo>
                      <a:lnTo>
                        <a:pt x="55" y="1318"/>
                      </a:lnTo>
                      <a:lnTo>
                        <a:pt x="54" y="1318"/>
                      </a:lnTo>
                      <a:lnTo>
                        <a:pt x="54" y="1319"/>
                      </a:lnTo>
                      <a:lnTo>
                        <a:pt x="55" y="1319"/>
                      </a:lnTo>
                      <a:lnTo>
                        <a:pt x="55" y="1319"/>
                      </a:lnTo>
                      <a:lnTo>
                        <a:pt x="57" y="1320"/>
                      </a:lnTo>
                      <a:lnTo>
                        <a:pt x="58" y="1320"/>
                      </a:lnTo>
                      <a:lnTo>
                        <a:pt x="58" y="1320"/>
                      </a:lnTo>
                      <a:lnTo>
                        <a:pt x="58" y="1321"/>
                      </a:lnTo>
                      <a:lnTo>
                        <a:pt x="59" y="1321"/>
                      </a:lnTo>
                      <a:lnTo>
                        <a:pt x="60" y="1320"/>
                      </a:lnTo>
                      <a:lnTo>
                        <a:pt x="62" y="1319"/>
                      </a:lnTo>
                      <a:lnTo>
                        <a:pt x="62" y="1318"/>
                      </a:lnTo>
                      <a:lnTo>
                        <a:pt x="62" y="1317"/>
                      </a:lnTo>
                      <a:lnTo>
                        <a:pt x="62" y="1317"/>
                      </a:lnTo>
                      <a:lnTo>
                        <a:pt x="62" y="1316"/>
                      </a:lnTo>
                      <a:lnTo>
                        <a:pt x="63" y="1315"/>
                      </a:lnTo>
                      <a:lnTo>
                        <a:pt x="64" y="1314"/>
                      </a:lnTo>
                      <a:lnTo>
                        <a:pt x="63" y="1312"/>
                      </a:lnTo>
                      <a:lnTo>
                        <a:pt x="62" y="1312"/>
                      </a:lnTo>
                      <a:lnTo>
                        <a:pt x="62" y="1312"/>
                      </a:lnTo>
                      <a:lnTo>
                        <a:pt x="64" y="1311"/>
                      </a:lnTo>
                      <a:lnTo>
                        <a:pt x="67" y="1310"/>
                      </a:lnTo>
                      <a:lnTo>
                        <a:pt x="70" y="1308"/>
                      </a:lnTo>
                      <a:lnTo>
                        <a:pt x="71" y="1307"/>
                      </a:lnTo>
                      <a:lnTo>
                        <a:pt x="71" y="1305"/>
                      </a:lnTo>
                      <a:lnTo>
                        <a:pt x="70" y="1304"/>
                      </a:lnTo>
                      <a:lnTo>
                        <a:pt x="69" y="1304"/>
                      </a:lnTo>
                      <a:lnTo>
                        <a:pt x="69" y="1305"/>
                      </a:lnTo>
                      <a:lnTo>
                        <a:pt x="68" y="1305"/>
                      </a:lnTo>
                      <a:lnTo>
                        <a:pt x="68" y="1305"/>
                      </a:lnTo>
                      <a:lnTo>
                        <a:pt x="68" y="1304"/>
                      </a:lnTo>
                      <a:lnTo>
                        <a:pt x="68" y="1304"/>
                      </a:lnTo>
                      <a:lnTo>
                        <a:pt x="68" y="1303"/>
                      </a:lnTo>
                      <a:lnTo>
                        <a:pt x="68" y="1303"/>
                      </a:lnTo>
                      <a:lnTo>
                        <a:pt x="69" y="1303"/>
                      </a:lnTo>
                      <a:lnTo>
                        <a:pt x="70" y="1304"/>
                      </a:lnTo>
                      <a:lnTo>
                        <a:pt x="71" y="1303"/>
                      </a:lnTo>
                      <a:lnTo>
                        <a:pt x="71" y="1301"/>
                      </a:lnTo>
                      <a:lnTo>
                        <a:pt x="71" y="1300"/>
                      </a:lnTo>
                      <a:lnTo>
                        <a:pt x="71" y="1300"/>
                      </a:lnTo>
                      <a:lnTo>
                        <a:pt x="72" y="1300"/>
                      </a:lnTo>
                      <a:lnTo>
                        <a:pt x="72" y="1301"/>
                      </a:lnTo>
                      <a:lnTo>
                        <a:pt x="72" y="1301"/>
                      </a:lnTo>
                      <a:lnTo>
                        <a:pt x="73" y="1300"/>
                      </a:lnTo>
                      <a:lnTo>
                        <a:pt x="73" y="1299"/>
                      </a:lnTo>
                      <a:lnTo>
                        <a:pt x="73" y="1299"/>
                      </a:lnTo>
                      <a:lnTo>
                        <a:pt x="73" y="1299"/>
                      </a:lnTo>
                      <a:lnTo>
                        <a:pt x="74" y="1298"/>
                      </a:lnTo>
                      <a:lnTo>
                        <a:pt x="75" y="1297"/>
                      </a:lnTo>
                      <a:lnTo>
                        <a:pt x="75" y="1298"/>
                      </a:lnTo>
                      <a:lnTo>
                        <a:pt x="76" y="1299"/>
                      </a:lnTo>
                      <a:lnTo>
                        <a:pt x="76" y="1300"/>
                      </a:lnTo>
                      <a:lnTo>
                        <a:pt x="76" y="1300"/>
                      </a:lnTo>
                      <a:lnTo>
                        <a:pt x="74" y="1301"/>
                      </a:lnTo>
                      <a:lnTo>
                        <a:pt x="74" y="1301"/>
                      </a:lnTo>
                      <a:lnTo>
                        <a:pt x="73" y="1303"/>
                      </a:lnTo>
                      <a:lnTo>
                        <a:pt x="73" y="1305"/>
                      </a:lnTo>
                      <a:lnTo>
                        <a:pt x="73" y="1306"/>
                      </a:lnTo>
                      <a:lnTo>
                        <a:pt x="73" y="1306"/>
                      </a:lnTo>
                      <a:lnTo>
                        <a:pt x="71" y="1309"/>
                      </a:lnTo>
                      <a:lnTo>
                        <a:pt x="71" y="1310"/>
                      </a:lnTo>
                      <a:lnTo>
                        <a:pt x="70" y="1310"/>
                      </a:lnTo>
                      <a:lnTo>
                        <a:pt x="70" y="1311"/>
                      </a:lnTo>
                      <a:lnTo>
                        <a:pt x="70" y="1311"/>
                      </a:lnTo>
                      <a:lnTo>
                        <a:pt x="71" y="1312"/>
                      </a:lnTo>
                      <a:lnTo>
                        <a:pt x="72" y="1312"/>
                      </a:lnTo>
                      <a:lnTo>
                        <a:pt x="72" y="1313"/>
                      </a:lnTo>
                      <a:lnTo>
                        <a:pt x="73" y="1313"/>
                      </a:lnTo>
                      <a:lnTo>
                        <a:pt x="73" y="1313"/>
                      </a:lnTo>
                      <a:lnTo>
                        <a:pt x="73" y="1312"/>
                      </a:lnTo>
                      <a:lnTo>
                        <a:pt x="74" y="1312"/>
                      </a:lnTo>
                      <a:lnTo>
                        <a:pt x="74" y="1312"/>
                      </a:lnTo>
                      <a:lnTo>
                        <a:pt x="74" y="1312"/>
                      </a:lnTo>
                      <a:lnTo>
                        <a:pt x="75" y="1313"/>
                      </a:lnTo>
                      <a:lnTo>
                        <a:pt x="75" y="1313"/>
                      </a:lnTo>
                      <a:lnTo>
                        <a:pt x="76" y="1313"/>
                      </a:lnTo>
                      <a:lnTo>
                        <a:pt x="76" y="1314"/>
                      </a:lnTo>
                      <a:lnTo>
                        <a:pt x="77" y="1314"/>
                      </a:lnTo>
                      <a:lnTo>
                        <a:pt x="77" y="1313"/>
                      </a:lnTo>
                      <a:lnTo>
                        <a:pt x="77" y="1314"/>
                      </a:lnTo>
                      <a:lnTo>
                        <a:pt x="77" y="1313"/>
                      </a:lnTo>
                      <a:lnTo>
                        <a:pt x="77" y="1314"/>
                      </a:lnTo>
                      <a:lnTo>
                        <a:pt x="79" y="1314"/>
                      </a:lnTo>
                      <a:lnTo>
                        <a:pt x="79" y="1314"/>
                      </a:lnTo>
                      <a:lnTo>
                        <a:pt x="80" y="1314"/>
                      </a:lnTo>
                      <a:lnTo>
                        <a:pt x="80" y="1314"/>
                      </a:lnTo>
                      <a:lnTo>
                        <a:pt x="80" y="1315"/>
                      </a:lnTo>
                      <a:lnTo>
                        <a:pt x="80" y="1315"/>
                      </a:lnTo>
                      <a:lnTo>
                        <a:pt x="80" y="1316"/>
                      </a:lnTo>
                      <a:lnTo>
                        <a:pt x="80" y="1316"/>
                      </a:lnTo>
                      <a:lnTo>
                        <a:pt x="80" y="1317"/>
                      </a:lnTo>
                      <a:lnTo>
                        <a:pt x="80" y="1317"/>
                      </a:lnTo>
                      <a:lnTo>
                        <a:pt x="80" y="1317"/>
                      </a:lnTo>
                      <a:lnTo>
                        <a:pt x="79" y="1318"/>
                      </a:lnTo>
                      <a:lnTo>
                        <a:pt x="80" y="1318"/>
                      </a:lnTo>
                      <a:lnTo>
                        <a:pt x="80" y="1318"/>
                      </a:lnTo>
                      <a:lnTo>
                        <a:pt x="80" y="1318"/>
                      </a:lnTo>
                      <a:lnTo>
                        <a:pt x="81" y="1318"/>
                      </a:lnTo>
                      <a:lnTo>
                        <a:pt x="81" y="1318"/>
                      </a:lnTo>
                      <a:lnTo>
                        <a:pt x="81" y="1317"/>
                      </a:lnTo>
                      <a:lnTo>
                        <a:pt x="80" y="1316"/>
                      </a:lnTo>
                      <a:lnTo>
                        <a:pt x="81" y="1316"/>
                      </a:lnTo>
                      <a:lnTo>
                        <a:pt x="82" y="1316"/>
                      </a:lnTo>
                      <a:lnTo>
                        <a:pt x="82" y="1316"/>
                      </a:lnTo>
                      <a:lnTo>
                        <a:pt x="81" y="1315"/>
                      </a:lnTo>
                      <a:lnTo>
                        <a:pt x="81" y="1315"/>
                      </a:lnTo>
                      <a:lnTo>
                        <a:pt x="80" y="1315"/>
                      </a:lnTo>
                      <a:lnTo>
                        <a:pt x="81" y="1314"/>
                      </a:lnTo>
                      <a:lnTo>
                        <a:pt x="81" y="1314"/>
                      </a:lnTo>
                      <a:lnTo>
                        <a:pt x="81" y="1315"/>
                      </a:lnTo>
                      <a:lnTo>
                        <a:pt x="82" y="1314"/>
                      </a:lnTo>
                      <a:lnTo>
                        <a:pt x="81" y="1313"/>
                      </a:lnTo>
                      <a:lnTo>
                        <a:pt x="81" y="1314"/>
                      </a:lnTo>
                      <a:lnTo>
                        <a:pt x="81" y="1313"/>
                      </a:lnTo>
                      <a:lnTo>
                        <a:pt x="81" y="1312"/>
                      </a:lnTo>
                      <a:lnTo>
                        <a:pt x="80" y="1312"/>
                      </a:lnTo>
                      <a:lnTo>
                        <a:pt x="80" y="1312"/>
                      </a:lnTo>
                      <a:lnTo>
                        <a:pt x="79" y="1312"/>
                      </a:lnTo>
                      <a:lnTo>
                        <a:pt x="79" y="1312"/>
                      </a:lnTo>
                      <a:lnTo>
                        <a:pt x="78" y="1312"/>
                      </a:lnTo>
                      <a:lnTo>
                        <a:pt x="78" y="1312"/>
                      </a:lnTo>
                      <a:lnTo>
                        <a:pt x="78" y="1311"/>
                      </a:lnTo>
                      <a:lnTo>
                        <a:pt x="78" y="1311"/>
                      </a:lnTo>
                      <a:lnTo>
                        <a:pt x="78" y="1311"/>
                      </a:lnTo>
                      <a:lnTo>
                        <a:pt x="76" y="1312"/>
                      </a:lnTo>
                      <a:lnTo>
                        <a:pt x="75" y="1311"/>
                      </a:lnTo>
                      <a:lnTo>
                        <a:pt x="75" y="1311"/>
                      </a:lnTo>
                      <a:lnTo>
                        <a:pt x="76" y="1311"/>
                      </a:lnTo>
                      <a:lnTo>
                        <a:pt x="76" y="1311"/>
                      </a:lnTo>
                      <a:lnTo>
                        <a:pt x="76" y="1310"/>
                      </a:lnTo>
                      <a:lnTo>
                        <a:pt x="77" y="1310"/>
                      </a:lnTo>
                      <a:lnTo>
                        <a:pt x="77" y="1310"/>
                      </a:lnTo>
                      <a:lnTo>
                        <a:pt x="78" y="1310"/>
                      </a:lnTo>
                      <a:lnTo>
                        <a:pt x="78" y="1310"/>
                      </a:lnTo>
                      <a:lnTo>
                        <a:pt x="79" y="1309"/>
                      </a:lnTo>
                      <a:lnTo>
                        <a:pt x="80" y="1309"/>
                      </a:lnTo>
                      <a:lnTo>
                        <a:pt x="80" y="1309"/>
                      </a:lnTo>
                      <a:lnTo>
                        <a:pt x="81" y="1309"/>
                      </a:lnTo>
                      <a:lnTo>
                        <a:pt x="81" y="1309"/>
                      </a:lnTo>
                      <a:lnTo>
                        <a:pt x="81" y="1309"/>
                      </a:lnTo>
                      <a:lnTo>
                        <a:pt x="81" y="1309"/>
                      </a:lnTo>
                      <a:lnTo>
                        <a:pt x="81" y="1309"/>
                      </a:lnTo>
                      <a:lnTo>
                        <a:pt x="81" y="1310"/>
                      </a:lnTo>
                      <a:lnTo>
                        <a:pt x="81" y="1309"/>
                      </a:lnTo>
                      <a:lnTo>
                        <a:pt x="81" y="1310"/>
                      </a:lnTo>
                      <a:lnTo>
                        <a:pt x="81" y="1310"/>
                      </a:lnTo>
                      <a:lnTo>
                        <a:pt x="81" y="1311"/>
                      </a:lnTo>
                      <a:lnTo>
                        <a:pt x="82" y="1311"/>
                      </a:lnTo>
                      <a:lnTo>
                        <a:pt x="82" y="1312"/>
                      </a:lnTo>
                      <a:lnTo>
                        <a:pt x="82" y="1312"/>
                      </a:lnTo>
                      <a:lnTo>
                        <a:pt x="82" y="1313"/>
                      </a:lnTo>
                      <a:lnTo>
                        <a:pt x="82" y="1313"/>
                      </a:lnTo>
                      <a:lnTo>
                        <a:pt x="83" y="1313"/>
                      </a:lnTo>
                      <a:lnTo>
                        <a:pt x="84" y="1314"/>
                      </a:lnTo>
                      <a:lnTo>
                        <a:pt x="84" y="1314"/>
                      </a:lnTo>
                      <a:lnTo>
                        <a:pt x="83" y="1314"/>
                      </a:lnTo>
                      <a:lnTo>
                        <a:pt x="83" y="1314"/>
                      </a:lnTo>
                      <a:lnTo>
                        <a:pt x="83" y="1314"/>
                      </a:lnTo>
                      <a:lnTo>
                        <a:pt x="84" y="1315"/>
                      </a:lnTo>
                      <a:lnTo>
                        <a:pt x="83" y="1316"/>
                      </a:lnTo>
                      <a:lnTo>
                        <a:pt x="84" y="1316"/>
                      </a:lnTo>
                      <a:lnTo>
                        <a:pt x="85" y="1316"/>
                      </a:lnTo>
                      <a:lnTo>
                        <a:pt x="85" y="1315"/>
                      </a:lnTo>
                      <a:lnTo>
                        <a:pt x="86" y="1315"/>
                      </a:lnTo>
                      <a:lnTo>
                        <a:pt x="86" y="1314"/>
                      </a:lnTo>
                      <a:lnTo>
                        <a:pt x="85" y="1314"/>
                      </a:lnTo>
                      <a:lnTo>
                        <a:pt x="85" y="1313"/>
                      </a:lnTo>
                      <a:lnTo>
                        <a:pt x="87" y="1313"/>
                      </a:lnTo>
                      <a:lnTo>
                        <a:pt x="89" y="1313"/>
                      </a:lnTo>
                      <a:lnTo>
                        <a:pt x="89" y="1312"/>
                      </a:lnTo>
                      <a:lnTo>
                        <a:pt x="88" y="1312"/>
                      </a:lnTo>
                      <a:lnTo>
                        <a:pt x="87" y="1313"/>
                      </a:lnTo>
                      <a:lnTo>
                        <a:pt x="87" y="1312"/>
                      </a:lnTo>
                      <a:lnTo>
                        <a:pt x="86" y="1312"/>
                      </a:lnTo>
                      <a:lnTo>
                        <a:pt x="85" y="1313"/>
                      </a:lnTo>
                      <a:lnTo>
                        <a:pt x="85" y="1312"/>
                      </a:lnTo>
                      <a:lnTo>
                        <a:pt x="84" y="1312"/>
                      </a:lnTo>
                      <a:lnTo>
                        <a:pt x="83" y="1311"/>
                      </a:lnTo>
                      <a:lnTo>
                        <a:pt x="83" y="1311"/>
                      </a:lnTo>
                      <a:lnTo>
                        <a:pt x="82" y="1310"/>
                      </a:lnTo>
                      <a:lnTo>
                        <a:pt x="84" y="1309"/>
                      </a:lnTo>
                      <a:lnTo>
                        <a:pt x="84" y="1309"/>
                      </a:lnTo>
                      <a:lnTo>
                        <a:pt x="86" y="1309"/>
                      </a:lnTo>
                      <a:lnTo>
                        <a:pt x="88" y="1308"/>
                      </a:lnTo>
                      <a:lnTo>
                        <a:pt x="88" y="1307"/>
                      </a:lnTo>
                      <a:lnTo>
                        <a:pt x="89" y="1307"/>
                      </a:lnTo>
                      <a:lnTo>
                        <a:pt x="89" y="1307"/>
                      </a:lnTo>
                      <a:lnTo>
                        <a:pt x="90" y="1306"/>
                      </a:lnTo>
                      <a:lnTo>
                        <a:pt x="90" y="1306"/>
                      </a:lnTo>
                      <a:lnTo>
                        <a:pt x="90" y="1306"/>
                      </a:lnTo>
                      <a:lnTo>
                        <a:pt x="91" y="1306"/>
                      </a:lnTo>
                      <a:lnTo>
                        <a:pt x="90" y="1305"/>
                      </a:lnTo>
                      <a:lnTo>
                        <a:pt x="90" y="1304"/>
                      </a:lnTo>
                      <a:lnTo>
                        <a:pt x="92" y="1303"/>
                      </a:lnTo>
                      <a:lnTo>
                        <a:pt x="92" y="1301"/>
                      </a:lnTo>
                      <a:lnTo>
                        <a:pt x="93" y="1301"/>
                      </a:lnTo>
                      <a:lnTo>
                        <a:pt x="93" y="1299"/>
                      </a:lnTo>
                      <a:lnTo>
                        <a:pt x="95" y="1299"/>
                      </a:lnTo>
                      <a:lnTo>
                        <a:pt x="96" y="1300"/>
                      </a:lnTo>
                      <a:lnTo>
                        <a:pt x="96" y="1300"/>
                      </a:lnTo>
                      <a:lnTo>
                        <a:pt x="96" y="1301"/>
                      </a:lnTo>
                      <a:lnTo>
                        <a:pt x="96" y="1301"/>
                      </a:lnTo>
                      <a:lnTo>
                        <a:pt x="97" y="1300"/>
                      </a:lnTo>
                      <a:lnTo>
                        <a:pt x="97" y="1300"/>
                      </a:lnTo>
                      <a:lnTo>
                        <a:pt x="97" y="1299"/>
                      </a:lnTo>
                      <a:lnTo>
                        <a:pt x="97" y="1299"/>
                      </a:lnTo>
                      <a:lnTo>
                        <a:pt x="97" y="1298"/>
                      </a:lnTo>
                      <a:lnTo>
                        <a:pt x="98" y="1298"/>
                      </a:lnTo>
                      <a:lnTo>
                        <a:pt x="98" y="1298"/>
                      </a:lnTo>
                      <a:lnTo>
                        <a:pt x="98" y="1297"/>
                      </a:lnTo>
                      <a:lnTo>
                        <a:pt x="100" y="1296"/>
                      </a:lnTo>
                      <a:lnTo>
                        <a:pt x="100" y="1296"/>
                      </a:lnTo>
                      <a:lnTo>
                        <a:pt x="100" y="1296"/>
                      </a:lnTo>
                      <a:lnTo>
                        <a:pt x="101" y="1296"/>
                      </a:lnTo>
                      <a:lnTo>
                        <a:pt x="101" y="1296"/>
                      </a:lnTo>
                      <a:close/>
                      <a:moveTo>
                        <a:pt x="278" y="1292"/>
                      </a:moveTo>
                      <a:lnTo>
                        <a:pt x="279" y="1293"/>
                      </a:lnTo>
                      <a:lnTo>
                        <a:pt x="280" y="1294"/>
                      </a:lnTo>
                      <a:lnTo>
                        <a:pt x="280" y="1295"/>
                      </a:lnTo>
                      <a:lnTo>
                        <a:pt x="280" y="1295"/>
                      </a:lnTo>
                      <a:lnTo>
                        <a:pt x="281" y="1295"/>
                      </a:lnTo>
                      <a:lnTo>
                        <a:pt x="282" y="1295"/>
                      </a:lnTo>
                      <a:lnTo>
                        <a:pt x="282" y="1295"/>
                      </a:lnTo>
                      <a:lnTo>
                        <a:pt x="283" y="1295"/>
                      </a:lnTo>
                      <a:lnTo>
                        <a:pt x="283" y="1294"/>
                      </a:lnTo>
                      <a:lnTo>
                        <a:pt x="284" y="1294"/>
                      </a:lnTo>
                      <a:lnTo>
                        <a:pt x="284" y="1293"/>
                      </a:lnTo>
                      <a:lnTo>
                        <a:pt x="286" y="1293"/>
                      </a:lnTo>
                      <a:lnTo>
                        <a:pt x="286" y="1293"/>
                      </a:lnTo>
                      <a:lnTo>
                        <a:pt x="288" y="1292"/>
                      </a:lnTo>
                      <a:lnTo>
                        <a:pt x="289" y="1293"/>
                      </a:lnTo>
                      <a:lnTo>
                        <a:pt x="289" y="1292"/>
                      </a:lnTo>
                      <a:lnTo>
                        <a:pt x="290" y="1292"/>
                      </a:lnTo>
                      <a:lnTo>
                        <a:pt x="290" y="1293"/>
                      </a:lnTo>
                      <a:lnTo>
                        <a:pt x="291" y="1295"/>
                      </a:lnTo>
                      <a:lnTo>
                        <a:pt x="291" y="1296"/>
                      </a:lnTo>
                      <a:lnTo>
                        <a:pt x="290" y="1296"/>
                      </a:lnTo>
                      <a:lnTo>
                        <a:pt x="290" y="1297"/>
                      </a:lnTo>
                      <a:lnTo>
                        <a:pt x="290" y="1297"/>
                      </a:lnTo>
                      <a:lnTo>
                        <a:pt x="290" y="1298"/>
                      </a:lnTo>
                      <a:lnTo>
                        <a:pt x="289" y="1298"/>
                      </a:lnTo>
                      <a:lnTo>
                        <a:pt x="289" y="1298"/>
                      </a:lnTo>
                      <a:lnTo>
                        <a:pt x="290" y="1299"/>
                      </a:lnTo>
                      <a:lnTo>
                        <a:pt x="290" y="1298"/>
                      </a:lnTo>
                      <a:lnTo>
                        <a:pt x="292" y="1298"/>
                      </a:lnTo>
                      <a:lnTo>
                        <a:pt x="292" y="1299"/>
                      </a:lnTo>
                      <a:lnTo>
                        <a:pt x="293" y="1300"/>
                      </a:lnTo>
                      <a:lnTo>
                        <a:pt x="293" y="1301"/>
                      </a:lnTo>
                      <a:lnTo>
                        <a:pt x="294" y="1303"/>
                      </a:lnTo>
                      <a:lnTo>
                        <a:pt x="294" y="1303"/>
                      </a:lnTo>
                      <a:lnTo>
                        <a:pt x="296" y="1303"/>
                      </a:lnTo>
                      <a:lnTo>
                        <a:pt x="296" y="1303"/>
                      </a:lnTo>
                      <a:lnTo>
                        <a:pt x="297" y="1303"/>
                      </a:lnTo>
                      <a:lnTo>
                        <a:pt x="298" y="1304"/>
                      </a:lnTo>
                      <a:lnTo>
                        <a:pt x="298" y="1305"/>
                      </a:lnTo>
                      <a:lnTo>
                        <a:pt x="298" y="1306"/>
                      </a:lnTo>
                      <a:lnTo>
                        <a:pt x="299" y="1306"/>
                      </a:lnTo>
                      <a:lnTo>
                        <a:pt x="299" y="1306"/>
                      </a:lnTo>
                      <a:lnTo>
                        <a:pt x="300" y="1309"/>
                      </a:lnTo>
                      <a:lnTo>
                        <a:pt x="300" y="1309"/>
                      </a:lnTo>
                      <a:lnTo>
                        <a:pt x="300" y="1311"/>
                      </a:lnTo>
                      <a:lnTo>
                        <a:pt x="301" y="1312"/>
                      </a:lnTo>
                      <a:lnTo>
                        <a:pt x="302" y="1314"/>
                      </a:lnTo>
                      <a:lnTo>
                        <a:pt x="302" y="1316"/>
                      </a:lnTo>
                      <a:lnTo>
                        <a:pt x="302" y="1317"/>
                      </a:lnTo>
                      <a:lnTo>
                        <a:pt x="302" y="1318"/>
                      </a:lnTo>
                      <a:lnTo>
                        <a:pt x="303" y="1318"/>
                      </a:lnTo>
                      <a:lnTo>
                        <a:pt x="302" y="1319"/>
                      </a:lnTo>
                      <a:lnTo>
                        <a:pt x="302" y="1320"/>
                      </a:lnTo>
                      <a:lnTo>
                        <a:pt x="303" y="1320"/>
                      </a:lnTo>
                      <a:lnTo>
                        <a:pt x="303" y="1321"/>
                      </a:lnTo>
                      <a:lnTo>
                        <a:pt x="305" y="1321"/>
                      </a:lnTo>
                      <a:lnTo>
                        <a:pt x="305" y="1321"/>
                      </a:lnTo>
                      <a:lnTo>
                        <a:pt x="305" y="1321"/>
                      </a:lnTo>
                      <a:lnTo>
                        <a:pt x="306" y="1321"/>
                      </a:lnTo>
                      <a:lnTo>
                        <a:pt x="307" y="1321"/>
                      </a:lnTo>
                      <a:lnTo>
                        <a:pt x="307" y="1321"/>
                      </a:lnTo>
                      <a:lnTo>
                        <a:pt x="308" y="1321"/>
                      </a:lnTo>
                      <a:lnTo>
                        <a:pt x="308" y="1320"/>
                      </a:lnTo>
                      <a:lnTo>
                        <a:pt x="309" y="1320"/>
                      </a:lnTo>
                      <a:lnTo>
                        <a:pt x="309" y="1320"/>
                      </a:lnTo>
                      <a:lnTo>
                        <a:pt x="309" y="1321"/>
                      </a:lnTo>
                      <a:lnTo>
                        <a:pt x="309" y="1321"/>
                      </a:lnTo>
                      <a:lnTo>
                        <a:pt x="309" y="1321"/>
                      </a:lnTo>
                      <a:lnTo>
                        <a:pt x="310" y="1322"/>
                      </a:lnTo>
                      <a:lnTo>
                        <a:pt x="311" y="1322"/>
                      </a:lnTo>
                      <a:lnTo>
                        <a:pt x="311" y="1322"/>
                      </a:lnTo>
                      <a:lnTo>
                        <a:pt x="311" y="1322"/>
                      </a:lnTo>
                      <a:lnTo>
                        <a:pt x="312" y="1322"/>
                      </a:lnTo>
                      <a:lnTo>
                        <a:pt x="312" y="1323"/>
                      </a:lnTo>
                      <a:lnTo>
                        <a:pt x="312" y="1323"/>
                      </a:lnTo>
                      <a:lnTo>
                        <a:pt x="312" y="1323"/>
                      </a:lnTo>
                      <a:lnTo>
                        <a:pt x="313" y="1324"/>
                      </a:lnTo>
                      <a:lnTo>
                        <a:pt x="313" y="1325"/>
                      </a:lnTo>
                      <a:lnTo>
                        <a:pt x="314" y="1326"/>
                      </a:lnTo>
                      <a:lnTo>
                        <a:pt x="314" y="1326"/>
                      </a:lnTo>
                      <a:lnTo>
                        <a:pt x="315" y="1327"/>
                      </a:lnTo>
                      <a:lnTo>
                        <a:pt x="315" y="1328"/>
                      </a:lnTo>
                      <a:lnTo>
                        <a:pt x="315" y="1329"/>
                      </a:lnTo>
                      <a:lnTo>
                        <a:pt x="315" y="1329"/>
                      </a:lnTo>
                      <a:lnTo>
                        <a:pt x="315" y="1329"/>
                      </a:lnTo>
                      <a:lnTo>
                        <a:pt x="316" y="1331"/>
                      </a:lnTo>
                      <a:lnTo>
                        <a:pt x="316" y="1332"/>
                      </a:lnTo>
                      <a:lnTo>
                        <a:pt x="317" y="1334"/>
                      </a:lnTo>
                      <a:lnTo>
                        <a:pt x="317" y="1334"/>
                      </a:lnTo>
                      <a:lnTo>
                        <a:pt x="318" y="1334"/>
                      </a:lnTo>
                      <a:lnTo>
                        <a:pt x="318" y="1334"/>
                      </a:lnTo>
                      <a:lnTo>
                        <a:pt x="319" y="1336"/>
                      </a:lnTo>
                      <a:lnTo>
                        <a:pt x="319" y="1337"/>
                      </a:lnTo>
                      <a:lnTo>
                        <a:pt x="319" y="1337"/>
                      </a:lnTo>
                      <a:lnTo>
                        <a:pt x="319" y="1338"/>
                      </a:lnTo>
                      <a:lnTo>
                        <a:pt x="320" y="1338"/>
                      </a:lnTo>
                      <a:lnTo>
                        <a:pt x="320" y="1339"/>
                      </a:lnTo>
                      <a:lnTo>
                        <a:pt x="320" y="1341"/>
                      </a:lnTo>
                      <a:lnTo>
                        <a:pt x="322" y="1341"/>
                      </a:lnTo>
                      <a:lnTo>
                        <a:pt x="322" y="1339"/>
                      </a:lnTo>
                      <a:lnTo>
                        <a:pt x="324" y="1339"/>
                      </a:lnTo>
                      <a:lnTo>
                        <a:pt x="322" y="1341"/>
                      </a:lnTo>
                      <a:lnTo>
                        <a:pt x="322" y="1343"/>
                      </a:lnTo>
                      <a:lnTo>
                        <a:pt x="322" y="1343"/>
                      </a:lnTo>
                      <a:lnTo>
                        <a:pt x="322" y="1343"/>
                      </a:lnTo>
                      <a:lnTo>
                        <a:pt x="322" y="1344"/>
                      </a:lnTo>
                      <a:lnTo>
                        <a:pt x="322" y="1344"/>
                      </a:lnTo>
                      <a:lnTo>
                        <a:pt x="321" y="1344"/>
                      </a:lnTo>
                      <a:lnTo>
                        <a:pt x="321" y="1345"/>
                      </a:lnTo>
                      <a:lnTo>
                        <a:pt x="321" y="1345"/>
                      </a:lnTo>
                      <a:lnTo>
                        <a:pt x="321" y="1347"/>
                      </a:lnTo>
                      <a:lnTo>
                        <a:pt x="321" y="1348"/>
                      </a:lnTo>
                      <a:lnTo>
                        <a:pt x="321" y="1349"/>
                      </a:lnTo>
                      <a:lnTo>
                        <a:pt x="322" y="1350"/>
                      </a:lnTo>
                      <a:lnTo>
                        <a:pt x="322" y="1352"/>
                      </a:lnTo>
                      <a:lnTo>
                        <a:pt x="321" y="1352"/>
                      </a:lnTo>
                      <a:lnTo>
                        <a:pt x="321" y="1353"/>
                      </a:lnTo>
                      <a:lnTo>
                        <a:pt x="322" y="1353"/>
                      </a:lnTo>
                      <a:lnTo>
                        <a:pt x="322" y="1354"/>
                      </a:lnTo>
                      <a:lnTo>
                        <a:pt x="324" y="1356"/>
                      </a:lnTo>
                      <a:lnTo>
                        <a:pt x="324" y="1357"/>
                      </a:lnTo>
                      <a:lnTo>
                        <a:pt x="322" y="1358"/>
                      </a:lnTo>
                      <a:lnTo>
                        <a:pt x="322" y="1358"/>
                      </a:lnTo>
                      <a:lnTo>
                        <a:pt x="322" y="1359"/>
                      </a:lnTo>
                      <a:lnTo>
                        <a:pt x="322" y="1362"/>
                      </a:lnTo>
                      <a:lnTo>
                        <a:pt x="322" y="1362"/>
                      </a:lnTo>
                      <a:lnTo>
                        <a:pt x="322" y="1363"/>
                      </a:lnTo>
                      <a:lnTo>
                        <a:pt x="322" y="1363"/>
                      </a:lnTo>
                      <a:lnTo>
                        <a:pt x="322" y="1364"/>
                      </a:lnTo>
                      <a:lnTo>
                        <a:pt x="322" y="1366"/>
                      </a:lnTo>
                      <a:lnTo>
                        <a:pt x="322" y="1366"/>
                      </a:lnTo>
                      <a:lnTo>
                        <a:pt x="322" y="1369"/>
                      </a:lnTo>
                      <a:lnTo>
                        <a:pt x="322" y="1370"/>
                      </a:lnTo>
                      <a:lnTo>
                        <a:pt x="321" y="1372"/>
                      </a:lnTo>
                      <a:lnTo>
                        <a:pt x="321" y="1372"/>
                      </a:lnTo>
                      <a:lnTo>
                        <a:pt x="321" y="1372"/>
                      </a:lnTo>
                      <a:lnTo>
                        <a:pt x="321" y="1374"/>
                      </a:lnTo>
                      <a:lnTo>
                        <a:pt x="321" y="1375"/>
                      </a:lnTo>
                      <a:lnTo>
                        <a:pt x="321" y="1375"/>
                      </a:lnTo>
                      <a:lnTo>
                        <a:pt x="322" y="1376"/>
                      </a:lnTo>
                      <a:lnTo>
                        <a:pt x="322" y="1378"/>
                      </a:lnTo>
                      <a:lnTo>
                        <a:pt x="322" y="1379"/>
                      </a:lnTo>
                      <a:lnTo>
                        <a:pt x="322" y="1382"/>
                      </a:lnTo>
                      <a:lnTo>
                        <a:pt x="324" y="1382"/>
                      </a:lnTo>
                      <a:lnTo>
                        <a:pt x="322" y="1383"/>
                      </a:lnTo>
                      <a:lnTo>
                        <a:pt x="324" y="1385"/>
                      </a:lnTo>
                      <a:lnTo>
                        <a:pt x="324" y="1386"/>
                      </a:lnTo>
                      <a:lnTo>
                        <a:pt x="324" y="1386"/>
                      </a:lnTo>
                      <a:lnTo>
                        <a:pt x="324" y="1388"/>
                      </a:lnTo>
                      <a:lnTo>
                        <a:pt x="324" y="1390"/>
                      </a:lnTo>
                      <a:lnTo>
                        <a:pt x="324" y="1390"/>
                      </a:lnTo>
                      <a:lnTo>
                        <a:pt x="322" y="1391"/>
                      </a:lnTo>
                      <a:lnTo>
                        <a:pt x="322" y="1393"/>
                      </a:lnTo>
                      <a:lnTo>
                        <a:pt x="322" y="1394"/>
                      </a:lnTo>
                      <a:lnTo>
                        <a:pt x="322" y="1394"/>
                      </a:lnTo>
                      <a:lnTo>
                        <a:pt x="322" y="1395"/>
                      </a:lnTo>
                      <a:lnTo>
                        <a:pt x="321" y="1399"/>
                      </a:lnTo>
                      <a:lnTo>
                        <a:pt x="321" y="1402"/>
                      </a:lnTo>
                      <a:lnTo>
                        <a:pt x="321" y="1402"/>
                      </a:lnTo>
                      <a:lnTo>
                        <a:pt x="320" y="1404"/>
                      </a:lnTo>
                      <a:lnTo>
                        <a:pt x="320" y="1404"/>
                      </a:lnTo>
                      <a:lnTo>
                        <a:pt x="320" y="1404"/>
                      </a:lnTo>
                      <a:lnTo>
                        <a:pt x="318" y="1405"/>
                      </a:lnTo>
                      <a:lnTo>
                        <a:pt x="317" y="1405"/>
                      </a:lnTo>
                      <a:lnTo>
                        <a:pt x="316" y="1406"/>
                      </a:lnTo>
                      <a:lnTo>
                        <a:pt x="316" y="1407"/>
                      </a:lnTo>
                      <a:lnTo>
                        <a:pt x="316" y="1407"/>
                      </a:lnTo>
                      <a:lnTo>
                        <a:pt x="315" y="1408"/>
                      </a:lnTo>
                      <a:lnTo>
                        <a:pt x="315" y="1408"/>
                      </a:lnTo>
                      <a:lnTo>
                        <a:pt x="313" y="1407"/>
                      </a:lnTo>
                      <a:lnTo>
                        <a:pt x="313" y="1407"/>
                      </a:lnTo>
                      <a:lnTo>
                        <a:pt x="313" y="1407"/>
                      </a:lnTo>
                      <a:lnTo>
                        <a:pt x="312" y="1407"/>
                      </a:lnTo>
                      <a:lnTo>
                        <a:pt x="312" y="1408"/>
                      </a:lnTo>
                      <a:lnTo>
                        <a:pt x="312" y="1408"/>
                      </a:lnTo>
                      <a:lnTo>
                        <a:pt x="312" y="1409"/>
                      </a:lnTo>
                      <a:lnTo>
                        <a:pt x="312" y="1410"/>
                      </a:lnTo>
                      <a:lnTo>
                        <a:pt x="311" y="1409"/>
                      </a:lnTo>
                      <a:lnTo>
                        <a:pt x="311" y="1409"/>
                      </a:lnTo>
                      <a:lnTo>
                        <a:pt x="310" y="1409"/>
                      </a:lnTo>
                      <a:lnTo>
                        <a:pt x="310" y="1409"/>
                      </a:lnTo>
                      <a:lnTo>
                        <a:pt x="310" y="1409"/>
                      </a:lnTo>
                      <a:lnTo>
                        <a:pt x="310" y="1410"/>
                      </a:lnTo>
                      <a:lnTo>
                        <a:pt x="311" y="1411"/>
                      </a:lnTo>
                      <a:lnTo>
                        <a:pt x="311" y="1412"/>
                      </a:lnTo>
                      <a:lnTo>
                        <a:pt x="310" y="1412"/>
                      </a:lnTo>
                      <a:lnTo>
                        <a:pt x="310" y="1413"/>
                      </a:lnTo>
                      <a:lnTo>
                        <a:pt x="310" y="1413"/>
                      </a:lnTo>
                      <a:lnTo>
                        <a:pt x="310" y="1414"/>
                      </a:lnTo>
                      <a:lnTo>
                        <a:pt x="309" y="1414"/>
                      </a:lnTo>
                      <a:lnTo>
                        <a:pt x="309" y="1414"/>
                      </a:lnTo>
                      <a:lnTo>
                        <a:pt x="309" y="1414"/>
                      </a:lnTo>
                      <a:lnTo>
                        <a:pt x="310" y="1414"/>
                      </a:lnTo>
                      <a:lnTo>
                        <a:pt x="311" y="1414"/>
                      </a:lnTo>
                      <a:lnTo>
                        <a:pt x="311" y="1413"/>
                      </a:lnTo>
                      <a:lnTo>
                        <a:pt x="312" y="1413"/>
                      </a:lnTo>
                      <a:lnTo>
                        <a:pt x="312" y="1413"/>
                      </a:lnTo>
                      <a:lnTo>
                        <a:pt x="312" y="1413"/>
                      </a:lnTo>
                      <a:lnTo>
                        <a:pt x="312" y="1412"/>
                      </a:lnTo>
                      <a:lnTo>
                        <a:pt x="313" y="1412"/>
                      </a:lnTo>
                      <a:lnTo>
                        <a:pt x="313" y="1411"/>
                      </a:lnTo>
                      <a:lnTo>
                        <a:pt x="313" y="1411"/>
                      </a:lnTo>
                      <a:lnTo>
                        <a:pt x="313" y="1410"/>
                      </a:lnTo>
                      <a:lnTo>
                        <a:pt x="313" y="1409"/>
                      </a:lnTo>
                      <a:lnTo>
                        <a:pt x="314" y="1410"/>
                      </a:lnTo>
                      <a:lnTo>
                        <a:pt x="314" y="1410"/>
                      </a:lnTo>
                      <a:lnTo>
                        <a:pt x="315" y="1411"/>
                      </a:lnTo>
                      <a:lnTo>
                        <a:pt x="315" y="1411"/>
                      </a:lnTo>
                      <a:lnTo>
                        <a:pt x="316" y="1411"/>
                      </a:lnTo>
                      <a:lnTo>
                        <a:pt x="317" y="1410"/>
                      </a:lnTo>
                      <a:lnTo>
                        <a:pt x="318" y="1410"/>
                      </a:lnTo>
                      <a:lnTo>
                        <a:pt x="318" y="1410"/>
                      </a:lnTo>
                      <a:lnTo>
                        <a:pt x="319" y="1410"/>
                      </a:lnTo>
                      <a:lnTo>
                        <a:pt x="320" y="1410"/>
                      </a:lnTo>
                      <a:lnTo>
                        <a:pt x="322" y="1410"/>
                      </a:lnTo>
                      <a:lnTo>
                        <a:pt x="324" y="1410"/>
                      </a:lnTo>
                      <a:lnTo>
                        <a:pt x="324" y="1411"/>
                      </a:lnTo>
                      <a:lnTo>
                        <a:pt x="324" y="1411"/>
                      </a:lnTo>
                      <a:lnTo>
                        <a:pt x="324" y="1412"/>
                      </a:lnTo>
                      <a:lnTo>
                        <a:pt x="325" y="1413"/>
                      </a:lnTo>
                      <a:lnTo>
                        <a:pt x="326" y="1414"/>
                      </a:lnTo>
                      <a:lnTo>
                        <a:pt x="326" y="1416"/>
                      </a:lnTo>
                      <a:lnTo>
                        <a:pt x="326" y="1416"/>
                      </a:lnTo>
                      <a:lnTo>
                        <a:pt x="326" y="1416"/>
                      </a:lnTo>
                      <a:lnTo>
                        <a:pt x="326" y="1419"/>
                      </a:lnTo>
                      <a:lnTo>
                        <a:pt x="326" y="1419"/>
                      </a:lnTo>
                      <a:lnTo>
                        <a:pt x="326" y="1420"/>
                      </a:lnTo>
                      <a:lnTo>
                        <a:pt x="325" y="1420"/>
                      </a:lnTo>
                      <a:lnTo>
                        <a:pt x="325" y="1421"/>
                      </a:lnTo>
                      <a:lnTo>
                        <a:pt x="324" y="1424"/>
                      </a:lnTo>
                      <a:lnTo>
                        <a:pt x="324" y="1424"/>
                      </a:lnTo>
                      <a:lnTo>
                        <a:pt x="321" y="1424"/>
                      </a:lnTo>
                      <a:lnTo>
                        <a:pt x="321" y="1425"/>
                      </a:lnTo>
                      <a:lnTo>
                        <a:pt x="322" y="1426"/>
                      </a:lnTo>
                      <a:lnTo>
                        <a:pt x="322" y="1427"/>
                      </a:lnTo>
                      <a:lnTo>
                        <a:pt x="324" y="1427"/>
                      </a:lnTo>
                      <a:lnTo>
                        <a:pt x="324" y="1427"/>
                      </a:lnTo>
                      <a:lnTo>
                        <a:pt x="324" y="1428"/>
                      </a:lnTo>
                      <a:lnTo>
                        <a:pt x="325" y="1429"/>
                      </a:lnTo>
                      <a:lnTo>
                        <a:pt x="325" y="1430"/>
                      </a:lnTo>
                      <a:lnTo>
                        <a:pt x="325" y="1430"/>
                      </a:lnTo>
                      <a:lnTo>
                        <a:pt x="326" y="1431"/>
                      </a:lnTo>
                      <a:lnTo>
                        <a:pt x="326" y="1431"/>
                      </a:lnTo>
                      <a:lnTo>
                        <a:pt x="326" y="1433"/>
                      </a:lnTo>
                      <a:lnTo>
                        <a:pt x="327" y="1434"/>
                      </a:lnTo>
                      <a:lnTo>
                        <a:pt x="328" y="1435"/>
                      </a:lnTo>
                      <a:lnTo>
                        <a:pt x="328" y="1435"/>
                      </a:lnTo>
                      <a:lnTo>
                        <a:pt x="328" y="1436"/>
                      </a:lnTo>
                      <a:lnTo>
                        <a:pt x="329" y="1437"/>
                      </a:lnTo>
                      <a:lnTo>
                        <a:pt x="329" y="1437"/>
                      </a:lnTo>
                      <a:lnTo>
                        <a:pt x="330" y="1437"/>
                      </a:lnTo>
                      <a:lnTo>
                        <a:pt x="330" y="1436"/>
                      </a:lnTo>
                      <a:lnTo>
                        <a:pt x="330" y="1435"/>
                      </a:lnTo>
                      <a:lnTo>
                        <a:pt x="330" y="1435"/>
                      </a:lnTo>
                      <a:lnTo>
                        <a:pt x="330" y="1434"/>
                      </a:lnTo>
                      <a:lnTo>
                        <a:pt x="330" y="1434"/>
                      </a:lnTo>
                      <a:lnTo>
                        <a:pt x="331" y="1436"/>
                      </a:lnTo>
                      <a:lnTo>
                        <a:pt x="332" y="1436"/>
                      </a:lnTo>
                      <a:lnTo>
                        <a:pt x="332" y="1436"/>
                      </a:lnTo>
                      <a:lnTo>
                        <a:pt x="332" y="1437"/>
                      </a:lnTo>
                      <a:lnTo>
                        <a:pt x="332" y="1437"/>
                      </a:lnTo>
                      <a:lnTo>
                        <a:pt x="331" y="1437"/>
                      </a:lnTo>
                      <a:lnTo>
                        <a:pt x="331" y="1437"/>
                      </a:lnTo>
                      <a:lnTo>
                        <a:pt x="330" y="1437"/>
                      </a:lnTo>
                      <a:lnTo>
                        <a:pt x="330" y="1438"/>
                      </a:lnTo>
                      <a:lnTo>
                        <a:pt x="330" y="1439"/>
                      </a:lnTo>
                      <a:lnTo>
                        <a:pt x="330" y="1439"/>
                      </a:lnTo>
                      <a:lnTo>
                        <a:pt x="330" y="1440"/>
                      </a:lnTo>
                      <a:lnTo>
                        <a:pt x="330" y="1440"/>
                      </a:lnTo>
                      <a:lnTo>
                        <a:pt x="330" y="1441"/>
                      </a:lnTo>
                      <a:lnTo>
                        <a:pt x="330" y="1441"/>
                      </a:lnTo>
                      <a:lnTo>
                        <a:pt x="330" y="1441"/>
                      </a:lnTo>
                      <a:lnTo>
                        <a:pt x="331" y="1441"/>
                      </a:lnTo>
                      <a:lnTo>
                        <a:pt x="331" y="1442"/>
                      </a:lnTo>
                      <a:lnTo>
                        <a:pt x="331" y="1443"/>
                      </a:lnTo>
                      <a:lnTo>
                        <a:pt x="330" y="1444"/>
                      </a:lnTo>
                      <a:lnTo>
                        <a:pt x="330" y="1445"/>
                      </a:lnTo>
                      <a:lnTo>
                        <a:pt x="330" y="1444"/>
                      </a:lnTo>
                      <a:lnTo>
                        <a:pt x="329" y="1444"/>
                      </a:lnTo>
                      <a:lnTo>
                        <a:pt x="329" y="1444"/>
                      </a:lnTo>
                      <a:lnTo>
                        <a:pt x="328" y="1445"/>
                      </a:lnTo>
                      <a:lnTo>
                        <a:pt x="327" y="1445"/>
                      </a:lnTo>
                      <a:lnTo>
                        <a:pt x="327" y="1445"/>
                      </a:lnTo>
                      <a:lnTo>
                        <a:pt x="326" y="1445"/>
                      </a:lnTo>
                      <a:lnTo>
                        <a:pt x="325" y="1445"/>
                      </a:lnTo>
                      <a:lnTo>
                        <a:pt x="324" y="1446"/>
                      </a:lnTo>
                      <a:lnTo>
                        <a:pt x="322" y="1447"/>
                      </a:lnTo>
                      <a:lnTo>
                        <a:pt x="322" y="1447"/>
                      </a:lnTo>
                      <a:lnTo>
                        <a:pt x="321" y="1448"/>
                      </a:lnTo>
                      <a:lnTo>
                        <a:pt x="321" y="1449"/>
                      </a:lnTo>
                      <a:lnTo>
                        <a:pt x="320" y="1449"/>
                      </a:lnTo>
                      <a:lnTo>
                        <a:pt x="320" y="1449"/>
                      </a:lnTo>
                      <a:lnTo>
                        <a:pt x="318" y="1451"/>
                      </a:lnTo>
                      <a:lnTo>
                        <a:pt x="318" y="1451"/>
                      </a:lnTo>
                      <a:lnTo>
                        <a:pt x="318" y="1452"/>
                      </a:lnTo>
                      <a:lnTo>
                        <a:pt x="319" y="1452"/>
                      </a:lnTo>
                      <a:lnTo>
                        <a:pt x="320" y="1451"/>
                      </a:lnTo>
                      <a:lnTo>
                        <a:pt x="320" y="1452"/>
                      </a:lnTo>
                      <a:lnTo>
                        <a:pt x="321" y="1451"/>
                      </a:lnTo>
                      <a:lnTo>
                        <a:pt x="321" y="1450"/>
                      </a:lnTo>
                      <a:lnTo>
                        <a:pt x="322" y="1449"/>
                      </a:lnTo>
                      <a:lnTo>
                        <a:pt x="322" y="1449"/>
                      </a:lnTo>
                      <a:lnTo>
                        <a:pt x="324" y="1449"/>
                      </a:lnTo>
                      <a:lnTo>
                        <a:pt x="325" y="1447"/>
                      </a:lnTo>
                      <a:lnTo>
                        <a:pt x="327" y="1446"/>
                      </a:lnTo>
                      <a:lnTo>
                        <a:pt x="328" y="1446"/>
                      </a:lnTo>
                      <a:lnTo>
                        <a:pt x="331" y="1446"/>
                      </a:lnTo>
                      <a:lnTo>
                        <a:pt x="331" y="1446"/>
                      </a:lnTo>
                      <a:lnTo>
                        <a:pt x="333" y="1447"/>
                      </a:lnTo>
                      <a:lnTo>
                        <a:pt x="333" y="1447"/>
                      </a:lnTo>
                      <a:lnTo>
                        <a:pt x="334" y="1447"/>
                      </a:lnTo>
                      <a:lnTo>
                        <a:pt x="336" y="1447"/>
                      </a:lnTo>
                      <a:lnTo>
                        <a:pt x="337" y="1446"/>
                      </a:lnTo>
                      <a:lnTo>
                        <a:pt x="337" y="1446"/>
                      </a:lnTo>
                      <a:lnTo>
                        <a:pt x="341" y="1447"/>
                      </a:lnTo>
                      <a:lnTo>
                        <a:pt x="341" y="1447"/>
                      </a:lnTo>
                      <a:lnTo>
                        <a:pt x="342" y="1448"/>
                      </a:lnTo>
                      <a:lnTo>
                        <a:pt x="342" y="1448"/>
                      </a:lnTo>
                      <a:lnTo>
                        <a:pt x="341" y="1449"/>
                      </a:lnTo>
                      <a:lnTo>
                        <a:pt x="342" y="1451"/>
                      </a:lnTo>
                      <a:lnTo>
                        <a:pt x="341" y="1451"/>
                      </a:lnTo>
                      <a:lnTo>
                        <a:pt x="341" y="1452"/>
                      </a:lnTo>
                      <a:lnTo>
                        <a:pt x="342" y="1454"/>
                      </a:lnTo>
                      <a:lnTo>
                        <a:pt x="342" y="1454"/>
                      </a:lnTo>
                      <a:lnTo>
                        <a:pt x="343" y="1454"/>
                      </a:lnTo>
                      <a:lnTo>
                        <a:pt x="343" y="1454"/>
                      </a:lnTo>
                      <a:lnTo>
                        <a:pt x="343" y="1455"/>
                      </a:lnTo>
                      <a:lnTo>
                        <a:pt x="342" y="1457"/>
                      </a:lnTo>
                      <a:lnTo>
                        <a:pt x="340" y="1458"/>
                      </a:lnTo>
                      <a:lnTo>
                        <a:pt x="339" y="1459"/>
                      </a:lnTo>
                      <a:lnTo>
                        <a:pt x="339" y="1459"/>
                      </a:lnTo>
                      <a:lnTo>
                        <a:pt x="337" y="1460"/>
                      </a:lnTo>
                      <a:lnTo>
                        <a:pt x="338" y="1460"/>
                      </a:lnTo>
                      <a:lnTo>
                        <a:pt x="337" y="1460"/>
                      </a:lnTo>
                      <a:lnTo>
                        <a:pt x="337" y="1460"/>
                      </a:lnTo>
                      <a:lnTo>
                        <a:pt x="337" y="1460"/>
                      </a:lnTo>
                      <a:lnTo>
                        <a:pt x="336" y="1461"/>
                      </a:lnTo>
                      <a:lnTo>
                        <a:pt x="336" y="1461"/>
                      </a:lnTo>
                      <a:lnTo>
                        <a:pt x="336" y="1462"/>
                      </a:lnTo>
                      <a:lnTo>
                        <a:pt x="335" y="1462"/>
                      </a:lnTo>
                      <a:lnTo>
                        <a:pt x="335" y="1463"/>
                      </a:lnTo>
                      <a:lnTo>
                        <a:pt x="336" y="1464"/>
                      </a:lnTo>
                      <a:lnTo>
                        <a:pt x="336" y="1465"/>
                      </a:lnTo>
                      <a:lnTo>
                        <a:pt x="337" y="1465"/>
                      </a:lnTo>
                      <a:lnTo>
                        <a:pt x="338" y="1463"/>
                      </a:lnTo>
                      <a:lnTo>
                        <a:pt x="339" y="1463"/>
                      </a:lnTo>
                      <a:lnTo>
                        <a:pt x="339" y="1462"/>
                      </a:lnTo>
                      <a:lnTo>
                        <a:pt x="340" y="1462"/>
                      </a:lnTo>
                      <a:lnTo>
                        <a:pt x="341" y="1461"/>
                      </a:lnTo>
                      <a:lnTo>
                        <a:pt x="342" y="1461"/>
                      </a:lnTo>
                      <a:lnTo>
                        <a:pt x="342" y="1461"/>
                      </a:lnTo>
                      <a:lnTo>
                        <a:pt x="343" y="1461"/>
                      </a:lnTo>
                      <a:lnTo>
                        <a:pt x="343" y="1460"/>
                      </a:lnTo>
                      <a:lnTo>
                        <a:pt x="344" y="1460"/>
                      </a:lnTo>
                      <a:lnTo>
                        <a:pt x="344" y="1459"/>
                      </a:lnTo>
                      <a:lnTo>
                        <a:pt x="344" y="1459"/>
                      </a:lnTo>
                      <a:lnTo>
                        <a:pt x="345" y="1458"/>
                      </a:lnTo>
                      <a:lnTo>
                        <a:pt x="346" y="1458"/>
                      </a:lnTo>
                      <a:lnTo>
                        <a:pt x="347" y="1457"/>
                      </a:lnTo>
                      <a:lnTo>
                        <a:pt x="347" y="1457"/>
                      </a:lnTo>
                      <a:lnTo>
                        <a:pt x="349" y="1458"/>
                      </a:lnTo>
                      <a:lnTo>
                        <a:pt x="349" y="1458"/>
                      </a:lnTo>
                      <a:lnTo>
                        <a:pt x="349" y="1458"/>
                      </a:lnTo>
                      <a:lnTo>
                        <a:pt x="349" y="1459"/>
                      </a:lnTo>
                      <a:lnTo>
                        <a:pt x="349" y="1459"/>
                      </a:lnTo>
                      <a:lnTo>
                        <a:pt x="349" y="1459"/>
                      </a:lnTo>
                      <a:lnTo>
                        <a:pt x="351" y="1460"/>
                      </a:lnTo>
                      <a:lnTo>
                        <a:pt x="351" y="1461"/>
                      </a:lnTo>
                      <a:lnTo>
                        <a:pt x="352" y="1462"/>
                      </a:lnTo>
                      <a:lnTo>
                        <a:pt x="352" y="1463"/>
                      </a:lnTo>
                      <a:lnTo>
                        <a:pt x="353" y="1463"/>
                      </a:lnTo>
                      <a:lnTo>
                        <a:pt x="353" y="1463"/>
                      </a:lnTo>
                      <a:lnTo>
                        <a:pt x="355" y="1463"/>
                      </a:lnTo>
                      <a:lnTo>
                        <a:pt x="356" y="1464"/>
                      </a:lnTo>
                      <a:lnTo>
                        <a:pt x="356" y="1465"/>
                      </a:lnTo>
                      <a:lnTo>
                        <a:pt x="357" y="1464"/>
                      </a:lnTo>
                      <a:lnTo>
                        <a:pt x="358" y="1464"/>
                      </a:lnTo>
                      <a:lnTo>
                        <a:pt x="361" y="1465"/>
                      </a:lnTo>
                      <a:lnTo>
                        <a:pt x="361" y="1466"/>
                      </a:lnTo>
                      <a:lnTo>
                        <a:pt x="362" y="1466"/>
                      </a:lnTo>
                      <a:lnTo>
                        <a:pt x="362" y="1466"/>
                      </a:lnTo>
                      <a:lnTo>
                        <a:pt x="365" y="1467"/>
                      </a:lnTo>
                      <a:lnTo>
                        <a:pt x="365" y="1468"/>
                      </a:lnTo>
                      <a:lnTo>
                        <a:pt x="366" y="1467"/>
                      </a:lnTo>
                      <a:lnTo>
                        <a:pt x="366" y="1467"/>
                      </a:lnTo>
                      <a:lnTo>
                        <a:pt x="366" y="1466"/>
                      </a:lnTo>
                      <a:lnTo>
                        <a:pt x="366" y="1466"/>
                      </a:lnTo>
                      <a:lnTo>
                        <a:pt x="366" y="1466"/>
                      </a:lnTo>
                      <a:lnTo>
                        <a:pt x="367" y="1466"/>
                      </a:lnTo>
                      <a:lnTo>
                        <a:pt x="367" y="1466"/>
                      </a:lnTo>
                      <a:lnTo>
                        <a:pt x="368" y="1466"/>
                      </a:lnTo>
                      <a:lnTo>
                        <a:pt x="368" y="1467"/>
                      </a:lnTo>
                      <a:lnTo>
                        <a:pt x="369" y="1467"/>
                      </a:lnTo>
                      <a:lnTo>
                        <a:pt x="371" y="1469"/>
                      </a:lnTo>
                      <a:lnTo>
                        <a:pt x="372" y="1470"/>
                      </a:lnTo>
                      <a:lnTo>
                        <a:pt x="372" y="1471"/>
                      </a:lnTo>
                      <a:lnTo>
                        <a:pt x="372" y="1471"/>
                      </a:lnTo>
                      <a:lnTo>
                        <a:pt x="372" y="1472"/>
                      </a:lnTo>
                      <a:lnTo>
                        <a:pt x="372" y="1472"/>
                      </a:lnTo>
                      <a:lnTo>
                        <a:pt x="372" y="1473"/>
                      </a:lnTo>
                      <a:lnTo>
                        <a:pt x="371" y="1473"/>
                      </a:lnTo>
                      <a:lnTo>
                        <a:pt x="371" y="1474"/>
                      </a:lnTo>
                      <a:lnTo>
                        <a:pt x="371" y="1474"/>
                      </a:lnTo>
                      <a:lnTo>
                        <a:pt x="371" y="1474"/>
                      </a:lnTo>
                      <a:lnTo>
                        <a:pt x="373" y="1475"/>
                      </a:lnTo>
                      <a:lnTo>
                        <a:pt x="374" y="1475"/>
                      </a:lnTo>
                      <a:lnTo>
                        <a:pt x="376" y="1475"/>
                      </a:lnTo>
                      <a:lnTo>
                        <a:pt x="376" y="1474"/>
                      </a:lnTo>
                      <a:lnTo>
                        <a:pt x="377" y="1474"/>
                      </a:lnTo>
                      <a:lnTo>
                        <a:pt x="377" y="1475"/>
                      </a:lnTo>
                      <a:lnTo>
                        <a:pt x="378" y="1475"/>
                      </a:lnTo>
                      <a:lnTo>
                        <a:pt x="378" y="1474"/>
                      </a:lnTo>
                      <a:lnTo>
                        <a:pt x="377" y="1474"/>
                      </a:lnTo>
                      <a:lnTo>
                        <a:pt x="377" y="1474"/>
                      </a:lnTo>
                      <a:lnTo>
                        <a:pt x="378" y="1473"/>
                      </a:lnTo>
                      <a:lnTo>
                        <a:pt x="379" y="1472"/>
                      </a:lnTo>
                      <a:lnTo>
                        <a:pt x="380" y="1472"/>
                      </a:lnTo>
                      <a:lnTo>
                        <a:pt x="380" y="1472"/>
                      </a:lnTo>
                      <a:lnTo>
                        <a:pt x="381" y="1471"/>
                      </a:lnTo>
                      <a:lnTo>
                        <a:pt x="382" y="1470"/>
                      </a:lnTo>
                      <a:lnTo>
                        <a:pt x="383" y="1469"/>
                      </a:lnTo>
                      <a:lnTo>
                        <a:pt x="383" y="1469"/>
                      </a:lnTo>
                      <a:lnTo>
                        <a:pt x="385" y="1468"/>
                      </a:lnTo>
                      <a:lnTo>
                        <a:pt x="385" y="1468"/>
                      </a:lnTo>
                      <a:lnTo>
                        <a:pt x="385" y="1469"/>
                      </a:lnTo>
                      <a:lnTo>
                        <a:pt x="384" y="1470"/>
                      </a:lnTo>
                      <a:lnTo>
                        <a:pt x="385" y="1470"/>
                      </a:lnTo>
                      <a:lnTo>
                        <a:pt x="386" y="1470"/>
                      </a:lnTo>
                      <a:lnTo>
                        <a:pt x="386" y="1470"/>
                      </a:lnTo>
                      <a:lnTo>
                        <a:pt x="385" y="1471"/>
                      </a:lnTo>
                      <a:lnTo>
                        <a:pt x="384" y="1471"/>
                      </a:lnTo>
                      <a:lnTo>
                        <a:pt x="384" y="1472"/>
                      </a:lnTo>
                      <a:lnTo>
                        <a:pt x="386" y="1471"/>
                      </a:lnTo>
                      <a:lnTo>
                        <a:pt x="386" y="1470"/>
                      </a:lnTo>
                      <a:lnTo>
                        <a:pt x="388" y="1469"/>
                      </a:lnTo>
                      <a:lnTo>
                        <a:pt x="389" y="1468"/>
                      </a:lnTo>
                      <a:lnTo>
                        <a:pt x="391" y="1468"/>
                      </a:lnTo>
                      <a:lnTo>
                        <a:pt x="391" y="1469"/>
                      </a:lnTo>
                      <a:lnTo>
                        <a:pt x="391" y="1469"/>
                      </a:lnTo>
                      <a:lnTo>
                        <a:pt x="392" y="1468"/>
                      </a:lnTo>
                      <a:lnTo>
                        <a:pt x="392" y="1468"/>
                      </a:lnTo>
                      <a:lnTo>
                        <a:pt x="393" y="1467"/>
                      </a:lnTo>
                      <a:lnTo>
                        <a:pt x="394" y="1467"/>
                      </a:lnTo>
                      <a:lnTo>
                        <a:pt x="394" y="1466"/>
                      </a:lnTo>
                      <a:lnTo>
                        <a:pt x="395" y="1466"/>
                      </a:lnTo>
                      <a:lnTo>
                        <a:pt x="395" y="1465"/>
                      </a:lnTo>
                      <a:lnTo>
                        <a:pt x="396" y="1465"/>
                      </a:lnTo>
                      <a:lnTo>
                        <a:pt x="397" y="1465"/>
                      </a:lnTo>
                      <a:lnTo>
                        <a:pt x="399" y="1463"/>
                      </a:lnTo>
                      <a:lnTo>
                        <a:pt x="400" y="1463"/>
                      </a:lnTo>
                      <a:lnTo>
                        <a:pt x="400" y="1463"/>
                      </a:lnTo>
                      <a:lnTo>
                        <a:pt x="401" y="1463"/>
                      </a:lnTo>
                      <a:lnTo>
                        <a:pt x="402" y="1463"/>
                      </a:lnTo>
                      <a:lnTo>
                        <a:pt x="402" y="1463"/>
                      </a:lnTo>
                      <a:lnTo>
                        <a:pt x="404" y="1463"/>
                      </a:lnTo>
                      <a:lnTo>
                        <a:pt x="404" y="1462"/>
                      </a:lnTo>
                      <a:lnTo>
                        <a:pt x="404" y="1462"/>
                      </a:lnTo>
                      <a:lnTo>
                        <a:pt x="404" y="1462"/>
                      </a:lnTo>
                      <a:lnTo>
                        <a:pt x="405" y="1462"/>
                      </a:lnTo>
                      <a:lnTo>
                        <a:pt x="406" y="1462"/>
                      </a:lnTo>
                      <a:lnTo>
                        <a:pt x="407" y="1462"/>
                      </a:lnTo>
                      <a:lnTo>
                        <a:pt x="408" y="1463"/>
                      </a:lnTo>
                      <a:lnTo>
                        <a:pt x="408" y="1463"/>
                      </a:lnTo>
                      <a:lnTo>
                        <a:pt x="409" y="1463"/>
                      </a:lnTo>
                      <a:lnTo>
                        <a:pt x="410" y="1462"/>
                      </a:lnTo>
                      <a:lnTo>
                        <a:pt x="411" y="1463"/>
                      </a:lnTo>
                      <a:lnTo>
                        <a:pt x="412" y="1463"/>
                      </a:lnTo>
                      <a:lnTo>
                        <a:pt x="412" y="1464"/>
                      </a:lnTo>
                      <a:lnTo>
                        <a:pt x="412" y="1464"/>
                      </a:lnTo>
                      <a:lnTo>
                        <a:pt x="413" y="1463"/>
                      </a:lnTo>
                      <a:lnTo>
                        <a:pt x="413" y="1463"/>
                      </a:lnTo>
                      <a:lnTo>
                        <a:pt x="413" y="1464"/>
                      </a:lnTo>
                      <a:lnTo>
                        <a:pt x="412" y="1465"/>
                      </a:lnTo>
                      <a:lnTo>
                        <a:pt x="412" y="1465"/>
                      </a:lnTo>
                      <a:lnTo>
                        <a:pt x="411" y="1465"/>
                      </a:lnTo>
                      <a:lnTo>
                        <a:pt x="410" y="1466"/>
                      </a:lnTo>
                      <a:lnTo>
                        <a:pt x="409" y="1466"/>
                      </a:lnTo>
                      <a:lnTo>
                        <a:pt x="409" y="1466"/>
                      </a:lnTo>
                      <a:lnTo>
                        <a:pt x="409" y="1467"/>
                      </a:lnTo>
                      <a:lnTo>
                        <a:pt x="409" y="1467"/>
                      </a:lnTo>
                      <a:lnTo>
                        <a:pt x="412" y="1467"/>
                      </a:lnTo>
                      <a:lnTo>
                        <a:pt x="412" y="1467"/>
                      </a:lnTo>
                      <a:lnTo>
                        <a:pt x="414" y="1467"/>
                      </a:lnTo>
                      <a:lnTo>
                        <a:pt x="415" y="1466"/>
                      </a:lnTo>
                      <a:lnTo>
                        <a:pt x="416" y="1466"/>
                      </a:lnTo>
                      <a:lnTo>
                        <a:pt x="416" y="1466"/>
                      </a:lnTo>
                      <a:lnTo>
                        <a:pt x="418" y="1467"/>
                      </a:lnTo>
                      <a:lnTo>
                        <a:pt x="418" y="1466"/>
                      </a:lnTo>
                      <a:lnTo>
                        <a:pt x="418" y="1466"/>
                      </a:lnTo>
                      <a:lnTo>
                        <a:pt x="420" y="1466"/>
                      </a:lnTo>
                      <a:lnTo>
                        <a:pt x="421" y="1466"/>
                      </a:lnTo>
                      <a:lnTo>
                        <a:pt x="423" y="1466"/>
                      </a:lnTo>
                      <a:lnTo>
                        <a:pt x="423" y="1466"/>
                      </a:lnTo>
                      <a:lnTo>
                        <a:pt x="423" y="1466"/>
                      </a:lnTo>
                      <a:lnTo>
                        <a:pt x="423" y="1466"/>
                      </a:lnTo>
                      <a:lnTo>
                        <a:pt x="424" y="1467"/>
                      </a:lnTo>
                      <a:lnTo>
                        <a:pt x="424" y="1468"/>
                      </a:lnTo>
                      <a:lnTo>
                        <a:pt x="425" y="1469"/>
                      </a:lnTo>
                      <a:lnTo>
                        <a:pt x="426" y="1469"/>
                      </a:lnTo>
                      <a:lnTo>
                        <a:pt x="426" y="1469"/>
                      </a:lnTo>
                      <a:lnTo>
                        <a:pt x="426" y="1470"/>
                      </a:lnTo>
                      <a:lnTo>
                        <a:pt x="425" y="1471"/>
                      </a:lnTo>
                      <a:lnTo>
                        <a:pt x="425" y="1471"/>
                      </a:lnTo>
                      <a:lnTo>
                        <a:pt x="425" y="1472"/>
                      </a:lnTo>
                      <a:lnTo>
                        <a:pt x="425" y="1472"/>
                      </a:lnTo>
                      <a:lnTo>
                        <a:pt x="424" y="1473"/>
                      </a:lnTo>
                      <a:lnTo>
                        <a:pt x="424" y="1473"/>
                      </a:lnTo>
                      <a:lnTo>
                        <a:pt x="423" y="1474"/>
                      </a:lnTo>
                      <a:lnTo>
                        <a:pt x="423" y="1475"/>
                      </a:lnTo>
                      <a:lnTo>
                        <a:pt x="422" y="1476"/>
                      </a:lnTo>
                      <a:lnTo>
                        <a:pt x="422" y="1476"/>
                      </a:lnTo>
                      <a:lnTo>
                        <a:pt x="422" y="1477"/>
                      </a:lnTo>
                      <a:lnTo>
                        <a:pt x="422" y="1478"/>
                      </a:lnTo>
                      <a:lnTo>
                        <a:pt x="422" y="1478"/>
                      </a:lnTo>
                      <a:lnTo>
                        <a:pt x="422" y="1479"/>
                      </a:lnTo>
                      <a:lnTo>
                        <a:pt x="422" y="1480"/>
                      </a:lnTo>
                      <a:lnTo>
                        <a:pt x="423" y="1480"/>
                      </a:lnTo>
                      <a:lnTo>
                        <a:pt x="423" y="1481"/>
                      </a:lnTo>
                      <a:lnTo>
                        <a:pt x="422" y="1483"/>
                      </a:lnTo>
                      <a:lnTo>
                        <a:pt x="422" y="1483"/>
                      </a:lnTo>
                      <a:lnTo>
                        <a:pt x="422" y="1483"/>
                      </a:lnTo>
                      <a:lnTo>
                        <a:pt x="422" y="1484"/>
                      </a:lnTo>
                      <a:lnTo>
                        <a:pt x="422" y="1485"/>
                      </a:lnTo>
                      <a:lnTo>
                        <a:pt x="422" y="1485"/>
                      </a:lnTo>
                      <a:lnTo>
                        <a:pt x="421" y="1487"/>
                      </a:lnTo>
                      <a:lnTo>
                        <a:pt x="421" y="1487"/>
                      </a:lnTo>
                      <a:lnTo>
                        <a:pt x="421" y="1488"/>
                      </a:lnTo>
                      <a:lnTo>
                        <a:pt x="419" y="1489"/>
                      </a:lnTo>
                      <a:lnTo>
                        <a:pt x="419" y="1489"/>
                      </a:lnTo>
                      <a:lnTo>
                        <a:pt x="419" y="1490"/>
                      </a:lnTo>
                      <a:lnTo>
                        <a:pt x="418" y="1490"/>
                      </a:lnTo>
                      <a:lnTo>
                        <a:pt x="418" y="1492"/>
                      </a:lnTo>
                      <a:lnTo>
                        <a:pt x="417" y="1492"/>
                      </a:lnTo>
                      <a:lnTo>
                        <a:pt x="416" y="1492"/>
                      </a:lnTo>
                      <a:lnTo>
                        <a:pt x="416" y="1493"/>
                      </a:lnTo>
                      <a:lnTo>
                        <a:pt x="416" y="1493"/>
                      </a:lnTo>
                      <a:lnTo>
                        <a:pt x="416" y="1494"/>
                      </a:lnTo>
                      <a:lnTo>
                        <a:pt x="415" y="1494"/>
                      </a:lnTo>
                      <a:lnTo>
                        <a:pt x="415" y="1495"/>
                      </a:lnTo>
                      <a:lnTo>
                        <a:pt x="413" y="1495"/>
                      </a:lnTo>
                      <a:lnTo>
                        <a:pt x="413" y="1496"/>
                      </a:lnTo>
                      <a:lnTo>
                        <a:pt x="413" y="1496"/>
                      </a:lnTo>
                      <a:lnTo>
                        <a:pt x="413" y="1497"/>
                      </a:lnTo>
                      <a:lnTo>
                        <a:pt x="412" y="1497"/>
                      </a:lnTo>
                      <a:lnTo>
                        <a:pt x="411" y="1498"/>
                      </a:lnTo>
                      <a:lnTo>
                        <a:pt x="411" y="1498"/>
                      </a:lnTo>
                      <a:lnTo>
                        <a:pt x="410" y="1498"/>
                      </a:lnTo>
                      <a:lnTo>
                        <a:pt x="409" y="1499"/>
                      </a:lnTo>
                      <a:lnTo>
                        <a:pt x="408" y="1499"/>
                      </a:lnTo>
                      <a:lnTo>
                        <a:pt x="406" y="1499"/>
                      </a:lnTo>
                      <a:lnTo>
                        <a:pt x="405" y="1500"/>
                      </a:lnTo>
                      <a:lnTo>
                        <a:pt x="405" y="1501"/>
                      </a:lnTo>
                      <a:lnTo>
                        <a:pt x="404" y="1501"/>
                      </a:lnTo>
                      <a:lnTo>
                        <a:pt x="403" y="1502"/>
                      </a:lnTo>
                      <a:lnTo>
                        <a:pt x="402" y="1503"/>
                      </a:lnTo>
                      <a:lnTo>
                        <a:pt x="400" y="1503"/>
                      </a:lnTo>
                      <a:lnTo>
                        <a:pt x="400" y="1503"/>
                      </a:lnTo>
                      <a:lnTo>
                        <a:pt x="399" y="1503"/>
                      </a:lnTo>
                      <a:lnTo>
                        <a:pt x="399" y="1504"/>
                      </a:lnTo>
                      <a:lnTo>
                        <a:pt x="397" y="1504"/>
                      </a:lnTo>
                      <a:lnTo>
                        <a:pt x="397" y="1504"/>
                      </a:lnTo>
                      <a:lnTo>
                        <a:pt x="396" y="1504"/>
                      </a:lnTo>
                      <a:lnTo>
                        <a:pt x="396" y="1503"/>
                      </a:lnTo>
                      <a:lnTo>
                        <a:pt x="396" y="1503"/>
                      </a:lnTo>
                      <a:lnTo>
                        <a:pt x="395" y="1502"/>
                      </a:lnTo>
                      <a:lnTo>
                        <a:pt x="395" y="1502"/>
                      </a:lnTo>
                      <a:lnTo>
                        <a:pt x="394" y="1501"/>
                      </a:lnTo>
                      <a:lnTo>
                        <a:pt x="394" y="1501"/>
                      </a:lnTo>
                      <a:lnTo>
                        <a:pt x="393" y="1500"/>
                      </a:lnTo>
                      <a:lnTo>
                        <a:pt x="393" y="1500"/>
                      </a:lnTo>
                      <a:lnTo>
                        <a:pt x="392" y="1501"/>
                      </a:lnTo>
                      <a:lnTo>
                        <a:pt x="392" y="1502"/>
                      </a:lnTo>
                      <a:lnTo>
                        <a:pt x="393" y="1503"/>
                      </a:lnTo>
                      <a:lnTo>
                        <a:pt x="393" y="1503"/>
                      </a:lnTo>
                      <a:lnTo>
                        <a:pt x="394" y="1504"/>
                      </a:lnTo>
                      <a:lnTo>
                        <a:pt x="394" y="1505"/>
                      </a:lnTo>
                      <a:lnTo>
                        <a:pt x="394" y="1506"/>
                      </a:lnTo>
                      <a:lnTo>
                        <a:pt x="394" y="1506"/>
                      </a:lnTo>
                      <a:lnTo>
                        <a:pt x="394" y="1506"/>
                      </a:lnTo>
                      <a:lnTo>
                        <a:pt x="394" y="1507"/>
                      </a:lnTo>
                      <a:lnTo>
                        <a:pt x="394" y="1508"/>
                      </a:lnTo>
                      <a:lnTo>
                        <a:pt x="394" y="1508"/>
                      </a:lnTo>
                      <a:lnTo>
                        <a:pt x="394" y="1508"/>
                      </a:lnTo>
                      <a:lnTo>
                        <a:pt x="394" y="1509"/>
                      </a:lnTo>
                      <a:lnTo>
                        <a:pt x="393" y="1511"/>
                      </a:lnTo>
                      <a:lnTo>
                        <a:pt x="393" y="1511"/>
                      </a:lnTo>
                      <a:lnTo>
                        <a:pt x="394" y="1511"/>
                      </a:lnTo>
                      <a:lnTo>
                        <a:pt x="394" y="1512"/>
                      </a:lnTo>
                      <a:lnTo>
                        <a:pt x="393" y="1513"/>
                      </a:lnTo>
                      <a:lnTo>
                        <a:pt x="394" y="1513"/>
                      </a:lnTo>
                      <a:lnTo>
                        <a:pt x="395" y="1513"/>
                      </a:lnTo>
                      <a:lnTo>
                        <a:pt x="395" y="1511"/>
                      </a:lnTo>
                      <a:lnTo>
                        <a:pt x="395" y="1510"/>
                      </a:lnTo>
                      <a:lnTo>
                        <a:pt x="396" y="1510"/>
                      </a:lnTo>
                      <a:lnTo>
                        <a:pt x="396" y="1510"/>
                      </a:lnTo>
                      <a:lnTo>
                        <a:pt x="397" y="1510"/>
                      </a:lnTo>
                      <a:lnTo>
                        <a:pt x="399" y="1510"/>
                      </a:lnTo>
                      <a:lnTo>
                        <a:pt x="397" y="1510"/>
                      </a:lnTo>
                      <a:lnTo>
                        <a:pt x="397" y="1512"/>
                      </a:lnTo>
                      <a:lnTo>
                        <a:pt x="397" y="1512"/>
                      </a:lnTo>
                      <a:lnTo>
                        <a:pt x="399" y="1512"/>
                      </a:lnTo>
                      <a:lnTo>
                        <a:pt x="399" y="1513"/>
                      </a:lnTo>
                      <a:lnTo>
                        <a:pt x="397" y="1513"/>
                      </a:lnTo>
                      <a:lnTo>
                        <a:pt x="397" y="1513"/>
                      </a:lnTo>
                      <a:lnTo>
                        <a:pt x="397" y="1513"/>
                      </a:lnTo>
                      <a:lnTo>
                        <a:pt x="397" y="1513"/>
                      </a:lnTo>
                      <a:lnTo>
                        <a:pt x="396" y="1513"/>
                      </a:lnTo>
                      <a:lnTo>
                        <a:pt x="396" y="1513"/>
                      </a:lnTo>
                      <a:lnTo>
                        <a:pt x="396" y="1513"/>
                      </a:lnTo>
                      <a:lnTo>
                        <a:pt x="396" y="1513"/>
                      </a:lnTo>
                      <a:lnTo>
                        <a:pt x="396" y="1514"/>
                      </a:lnTo>
                      <a:lnTo>
                        <a:pt x="396" y="1514"/>
                      </a:lnTo>
                      <a:lnTo>
                        <a:pt x="396" y="1515"/>
                      </a:lnTo>
                      <a:lnTo>
                        <a:pt x="395" y="1515"/>
                      </a:lnTo>
                      <a:lnTo>
                        <a:pt x="394" y="1515"/>
                      </a:lnTo>
                      <a:lnTo>
                        <a:pt x="393" y="1515"/>
                      </a:lnTo>
                      <a:lnTo>
                        <a:pt x="392" y="1515"/>
                      </a:lnTo>
                      <a:lnTo>
                        <a:pt x="392" y="1516"/>
                      </a:lnTo>
                      <a:lnTo>
                        <a:pt x="393" y="1516"/>
                      </a:lnTo>
                      <a:lnTo>
                        <a:pt x="392" y="1516"/>
                      </a:lnTo>
                      <a:lnTo>
                        <a:pt x="392" y="1517"/>
                      </a:lnTo>
                      <a:lnTo>
                        <a:pt x="394" y="1517"/>
                      </a:lnTo>
                      <a:lnTo>
                        <a:pt x="394" y="1517"/>
                      </a:lnTo>
                      <a:lnTo>
                        <a:pt x="394" y="1518"/>
                      </a:lnTo>
                      <a:lnTo>
                        <a:pt x="394" y="1519"/>
                      </a:lnTo>
                      <a:lnTo>
                        <a:pt x="393" y="1519"/>
                      </a:lnTo>
                      <a:lnTo>
                        <a:pt x="393" y="1521"/>
                      </a:lnTo>
                      <a:lnTo>
                        <a:pt x="392" y="1521"/>
                      </a:lnTo>
                      <a:lnTo>
                        <a:pt x="392" y="1522"/>
                      </a:lnTo>
                      <a:lnTo>
                        <a:pt x="391" y="1522"/>
                      </a:lnTo>
                      <a:lnTo>
                        <a:pt x="391" y="1524"/>
                      </a:lnTo>
                      <a:lnTo>
                        <a:pt x="390" y="1525"/>
                      </a:lnTo>
                      <a:lnTo>
                        <a:pt x="389" y="1525"/>
                      </a:lnTo>
                      <a:lnTo>
                        <a:pt x="389" y="1525"/>
                      </a:lnTo>
                      <a:lnTo>
                        <a:pt x="388" y="1526"/>
                      </a:lnTo>
                      <a:lnTo>
                        <a:pt x="387" y="1526"/>
                      </a:lnTo>
                      <a:lnTo>
                        <a:pt x="387" y="1526"/>
                      </a:lnTo>
                      <a:lnTo>
                        <a:pt x="386" y="1526"/>
                      </a:lnTo>
                      <a:lnTo>
                        <a:pt x="386" y="1525"/>
                      </a:lnTo>
                      <a:lnTo>
                        <a:pt x="384" y="1525"/>
                      </a:lnTo>
                      <a:lnTo>
                        <a:pt x="384" y="1525"/>
                      </a:lnTo>
                      <a:lnTo>
                        <a:pt x="383" y="1525"/>
                      </a:lnTo>
                      <a:lnTo>
                        <a:pt x="382" y="1525"/>
                      </a:lnTo>
                      <a:lnTo>
                        <a:pt x="382" y="1526"/>
                      </a:lnTo>
                      <a:lnTo>
                        <a:pt x="383" y="1526"/>
                      </a:lnTo>
                      <a:lnTo>
                        <a:pt x="382" y="1526"/>
                      </a:lnTo>
                      <a:lnTo>
                        <a:pt x="382" y="1528"/>
                      </a:lnTo>
                      <a:lnTo>
                        <a:pt x="382" y="1528"/>
                      </a:lnTo>
                      <a:lnTo>
                        <a:pt x="382" y="1528"/>
                      </a:lnTo>
                      <a:lnTo>
                        <a:pt x="381" y="1528"/>
                      </a:lnTo>
                      <a:lnTo>
                        <a:pt x="381" y="1530"/>
                      </a:lnTo>
                      <a:lnTo>
                        <a:pt x="381" y="1531"/>
                      </a:lnTo>
                      <a:lnTo>
                        <a:pt x="381" y="1531"/>
                      </a:lnTo>
                      <a:lnTo>
                        <a:pt x="381" y="1532"/>
                      </a:lnTo>
                      <a:lnTo>
                        <a:pt x="380" y="1533"/>
                      </a:lnTo>
                      <a:lnTo>
                        <a:pt x="380" y="1533"/>
                      </a:lnTo>
                      <a:lnTo>
                        <a:pt x="380" y="1533"/>
                      </a:lnTo>
                      <a:lnTo>
                        <a:pt x="379" y="1535"/>
                      </a:lnTo>
                      <a:lnTo>
                        <a:pt x="378" y="1535"/>
                      </a:lnTo>
                      <a:lnTo>
                        <a:pt x="378" y="1536"/>
                      </a:lnTo>
                      <a:lnTo>
                        <a:pt x="377" y="1536"/>
                      </a:lnTo>
                      <a:lnTo>
                        <a:pt x="376" y="1536"/>
                      </a:lnTo>
                      <a:lnTo>
                        <a:pt x="376" y="1537"/>
                      </a:lnTo>
                      <a:lnTo>
                        <a:pt x="376" y="1538"/>
                      </a:lnTo>
                      <a:lnTo>
                        <a:pt x="376" y="1539"/>
                      </a:lnTo>
                      <a:lnTo>
                        <a:pt x="375" y="1540"/>
                      </a:lnTo>
                      <a:lnTo>
                        <a:pt x="375" y="1540"/>
                      </a:lnTo>
                      <a:lnTo>
                        <a:pt x="375" y="1540"/>
                      </a:lnTo>
                      <a:lnTo>
                        <a:pt x="375" y="1541"/>
                      </a:lnTo>
                      <a:lnTo>
                        <a:pt x="374" y="1541"/>
                      </a:lnTo>
                      <a:lnTo>
                        <a:pt x="374" y="1543"/>
                      </a:lnTo>
                      <a:lnTo>
                        <a:pt x="375" y="1543"/>
                      </a:lnTo>
                      <a:lnTo>
                        <a:pt x="374" y="1543"/>
                      </a:lnTo>
                      <a:lnTo>
                        <a:pt x="375" y="1544"/>
                      </a:lnTo>
                      <a:lnTo>
                        <a:pt x="375" y="1544"/>
                      </a:lnTo>
                      <a:lnTo>
                        <a:pt x="374" y="1544"/>
                      </a:lnTo>
                      <a:lnTo>
                        <a:pt x="373" y="1543"/>
                      </a:lnTo>
                      <a:lnTo>
                        <a:pt x="373" y="1543"/>
                      </a:lnTo>
                      <a:lnTo>
                        <a:pt x="373" y="1544"/>
                      </a:lnTo>
                      <a:lnTo>
                        <a:pt x="373" y="1544"/>
                      </a:lnTo>
                      <a:lnTo>
                        <a:pt x="373" y="1545"/>
                      </a:lnTo>
                      <a:lnTo>
                        <a:pt x="373" y="1545"/>
                      </a:lnTo>
                      <a:lnTo>
                        <a:pt x="373" y="1546"/>
                      </a:lnTo>
                      <a:lnTo>
                        <a:pt x="373" y="1546"/>
                      </a:lnTo>
                      <a:lnTo>
                        <a:pt x="373" y="1546"/>
                      </a:lnTo>
                      <a:lnTo>
                        <a:pt x="373" y="1546"/>
                      </a:lnTo>
                      <a:lnTo>
                        <a:pt x="373" y="1546"/>
                      </a:lnTo>
                      <a:lnTo>
                        <a:pt x="372" y="1546"/>
                      </a:lnTo>
                      <a:lnTo>
                        <a:pt x="372" y="1546"/>
                      </a:lnTo>
                      <a:lnTo>
                        <a:pt x="371" y="1547"/>
                      </a:lnTo>
                      <a:lnTo>
                        <a:pt x="371" y="1547"/>
                      </a:lnTo>
                      <a:lnTo>
                        <a:pt x="370" y="1548"/>
                      </a:lnTo>
                      <a:lnTo>
                        <a:pt x="370" y="1548"/>
                      </a:lnTo>
                      <a:lnTo>
                        <a:pt x="370" y="1549"/>
                      </a:lnTo>
                      <a:lnTo>
                        <a:pt x="369" y="1549"/>
                      </a:lnTo>
                      <a:lnTo>
                        <a:pt x="369" y="1550"/>
                      </a:lnTo>
                      <a:lnTo>
                        <a:pt x="369" y="1551"/>
                      </a:lnTo>
                      <a:lnTo>
                        <a:pt x="369" y="1551"/>
                      </a:lnTo>
                      <a:lnTo>
                        <a:pt x="368" y="1551"/>
                      </a:lnTo>
                      <a:lnTo>
                        <a:pt x="368" y="1552"/>
                      </a:lnTo>
                      <a:lnTo>
                        <a:pt x="367" y="1551"/>
                      </a:lnTo>
                      <a:lnTo>
                        <a:pt x="367" y="1552"/>
                      </a:lnTo>
                      <a:lnTo>
                        <a:pt x="366" y="1552"/>
                      </a:lnTo>
                      <a:lnTo>
                        <a:pt x="366" y="1552"/>
                      </a:lnTo>
                      <a:lnTo>
                        <a:pt x="365" y="1553"/>
                      </a:lnTo>
                      <a:lnTo>
                        <a:pt x="364" y="1553"/>
                      </a:lnTo>
                      <a:lnTo>
                        <a:pt x="363" y="1554"/>
                      </a:lnTo>
                      <a:lnTo>
                        <a:pt x="363" y="1554"/>
                      </a:lnTo>
                      <a:lnTo>
                        <a:pt x="362" y="1554"/>
                      </a:lnTo>
                      <a:lnTo>
                        <a:pt x="362" y="1554"/>
                      </a:lnTo>
                      <a:lnTo>
                        <a:pt x="362" y="1556"/>
                      </a:lnTo>
                      <a:lnTo>
                        <a:pt x="361" y="1556"/>
                      </a:lnTo>
                      <a:lnTo>
                        <a:pt x="361" y="1557"/>
                      </a:lnTo>
                      <a:lnTo>
                        <a:pt x="361" y="1557"/>
                      </a:lnTo>
                      <a:lnTo>
                        <a:pt x="359" y="1557"/>
                      </a:lnTo>
                      <a:lnTo>
                        <a:pt x="358" y="1557"/>
                      </a:lnTo>
                      <a:lnTo>
                        <a:pt x="358" y="1556"/>
                      </a:lnTo>
                      <a:lnTo>
                        <a:pt x="358" y="1556"/>
                      </a:lnTo>
                      <a:lnTo>
                        <a:pt x="357" y="1556"/>
                      </a:lnTo>
                      <a:lnTo>
                        <a:pt x="356" y="1556"/>
                      </a:lnTo>
                      <a:lnTo>
                        <a:pt x="356" y="1557"/>
                      </a:lnTo>
                      <a:lnTo>
                        <a:pt x="356" y="1557"/>
                      </a:lnTo>
                      <a:lnTo>
                        <a:pt x="355" y="1557"/>
                      </a:lnTo>
                      <a:lnTo>
                        <a:pt x="355" y="1557"/>
                      </a:lnTo>
                      <a:lnTo>
                        <a:pt x="355" y="1557"/>
                      </a:lnTo>
                      <a:lnTo>
                        <a:pt x="354" y="1557"/>
                      </a:lnTo>
                      <a:lnTo>
                        <a:pt x="354" y="1558"/>
                      </a:lnTo>
                      <a:lnTo>
                        <a:pt x="353" y="1559"/>
                      </a:lnTo>
                      <a:lnTo>
                        <a:pt x="352" y="1559"/>
                      </a:lnTo>
                      <a:lnTo>
                        <a:pt x="352" y="1560"/>
                      </a:lnTo>
                      <a:lnTo>
                        <a:pt x="351" y="1560"/>
                      </a:lnTo>
                      <a:lnTo>
                        <a:pt x="350" y="1558"/>
                      </a:lnTo>
                      <a:lnTo>
                        <a:pt x="350" y="1558"/>
                      </a:lnTo>
                      <a:lnTo>
                        <a:pt x="349" y="1559"/>
                      </a:lnTo>
                      <a:lnTo>
                        <a:pt x="349" y="1559"/>
                      </a:lnTo>
                      <a:lnTo>
                        <a:pt x="349" y="1559"/>
                      </a:lnTo>
                      <a:lnTo>
                        <a:pt x="348" y="1560"/>
                      </a:lnTo>
                      <a:lnTo>
                        <a:pt x="348" y="1560"/>
                      </a:lnTo>
                      <a:lnTo>
                        <a:pt x="348" y="1561"/>
                      </a:lnTo>
                      <a:lnTo>
                        <a:pt x="348" y="1561"/>
                      </a:lnTo>
                      <a:lnTo>
                        <a:pt x="348" y="1561"/>
                      </a:lnTo>
                      <a:lnTo>
                        <a:pt x="347" y="1560"/>
                      </a:lnTo>
                      <a:lnTo>
                        <a:pt x="347" y="1560"/>
                      </a:lnTo>
                      <a:lnTo>
                        <a:pt x="347" y="1560"/>
                      </a:lnTo>
                      <a:lnTo>
                        <a:pt x="347" y="1560"/>
                      </a:lnTo>
                      <a:lnTo>
                        <a:pt x="347" y="1559"/>
                      </a:lnTo>
                      <a:lnTo>
                        <a:pt x="347" y="1559"/>
                      </a:lnTo>
                      <a:lnTo>
                        <a:pt x="347" y="1558"/>
                      </a:lnTo>
                      <a:lnTo>
                        <a:pt x="347" y="1558"/>
                      </a:lnTo>
                      <a:lnTo>
                        <a:pt x="347" y="1558"/>
                      </a:lnTo>
                      <a:lnTo>
                        <a:pt x="347" y="1557"/>
                      </a:lnTo>
                      <a:lnTo>
                        <a:pt x="347" y="1557"/>
                      </a:lnTo>
                      <a:lnTo>
                        <a:pt x="347" y="1556"/>
                      </a:lnTo>
                      <a:lnTo>
                        <a:pt x="347" y="1556"/>
                      </a:lnTo>
                      <a:lnTo>
                        <a:pt x="347" y="1555"/>
                      </a:lnTo>
                      <a:lnTo>
                        <a:pt x="346" y="1554"/>
                      </a:lnTo>
                      <a:lnTo>
                        <a:pt x="345" y="1554"/>
                      </a:lnTo>
                      <a:lnTo>
                        <a:pt x="345" y="1554"/>
                      </a:lnTo>
                      <a:lnTo>
                        <a:pt x="345" y="1553"/>
                      </a:lnTo>
                      <a:lnTo>
                        <a:pt x="345" y="1553"/>
                      </a:lnTo>
                      <a:lnTo>
                        <a:pt x="345" y="1552"/>
                      </a:lnTo>
                      <a:lnTo>
                        <a:pt x="345" y="1552"/>
                      </a:lnTo>
                      <a:lnTo>
                        <a:pt x="345" y="1552"/>
                      </a:lnTo>
                      <a:lnTo>
                        <a:pt x="345" y="1551"/>
                      </a:lnTo>
                      <a:lnTo>
                        <a:pt x="345" y="1550"/>
                      </a:lnTo>
                      <a:lnTo>
                        <a:pt x="344" y="1550"/>
                      </a:lnTo>
                      <a:lnTo>
                        <a:pt x="344" y="1549"/>
                      </a:lnTo>
                      <a:lnTo>
                        <a:pt x="344" y="1549"/>
                      </a:lnTo>
                      <a:lnTo>
                        <a:pt x="344" y="1548"/>
                      </a:lnTo>
                      <a:lnTo>
                        <a:pt x="344" y="1548"/>
                      </a:lnTo>
                      <a:lnTo>
                        <a:pt x="344" y="1546"/>
                      </a:lnTo>
                      <a:lnTo>
                        <a:pt x="344" y="1546"/>
                      </a:lnTo>
                      <a:lnTo>
                        <a:pt x="345" y="1546"/>
                      </a:lnTo>
                      <a:lnTo>
                        <a:pt x="345" y="1544"/>
                      </a:lnTo>
                      <a:lnTo>
                        <a:pt x="345" y="1544"/>
                      </a:lnTo>
                      <a:lnTo>
                        <a:pt x="346" y="1542"/>
                      </a:lnTo>
                      <a:lnTo>
                        <a:pt x="346" y="1542"/>
                      </a:lnTo>
                      <a:lnTo>
                        <a:pt x="346" y="1541"/>
                      </a:lnTo>
                      <a:lnTo>
                        <a:pt x="347" y="1541"/>
                      </a:lnTo>
                      <a:lnTo>
                        <a:pt x="347" y="1541"/>
                      </a:lnTo>
                      <a:lnTo>
                        <a:pt x="348" y="1541"/>
                      </a:lnTo>
                      <a:lnTo>
                        <a:pt x="349" y="1541"/>
                      </a:lnTo>
                      <a:lnTo>
                        <a:pt x="349" y="1540"/>
                      </a:lnTo>
                      <a:lnTo>
                        <a:pt x="348" y="1540"/>
                      </a:lnTo>
                      <a:lnTo>
                        <a:pt x="348" y="1540"/>
                      </a:lnTo>
                      <a:lnTo>
                        <a:pt x="349" y="1540"/>
                      </a:lnTo>
                      <a:lnTo>
                        <a:pt x="349" y="1540"/>
                      </a:lnTo>
                      <a:lnTo>
                        <a:pt x="349" y="1540"/>
                      </a:lnTo>
                      <a:lnTo>
                        <a:pt x="349" y="1541"/>
                      </a:lnTo>
                      <a:lnTo>
                        <a:pt x="350" y="1541"/>
                      </a:lnTo>
                      <a:lnTo>
                        <a:pt x="350" y="1540"/>
                      </a:lnTo>
                      <a:lnTo>
                        <a:pt x="350" y="1540"/>
                      </a:lnTo>
                      <a:lnTo>
                        <a:pt x="350" y="1539"/>
                      </a:lnTo>
                      <a:lnTo>
                        <a:pt x="349" y="1539"/>
                      </a:lnTo>
                      <a:lnTo>
                        <a:pt x="350" y="1539"/>
                      </a:lnTo>
                      <a:lnTo>
                        <a:pt x="350" y="1538"/>
                      </a:lnTo>
                      <a:lnTo>
                        <a:pt x="349" y="1538"/>
                      </a:lnTo>
                      <a:lnTo>
                        <a:pt x="349" y="1537"/>
                      </a:lnTo>
                      <a:lnTo>
                        <a:pt x="350" y="1537"/>
                      </a:lnTo>
                      <a:lnTo>
                        <a:pt x="350" y="1535"/>
                      </a:lnTo>
                      <a:lnTo>
                        <a:pt x="349" y="1535"/>
                      </a:lnTo>
                      <a:lnTo>
                        <a:pt x="349" y="1534"/>
                      </a:lnTo>
                      <a:lnTo>
                        <a:pt x="350" y="1534"/>
                      </a:lnTo>
                      <a:lnTo>
                        <a:pt x="350" y="1534"/>
                      </a:lnTo>
                      <a:lnTo>
                        <a:pt x="350" y="1533"/>
                      </a:lnTo>
                      <a:lnTo>
                        <a:pt x="350" y="1533"/>
                      </a:lnTo>
                      <a:lnTo>
                        <a:pt x="351" y="1531"/>
                      </a:lnTo>
                      <a:lnTo>
                        <a:pt x="351" y="1531"/>
                      </a:lnTo>
                      <a:lnTo>
                        <a:pt x="352" y="1530"/>
                      </a:lnTo>
                      <a:lnTo>
                        <a:pt x="352" y="1528"/>
                      </a:lnTo>
                      <a:lnTo>
                        <a:pt x="351" y="1528"/>
                      </a:lnTo>
                      <a:lnTo>
                        <a:pt x="352" y="1528"/>
                      </a:lnTo>
                      <a:lnTo>
                        <a:pt x="352" y="1527"/>
                      </a:lnTo>
                      <a:lnTo>
                        <a:pt x="354" y="1527"/>
                      </a:lnTo>
                      <a:lnTo>
                        <a:pt x="354" y="1527"/>
                      </a:lnTo>
                      <a:lnTo>
                        <a:pt x="354" y="1526"/>
                      </a:lnTo>
                      <a:lnTo>
                        <a:pt x="354" y="1526"/>
                      </a:lnTo>
                      <a:lnTo>
                        <a:pt x="353" y="1525"/>
                      </a:lnTo>
                      <a:lnTo>
                        <a:pt x="354" y="1524"/>
                      </a:lnTo>
                      <a:lnTo>
                        <a:pt x="353" y="1524"/>
                      </a:lnTo>
                      <a:lnTo>
                        <a:pt x="353" y="1524"/>
                      </a:lnTo>
                      <a:lnTo>
                        <a:pt x="351" y="1524"/>
                      </a:lnTo>
                      <a:lnTo>
                        <a:pt x="351" y="1524"/>
                      </a:lnTo>
                      <a:lnTo>
                        <a:pt x="351" y="1525"/>
                      </a:lnTo>
                      <a:lnTo>
                        <a:pt x="351" y="1525"/>
                      </a:lnTo>
                      <a:lnTo>
                        <a:pt x="350" y="1524"/>
                      </a:lnTo>
                      <a:lnTo>
                        <a:pt x="351" y="1521"/>
                      </a:lnTo>
                      <a:lnTo>
                        <a:pt x="352" y="1521"/>
                      </a:lnTo>
                      <a:lnTo>
                        <a:pt x="352" y="1520"/>
                      </a:lnTo>
                      <a:lnTo>
                        <a:pt x="352" y="1519"/>
                      </a:lnTo>
                      <a:lnTo>
                        <a:pt x="353" y="1519"/>
                      </a:lnTo>
                      <a:lnTo>
                        <a:pt x="353" y="1518"/>
                      </a:lnTo>
                      <a:lnTo>
                        <a:pt x="354" y="1518"/>
                      </a:lnTo>
                      <a:lnTo>
                        <a:pt x="354" y="1518"/>
                      </a:lnTo>
                      <a:lnTo>
                        <a:pt x="354" y="1518"/>
                      </a:lnTo>
                      <a:lnTo>
                        <a:pt x="355" y="1517"/>
                      </a:lnTo>
                      <a:lnTo>
                        <a:pt x="355" y="1518"/>
                      </a:lnTo>
                      <a:lnTo>
                        <a:pt x="355" y="1517"/>
                      </a:lnTo>
                      <a:lnTo>
                        <a:pt x="356" y="1517"/>
                      </a:lnTo>
                      <a:lnTo>
                        <a:pt x="356" y="1518"/>
                      </a:lnTo>
                      <a:lnTo>
                        <a:pt x="357" y="1517"/>
                      </a:lnTo>
                      <a:lnTo>
                        <a:pt x="358" y="1516"/>
                      </a:lnTo>
                      <a:lnTo>
                        <a:pt x="357" y="1516"/>
                      </a:lnTo>
                      <a:lnTo>
                        <a:pt x="356" y="1515"/>
                      </a:lnTo>
                      <a:lnTo>
                        <a:pt x="358" y="1514"/>
                      </a:lnTo>
                      <a:lnTo>
                        <a:pt x="359" y="1513"/>
                      </a:lnTo>
                      <a:lnTo>
                        <a:pt x="359" y="1513"/>
                      </a:lnTo>
                      <a:lnTo>
                        <a:pt x="359" y="1513"/>
                      </a:lnTo>
                      <a:lnTo>
                        <a:pt x="361" y="1512"/>
                      </a:lnTo>
                      <a:lnTo>
                        <a:pt x="362" y="1512"/>
                      </a:lnTo>
                      <a:lnTo>
                        <a:pt x="362" y="1512"/>
                      </a:lnTo>
                      <a:lnTo>
                        <a:pt x="362" y="1512"/>
                      </a:lnTo>
                      <a:lnTo>
                        <a:pt x="363" y="1512"/>
                      </a:lnTo>
                      <a:lnTo>
                        <a:pt x="364" y="1512"/>
                      </a:lnTo>
                      <a:lnTo>
                        <a:pt x="364" y="1511"/>
                      </a:lnTo>
                      <a:lnTo>
                        <a:pt x="364" y="1512"/>
                      </a:lnTo>
                      <a:lnTo>
                        <a:pt x="364" y="1511"/>
                      </a:lnTo>
                      <a:lnTo>
                        <a:pt x="364" y="1510"/>
                      </a:lnTo>
                      <a:lnTo>
                        <a:pt x="365" y="1509"/>
                      </a:lnTo>
                      <a:lnTo>
                        <a:pt x="365" y="1509"/>
                      </a:lnTo>
                      <a:lnTo>
                        <a:pt x="365" y="1509"/>
                      </a:lnTo>
                      <a:lnTo>
                        <a:pt x="366" y="1509"/>
                      </a:lnTo>
                      <a:lnTo>
                        <a:pt x="366" y="1507"/>
                      </a:lnTo>
                      <a:lnTo>
                        <a:pt x="367" y="1507"/>
                      </a:lnTo>
                      <a:lnTo>
                        <a:pt x="367" y="1507"/>
                      </a:lnTo>
                      <a:lnTo>
                        <a:pt x="367" y="1508"/>
                      </a:lnTo>
                      <a:lnTo>
                        <a:pt x="368" y="1507"/>
                      </a:lnTo>
                      <a:lnTo>
                        <a:pt x="369" y="1506"/>
                      </a:lnTo>
                      <a:lnTo>
                        <a:pt x="369" y="1505"/>
                      </a:lnTo>
                      <a:lnTo>
                        <a:pt x="371" y="1504"/>
                      </a:lnTo>
                      <a:lnTo>
                        <a:pt x="371" y="1504"/>
                      </a:lnTo>
                      <a:lnTo>
                        <a:pt x="372" y="1504"/>
                      </a:lnTo>
                      <a:lnTo>
                        <a:pt x="373" y="1504"/>
                      </a:lnTo>
                      <a:lnTo>
                        <a:pt x="373" y="1504"/>
                      </a:lnTo>
                      <a:lnTo>
                        <a:pt x="374" y="1504"/>
                      </a:lnTo>
                      <a:lnTo>
                        <a:pt x="376" y="1504"/>
                      </a:lnTo>
                      <a:lnTo>
                        <a:pt x="376" y="1503"/>
                      </a:lnTo>
                      <a:lnTo>
                        <a:pt x="378" y="1503"/>
                      </a:lnTo>
                      <a:lnTo>
                        <a:pt x="379" y="1502"/>
                      </a:lnTo>
                      <a:lnTo>
                        <a:pt x="379" y="1502"/>
                      </a:lnTo>
                      <a:lnTo>
                        <a:pt x="380" y="1502"/>
                      </a:lnTo>
                      <a:lnTo>
                        <a:pt x="381" y="1501"/>
                      </a:lnTo>
                      <a:lnTo>
                        <a:pt x="382" y="1500"/>
                      </a:lnTo>
                      <a:lnTo>
                        <a:pt x="382" y="1499"/>
                      </a:lnTo>
                      <a:lnTo>
                        <a:pt x="385" y="1497"/>
                      </a:lnTo>
                      <a:lnTo>
                        <a:pt x="385" y="1496"/>
                      </a:lnTo>
                      <a:lnTo>
                        <a:pt x="385" y="1496"/>
                      </a:lnTo>
                      <a:lnTo>
                        <a:pt x="384" y="1497"/>
                      </a:lnTo>
                      <a:lnTo>
                        <a:pt x="383" y="1497"/>
                      </a:lnTo>
                      <a:lnTo>
                        <a:pt x="383" y="1497"/>
                      </a:lnTo>
                      <a:lnTo>
                        <a:pt x="383" y="1497"/>
                      </a:lnTo>
                      <a:lnTo>
                        <a:pt x="383" y="1498"/>
                      </a:lnTo>
                      <a:lnTo>
                        <a:pt x="382" y="1498"/>
                      </a:lnTo>
                      <a:lnTo>
                        <a:pt x="382" y="1499"/>
                      </a:lnTo>
                      <a:lnTo>
                        <a:pt x="382" y="1499"/>
                      </a:lnTo>
                      <a:lnTo>
                        <a:pt x="382" y="1499"/>
                      </a:lnTo>
                      <a:lnTo>
                        <a:pt x="381" y="1499"/>
                      </a:lnTo>
                      <a:lnTo>
                        <a:pt x="381" y="1498"/>
                      </a:lnTo>
                      <a:lnTo>
                        <a:pt x="381" y="1498"/>
                      </a:lnTo>
                      <a:lnTo>
                        <a:pt x="380" y="1499"/>
                      </a:lnTo>
                      <a:lnTo>
                        <a:pt x="379" y="1499"/>
                      </a:lnTo>
                      <a:lnTo>
                        <a:pt x="380" y="1500"/>
                      </a:lnTo>
                      <a:lnTo>
                        <a:pt x="379" y="1500"/>
                      </a:lnTo>
                      <a:lnTo>
                        <a:pt x="379" y="1500"/>
                      </a:lnTo>
                      <a:lnTo>
                        <a:pt x="378" y="1501"/>
                      </a:lnTo>
                      <a:lnTo>
                        <a:pt x="376" y="1500"/>
                      </a:lnTo>
                      <a:lnTo>
                        <a:pt x="376" y="1500"/>
                      </a:lnTo>
                      <a:lnTo>
                        <a:pt x="375" y="1500"/>
                      </a:lnTo>
                      <a:lnTo>
                        <a:pt x="375" y="1499"/>
                      </a:lnTo>
                      <a:lnTo>
                        <a:pt x="374" y="1499"/>
                      </a:lnTo>
                      <a:lnTo>
                        <a:pt x="374" y="1500"/>
                      </a:lnTo>
                      <a:lnTo>
                        <a:pt x="375" y="1501"/>
                      </a:lnTo>
                      <a:lnTo>
                        <a:pt x="375" y="1502"/>
                      </a:lnTo>
                      <a:lnTo>
                        <a:pt x="375" y="1502"/>
                      </a:lnTo>
                      <a:lnTo>
                        <a:pt x="375" y="1502"/>
                      </a:lnTo>
                      <a:lnTo>
                        <a:pt x="374" y="1502"/>
                      </a:lnTo>
                      <a:lnTo>
                        <a:pt x="375" y="1502"/>
                      </a:lnTo>
                      <a:lnTo>
                        <a:pt x="374" y="1502"/>
                      </a:lnTo>
                      <a:lnTo>
                        <a:pt x="373" y="1502"/>
                      </a:lnTo>
                      <a:lnTo>
                        <a:pt x="373" y="1501"/>
                      </a:lnTo>
                      <a:lnTo>
                        <a:pt x="373" y="1501"/>
                      </a:lnTo>
                      <a:lnTo>
                        <a:pt x="373" y="1502"/>
                      </a:lnTo>
                      <a:lnTo>
                        <a:pt x="373" y="1503"/>
                      </a:lnTo>
                      <a:lnTo>
                        <a:pt x="372" y="1502"/>
                      </a:lnTo>
                      <a:lnTo>
                        <a:pt x="372" y="1503"/>
                      </a:lnTo>
                      <a:lnTo>
                        <a:pt x="371" y="1502"/>
                      </a:lnTo>
                      <a:lnTo>
                        <a:pt x="370" y="1503"/>
                      </a:lnTo>
                      <a:lnTo>
                        <a:pt x="370" y="1503"/>
                      </a:lnTo>
                      <a:lnTo>
                        <a:pt x="369" y="1502"/>
                      </a:lnTo>
                      <a:lnTo>
                        <a:pt x="368" y="1502"/>
                      </a:lnTo>
                      <a:lnTo>
                        <a:pt x="368" y="1501"/>
                      </a:lnTo>
                      <a:lnTo>
                        <a:pt x="367" y="1501"/>
                      </a:lnTo>
                      <a:lnTo>
                        <a:pt x="366" y="1501"/>
                      </a:lnTo>
                      <a:lnTo>
                        <a:pt x="366" y="1501"/>
                      </a:lnTo>
                      <a:lnTo>
                        <a:pt x="366" y="1501"/>
                      </a:lnTo>
                      <a:lnTo>
                        <a:pt x="365" y="1501"/>
                      </a:lnTo>
                      <a:lnTo>
                        <a:pt x="365" y="1501"/>
                      </a:lnTo>
                      <a:lnTo>
                        <a:pt x="364" y="1501"/>
                      </a:lnTo>
                      <a:lnTo>
                        <a:pt x="363" y="1502"/>
                      </a:lnTo>
                      <a:lnTo>
                        <a:pt x="363" y="1501"/>
                      </a:lnTo>
                      <a:lnTo>
                        <a:pt x="362" y="1502"/>
                      </a:lnTo>
                      <a:lnTo>
                        <a:pt x="362" y="1502"/>
                      </a:lnTo>
                      <a:lnTo>
                        <a:pt x="361" y="1502"/>
                      </a:lnTo>
                      <a:lnTo>
                        <a:pt x="359" y="1502"/>
                      </a:lnTo>
                      <a:lnTo>
                        <a:pt x="359" y="1503"/>
                      </a:lnTo>
                      <a:lnTo>
                        <a:pt x="358" y="1503"/>
                      </a:lnTo>
                      <a:lnTo>
                        <a:pt x="357" y="1504"/>
                      </a:lnTo>
                      <a:lnTo>
                        <a:pt x="356" y="1504"/>
                      </a:lnTo>
                      <a:lnTo>
                        <a:pt x="356" y="1504"/>
                      </a:lnTo>
                      <a:lnTo>
                        <a:pt x="355" y="1504"/>
                      </a:lnTo>
                      <a:lnTo>
                        <a:pt x="355" y="1504"/>
                      </a:lnTo>
                      <a:lnTo>
                        <a:pt x="353" y="1503"/>
                      </a:lnTo>
                      <a:lnTo>
                        <a:pt x="352" y="1503"/>
                      </a:lnTo>
                      <a:lnTo>
                        <a:pt x="352" y="1502"/>
                      </a:lnTo>
                      <a:lnTo>
                        <a:pt x="352" y="1501"/>
                      </a:lnTo>
                      <a:lnTo>
                        <a:pt x="353" y="1500"/>
                      </a:lnTo>
                      <a:lnTo>
                        <a:pt x="353" y="1497"/>
                      </a:lnTo>
                      <a:lnTo>
                        <a:pt x="352" y="1496"/>
                      </a:lnTo>
                      <a:lnTo>
                        <a:pt x="352" y="1495"/>
                      </a:lnTo>
                      <a:lnTo>
                        <a:pt x="351" y="1494"/>
                      </a:lnTo>
                      <a:lnTo>
                        <a:pt x="351" y="1494"/>
                      </a:lnTo>
                      <a:lnTo>
                        <a:pt x="351" y="1493"/>
                      </a:lnTo>
                      <a:lnTo>
                        <a:pt x="351" y="1492"/>
                      </a:lnTo>
                      <a:lnTo>
                        <a:pt x="350" y="1490"/>
                      </a:lnTo>
                      <a:lnTo>
                        <a:pt x="350" y="1489"/>
                      </a:lnTo>
                      <a:lnTo>
                        <a:pt x="350" y="1489"/>
                      </a:lnTo>
                      <a:lnTo>
                        <a:pt x="350" y="1489"/>
                      </a:lnTo>
                      <a:lnTo>
                        <a:pt x="350" y="1489"/>
                      </a:lnTo>
                      <a:lnTo>
                        <a:pt x="349" y="1488"/>
                      </a:lnTo>
                      <a:lnTo>
                        <a:pt x="348" y="1488"/>
                      </a:lnTo>
                      <a:lnTo>
                        <a:pt x="348" y="1489"/>
                      </a:lnTo>
                      <a:lnTo>
                        <a:pt x="348" y="1489"/>
                      </a:lnTo>
                      <a:lnTo>
                        <a:pt x="348" y="1488"/>
                      </a:lnTo>
                      <a:lnTo>
                        <a:pt x="347" y="1488"/>
                      </a:lnTo>
                      <a:lnTo>
                        <a:pt x="347" y="1488"/>
                      </a:lnTo>
                      <a:lnTo>
                        <a:pt x="347" y="1487"/>
                      </a:lnTo>
                      <a:lnTo>
                        <a:pt x="347" y="1486"/>
                      </a:lnTo>
                      <a:lnTo>
                        <a:pt x="347" y="1486"/>
                      </a:lnTo>
                      <a:lnTo>
                        <a:pt x="347" y="1485"/>
                      </a:lnTo>
                      <a:lnTo>
                        <a:pt x="347" y="1484"/>
                      </a:lnTo>
                      <a:lnTo>
                        <a:pt x="346" y="1484"/>
                      </a:lnTo>
                      <a:lnTo>
                        <a:pt x="346" y="1483"/>
                      </a:lnTo>
                      <a:lnTo>
                        <a:pt x="345" y="1483"/>
                      </a:lnTo>
                      <a:lnTo>
                        <a:pt x="345" y="1483"/>
                      </a:lnTo>
                      <a:lnTo>
                        <a:pt x="345" y="1483"/>
                      </a:lnTo>
                      <a:lnTo>
                        <a:pt x="345" y="1482"/>
                      </a:lnTo>
                      <a:lnTo>
                        <a:pt x="345" y="1482"/>
                      </a:lnTo>
                      <a:lnTo>
                        <a:pt x="345" y="1481"/>
                      </a:lnTo>
                      <a:lnTo>
                        <a:pt x="344" y="1481"/>
                      </a:lnTo>
                      <a:lnTo>
                        <a:pt x="344" y="1481"/>
                      </a:lnTo>
                      <a:lnTo>
                        <a:pt x="344" y="1481"/>
                      </a:lnTo>
                      <a:lnTo>
                        <a:pt x="344" y="1482"/>
                      </a:lnTo>
                      <a:lnTo>
                        <a:pt x="344" y="1482"/>
                      </a:lnTo>
                      <a:lnTo>
                        <a:pt x="344" y="1483"/>
                      </a:lnTo>
                      <a:lnTo>
                        <a:pt x="344" y="1483"/>
                      </a:lnTo>
                      <a:lnTo>
                        <a:pt x="344" y="1485"/>
                      </a:lnTo>
                      <a:lnTo>
                        <a:pt x="345" y="1487"/>
                      </a:lnTo>
                      <a:lnTo>
                        <a:pt x="345" y="1487"/>
                      </a:lnTo>
                      <a:lnTo>
                        <a:pt x="346" y="1487"/>
                      </a:lnTo>
                      <a:lnTo>
                        <a:pt x="346" y="1488"/>
                      </a:lnTo>
                      <a:lnTo>
                        <a:pt x="346" y="1489"/>
                      </a:lnTo>
                      <a:lnTo>
                        <a:pt x="346" y="1489"/>
                      </a:lnTo>
                      <a:lnTo>
                        <a:pt x="346" y="1492"/>
                      </a:lnTo>
                      <a:lnTo>
                        <a:pt x="346" y="1493"/>
                      </a:lnTo>
                      <a:lnTo>
                        <a:pt x="346" y="1494"/>
                      </a:lnTo>
                      <a:lnTo>
                        <a:pt x="346" y="1494"/>
                      </a:lnTo>
                      <a:lnTo>
                        <a:pt x="346" y="1496"/>
                      </a:lnTo>
                      <a:lnTo>
                        <a:pt x="346" y="1496"/>
                      </a:lnTo>
                      <a:lnTo>
                        <a:pt x="346" y="1498"/>
                      </a:lnTo>
                      <a:lnTo>
                        <a:pt x="345" y="1498"/>
                      </a:lnTo>
                      <a:lnTo>
                        <a:pt x="345" y="1498"/>
                      </a:lnTo>
                      <a:lnTo>
                        <a:pt x="345" y="1499"/>
                      </a:lnTo>
                      <a:lnTo>
                        <a:pt x="344" y="1499"/>
                      </a:lnTo>
                      <a:lnTo>
                        <a:pt x="344" y="1500"/>
                      </a:lnTo>
                      <a:lnTo>
                        <a:pt x="342" y="1499"/>
                      </a:lnTo>
                      <a:lnTo>
                        <a:pt x="342" y="1500"/>
                      </a:lnTo>
                      <a:lnTo>
                        <a:pt x="341" y="1500"/>
                      </a:lnTo>
                      <a:lnTo>
                        <a:pt x="342" y="1501"/>
                      </a:lnTo>
                      <a:lnTo>
                        <a:pt x="342" y="1501"/>
                      </a:lnTo>
                      <a:lnTo>
                        <a:pt x="342" y="1503"/>
                      </a:lnTo>
                      <a:lnTo>
                        <a:pt x="342" y="1503"/>
                      </a:lnTo>
                      <a:lnTo>
                        <a:pt x="341" y="1505"/>
                      </a:lnTo>
                      <a:lnTo>
                        <a:pt x="341" y="1505"/>
                      </a:lnTo>
                      <a:lnTo>
                        <a:pt x="341" y="1506"/>
                      </a:lnTo>
                      <a:lnTo>
                        <a:pt x="340" y="1506"/>
                      </a:lnTo>
                      <a:lnTo>
                        <a:pt x="340" y="1506"/>
                      </a:lnTo>
                      <a:lnTo>
                        <a:pt x="340" y="1508"/>
                      </a:lnTo>
                      <a:lnTo>
                        <a:pt x="340" y="1508"/>
                      </a:lnTo>
                      <a:lnTo>
                        <a:pt x="340" y="1508"/>
                      </a:lnTo>
                      <a:lnTo>
                        <a:pt x="339" y="1508"/>
                      </a:lnTo>
                      <a:lnTo>
                        <a:pt x="339" y="1509"/>
                      </a:lnTo>
                      <a:lnTo>
                        <a:pt x="339" y="1510"/>
                      </a:lnTo>
                      <a:lnTo>
                        <a:pt x="338" y="1510"/>
                      </a:lnTo>
                      <a:lnTo>
                        <a:pt x="338" y="1511"/>
                      </a:lnTo>
                      <a:lnTo>
                        <a:pt x="338" y="1511"/>
                      </a:lnTo>
                      <a:lnTo>
                        <a:pt x="338" y="1512"/>
                      </a:lnTo>
                      <a:lnTo>
                        <a:pt x="338" y="1513"/>
                      </a:lnTo>
                      <a:lnTo>
                        <a:pt x="338" y="1513"/>
                      </a:lnTo>
                      <a:lnTo>
                        <a:pt x="337" y="1514"/>
                      </a:lnTo>
                      <a:lnTo>
                        <a:pt x="337" y="1515"/>
                      </a:lnTo>
                      <a:lnTo>
                        <a:pt x="337" y="1515"/>
                      </a:lnTo>
                      <a:lnTo>
                        <a:pt x="337" y="1515"/>
                      </a:lnTo>
                      <a:lnTo>
                        <a:pt x="336" y="1516"/>
                      </a:lnTo>
                      <a:lnTo>
                        <a:pt x="336" y="1517"/>
                      </a:lnTo>
                      <a:lnTo>
                        <a:pt x="336" y="1517"/>
                      </a:lnTo>
                      <a:lnTo>
                        <a:pt x="335" y="1518"/>
                      </a:lnTo>
                      <a:lnTo>
                        <a:pt x="335" y="1518"/>
                      </a:lnTo>
                      <a:lnTo>
                        <a:pt x="335" y="1518"/>
                      </a:lnTo>
                      <a:lnTo>
                        <a:pt x="335" y="1519"/>
                      </a:lnTo>
                      <a:lnTo>
                        <a:pt x="334" y="1519"/>
                      </a:lnTo>
                      <a:lnTo>
                        <a:pt x="334" y="1519"/>
                      </a:lnTo>
                      <a:lnTo>
                        <a:pt x="333" y="1518"/>
                      </a:lnTo>
                      <a:lnTo>
                        <a:pt x="333" y="1518"/>
                      </a:lnTo>
                      <a:lnTo>
                        <a:pt x="332" y="1517"/>
                      </a:lnTo>
                      <a:lnTo>
                        <a:pt x="332" y="1517"/>
                      </a:lnTo>
                      <a:lnTo>
                        <a:pt x="331" y="1517"/>
                      </a:lnTo>
                      <a:lnTo>
                        <a:pt x="332" y="1517"/>
                      </a:lnTo>
                      <a:lnTo>
                        <a:pt x="331" y="1516"/>
                      </a:lnTo>
                      <a:lnTo>
                        <a:pt x="331" y="1516"/>
                      </a:lnTo>
                      <a:lnTo>
                        <a:pt x="330" y="1516"/>
                      </a:lnTo>
                      <a:lnTo>
                        <a:pt x="330" y="1516"/>
                      </a:lnTo>
                      <a:lnTo>
                        <a:pt x="329" y="1516"/>
                      </a:lnTo>
                      <a:lnTo>
                        <a:pt x="329" y="1516"/>
                      </a:lnTo>
                      <a:lnTo>
                        <a:pt x="328" y="1515"/>
                      </a:lnTo>
                      <a:lnTo>
                        <a:pt x="328" y="1514"/>
                      </a:lnTo>
                      <a:lnTo>
                        <a:pt x="328" y="1513"/>
                      </a:lnTo>
                      <a:lnTo>
                        <a:pt x="329" y="1513"/>
                      </a:lnTo>
                      <a:lnTo>
                        <a:pt x="329" y="1512"/>
                      </a:lnTo>
                      <a:lnTo>
                        <a:pt x="329" y="1512"/>
                      </a:lnTo>
                      <a:lnTo>
                        <a:pt x="329" y="1511"/>
                      </a:lnTo>
                      <a:lnTo>
                        <a:pt x="329" y="1511"/>
                      </a:lnTo>
                      <a:lnTo>
                        <a:pt x="329" y="1511"/>
                      </a:lnTo>
                      <a:lnTo>
                        <a:pt x="329" y="1510"/>
                      </a:lnTo>
                      <a:lnTo>
                        <a:pt x="329" y="1509"/>
                      </a:lnTo>
                      <a:lnTo>
                        <a:pt x="329" y="1508"/>
                      </a:lnTo>
                      <a:lnTo>
                        <a:pt x="330" y="1506"/>
                      </a:lnTo>
                      <a:lnTo>
                        <a:pt x="330" y="1504"/>
                      </a:lnTo>
                      <a:lnTo>
                        <a:pt x="330" y="1504"/>
                      </a:lnTo>
                      <a:lnTo>
                        <a:pt x="330" y="1502"/>
                      </a:lnTo>
                      <a:lnTo>
                        <a:pt x="328" y="1500"/>
                      </a:lnTo>
                      <a:lnTo>
                        <a:pt x="329" y="1498"/>
                      </a:lnTo>
                      <a:lnTo>
                        <a:pt x="329" y="1496"/>
                      </a:lnTo>
                      <a:lnTo>
                        <a:pt x="328" y="1495"/>
                      </a:lnTo>
                      <a:lnTo>
                        <a:pt x="327" y="1495"/>
                      </a:lnTo>
                      <a:lnTo>
                        <a:pt x="326" y="1495"/>
                      </a:lnTo>
                      <a:lnTo>
                        <a:pt x="326" y="1496"/>
                      </a:lnTo>
                      <a:lnTo>
                        <a:pt x="325" y="1497"/>
                      </a:lnTo>
                      <a:lnTo>
                        <a:pt x="324" y="1497"/>
                      </a:lnTo>
                      <a:lnTo>
                        <a:pt x="324" y="1497"/>
                      </a:lnTo>
                      <a:lnTo>
                        <a:pt x="322" y="1496"/>
                      </a:lnTo>
                      <a:lnTo>
                        <a:pt x="322" y="1496"/>
                      </a:lnTo>
                      <a:lnTo>
                        <a:pt x="321" y="1496"/>
                      </a:lnTo>
                      <a:lnTo>
                        <a:pt x="321" y="1496"/>
                      </a:lnTo>
                      <a:lnTo>
                        <a:pt x="321" y="1496"/>
                      </a:lnTo>
                      <a:lnTo>
                        <a:pt x="320" y="1495"/>
                      </a:lnTo>
                      <a:lnTo>
                        <a:pt x="320" y="1494"/>
                      </a:lnTo>
                      <a:lnTo>
                        <a:pt x="320" y="1494"/>
                      </a:lnTo>
                      <a:lnTo>
                        <a:pt x="320" y="1493"/>
                      </a:lnTo>
                      <a:lnTo>
                        <a:pt x="319" y="1493"/>
                      </a:lnTo>
                      <a:lnTo>
                        <a:pt x="319" y="1493"/>
                      </a:lnTo>
                      <a:lnTo>
                        <a:pt x="319" y="1494"/>
                      </a:lnTo>
                      <a:lnTo>
                        <a:pt x="319" y="1494"/>
                      </a:lnTo>
                      <a:lnTo>
                        <a:pt x="318" y="1493"/>
                      </a:lnTo>
                      <a:lnTo>
                        <a:pt x="318" y="1493"/>
                      </a:lnTo>
                      <a:lnTo>
                        <a:pt x="317" y="1493"/>
                      </a:lnTo>
                      <a:lnTo>
                        <a:pt x="317" y="1493"/>
                      </a:lnTo>
                      <a:lnTo>
                        <a:pt x="317" y="1493"/>
                      </a:lnTo>
                      <a:lnTo>
                        <a:pt x="317" y="1493"/>
                      </a:lnTo>
                      <a:lnTo>
                        <a:pt x="317" y="1492"/>
                      </a:lnTo>
                      <a:lnTo>
                        <a:pt x="316" y="1492"/>
                      </a:lnTo>
                      <a:lnTo>
                        <a:pt x="316" y="1493"/>
                      </a:lnTo>
                      <a:lnTo>
                        <a:pt x="316" y="1494"/>
                      </a:lnTo>
                      <a:lnTo>
                        <a:pt x="317" y="1494"/>
                      </a:lnTo>
                      <a:lnTo>
                        <a:pt x="317" y="1495"/>
                      </a:lnTo>
                      <a:lnTo>
                        <a:pt x="317" y="1495"/>
                      </a:lnTo>
                      <a:lnTo>
                        <a:pt x="318" y="1496"/>
                      </a:lnTo>
                      <a:lnTo>
                        <a:pt x="317" y="1496"/>
                      </a:lnTo>
                      <a:lnTo>
                        <a:pt x="316" y="1496"/>
                      </a:lnTo>
                      <a:lnTo>
                        <a:pt x="317" y="1499"/>
                      </a:lnTo>
                      <a:lnTo>
                        <a:pt x="316" y="1500"/>
                      </a:lnTo>
                      <a:lnTo>
                        <a:pt x="316" y="1501"/>
                      </a:lnTo>
                      <a:lnTo>
                        <a:pt x="316" y="1501"/>
                      </a:lnTo>
                      <a:lnTo>
                        <a:pt x="315" y="1501"/>
                      </a:lnTo>
                      <a:lnTo>
                        <a:pt x="314" y="1501"/>
                      </a:lnTo>
                      <a:lnTo>
                        <a:pt x="313" y="1501"/>
                      </a:lnTo>
                      <a:lnTo>
                        <a:pt x="312" y="1502"/>
                      </a:lnTo>
                      <a:lnTo>
                        <a:pt x="311" y="1501"/>
                      </a:lnTo>
                      <a:lnTo>
                        <a:pt x="309" y="1501"/>
                      </a:lnTo>
                      <a:lnTo>
                        <a:pt x="309" y="1500"/>
                      </a:lnTo>
                      <a:lnTo>
                        <a:pt x="308" y="1500"/>
                      </a:lnTo>
                      <a:lnTo>
                        <a:pt x="308" y="1500"/>
                      </a:lnTo>
                      <a:lnTo>
                        <a:pt x="307" y="1500"/>
                      </a:lnTo>
                      <a:lnTo>
                        <a:pt x="304" y="1501"/>
                      </a:lnTo>
                      <a:lnTo>
                        <a:pt x="303" y="1501"/>
                      </a:lnTo>
                      <a:lnTo>
                        <a:pt x="303" y="1502"/>
                      </a:lnTo>
                      <a:lnTo>
                        <a:pt x="301" y="1502"/>
                      </a:lnTo>
                      <a:lnTo>
                        <a:pt x="300" y="1503"/>
                      </a:lnTo>
                      <a:lnTo>
                        <a:pt x="298" y="1503"/>
                      </a:lnTo>
                      <a:lnTo>
                        <a:pt x="298" y="1503"/>
                      </a:lnTo>
                      <a:lnTo>
                        <a:pt x="297" y="1503"/>
                      </a:lnTo>
                      <a:lnTo>
                        <a:pt x="296" y="1503"/>
                      </a:lnTo>
                      <a:lnTo>
                        <a:pt x="296" y="1503"/>
                      </a:lnTo>
                      <a:lnTo>
                        <a:pt x="295" y="1504"/>
                      </a:lnTo>
                      <a:lnTo>
                        <a:pt x="295" y="1504"/>
                      </a:lnTo>
                      <a:lnTo>
                        <a:pt x="294" y="1504"/>
                      </a:lnTo>
                      <a:lnTo>
                        <a:pt x="294" y="1504"/>
                      </a:lnTo>
                      <a:lnTo>
                        <a:pt x="294" y="1504"/>
                      </a:lnTo>
                      <a:lnTo>
                        <a:pt x="294" y="1504"/>
                      </a:lnTo>
                      <a:lnTo>
                        <a:pt x="293" y="1504"/>
                      </a:lnTo>
                      <a:lnTo>
                        <a:pt x="293" y="1504"/>
                      </a:lnTo>
                      <a:lnTo>
                        <a:pt x="292" y="1505"/>
                      </a:lnTo>
                      <a:lnTo>
                        <a:pt x="290" y="1505"/>
                      </a:lnTo>
                      <a:lnTo>
                        <a:pt x="289" y="1506"/>
                      </a:lnTo>
                      <a:lnTo>
                        <a:pt x="288" y="1506"/>
                      </a:lnTo>
                      <a:lnTo>
                        <a:pt x="288" y="1506"/>
                      </a:lnTo>
                      <a:lnTo>
                        <a:pt x="287" y="1506"/>
                      </a:lnTo>
                      <a:lnTo>
                        <a:pt x="287" y="1507"/>
                      </a:lnTo>
                      <a:lnTo>
                        <a:pt x="286" y="1507"/>
                      </a:lnTo>
                      <a:lnTo>
                        <a:pt x="286" y="1507"/>
                      </a:lnTo>
                      <a:lnTo>
                        <a:pt x="286" y="1506"/>
                      </a:lnTo>
                      <a:lnTo>
                        <a:pt x="286" y="1506"/>
                      </a:lnTo>
                      <a:lnTo>
                        <a:pt x="284" y="1506"/>
                      </a:lnTo>
                      <a:lnTo>
                        <a:pt x="283" y="1506"/>
                      </a:lnTo>
                      <a:lnTo>
                        <a:pt x="283" y="1506"/>
                      </a:lnTo>
                      <a:lnTo>
                        <a:pt x="283" y="1505"/>
                      </a:lnTo>
                      <a:lnTo>
                        <a:pt x="283" y="1505"/>
                      </a:lnTo>
                      <a:lnTo>
                        <a:pt x="286" y="1505"/>
                      </a:lnTo>
                      <a:lnTo>
                        <a:pt x="286" y="1502"/>
                      </a:lnTo>
                      <a:lnTo>
                        <a:pt x="286" y="1502"/>
                      </a:lnTo>
                      <a:lnTo>
                        <a:pt x="288" y="1501"/>
                      </a:lnTo>
                      <a:lnTo>
                        <a:pt x="289" y="1500"/>
                      </a:lnTo>
                      <a:lnTo>
                        <a:pt x="289" y="1499"/>
                      </a:lnTo>
                      <a:lnTo>
                        <a:pt x="289" y="1499"/>
                      </a:lnTo>
                      <a:lnTo>
                        <a:pt x="290" y="1499"/>
                      </a:lnTo>
                      <a:lnTo>
                        <a:pt x="290" y="1497"/>
                      </a:lnTo>
                      <a:lnTo>
                        <a:pt x="292" y="1495"/>
                      </a:lnTo>
                      <a:lnTo>
                        <a:pt x="292" y="1493"/>
                      </a:lnTo>
                      <a:lnTo>
                        <a:pt x="292" y="1490"/>
                      </a:lnTo>
                      <a:lnTo>
                        <a:pt x="290" y="1489"/>
                      </a:lnTo>
                      <a:lnTo>
                        <a:pt x="290" y="1489"/>
                      </a:lnTo>
                      <a:lnTo>
                        <a:pt x="289" y="1490"/>
                      </a:lnTo>
                      <a:lnTo>
                        <a:pt x="288" y="1492"/>
                      </a:lnTo>
                      <a:lnTo>
                        <a:pt x="288" y="1492"/>
                      </a:lnTo>
                      <a:lnTo>
                        <a:pt x="286" y="1494"/>
                      </a:lnTo>
                      <a:lnTo>
                        <a:pt x="283" y="1495"/>
                      </a:lnTo>
                      <a:lnTo>
                        <a:pt x="283" y="1496"/>
                      </a:lnTo>
                      <a:lnTo>
                        <a:pt x="282" y="1496"/>
                      </a:lnTo>
                      <a:lnTo>
                        <a:pt x="282" y="1497"/>
                      </a:lnTo>
                      <a:lnTo>
                        <a:pt x="279" y="1497"/>
                      </a:lnTo>
                      <a:lnTo>
                        <a:pt x="277" y="1496"/>
                      </a:lnTo>
                      <a:lnTo>
                        <a:pt x="276" y="1495"/>
                      </a:lnTo>
                      <a:lnTo>
                        <a:pt x="276" y="1495"/>
                      </a:lnTo>
                      <a:lnTo>
                        <a:pt x="276" y="1494"/>
                      </a:lnTo>
                      <a:lnTo>
                        <a:pt x="275" y="1494"/>
                      </a:lnTo>
                      <a:lnTo>
                        <a:pt x="274" y="1492"/>
                      </a:lnTo>
                      <a:lnTo>
                        <a:pt x="275" y="1492"/>
                      </a:lnTo>
                      <a:lnTo>
                        <a:pt x="274" y="1492"/>
                      </a:lnTo>
                      <a:lnTo>
                        <a:pt x="273" y="1490"/>
                      </a:lnTo>
                      <a:lnTo>
                        <a:pt x="273" y="1489"/>
                      </a:lnTo>
                      <a:lnTo>
                        <a:pt x="272" y="1489"/>
                      </a:lnTo>
                      <a:lnTo>
                        <a:pt x="272" y="1489"/>
                      </a:lnTo>
                      <a:lnTo>
                        <a:pt x="272" y="1488"/>
                      </a:lnTo>
                      <a:lnTo>
                        <a:pt x="271" y="1488"/>
                      </a:lnTo>
                      <a:lnTo>
                        <a:pt x="271" y="1487"/>
                      </a:lnTo>
                      <a:lnTo>
                        <a:pt x="271" y="1486"/>
                      </a:lnTo>
                      <a:lnTo>
                        <a:pt x="271" y="1486"/>
                      </a:lnTo>
                      <a:lnTo>
                        <a:pt x="270" y="1486"/>
                      </a:lnTo>
                      <a:lnTo>
                        <a:pt x="270" y="1484"/>
                      </a:lnTo>
                      <a:lnTo>
                        <a:pt x="270" y="1483"/>
                      </a:lnTo>
                      <a:lnTo>
                        <a:pt x="270" y="1483"/>
                      </a:lnTo>
                      <a:lnTo>
                        <a:pt x="270" y="1481"/>
                      </a:lnTo>
                      <a:lnTo>
                        <a:pt x="272" y="1480"/>
                      </a:lnTo>
                      <a:lnTo>
                        <a:pt x="272" y="1480"/>
                      </a:lnTo>
                      <a:lnTo>
                        <a:pt x="273" y="1480"/>
                      </a:lnTo>
                      <a:lnTo>
                        <a:pt x="274" y="1480"/>
                      </a:lnTo>
                      <a:lnTo>
                        <a:pt x="274" y="1480"/>
                      </a:lnTo>
                      <a:lnTo>
                        <a:pt x="277" y="1480"/>
                      </a:lnTo>
                      <a:lnTo>
                        <a:pt x="278" y="1479"/>
                      </a:lnTo>
                      <a:lnTo>
                        <a:pt x="278" y="1478"/>
                      </a:lnTo>
                      <a:lnTo>
                        <a:pt x="278" y="1474"/>
                      </a:lnTo>
                      <a:lnTo>
                        <a:pt x="278" y="1473"/>
                      </a:lnTo>
                      <a:lnTo>
                        <a:pt x="279" y="1473"/>
                      </a:lnTo>
                      <a:lnTo>
                        <a:pt x="279" y="1471"/>
                      </a:lnTo>
                      <a:lnTo>
                        <a:pt x="278" y="1471"/>
                      </a:lnTo>
                      <a:lnTo>
                        <a:pt x="277" y="1472"/>
                      </a:lnTo>
                      <a:lnTo>
                        <a:pt x="277" y="1472"/>
                      </a:lnTo>
                      <a:lnTo>
                        <a:pt x="277" y="1472"/>
                      </a:lnTo>
                      <a:lnTo>
                        <a:pt x="277" y="1474"/>
                      </a:lnTo>
                      <a:lnTo>
                        <a:pt x="277" y="1475"/>
                      </a:lnTo>
                      <a:lnTo>
                        <a:pt x="277" y="1476"/>
                      </a:lnTo>
                      <a:lnTo>
                        <a:pt x="276" y="1476"/>
                      </a:lnTo>
                      <a:lnTo>
                        <a:pt x="276" y="1477"/>
                      </a:lnTo>
                      <a:lnTo>
                        <a:pt x="276" y="1477"/>
                      </a:lnTo>
                      <a:lnTo>
                        <a:pt x="276" y="1477"/>
                      </a:lnTo>
                      <a:lnTo>
                        <a:pt x="275" y="1477"/>
                      </a:lnTo>
                      <a:lnTo>
                        <a:pt x="275" y="1477"/>
                      </a:lnTo>
                      <a:lnTo>
                        <a:pt x="270" y="1477"/>
                      </a:lnTo>
                      <a:lnTo>
                        <a:pt x="268" y="1478"/>
                      </a:lnTo>
                      <a:lnTo>
                        <a:pt x="267" y="1478"/>
                      </a:lnTo>
                      <a:lnTo>
                        <a:pt x="266" y="1478"/>
                      </a:lnTo>
                      <a:lnTo>
                        <a:pt x="265" y="1477"/>
                      </a:lnTo>
                      <a:lnTo>
                        <a:pt x="264" y="1477"/>
                      </a:lnTo>
                      <a:lnTo>
                        <a:pt x="264" y="1476"/>
                      </a:lnTo>
                      <a:lnTo>
                        <a:pt x="263" y="1475"/>
                      </a:lnTo>
                      <a:lnTo>
                        <a:pt x="263" y="1475"/>
                      </a:lnTo>
                      <a:lnTo>
                        <a:pt x="262" y="1474"/>
                      </a:lnTo>
                      <a:lnTo>
                        <a:pt x="262" y="1472"/>
                      </a:lnTo>
                      <a:lnTo>
                        <a:pt x="261" y="1471"/>
                      </a:lnTo>
                      <a:lnTo>
                        <a:pt x="260" y="1470"/>
                      </a:lnTo>
                      <a:lnTo>
                        <a:pt x="260" y="1469"/>
                      </a:lnTo>
                      <a:lnTo>
                        <a:pt x="260" y="1469"/>
                      </a:lnTo>
                      <a:lnTo>
                        <a:pt x="258" y="1468"/>
                      </a:lnTo>
                      <a:lnTo>
                        <a:pt x="258" y="1468"/>
                      </a:lnTo>
                      <a:lnTo>
                        <a:pt x="257" y="1467"/>
                      </a:lnTo>
                      <a:lnTo>
                        <a:pt x="257" y="1465"/>
                      </a:lnTo>
                      <a:lnTo>
                        <a:pt x="257" y="1465"/>
                      </a:lnTo>
                      <a:lnTo>
                        <a:pt x="256" y="1464"/>
                      </a:lnTo>
                      <a:lnTo>
                        <a:pt x="256" y="1464"/>
                      </a:lnTo>
                      <a:lnTo>
                        <a:pt x="256" y="1463"/>
                      </a:lnTo>
                      <a:lnTo>
                        <a:pt x="256" y="1462"/>
                      </a:lnTo>
                      <a:lnTo>
                        <a:pt x="256" y="1462"/>
                      </a:lnTo>
                      <a:lnTo>
                        <a:pt x="255" y="1461"/>
                      </a:lnTo>
                      <a:lnTo>
                        <a:pt x="255" y="1460"/>
                      </a:lnTo>
                      <a:lnTo>
                        <a:pt x="255" y="1460"/>
                      </a:lnTo>
                      <a:lnTo>
                        <a:pt x="255" y="1459"/>
                      </a:lnTo>
                      <a:lnTo>
                        <a:pt x="256" y="1459"/>
                      </a:lnTo>
                      <a:lnTo>
                        <a:pt x="256" y="1459"/>
                      </a:lnTo>
                      <a:lnTo>
                        <a:pt x="256" y="1458"/>
                      </a:lnTo>
                      <a:lnTo>
                        <a:pt x="256" y="1458"/>
                      </a:lnTo>
                      <a:lnTo>
                        <a:pt x="255" y="1458"/>
                      </a:lnTo>
                      <a:lnTo>
                        <a:pt x="254" y="1457"/>
                      </a:lnTo>
                      <a:lnTo>
                        <a:pt x="253" y="1457"/>
                      </a:lnTo>
                      <a:lnTo>
                        <a:pt x="252" y="1457"/>
                      </a:lnTo>
                      <a:lnTo>
                        <a:pt x="251" y="1457"/>
                      </a:lnTo>
                      <a:lnTo>
                        <a:pt x="251" y="1456"/>
                      </a:lnTo>
                      <a:lnTo>
                        <a:pt x="251" y="1456"/>
                      </a:lnTo>
                      <a:lnTo>
                        <a:pt x="251" y="1455"/>
                      </a:lnTo>
                      <a:lnTo>
                        <a:pt x="251" y="1455"/>
                      </a:lnTo>
                      <a:lnTo>
                        <a:pt x="251" y="1451"/>
                      </a:lnTo>
                      <a:lnTo>
                        <a:pt x="251" y="1451"/>
                      </a:lnTo>
                      <a:lnTo>
                        <a:pt x="251" y="1450"/>
                      </a:lnTo>
                      <a:lnTo>
                        <a:pt x="250" y="1449"/>
                      </a:lnTo>
                      <a:lnTo>
                        <a:pt x="251" y="1449"/>
                      </a:lnTo>
                      <a:lnTo>
                        <a:pt x="251" y="1448"/>
                      </a:lnTo>
                      <a:lnTo>
                        <a:pt x="250" y="1448"/>
                      </a:lnTo>
                      <a:lnTo>
                        <a:pt x="251" y="1447"/>
                      </a:lnTo>
                      <a:lnTo>
                        <a:pt x="253" y="1446"/>
                      </a:lnTo>
                      <a:lnTo>
                        <a:pt x="254" y="1445"/>
                      </a:lnTo>
                      <a:lnTo>
                        <a:pt x="255" y="1445"/>
                      </a:lnTo>
                      <a:lnTo>
                        <a:pt x="255" y="1445"/>
                      </a:lnTo>
                      <a:lnTo>
                        <a:pt x="255" y="1445"/>
                      </a:lnTo>
                      <a:lnTo>
                        <a:pt x="256" y="1443"/>
                      </a:lnTo>
                      <a:lnTo>
                        <a:pt x="257" y="1443"/>
                      </a:lnTo>
                      <a:lnTo>
                        <a:pt x="258" y="1444"/>
                      </a:lnTo>
                      <a:lnTo>
                        <a:pt x="258" y="1443"/>
                      </a:lnTo>
                      <a:lnTo>
                        <a:pt x="259" y="1443"/>
                      </a:lnTo>
                      <a:lnTo>
                        <a:pt x="259" y="1443"/>
                      </a:lnTo>
                      <a:lnTo>
                        <a:pt x="259" y="1442"/>
                      </a:lnTo>
                      <a:lnTo>
                        <a:pt x="259" y="1442"/>
                      </a:lnTo>
                      <a:lnTo>
                        <a:pt x="260" y="1441"/>
                      </a:lnTo>
                      <a:lnTo>
                        <a:pt x="261" y="1442"/>
                      </a:lnTo>
                      <a:lnTo>
                        <a:pt x="261" y="1443"/>
                      </a:lnTo>
                      <a:lnTo>
                        <a:pt x="262" y="1443"/>
                      </a:lnTo>
                      <a:lnTo>
                        <a:pt x="262" y="1441"/>
                      </a:lnTo>
                      <a:lnTo>
                        <a:pt x="261" y="1441"/>
                      </a:lnTo>
                      <a:lnTo>
                        <a:pt x="261" y="1439"/>
                      </a:lnTo>
                      <a:lnTo>
                        <a:pt x="261" y="1438"/>
                      </a:lnTo>
                      <a:lnTo>
                        <a:pt x="261" y="1437"/>
                      </a:lnTo>
                      <a:lnTo>
                        <a:pt x="261" y="1437"/>
                      </a:lnTo>
                      <a:lnTo>
                        <a:pt x="261" y="1436"/>
                      </a:lnTo>
                      <a:lnTo>
                        <a:pt x="262" y="1437"/>
                      </a:lnTo>
                      <a:lnTo>
                        <a:pt x="263" y="1438"/>
                      </a:lnTo>
                      <a:lnTo>
                        <a:pt x="264" y="1438"/>
                      </a:lnTo>
                      <a:lnTo>
                        <a:pt x="264" y="1438"/>
                      </a:lnTo>
                      <a:lnTo>
                        <a:pt x="265" y="1438"/>
                      </a:lnTo>
                      <a:lnTo>
                        <a:pt x="266" y="1439"/>
                      </a:lnTo>
                      <a:lnTo>
                        <a:pt x="267" y="1440"/>
                      </a:lnTo>
                      <a:lnTo>
                        <a:pt x="269" y="1440"/>
                      </a:lnTo>
                      <a:lnTo>
                        <a:pt x="270" y="1441"/>
                      </a:lnTo>
                      <a:lnTo>
                        <a:pt x="272" y="1443"/>
                      </a:lnTo>
                      <a:lnTo>
                        <a:pt x="273" y="1444"/>
                      </a:lnTo>
                      <a:lnTo>
                        <a:pt x="273" y="1444"/>
                      </a:lnTo>
                      <a:lnTo>
                        <a:pt x="273" y="1444"/>
                      </a:lnTo>
                      <a:lnTo>
                        <a:pt x="274" y="1445"/>
                      </a:lnTo>
                      <a:lnTo>
                        <a:pt x="274" y="1446"/>
                      </a:lnTo>
                      <a:lnTo>
                        <a:pt x="274" y="1446"/>
                      </a:lnTo>
                      <a:lnTo>
                        <a:pt x="275" y="1447"/>
                      </a:lnTo>
                      <a:lnTo>
                        <a:pt x="275" y="1447"/>
                      </a:lnTo>
                      <a:lnTo>
                        <a:pt x="276" y="1450"/>
                      </a:lnTo>
                      <a:lnTo>
                        <a:pt x="277" y="1450"/>
                      </a:lnTo>
                      <a:lnTo>
                        <a:pt x="277" y="1450"/>
                      </a:lnTo>
                      <a:lnTo>
                        <a:pt x="278" y="1451"/>
                      </a:lnTo>
                      <a:lnTo>
                        <a:pt x="280" y="1452"/>
                      </a:lnTo>
                      <a:lnTo>
                        <a:pt x="281" y="1452"/>
                      </a:lnTo>
                      <a:lnTo>
                        <a:pt x="282" y="1452"/>
                      </a:lnTo>
                      <a:lnTo>
                        <a:pt x="284" y="1454"/>
                      </a:lnTo>
                      <a:lnTo>
                        <a:pt x="286" y="1452"/>
                      </a:lnTo>
                      <a:lnTo>
                        <a:pt x="286" y="1451"/>
                      </a:lnTo>
                      <a:lnTo>
                        <a:pt x="286" y="1451"/>
                      </a:lnTo>
                      <a:lnTo>
                        <a:pt x="282" y="1451"/>
                      </a:lnTo>
                      <a:lnTo>
                        <a:pt x="282" y="1451"/>
                      </a:lnTo>
                      <a:lnTo>
                        <a:pt x="281" y="1451"/>
                      </a:lnTo>
                      <a:lnTo>
                        <a:pt x="280" y="1450"/>
                      </a:lnTo>
                      <a:lnTo>
                        <a:pt x="278" y="1448"/>
                      </a:lnTo>
                      <a:lnTo>
                        <a:pt x="278" y="1447"/>
                      </a:lnTo>
                      <a:lnTo>
                        <a:pt x="277" y="1446"/>
                      </a:lnTo>
                      <a:lnTo>
                        <a:pt x="276" y="1444"/>
                      </a:lnTo>
                      <a:lnTo>
                        <a:pt x="276" y="1444"/>
                      </a:lnTo>
                      <a:lnTo>
                        <a:pt x="276" y="1443"/>
                      </a:lnTo>
                      <a:lnTo>
                        <a:pt x="275" y="1442"/>
                      </a:lnTo>
                      <a:lnTo>
                        <a:pt x="274" y="1441"/>
                      </a:lnTo>
                      <a:lnTo>
                        <a:pt x="272" y="1440"/>
                      </a:lnTo>
                      <a:lnTo>
                        <a:pt x="272" y="1440"/>
                      </a:lnTo>
                      <a:lnTo>
                        <a:pt x="272" y="1439"/>
                      </a:lnTo>
                      <a:lnTo>
                        <a:pt x="271" y="1438"/>
                      </a:lnTo>
                      <a:lnTo>
                        <a:pt x="270" y="1438"/>
                      </a:lnTo>
                      <a:lnTo>
                        <a:pt x="270" y="1437"/>
                      </a:lnTo>
                      <a:lnTo>
                        <a:pt x="269" y="1437"/>
                      </a:lnTo>
                      <a:lnTo>
                        <a:pt x="269" y="1437"/>
                      </a:lnTo>
                      <a:lnTo>
                        <a:pt x="268" y="1437"/>
                      </a:lnTo>
                      <a:lnTo>
                        <a:pt x="267" y="1437"/>
                      </a:lnTo>
                      <a:lnTo>
                        <a:pt x="267" y="1436"/>
                      </a:lnTo>
                      <a:lnTo>
                        <a:pt x="267" y="1435"/>
                      </a:lnTo>
                      <a:lnTo>
                        <a:pt x="268" y="1435"/>
                      </a:lnTo>
                      <a:lnTo>
                        <a:pt x="268" y="1435"/>
                      </a:lnTo>
                      <a:lnTo>
                        <a:pt x="266" y="1435"/>
                      </a:lnTo>
                      <a:lnTo>
                        <a:pt x="266" y="1435"/>
                      </a:lnTo>
                      <a:lnTo>
                        <a:pt x="266" y="1432"/>
                      </a:lnTo>
                      <a:lnTo>
                        <a:pt x="267" y="1430"/>
                      </a:lnTo>
                      <a:lnTo>
                        <a:pt x="268" y="1429"/>
                      </a:lnTo>
                      <a:lnTo>
                        <a:pt x="269" y="1429"/>
                      </a:lnTo>
                      <a:lnTo>
                        <a:pt x="269" y="1429"/>
                      </a:lnTo>
                      <a:lnTo>
                        <a:pt x="269" y="1429"/>
                      </a:lnTo>
                      <a:lnTo>
                        <a:pt x="267" y="1429"/>
                      </a:lnTo>
                      <a:lnTo>
                        <a:pt x="266" y="1430"/>
                      </a:lnTo>
                      <a:lnTo>
                        <a:pt x="266" y="1431"/>
                      </a:lnTo>
                      <a:lnTo>
                        <a:pt x="266" y="1431"/>
                      </a:lnTo>
                      <a:lnTo>
                        <a:pt x="266" y="1432"/>
                      </a:lnTo>
                      <a:lnTo>
                        <a:pt x="265" y="1432"/>
                      </a:lnTo>
                      <a:lnTo>
                        <a:pt x="265" y="1433"/>
                      </a:lnTo>
                      <a:lnTo>
                        <a:pt x="262" y="1433"/>
                      </a:lnTo>
                      <a:lnTo>
                        <a:pt x="261" y="1433"/>
                      </a:lnTo>
                      <a:lnTo>
                        <a:pt x="261" y="1433"/>
                      </a:lnTo>
                      <a:lnTo>
                        <a:pt x="260" y="1434"/>
                      </a:lnTo>
                      <a:lnTo>
                        <a:pt x="260" y="1435"/>
                      </a:lnTo>
                      <a:lnTo>
                        <a:pt x="260" y="1434"/>
                      </a:lnTo>
                      <a:lnTo>
                        <a:pt x="260" y="1434"/>
                      </a:lnTo>
                      <a:lnTo>
                        <a:pt x="259" y="1434"/>
                      </a:lnTo>
                      <a:lnTo>
                        <a:pt x="258" y="1434"/>
                      </a:lnTo>
                      <a:lnTo>
                        <a:pt x="257" y="1435"/>
                      </a:lnTo>
                      <a:lnTo>
                        <a:pt x="256" y="1435"/>
                      </a:lnTo>
                      <a:lnTo>
                        <a:pt x="256" y="1436"/>
                      </a:lnTo>
                      <a:lnTo>
                        <a:pt x="256" y="1437"/>
                      </a:lnTo>
                      <a:lnTo>
                        <a:pt x="255" y="1437"/>
                      </a:lnTo>
                      <a:lnTo>
                        <a:pt x="255" y="1436"/>
                      </a:lnTo>
                      <a:lnTo>
                        <a:pt x="255" y="1435"/>
                      </a:lnTo>
                      <a:lnTo>
                        <a:pt x="255" y="1434"/>
                      </a:lnTo>
                      <a:lnTo>
                        <a:pt x="255" y="1434"/>
                      </a:lnTo>
                      <a:lnTo>
                        <a:pt x="255" y="1434"/>
                      </a:lnTo>
                      <a:lnTo>
                        <a:pt x="256" y="1432"/>
                      </a:lnTo>
                      <a:lnTo>
                        <a:pt x="256" y="1431"/>
                      </a:lnTo>
                      <a:lnTo>
                        <a:pt x="256" y="1430"/>
                      </a:lnTo>
                      <a:lnTo>
                        <a:pt x="256" y="1430"/>
                      </a:lnTo>
                      <a:lnTo>
                        <a:pt x="256" y="1429"/>
                      </a:lnTo>
                      <a:lnTo>
                        <a:pt x="256" y="1428"/>
                      </a:lnTo>
                      <a:lnTo>
                        <a:pt x="255" y="1428"/>
                      </a:lnTo>
                      <a:lnTo>
                        <a:pt x="255" y="1429"/>
                      </a:lnTo>
                      <a:lnTo>
                        <a:pt x="254" y="1428"/>
                      </a:lnTo>
                      <a:lnTo>
                        <a:pt x="254" y="1428"/>
                      </a:lnTo>
                      <a:lnTo>
                        <a:pt x="253" y="1428"/>
                      </a:lnTo>
                      <a:lnTo>
                        <a:pt x="253" y="1428"/>
                      </a:lnTo>
                      <a:lnTo>
                        <a:pt x="252" y="1427"/>
                      </a:lnTo>
                      <a:lnTo>
                        <a:pt x="251" y="1427"/>
                      </a:lnTo>
                      <a:lnTo>
                        <a:pt x="251" y="1426"/>
                      </a:lnTo>
                      <a:lnTo>
                        <a:pt x="251" y="1425"/>
                      </a:lnTo>
                      <a:lnTo>
                        <a:pt x="252" y="1424"/>
                      </a:lnTo>
                      <a:lnTo>
                        <a:pt x="253" y="1423"/>
                      </a:lnTo>
                      <a:lnTo>
                        <a:pt x="253" y="1423"/>
                      </a:lnTo>
                      <a:lnTo>
                        <a:pt x="252" y="1422"/>
                      </a:lnTo>
                      <a:lnTo>
                        <a:pt x="252" y="1422"/>
                      </a:lnTo>
                      <a:lnTo>
                        <a:pt x="251" y="1422"/>
                      </a:lnTo>
                      <a:lnTo>
                        <a:pt x="250" y="1421"/>
                      </a:lnTo>
                      <a:lnTo>
                        <a:pt x="250" y="1420"/>
                      </a:lnTo>
                      <a:lnTo>
                        <a:pt x="249" y="1419"/>
                      </a:lnTo>
                      <a:lnTo>
                        <a:pt x="249" y="1418"/>
                      </a:lnTo>
                      <a:lnTo>
                        <a:pt x="250" y="1416"/>
                      </a:lnTo>
                      <a:lnTo>
                        <a:pt x="251" y="1414"/>
                      </a:lnTo>
                      <a:lnTo>
                        <a:pt x="251" y="1414"/>
                      </a:lnTo>
                      <a:lnTo>
                        <a:pt x="250" y="1414"/>
                      </a:lnTo>
                      <a:lnTo>
                        <a:pt x="250" y="1414"/>
                      </a:lnTo>
                      <a:lnTo>
                        <a:pt x="249" y="1412"/>
                      </a:lnTo>
                      <a:lnTo>
                        <a:pt x="249" y="1411"/>
                      </a:lnTo>
                      <a:lnTo>
                        <a:pt x="249" y="1411"/>
                      </a:lnTo>
                      <a:lnTo>
                        <a:pt x="247" y="1412"/>
                      </a:lnTo>
                      <a:lnTo>
                        <a:pt x="249" y="1413"/>
                      </a:lnTo>
                      <a:lnTo>
                        <a:pt x="247" y="1414"/>
                      </a:lnTo>
                      <a:lnTo>
                        <a:pt x="247" y="1417"/>
                      </a:lnTo>
                      <a:lnTo>
                        <a:pt x="247" y="1417"/>
                      </a:lnTo>
                      <a:lnTo>
                        <a:pt x="247" y="1418"/>
                      </a:lnTo>
                      <a:lnTo>
                        <a:pt x="246" y="1418"/>
                      </a:lnTo>
                      <a:lnTo>
                        <a:pt x="246" y="1419"/>
                      </a:lnTo>
                      <a:lnTo>
                        <a:pt x="245" y="1420"/>
                      </a:lnTo>
                      <a:lnTo>
                        <a:pt x="244" y="1421"/>
                      </a:lnTo>
                      <a:lnTo>
                        <a:pt x="244" y="1422"/>
                      </a:lnTo>
                      <a:lnTo>
                        <a:pt x="243" y="1423"/>
                      </a:lnTo>
                      <a:lnTo>
                        <a:pt x="242" y="1423"/>
                      </a:lnTo>
                      <a:lnTo>
                        <a:pt x="242" y="1424"/>
                      </a:lnTo>
                      <a:lnTo>
                        <a:pt x="242" y="1425"/>
                      </a:lnTo>
                      <a:lnTo>
                        <a:pt x="241" y="1425"/>
                      </a:lnTo>
                      <a:lnTo>
                        <a:pt x="241" y="1425"/>
                      </a:lnTo>
                      <a:lnTo>
                        <a:pt x="241" y="1423"/>
                      </a:lnTo>
                      <a:lnTo>
                        <a:pt x="241" y="1422"/>
                      </a:lnTo>
                      <a:lnTo>
                        <a:pt x="243" y="1420"/>
                      </a:lnTo>
                      <a:lnTo>
                        <a:pt x="242" y="1420"/>
                      </a:lnTo>
                      <a:lnTo>
                        <a:pt x="242" y="1421"/>
                      </a:lnTo>
                      <a:lnTo>
                        <a:pt x="241" y="1421"/>
                      </a:lnTo>
                      <a:lnTo>
                        <a:pt x="241" y="1421"/>
                      </a:lnTo>
                      <a:lnTo>
                        <a:pt x="241" y="1419"/>
                      </a:lnTo>
                      <a:lnTo>
                        <a:pt x="241" y="1419"/>
                      </a:lnTo>
                      <a:lnTo>
                        <a:pt x="242" y="1418"/>
                      </a:lnTo>
                      <a:lnTo>
                        <a:pt x="242" y="1417"/>
                      </a:lnTo>
                      <a:lnTo>
                        <a:pt x="242" y="1417"/>
                      </a:lnTo>
                      <a:lnTo>
                        <a:pt x="242" y="1416"/>
                      </a:lnTo>
                      <a:lnTo>
                        <a:pt x="242" y="1414"/>
                      </a:lnTo>
                      <a:lnTo>
                        <a:pt x="242" y="1414"/>
                      </a:lnTo>
                      <a:lnTo>
                        <a:pt x="242" y="1414"/>
                      </a:lnTo>
                      <a:lnTo>
                        <a:pt x="241" y="1414"/>
                      </a:lnTo>
                      <a:lnTo>
                        <a:pt x="241" y="1413"/>
                      </a:lnTo>
                      <a:lnTo>
                        <a:pt x="241" y="1412"/>
                      </a:lnTo>
                      <a:lnTo>
                        <a:pt x="240" y="1411"/>
                      </a:lnTo>
                      <a:lnTo>
                        <a:pt x="240" y="1411"/>
                      </a:lnTo>
                      <a:lnTo>
                        <a:pt x="240" y="1413"/>
                      </a:lnTo>
                      <a:lnTo>
                        <a:pt x="239" y="1413"/>
                      </a:lnTo>
                      <a:lnTo>
                        <a:pt x="239" y="1413"/>
                      </a:lnTo>
                      <a:lnTo>
                        <a:pt x="240" y="1416"/>
                      </a:lnTo>
                      <a:lnTo>
                        <a:pt x="239" y="1416"/>
                      </a:lnTo>
                      <a:lnTo>
                        <a:pt x="238" y="1417"/>
                      </a:lnTo>
                      <a:lnTo>
                        <a:pt x="238" y="1417"/>
                      </a:lnTo>
                      <a:lnTo>
                        <a:pt x="238" y="1417"/>
                      </a:lnTo>
                      <a:lnTo>
                        <a:pt x="237" y="1417"/>
                      </a:lnTo>
                      <a:lnTo>
                        <a:pt x="238" y="1416"/>
                      </a:lnTo>
                      <a:lnTo>
                        <a:pt x="239" y="1414"/>
                      </a:lnTo>
                      <a:lnTo>
                        <a:pt x="238" y="1414"/>
                      </a:lnTo>
                      <a:lnTo>
                        <a:pt x="238" y="1414"/>
                      </a:lnTo>
                      <a:lnTo>
                        <a:pt x="237" y="1414"/>
                      </a:lnTo>
                      <a:lnTo>
                        <a:pt x="236" y="1417"/>
                      </a:lnTo>
                      <a:lnTo>
                        <a:pt x="236" y="1418"/>
                      </a:lnTo>
                      <a:lnTo>
                        <a:pt x="236" y="1419"/>
                      </a:lnTo>
                      <a:lnTo>
                        <a:pt x="236" y="1419"/>
                      </a:lnTo>
                      <a:lnTo>
                        <a:pt x="236" y="1419"/>
                      </a:lnTo>
                      <a:lnTo>
                        <a:pt x="235" y="1419"/>
                      </a:lnTo>
                      <a:lnTo>
                        <a:pt x="234" y="1419"/>
                      </a:lnTo>
                      <a:lnTo>
                        <a:pt x="234" y="1418"/>
                      </a:lnTo>
                      <a:lnTo>
                        <a:pt x="234" y="1417"/>
                      </a:lnTo>
                      <a:lnTo>
                        <a:pt x="232" y="1417"/>
                      </a:lnTo>
                      <a:lnTo>
                        <a:pt x="231" y="1418"/>
                      </a:lnTo>
                      <a:lnTo>
                        <a:pt x="231" y="1419"/>
                      </a:lnTo>
                      <a:lnTo>
                        <a:pt x="232" y="1419"/>
                      </a:lnTo>
                      <a:lnTo>
                        <a:pt x="232" y="1419"/>
                      </a:lnTo>
                      <a:lnTo>
                        <a:pt x="232" y="1421"/>
                      </a:lnTo>
                      <a:lnTo>
                        <a:pt x="232" y="1421"/>
                      </a:lnTo>
                      <a:lnTo>
                        <a:pt x="232" y="1422"/>
                      </a:lnTo>
                      <a:lnTo>
                        <a:pt x="232" y="1423"/>
                      </a:lnTo>
                      <a:lnTo>
                        <a:pt x="233" y="1426"/>
                      </a:lnTo>
                      <a:lnTo>
                        <a:pt x="233" y="1426"/>
                      </a:lnTo>
                      <a:lnTo>
                        <a:pt x="233" y="1428"/>
                      </a:lnTo>
                      <a:lnTo>
                        <a:pt x="233" y="1428"/>
                      </a:lnTo>
                      <a:lnTo>
                        <a:pt x="233" y="1428"/>
                      </a:lnTo>
                      <a:lnTo>
                        <a:pt x="233" y="1429"/>
                      </a:lnTo>
                      <a:lnTo>
                        <a:pt x="232" y="1429"/>
                      </a:lnTo>
                      <a:lnTo>
                        <a:pt x="232" y="1430"/>
                      </a:lnTo>
                      <a:lnTo>
                        <a:pt x="233" y="1430"/>
                      </a:lnTo>
                      <a:lnTo>
                        <a:pt x="233" y="1431"/>
                      </a:lnTo>
                      <a:lnTo>
                        <a:pt x="233" y="1431"/>
                      </a:lnTo>
                      <a:lnTo>
                        <a:pt x="233" y="1432"/>
                      </a:lnTo>
                      <a:lnTo>
                        <a:pt x="233" y="1432"/>
                      </a:lnTo>
                      <a:lnTo>
                        <a:pt x="233" y="1434"/>
                      </a:lnTo>
                      <a:lnTo>
                        <a:pt x="233" y="1434"/>
                      </a:lnTo>
                      <a:lnTo>
                        <a:pt x="233" y="1435"/>
                      </a:lnTo>
                      <a:lnTo>
                        <a:pt x="233" y="1436"/>
                      </a:lnTo>
                      <a:lnTo>
                        <a:pt x="233" y="1436"/>
                      </a:lnTo>
                      <a:lnTo>
                        <a:pt x="233" y="1438"/>
                      </a:lnTo>
                      <a:lnTo>
                        <a:pt x="233" y="1438"/>
                      </a:lnTo>
                      <a:lnTo>
                        <a:pt x="232" y="1439"/>
                      </a:lnTo>
                      <a:lnTo>
                        <a:pt x="232" y="1439"/>
                      </a:lnTo>
                      <a:lnTo>
                        <a:pt x="232" y="1439"/>
                      </a:lnTo>
                      <a:lnTo>
                        <a:pt x="229" y="1439"/>
                      </a:lnTo>
                      <a:lnTo>
                        <a:pt x="229" y="1439"/>
                      </a:lnTo>
                      <a:lnTo>
                        <a:pt x="229" y="1438"/>
                      </a:lnTo>
                      <a:lnTo>
                        <a:pt x="227" y="1438"/>
                      </a:lnTo>
                      <a:lnTo>
                        <a:pt x="225" y="1436"/>
                      </a:lnTo>
                      <a:lnTo>
                        <a:pt x="225" y="1436"/>
                      </a:lnTo>
                      <a:lnTo>
                        <a:pt x="224" y="1436"/>
                      </a:lnTo>
                      <a:lnTo>
                        <a:pt x="223" y="1435"/>
                      </a:lnTo>
                      <a:lnTo>
                        <a:pt x="223" y="1435"/>
                      </a:lnTo>
                      <a:lnTo>
                        <a:pt x="222" y="1434"/>
                      </a:lnTo>
                      <a:lnTo>
                        <a:pt x="222" y="1434"/>
                      </a:lnTo>
                      <a:lnTo>
                        <a:pt x="221" y="1434"/>
                      </a:lnTo>
                      <a:lnTo>
                        <a:pt x="221" y="1433"/>
                      </a:lnTo>
                      <a:lnTo>
                        <a:pt x="221" y="1433"/>
                      </a:lnTo>
                      <a:lnTo>
                        <a:pt x="221" y="1433"/>
                      </a:lnTo>
                      <a:lnTo>
                        <a:pt x="220" y="1433"/>
                      </a:lnTo>
                      <a:lnTo>
                        <a:pt x="219" y="1432"/>
                      </a:lnTo>
                      <a:lnTo>
                        <a:pt x="219" y="1432"/>
                      </a:lnTo>
                      <a:lnTo>
                        <a:pt x="218" y="1432"/>
                      </a:lnTo>
                      <a:lnTo>
                        <a:pt x="218" y="1432"/>
                      </a:lnTo>
                      <a:lnTo>
                        <a:pt x="215" y="1431"/>
                      </a:lnTo>
                      <a:lnTo>
                        <a:pt x="215" y="1430"/>
                      </a:lnTo>
                      <a:lnTo>
                        <a:pt x="214" y="1430"/>
                      </a:lnTo>
                      <a:lnTo>
                        <a:pt x="213" y="1430"/>
                      </a:lnTo>
                      <a:lnTo>
                        <a:pt x="209" y="1430"/>
                      </a:lnTo>
                      <a:lnTo>
                        <a:pt x="209" y="1429"/>
                      </a:lnTo>
                      <a:lnTo>
                        <a:pt x="208" y="1429"/>
                      </a:lnTo>
                      <a:lnTo>
                        <a:pt x="208" y="1429"/>
                      </a:lnTo>
                      <a:lnTo>
                        <a:pt x="208" y="1428"/>
                      </a:lnTo>
                      <a:lnTo>
                        <a:pt x="207" y="1428"/>
                      </a:lnTo>
                      <a:lnTo>
                        <a:pt x="206" y="1427"/>
                      </a:lnTo>
                      <a:lnTo>
                        <a:pt x="206" y="1427"/>
                      </a:lnTo>
                      <a:lnTo>
                        <a:pt x="205" y="1426"/>
                      </a:lnTo>
                      <a:lnTo>
                        <a:pt x="204" y="1426"/>
                      </a:lnTo>
                      <a:lnTo>
                        <a:pt x="204" y="1425"/>
                      </a:lnTo>
                      <a:lnTo>
                        <a:pt x="203" y="1425"/>
                      </a:lnTo>
                      <a:lnTo>
                        <a:pt x="203" y="1425"/>
                      </a:lnTo>
                      <a:lnTo>
                        <a:pt x="202" y="1425"/>
                      </a:lnTo>
                      <a:lnTo>
                        <a:pt x="201" y="1425"/>
                      </a:lnTo>
                      <a:lnTo>
                        <a:pt x="200" y="1425"/>
                      </a:lnTo>
                      <a:lnTo>
                        <a:pt x="199" y="1424"/>
                      </a:lnTo>
                      <a:lnTo>
                        <a:pt x="198" y="1421"/>
                      </a:lnTo>
                      <a:lnTo>
                        <a:pt x="197" y="1421"/>
                      </a:lnTo>
                      <a:lnTo>
                        <a:pt x="197" y="1419"/>
                      </a:lnTo>
                      <a:lnTo>
                        <a:pt x="197" y="1419"/>
                      </a:lnTo>
                      <a:lnTo>
                        <a:pt x="197" y="1418"/>
                      </a:lnTo>
                      <a:lnTo>
                        <a:pt x="196" y="1418"/>
                      </a:lnTo>
                      <a:lnTo>
                        <a:pt x="196" y="1417"/>
                      </a:lnTo>
                      <a:lnTo>
                        <a:pt x="197" y="1417"/>
                      </a:lnTo>
                      <a:lnTo>
                        <a:pt x="198" y="1416"/>
                      </a:lnTo>
                      <a:lnTo>
                        <a:pt x="198" y="1414"/>
                      </a:lnTo>
                      <a:lnTo>
                        <a:pt x="197" y="1414"/>
                      </a:lnTo>
                      <a:lnTo>
                        <a:pt x="197" y="1414"/>
                      </a:lnTo>
                      <a:lnTo>
                        <a:pt x="197" y="1413"/>
                      </a:lnTo>
                      <a:lnTo>
                        <a:pt x="196" y="1410"/>
                      </a:lnTo>
                      <a:lnTo>
                        <a:pt x="196" y="1408"/>
                      </a:lnTo>
                      <a:lnTo>
                        <a:pt x="195" y="1408"/>
                      </a:lnTo>
                      <a:lnTo>
                        <a:pt x="195" y="1406"/>
                      </a:lnTo>
                      <a:lnTo>
                        <a:pt x="193" y="1405"/>
                      </a:lnTo>
                      <a:lnTo>
                        <a:pt x="193" y="1405"/>
                      </a:lnTo>
                      <a:lnTo>
                        <a:pt x="193" y="1404"/>
                      </a:lnTo>
                      <a:lnTo>
                        <a:pt x="192" y="1404"/>
                      </a:lnTo>
                      <a:lnTo>
                        <a:pt x="191" y="1405"/>
                      </a:lnTo>
                      <a:lnTo>
                        <a:pt x="191" y="1404"/>
                      </a:lnTo>
                      <a:lnTo>
                        <a:pt x="191" y="1403"/>
                      </a:lnTo>
                      <a:lnTo>
                        <a:pt x="191" y="1403"/>
                      </a:lnTo>
                      <a:lnTo>
                        <a:pt x="191" y="1403"/>
                      </a:lnTo>
                      <a:lnTo>
                        <a:pt x="190" y="1402"/>
                      </a:lnTo>
                      <a:lnTo>
                        <a:pt x="191" y="1402"/>
                      </a:lnTo>
                      <a:lnTo>
                        <a:pt x="190" y="1402"/>
                      </a:lnTo>
                      <a:lnTo>
                        <a:pt x="190" y="1402"/>
                      </a:lnTo>
                      <a:lnTo>
                        <a:pt x="188" y="1402"/>
                      </a:lnTo>
                      <a:lnTo>
                        <a:pt x="188" y="1403"/>
                      </a:lnTo>
                      <a:lnTo>
                        <a:pt x="188" y="1403"/>
                      </a:lnTo>
                      <a:lnTo>
                        <a:pt x="188" y="1403"/>
                      </a:lnTo>
                      <a:lnTo>
                        <a:pt x="187" y="1404"/>
                      </a:lnTo>
                      <a:lnTo>
                        <a:pt x="187" y="1405"/>
                      </a:lnTo>
                      <a:lnTo>
                        <a:pt x="186" y="1405"/>
                      </a:lnTo>
                      <a:lnTo>
                        <a:pt x="185" y="1404"/>
                      </a:lnTo>
                      <a:lnTo>
                        <a:pt x="186" y="1403"/>
                      </a:lnTo>
                      <a:lnTo>
                        <a:pt x="187" y="1402"/>
                      </a:lnTo>
                      <a:lnTo>
                        <a:pt x="187" y="1401"/>
                      </a:lnTo>
                      <a:lnTo>
                        <a:pt x="186" y="1401"/>
                      </a:lnTo>
                      <a:lnTo>
                        <a:pt x="186" y="1397"/>
                      </a:lnTo>
                      <a:lnTo>
                        <a:pt x="187" y="1397"/>
                      </a:lnTo>
                      <a:lnTo>
                        <a:pt x="188" y="1396"/>
                      </a:lnTo>
                      <a:lnTo>
                        <a:pt x="188" y="1395"/>
                      </a:lnTo>
                      <a:lnTo>
                        <a:pt x="188" y="1394"/>
                      </a:lnTo>
                      <a:lnTo>
                        <a:pt x="188" y="1394"/>
                      </a:lnTo>
                      <a:lnTo>
                        <a:pt x="187" y="1393"/>
                      </a:lnTo>
                      <a:lnTo>
                        <a:pt x="187" y="1391"/>
                      </a:lnTo>
                      <a:lnTo>
                        <a:pt x="188" y="1390"/>
                      </a:lnTo>
                      <a:lnTo>
                        <a:pt x="189" y="1390"/>
                      </a:lnTo>
                      <a:lnTo>
                        <a:pt x="191" y="1390"/>
                      </a:lnTo>
                      <a:lnTo>
                        <a:pt x="194" y="1391"/>
                      </a:lnTo>
                      <a:lnTo>
                        <a:pt x="195" y="1393"/>
                      </a:lnTo>
                      <a:lnTo>
                        <a:pt x="195" y="1393"/>
                      </a:lnTo>
                      <a:lnTo>
                        <a:pt x="196" y="1393"/>
                      </a:lnTo>
                      <a:lnTo>
                        <a:pt x="196" y="1393"/>
                      </a:lnTo>
                      <a:lnTo>
                        <a:pt x="197" y="1393"/>
                      </a:lnTo>
                      <a:lnTo>
                        <a:pt x="198" y="1393"/>
                      </a:lnTo>
                      <a:lnTo>
                        <a:pt x="199" y="1394"/>
                      </a:lnTo>
                      <a:lnTo>
                        <a:pt x="200" y="1393"/>
                      </a:lnTo>
                      <a:lnTo>
                        <a:pt x="200" y="1393"/>
                      </a:lnTo>
                      <a:lnTo>
                        <a:pt x="199" y="1392"/>
                      </a:lnTo>
                      <a:lnTo>
                        <a:pt x="198" y="1391"/>
                      </a:lnTo>
                      <a:lnTo>
                        <a:pt x="197" y="1390"/>
                      </a:lnTo>
                      <a:lnTo>
                        <a:pt x="196" y="1390"/>
                      </a:lnTo>
                      <a:lnTo>
                        <a:pt x="195" y="1389"/>
                      </a:lnTo>
                      <a:lnTo>
                        <a:pt x="194" y="1387"/>
                      </a:lnTo>
                      <a:lnTo>
                        <a:pt x="194" y="1385"/>
                      </a:lnTo>
                      <a:lnTo>
                        <a:pt x="194" y="1383"/>
                      </a:lnTo>
                      <a:lnTo>
                        <a:pt x="194" y="1381"/>
                      </a:lnTo>
                      <a:lnTo>
                        <a:pt x="194" y="1378"/>
                      </a:lnTo>
                      <a:lnTo>
                        <a:pt x="194" y="1375"/>
                      </a:lnTo>
                      <a:lnTo>
                        <a:pt x="194" y="1375"/>
                      </a:lnTo>
                      <a:lnTo>
                        <a:pt x="194" y="1374"/>
                      </a:lnTo>
                      <a:lnTo>
                        <a:pt x="195" y="1373"/>
                      </a:lnTo>
                      <a:lnTo>
                        <a:pt x="195" y="1373"/>
                      </a:lnTo>
                      <a:lnTo>
                        <a:pt x="195" y="1372"/>
                      </a:lnTo>
                      <a:lnTo>
                        <a:pt x="196" y="1372"/>
                      </a:lnTo>
                      <a:lnTo>
                        <a:pt x="196" y="1371"/>
                      </a:lnTo>
                      <a:lnTo>
                        <a:pt x="196" y="1371"/>
                      </a:lnTo>
                      <a:lnTo>
                        <a:pt x="196" y="1371"/>
                      </a:lnTo>
                      <a:lnTo>
                        <a:pt x="197" y="1370"/>
                      </a:lnTo>
                      <a:lnTo>
                        <a:pt x="198" y="1369"/>
                      </a:lnTo>
                      <a:lnTo>
                        <a:pt x="200" y="1368"/>
                      </a:lnTo>
                      <a:lnTo>
                        <a:pt x="201" y="1368"/>
                      </a:lnTo>
                      <a:lnTo>
                        <a:pt x="202" y="1369"/>
                      </a:lnTo>
                      <a:lnTo>
                        <a:pt x="202" y="1370"/>
                      </a:lnTo>
                      <a:lnTo>
                        <a:pt x="203" y="1371"/>
                      </a:lnTo>
                      <a:lnTo>
                        <a:pt x="203" y="1373"/>
                      </a:lnTo>
                      <a:lnTo>
                        <a:pt x="203" y="1375"/>
                      </a:lnTo>
                      <a:lnTo>
                        <a:pt x="204" y="1375"/>
                      </a:lnTo>
                      <a:lnTo>
                        <a:pt x="205" y="1376"/>
                      </a:lnTo>
                      <a:lnTo>
                        <a:pt x="205" y="1378"/>
                      </a:lnTo>
                      <a:lnTo>
                        <a:pt x="205" y="1378"/>
                      </a:lnTo>
                      <a:lnTo>
                        <a:pt x="206" y="1378"/>
                      </a:lnTo>
                      <a:lnTo>
                        <a:pt x="206" y="1378"/>
                      </a:lnTo>
                      <a:lnTo>
                        <a:pt x="207" y="1378"/>
                      </a:lnTo>
                      <a:lnTo>
                        <a:pt x="207" y="1380"/>
                      </a:lnTo>
                      <a:lnTo>
                        <a:pt x="207" y="1380"/>
                      </a:lnTo>
                      <a:lnTo>
                        <a:pt x="207" y="1381"/>
                      </a:lnTo>
                      <a:lnTo>
                        <a:pt x="208" y="1382"/>
                      </a:lnTo>
                      <a:lnTo>
                        <a:pt x="209" y="1383"/>
                      </a:lnTo>
                      <a:lnTo>
                        <a:pt x="209" y="1383"/>
                      </a:lnTo>
                      <a:lnTo>
                        <a:pt x="208" y="1383"/>
                      </a:lnTo>
                      <a:lnTo>
                        <a:pt x="209" y="1384"/>
                      </a:lnTo>
                      <a:lnTo>
                        <a:pt x="210" y="1385"/>
                      </a:lnTo>
                      <a:lnTo>
                        <a:pt x="212" y="1385"/>
                      </a:lnTo>
                      <a:lnTo>
                        <a:pt x="212" y="1386"/>
                      </a:lnTo>
                      <a:lnTo>
                        <a:pt x="212" y="1386"/>
                      </a:lnTo>
                      <a:lnTo>
                        <a:pt x="210" y="1387"/>
                      </a:lnTo>
                      <a:lnTo>
                        <a:pt x="212" y="1387"/>
                      </a:lnTo>
                      <a:lnTo>
                        <a:pt x="212" y="1387"/>
                      </a:lnTo>
                      <a:lnTo>
                        <a:pt x="212" y="1387"/>
                      </a:lnTo>
                      <a:lnTo>
                        <a:pt x="212" y="1389"/>
                      </a:lnTo>
                      <a:lnTo>
                        <a:pt x="212" y="1390"/>
                      </a:lnTo>
                      <a:lnTo>
                        <a:pt x="212" y="1390"/>
                      </a:lnTo>
                      <a:lnTo>
                        <a:pt x="212" y="1390"/>
                      </a:lnTo>
                      <a:lnTo>
                        <a:pt x="212" y="1389"/>
                      </a:lnTo>
                      <a:lnTo>
                        <a:pt x="213" y="1389"/>
                      </a:lnTo>
                      <a:lnTo>
                        <a:pt x="215" y="1390"/>
                      </a:lnTo>
                      <a:lnTo>
                        <a:pt x="215" y="1391"/>
                      </a:lnTo>
                      <a:lnTo>
                        <a:pt x="215" y="1392"/>
                      </a:lnTo>
                      <a:lnTo>
                        <a:pt x="215" y="1393"/>
                      </a:lnTo>
                      <a:lnTo>
                        <a:pt x="215" y="1393"/>
                      </a:lnTo>
                      <a:lnTo>
                        <a:pt x="216" y="1394"/>
                      </a:lnTo>
                      <a:lnTo>
                        <a:pt x="217" y="1395"/>
                      </a:lnTo>
                      <a:lnTo>
                        <a:pt x="217" y="1396"/>
                      </a:lnTo>
                      <a:lnTo>
                        <a:pt x="218" y="1397"/>
                      </a:lnTo>
                      <a:lnTo>
                        <a:pt x="218" y="1396"/>
                      </a:lnTo>
                      <a:lnTo>
                        <a:pt x="218" y="1397"/>
                      </a:lnTo>
                      <a:lnTo>
                        <a:pt x="219" y="1397"/>
                      </a:lnTo>
                      <a:lnTo>
                        <a:pt x="220" y="1397"/>
                      </a:lnTo>
                      <a:lnTo>
                        <a:pt x="219" y="1398"/>
                      </a:lnTo>
                      <a:lnTo>
                        <a:pt x="220" y="1398"/>
                      </a:lnTo>
                      <a:lnTo>
                        <a:pt x="220" y="1399"/>
                      </a:lnTo>
                      <a:lnTo>
                        <a:pt x="221" y="1399"/>
                      </a:lnTo>
                      <a:lnTo>
                        <a:pt x="221" y="1399"/>
                      </a:lnTo>
                      <a:lnTo>
                        <a:pt x="222" y="1399"/>
                      </a:lnTo>
                      <a:lnTo>
                        <a:pt x="222" y="1399"/>
                      </a:lnTo>
                      <a:lnTo>
                        <a:pt x="222" y="1398"/>
                      </a:lnTo>
                      <a:lnTo>
                        <a:pt x="222" y="1397"/>
                      </a:lnTo>
                      <a:lnTo>
                        <a:pt x="223" y="1398"/>
                      </a:lnTo>
                      <a:lnTo>
                        <a:pt x="223" y="1396"/>
                      </a:lnTo>
                      <a:lnTo>
                        <a:pt x="223" y="1396"/>
                      </a:lnTo>
                      <a:lnTo>
                        <a:pt x="223" y="1396"/>
                      </a:lnTo>
                      <a:lnTo>
                        <a:pt x="223" y="1395"/>
                      </a:lnTo>
                      <a:lnTo>
                        <a:pt x="223" y="1395"/>
                      </a:lnTo>
                      <a:lnTo>
                        <a:pt x="224" y="1395"/>
                      </a:lnTo>
                      <a:lnTo>
                        <a:pt x="224" y="1395"/>
                      </a:lnTo>
                      <a:lnTo>
                        <a:pt x="226" y="1395"/>
                      </a:lnTo>
                      <a:lnTo>
                        <a:pt x="226" y="1397"/>
                      </a:lnTo>
                      <a:lnTo>
                        <a:pt x="227" y="1397"/>
                      </a:lnTo>
                      <a:lnTo>
                        <a:pt x="227" y="1398"/>
                      </a:lnTo>
                      <a:lnTo>
                        <a:pt x="227" y="1399"/>
                      </a:lnTo>
                      <a:lnTo>
                        <a:pt x="228" y="1400"/>
                      </a:lnTo>
                      <a:lnTo>
                        <a:pt x="228" y="1402"/>
                      </a:lnTo>
                      <a:lnTo>
                        <a:pt x="227" y="1402"/>
                      </a:lnTo>
                      <a:lnTo>
                        <a:pt x="228" y="1402"/>
                      </a:lnTo>
                      <a:lnTo>
                        <a:pt x="227" y="1403"/>
                      </a:lnTo>
                      <a:lnTo>
                        <a:pt x="228" y="1403"/>
                      </a:lnTo>
                      <a:lnTo>
                        <a:pt x="228" y="1403"/>
                      </a:lnTo>
                      <a:lnTo>
                        <a:pt x="228" y="1403"/>
                      </a:lnTo>
                      <a:lnTo>
                        <a:pt x="229" y="1403"/>
                      </a:lnTo>
                      <a:lnTo>
                        <a:pt x="229" y="1402"/>
                      </a:lnTo>
                      <a:lnTo>
                        <a:pt x="229" y="1402"/>
                      </a:lnTo>
                      <a:lnTo>
                        <a:pt x="229" y="1401"/>
                      </a:lnTo>
                      <a:lnTo>
                        <a:pt x="229" y="1400"/>
                      </a:lnTo>
                      <a:lnTo>
                        <a:pt x="230" y="1400"/>
                      </a:lnTo>
                      <a:lnTo>
                        <a:pt x="230" y="1400"/>
                      </a:lnTo>
                      <a:lnTo>
                        <a:pt x="229" y="1399"/>
                      </a:lnTo>
                      <a:lnTo>
                        <a:pt x="229" y="1398"/>
                      </a:lnTo>
                      <a:lnTo>
                        <a:pt x="227" y="1397"/>
                      </a:lnTo>
                      <a:lnTo>
                        <a:pt x="227" y="1395"/>
                      </a:lnTo>
                      <a:lnTo>
                        <a:pt x="227" y="1395"/>
                      </a:lnTo>
                      <a:lnTo>
                        <a:pt x="227" y="1394"/>
                      </a:lnTo>
                      <a:lnTo>
                        <a:pt x="227" y="1393"/>
                      </a:lnTo>
                      <a:lnTo>
                        <a:pt x="227" y="1392"/>
                      </a:lnTo>
                      <a:lnTo>
                        <a:pt x="226" y="1392"/>
                      </a:lnTo>
                      <a:lnTo>
                        <a:pt x="226" y="1392"/>
                      </a:lnTo>
                      <a:lnTo>
                        <a:pt x="225" y="1391"/>
                      </a:lnTo>
                      <a:lnTo>
                        <a:pt x="225" y="1390"/>
                      </a:lnTo>
                      <a:lnTo>
                        <a:pt x="225" y="1391"/>
                      </a:lnTo>
                      <a:lnTo>
                        <a:pt x="224" y="1390"/>
                      </a:lnTo>
                      <a:lnTo>
                        <a:pt x="224" y="1390"/>
                      </a:lnTo>
                      <a:lnTo>
                        <a:pt x="224" y="1391"/>
                      </a:lnTo>
                      <a:lnTo>
                        <a:pt x="224" y="1391"/>
                      </a:lnTo>
                      <a:lnTo>
                        <a:pt x="224" y="1392"/>
                      </a:lnTo>
                      <a:lnTo>
                        <a:pt x="224" y="1392"/>
                      </a:lnTo>
                      <a:lnTo>
                        <a:pt x="223" y="1391"/>
                      </a:lnTo>
                      <a:lnTo>
                        <a:pt x="223" y="1392"/>
                      </a:lnTo>
                      <a:lnTo>
                        <a:pt x="223" y="1392"/>
                      </a:lnTo>
                      <a:lnTo>
                        <a:pt x="222" y="1391"/>
                      </a:lnTo>
                      <a:lnTo>
                        <a:pt x="222" y="1391"/>
                      </a:lnTo>
                      <a:lnTo>
                        <a:pt x="221" y="1391"/>
                      </a:lnTo>
                      <a:lnTo>
                        <a:pt x="220" y="1389"/>
                      </a:lnTo>
                      <a:lnTo>
                        <a:pt x="220" y="1389"/>
                      </a:lnTo>
                      <a:lnTo>
                        <a:pt x="221" y="1389"/>
                      </a:lnTo>
                      <a:lnTo>
                        <a:pt x="222" y="1389"/>
                      </a:lnTo>
                      <a:lnTo>
                        <a:pt x="222" y="1389"/>
                      </a:lnTo>
                      <a:lnTo>
                        <a:pt x="223" y="1388"/>
                      </a:lnTo>
                      <a:lnTo>
                        <a:pt x="222" y="1388"/>
                      </a:lnTo>
                      <a:lnTo>
                        <a:pt x="223" y="1387"/>
                      </a:lnTo>
                      <a:lnTo>
                        <a:pt x="223" y="1387"/>
                      </a:lnTo>
                      <a:lnTo>
                        <a:pt x="222" y="1385"/>
                      </a:lnTo>
                      <a:lnTo>
                        <a:pt x="221" y="1385"/>
                      </a:lnTo>
                      <a:lnTo>
                        <a:pt x="221" y="1385"/>
                      </a:lnTo>
                      <a:lnTo>
                        <a:pt x="221" y="1385"/>
                      </a:lnTo>
                      <a:lnTo>
                        <a:pt x="221" y="1383"/>
                      </a:lnTo>
                      <a:lnTo>
                        <a:pt x="220" y="1382"/>
                      </a:lnTo>
                      <a:lnTo>
                        <a:pt x="220" y="1381"/>
                      </a:lnTo>
                      <a:lnTo>
                        <a:pt x="220" y="1381"/>
                      </a:lnTo>
                      <a:lnTo>
                        <a:pt x="220" y="1380"/>
                      </a:lnTo>
                      <a:lnTo>
                        <a:pt x="220" y="1380"/>
                      </a:lnTo>
                      <a:lnTo>
                        <a:pt x="220" y="1380"/>
                      </a:lnTo>
                      <a:lnTo>
                        <a:pt x="220" y="1378"/>
                      </a:lnTo>
                      <a:lnTo>
                        <a:pt x="219" y="1378"/>
                      </a:lnTo>
                      <a:lnTo>
                        <a:pt x="219" y="1376"/>
                      </a:lnTo>
                      <a:lnTo>
                        <a:pt x="218" y="1376"/>
                      </a:lnTo>
                      <a:lnTo>
                        <a:pt x="218" y="1374"/>
                      </a:lnTo>
                      <a:lnTo>
                        <a:pt x="218" y="1373"/>
                      </a:lnTo>
                      <a:lnTo>
                        <a:pt x="218" y="1373"/>
                      </a:lnTo>
                      <a:lnTo>
                        <a:pt x="218" y="1372"/>
                      </a:lnTo>
                      <a:lnTo>
                        <a:pt x="219" y="1372"/>
                      </a:lnTo>
                      <a:lnTo>
                        <a:pt x="219" y="1372"/>
                      </a:lnTo>
                      <a:lnTo>
                        <a:pt x="219" y="1373"/>
                      </a:lnTo>
                      <a:lnTo>
                        <a:pt x="222" y="1373"/>
                      </a:lnTo>
                      <a:lnTo>
                        <a:pt x="222" y="1372"/>
                      </a:lnTo>
                      <a:lnTo>
                        <a:pt x="222" y="1372"/>
                      </a:lnTo>
                      <a:lnTo>
                        <a:pt x="223" y="1371"/>
                      </a:lnTo>
                      <a:lnTo>
                        <a:pt x="223" y="1371"/>
                      </a:lnTo>
                      <a:lnTo>
                        <a:pt x="224" y="1371"/>
                      </a:lnTo>
                      <a:lnTo>
                        <a:pt x="225" y="1370"/>
                      </a:lnTo>
                      <a:lnTo>
                        <a:pt x="226" y="1370"/>
                      </a:lnTo>
                      <a:lnTo>
                        <a:pt x="228" y="1371"/>
                      </a:lnTo>
                      <a:lnTo>
                        <a:pt x="228" y="1372"/>
                      </a:lnTo>
                      <a:lnTo>
                        <a:pt x="229" y="1373"/>
                      </a:lnTo>
                      <a:lnTo>
                        <a:pt x="231" y="1375"/>
                      </a:lnTo>
                      <a:lnTo>
                        <a:pt x="231" y="1376"/>
                      </a:lnTo>
                      <a:lnTo>
                        <a:pt x="232" y="1376"/>
                      </a:lnTo>
                      <a:lnTo>
                        <a:pt x="232" y="1376"/>
                      </a:lnTo>
                      <a:lnTo>
                        <a:pt x="232" y="1375"/>
                      </a:lnTo>
                      <a:lnTo>
                        <a:pt x="233" y="1375"/>
                      </a:lnTo>
                      <a:lnTo>
                        <a:pt x="233" y="1374"/>
                      </a:lnTo>
                      <a:lnTo>
                        <a:pt x="232" y="1373"/>
                      </a:lnTo>
                      <a:lnTo>
                        <a:pt x="232" y="1372"/>
                      </a:lnTo>
                      <a:lnTo>
                        <a:pt x="233" y="1372"/>
                      </a:lnTo>
                      <a:lnTo>
                        <a:pt x="233" y="1372"/>
                      </a:lnTo>
                      <a:lnTo>
                        <a:pt x="234" y="1370"/>
                      </a:lnTo>
                      <a:lnTo>
                        <a:pt x="232" y="1369"/>
                      </a:lnTo>
                      <a:lnTo>
                        <a:pt x="231" y="1368"/>
                      </a:lnTo>
                      <a:lnTo>
                        <a:pt x="229" y="1368"/>
                      </a:lnTo>
                      <a:lnTo>
                        <a:pt x="229" y="1367"/>
                      </a:lnTo>
                      <a:lnTo>
                        <a:pt x="228" y="1366"/>
                      </a:lnTo>
                      <a:lnTo>
                        <a:pt x="229" y="1365"/>
                      </a:lnTo>
                      <a:lnTo>
                        <a:pt x="227" y="1364"/>
                      </a:lnTo>
                      <a:lnTo>
                        <a:pt x="227" y="1363"/>
                      </a:lnTo>
                      <a:lnTo>
                        <a:pt x="227" y="1363"/>
                      </a:lnTo>
                      <a:lnTo>
                        <a:pt x="227" y="1362"/>
                      </a:lnTo>
                      <a:lnTo>
                        <a:pt x="225" y="1361"/>
                      </a:lnTo>
                      <a:lnTo>
                        <a:pt x="225" y="1360"/>
                      </a:lnTo>
                      <a:lnTo>
                        <a:pt x="225" y="1360"/>
                      </a:lnTo>
                      <a:lnTo>
                        <a:pt x="225" y="1360"/>
                      </a:lnTo>
                      <a:lnTo>
                        <a:pt x="224" y="1359"/>
                      </a:lnTo>
                      <a:lnTo>
                        <a:pt x="223" y="1359"/>
                      </a:lnTo>
                      <a:lnTo>
                        <a:pt x="223" y="1359"/>
                      </a:lnTo>
                      <a:lnTo>
                        <a:pt x="221" y="1357"/>
                      </a:lnTo>
                      <a:lnTo>
                        <a:pt x="221" y="1357"/>
                      </a:lnTo>
                      <a:lnTo>
                        <a:pt x="220" y="1357"/>
                      </a:lnTo>
                      <a:lnTo>
                        <a:pt x="218" y="1355"/>
                      </a:lnTo>
                      <a:lnTo>
                        <a:pt x="218" y="1355"/>
                      </a:lnTo>
                      <a:lnTo>
                        <a:pt x="217" y="1354"/>
                      </a:lnTo>
                      <a:lnTo>
                        <a:pt x="216" y="1354"/>
                      </a:lnTo>
                      <a:lnTo>
                        <a:pt x="215" y="1354"/>
                      </a:lnTo>
                      <a:lnTo>
                        <a:pt x="215" y="1355"/>
                      </a:lnTo>
                      <a:lnTo>
                        <a:pt x="215" y="1355"/>
                      </a:lnTo>
                      <a:lnTo>
                        <a:pt x="216" y="1356"/>
                      </a:lnTo>
                      <a:lnTo>
                        <a:pt x="216" y="1357"/>
                      </a:lnTo>
                      <a:lnTo>
                        <a:pt x="215" y="1357"/>
                      </a:lnTo>
                      <a:lnTo>
                        <a:pt x="214" y="1357"/>
                      </a:lnTo>
                      <a:lnTo>
                        <a:pt x="215" y="1355"/>
                      </a:lnTo>
                      <a:lnTo>
                        <a:pt x="214" y="1353"/>
                      </a:lnTo>
                      <a:lnTo>
                        <a:pt x="215" y="1353"/>
                      </a:lnTo>
                      <a:lnTo>
                        <a:pt x="216" y="1353"/>
                      </a:lnTo>
                      <a:lnTo>
                        <a:pt x="216" y="1352"/>
                      </a:lnTo>
                      <a:lnTo>
                        <a:pt x="217" y="1351"/>
                      </a:lnTo>
                      <a:lnTo>
                        <a:pt x="217" y="1351"/>
                      </a:lnTo>
                      <a:lnTo>
                        <a:pt x="217" y="1349"/>
                      </a:lnTo>
                      <a:lnTo>
                        <a:pt x="217" y="1348"/>
                      </a:lnTo>
                      <a:lnTo>
                        <a:pt x="217" y="1346"/>
                      </a:lnTo>
                      <a:lnTo>
                        <a:pt x="217" y="1344"/>
                      </a:lnTo>
                      <a:lnTo>
                        <a:pt x="218" y="1343"/>
                      </a:lnTo>
                      <a:lnTo>
                        <a:pt x="218" y="1339"/>
                      </a:lnTo>
                      <a:lnTo>
                        <a:pt x="219" y="1339"/>
                      </a:lnTo>
                      <a:lnTo>
                        <a:pt x="219" y="1337"/>
                      </a:lnTo>
                      <a:lnTo>
                        <a:pt x="219" y="1336"/>
                      </a:lnTo>
                      <a:lnTo>
                        <a:pt x="218" y="1336"/>
                      </a:lnTo>
                      <a:lnTo>
                        <a:pt x="218" y="1335"/>
                      </a:lnTo>
                      <a:lnTo>
                        <a:pt x="218" y="1335"/>
                      </a:lnTo>
                      <a:lnTo>
                        <a:pt x="218" y="1334"/>
                      </a:lnTo>
                      <a:lnTo>
                        <a:pt x="218" y="1333"/>
                      </a:lnTo>
                      <a:lnTo>
                        <a:pt x="218" y="1331"/>
                      </a:lnTo>
                      <a:lnTo>
                        <a:pt x="219" y="1331"/>
                      </a:lnTo>
                      <a:lnTo>
                        <a:pt x="220" y="1332"/>
                      </a:lnTo>
                      <a:lnTo>
                        <a:pt x="219" y="1332"/>
                      </a:lnTo>
                      <a:lnTo>
                        <a:pt x="220" y="1332"/>
                      </a:lnTo>
                      <a:lnTo>
                        <a:pt x="222" y="1332"/>
                      </a:lnTo>
                      <a:lnTo>
                        <a:pt x="223" y="1333"/>
                      </a:lnTo>
                      <a:lnTo>
                        <a:pt x="223" y="1333"/>
                      </a:lnTo>
                      <a:lnTo>
                        <a:pt x="225" y="1334"/>
                      </a:lnTo>
                      <a:lnTo>
                        <a:pt x="225" y="1335"/>
                      </a:lnTo>
                      <a:lnTo>
                        <a:pt x="226" y="1336"/>
                      </a:lnTo>
                      <a:lnTo>
                        <a:pt x="226" y="1336"/>
                      </a:lnTo>
                      <a:lnTo>
                        <a:pt x="227" y="1336"/>
                      </a:lnTo>
                      <a:lnTo>
                        <a:pt x="228" y="1337"/>
                      </a:lnTo>
                      <a:lnTo>
                        <a:pt x="229" y="1338"/>
                      </a:lnTo>
                      <a:lnTo>
                        <a:pt x="229" y="1338"/>
                      </a:lnTo>
                      <a:lnTo>
                        <a:pt x="229" y="1339"/>
                      </a:lnTo>
                      <a:lnTo>
                        <a:pt x="229" y="1339"/>
                      </a:lnTo>
                      <a:lnTo>
                        <a:pt x="229" y="1339"/>
                      </a:lnTo>
                      <a:lnTo>
                        <a:pt x="230" y="1342"/>
                      </a:lnTo>
                      <a:lnTo>
                        <a:pt x="230" y="1342"/>
                      </a:lnTo>
                      <a:lnTo>
                        <a:pt x="231" y="1343"/>
                      </a:lnTo>
                      <a:lnTo>
                        <a:pt x="231" y="1345"/>
                      </a:lnTo>
                      <a:lnTo>
                        <a:pt x="231" y="1345"/>
                      </a:lnTo>
                      <a:lnTo>
                        <a:pt x="232" y="1346"/>
                      </a:lnTo>
                      <a:lnTo>
                        <a:pt x="232" y="1346"/>
                      </a:lnTo>
                      <a:lnTo>
                        <a:pt x="232" y="1348"/>
                      </a:lnTo>
                      <a:lnTo>
                        <a:pt x="232" y="1349"/>
                      </a:lnTo>
                      <a:lnTo>
                        <a:pt x="232" y="1349"/>
                      </a:lnTo>
                      <a:lnTo>
                        <a:pt x="232" y="1354"/>
                      </a:lnTo>
                      <a:lnTo>
                        <a:pt x="233" y="1355"/>
                      </a:lnTo>
                      <a:lnTo>
                        <a:pt x="233" y="1355"/>
                      </a:lnTo>
                      <a:lnTo>
                        <a:pt x="234" y="1355"/>
                      </a:lnTo>
                      <a:lnTo>
                        <a:pt x="234" y="1355"/>
                      </a:lnTo>
                      <a:lnTo>
                        <a:pt x="235" y="1356"/>
                      </a:lnTo>
                      <a:lnTo>
                        <a:pt x="235" y="1356"/>
                      </a:lnTo>
                      <a:lnTo>
                        <a:pt x="235" y="1356"/>
                      </a:lnTo>
                      <a:lnTo>
                        <a:pt x="235" y="1357"/>
                      </a:lnTo>
                      <a:lnTo>
                        <a:pt x="236" y="1357"/>
                      </a:lnTo>
                      <a:lnTo>
                        <a:pt x="237" y="1356"/>
                      </a:lnTo>
                      <a:lnTo>
                        <a:pt x="238" y="1355"/>
                      </a:lnTo>
                      <a:lnTo>
                        <a:pt x="239" y="1356"/>
                      </a:lnTo>
                      <a:lnTo>
                        <a:pt x="240" y="1356"/>
                      </a:lnTo>
                      <a:lnTo>
                        <a:pt x="240" y="1357"/>
                      </a:lnTo>
                      <a:lnTo>
                        <a:pt x="240" y="1357"/>
                      </a:lnTo>
                      <a:lnTo>
                        <a:pt x="240" y="1357"/>
                      </a:lnTo>
                      <a:lnTo>
                        <a:pt x="240" y="1358"/>
                      </a:lnTo>
                      <a:lnTo>
                        <a:pt x="240" y="1358"/>
                      </a:lnTo>
                      <a:lnTo>
                        <a:pt x="241" y="1358"/>
                      </a:lnTo>
                      <a:lnTo>
                        <a:pt x="241" y="1359"/>
                      </a:lnTo>
                      <a:lnTo>
                        <a:pt x="243" y="1359"/>
                      </a:lnTo>
                      <a:lnTo>
                        <a:pt x="243" y="1359"/>
                      </a:lnTo>
                      <a:lnTo>
                        <a:pt x="244" y="1360"/>
                      </a:lnTo>
                      <a:lnTo>
                        <a:pt x="246" y="1361"/>
                      </a:lnTo>
                      <a:lnTo>
                        <a:pt x="246" y="1361"/>
                      </a:lnTo>
                      <a:lnTo>
                        <a:pt x="247" y="1364"/>
                      </a:lnTo>
                      <a:lnTo>
                        <a:pt x="247" y="1364"/>
                      </a:lnTo>
                      <a:lnTo>
                        <a:pt x="250" y="1365"/>
                      </a:lnTo>
                      <a:lnTo>
                        <a:pt x="250" y="1365"/>
                      </a:lnTo>
                      <a:lnTo>
                        <a:pt x="251" y="1366"/>
                      </a:lnTo>
                      <a:lnTo>
                        <a:pt x="252" y="1367"/>
                      </a:lnTo>
                      <a:lnTo>
                        <a:pt x="252" y="1367"/>
                      </a:lnTo>
                      <a:lnTo>
                        <a:pt x="253" y="1368"/>
                      </a:lnTo>
                      <a:lnTo>
                        <a:pt x="253" y="1369"/>
                      </a:lnTo>
                      <a:lnTo>
                        <a:pt x="254" y="1370"/>
                      </a:lnTo>
                      <a:lnTo>
                        <a:pt x="254" y="1370"/>
                      </a:lnTo>
                      <a:lnTo>
                        <a:pt x="254" y="1372"/>
                      </a:lnTo>
                      <a:lnTo>
                        <a:pt x="255" y="1372"/>
                      </a:lnTo>
                      <a:lnTo>
                        <a:pt x="255" y="1373"/>
                      </a:lnTo>
                      <a:lnTo>
                        <a:pt x="255" y="1373"/>
                      </a:lnTo>
                      <a:lnTo>
                        <a:pt x="255" y="1374"/>
                      </a:lnTo>
                      <a:lnTo>
                        <a:pt x="256" y="1374"/>
                      </a:lnTo>
                      <a:lnTo>
                        <a:pt x="256" y="1373"/>
                      </a:lnTo>
                      <a:lnTo>
                        <a:pt x="256" y="1373"/>
                      </a:lnTo>
                      <a:lnTo>
                        <a:pt x="257" y="1372"/>
                      </a:lnTo>
                      <a:lnTo>
                        <a:pt x="257" y="1371"/>
                      </a:lnTo>
                      <a:lnTo>
                        <a:pt x="258" y="1370"/>
                      </a:lnTo>
                      <a:lnTo>
                        <a:pt x="259" y="1369"/>
                      </a:lnTo>
                      <a:lnTo>
                        <a:pt x="259" y="1368"/>
                      </a:lnTo>
                      <a:lnTo>
                        <a:pt x="260" y="1367"/>
                      </a:lnTo>
                      <a:lnTo>
                        <a:pt x="261" y="1366"/>
                      </a:lnTo>
                      <a:lnTo>
                        <a:pt x="262" y="1366"/>
                      </a:lnTo>
                      <a:lnTo>
                        <a:pt x="262" y="1367"/>
                      </a:lnTo>
                      <a:lnTo>
                        <a:pt x="262" y="1368"/>
                      </a:lnTo>
                      <a:lnTo>
                        <a:pt x="263" y="1368"/>
                      </a:lnTo>
                      <a:lnTo>
                        <a:pt x="263" y="1368"/>
                      </a:lnTo>
                      <a:lnTo>
                        <a:pt x="262" y="1369"/>
                      </a:lnTo>
                      <a:lnTo>
                        <a:pt x="262" y="1369"/>
                      </a:lnTo>
                      <a:lnTo>
                        <a:pt x="262" y="1369"/>
                      </a:lnTo>
                      <a:lnTo>
                        <a:pt x="262" y="1370"/>
                      </a:lnTo>
                      <a:lnTo>
                        <a:pt x="262" y="1371"/>
                      </a:lnTo>
                      <a:lnTo>
                        <a:pt x="261" y="1372"/>
                      </a:lnTo>
                      <a:lnTo>
                        <a:pt x="261" y="1372"/>
                      </a:lnTo>
                      <a:lnTo>
                        <a:pt x="261" y="1372"/>
                      </a:lnTo>
                      <a:lnTo>
                        <a:pt x="261" y="1373"/>
                      </a:lnTo>
                      <a:lnTo>
                        <a:pt x="261" y="1373"/>
                      </a:lnTo>
                      <a:lnTo>
                        <a:pt x="260" y="1373"/>
                      </a:lnTo>
                      <a:lnTo>
                        <a:pt x="260" y="1375"/>
                      </a:lnTo>
                      <a:lnTo>
                        <a:pt x="260" y="1375"/>
                      </a:lnTo>
                      <a:lnTo>
                        <a:pt x="260" y="1375"/>
                      </a:lnTo>
                      <a:lnTo>
                        <a:pt x="260" y="1375"/>
                      </a:lnTo>
                      <a:lnTo>
                        <a:pt x="259" y="1376"/>
                      </a:lnTo>
                      <a:lnTo>
                        <a:pt x="259" y="1376"/>
                      </a:lnTo>
                      <a:lnTo>
                        <a:pt x="259" y="1378"/>
                      </a:lnTo>
                      <a:lnTo>
                        <a:pt x="259" y="1378"/>
                      </a:lnTo>
                      <a:lnTo>
                        <a:pt x="259" y="1379"/>
                      </a:lnTo>
                      <a:lnTo>
                        <a:pt x="258" y="1379"/>
                      </a:lnTo>
                      <a:lnTo>
                        <a:pt x="258" y="1379"/>
                      </a:lnTo>
                      <a:lnTo>
                        <a:pt x="257" y="1380"/>
                      </a:lnTo>
                      <a:lnTo>
                        <a:pt x="258" y="1382"/>
                      </a:lnTo>
                      <a:lnTo>
                        <a:pt x="258" y="1382"/>
                      </a:lnTo>
                      <a:lnTo>
                        <a:pt x="258" y="1382"/>
                      </a:lnTo>
                      <a:lnTo>
                        <a:pt x="258" y="1382"/>
                      </a:lnTo>
                      <a:lnTo>
                        <a:pt x="259" y="1381"/>
                      </a:lnTo>
                      <a:lnTo>
                        <a:pt x="259" y="1382"/>
                      </a:lnTo>
                      <a:lnTo>
                        <a:pt x="259" y="1382"/>
                      </a:lnTo>
                      <a:lnTo>
                        <a:pt x="259" y="1382"/>
                      </a:lnTo>
                      <a:lnTo>
                        <a:pt x="260" y="1382"/>
                      </a:lnTo>
                      <a:lnTo>
                        <a:pt x="260" y="1383"/>
                      </a:lnTo>
                      <a:lnTo>
                        <a:pt x="260" y="1384"/>
                      </a:lnTo>
                      <a:lnTo>
                        <a:pt x="260" y="1384"/>
                      </a:lnTo>
                      <a:lnTo>
                        <a:pt x="260" y="1385"/>
                      </a:lnTo>
                      <a:lnTo>
                        <a:pt x="261" y="1385"/>
                      </a:lnTo>
                      <a:lnTo>
                        <a:pt x="261" y="1384"/>
                      </a:lnTo>
                      <a:lnTo>
                        <a:pt x="261" y="1382"/>
                      </a:lnTo>
                      <a:lnTo>
                        <a:pt x="261" y="1381"/>
                      </a:lnTo>
                      <a:lnTo>
                        <a:pt x="260" y="1380"/>
                      </a:lnTo>
                      <a:lnTo>
                        <a:pt x="260" y="1378"/>
                      </a:lnTo>
                      <a:lnTo>
                        <a:pt x="261" y="1376"/>
                      </a:lnTo>
                      <a:lnTo>
                        <a:pt x="262" y="1376"/>
                      </a:lnTo>
                      <a:lnTo>
                        <a:pt x="262" y="1375"/>
                      </a:lnTo>
                      <a:lnTo>
                        <a:pt x="263" y="1374"/>
                      </a:lnTo>
                      <a:lnTo>
                        <a:pt x="263" y="1374"/>
                      </a:lnTo>
                      <a:lnTo>
                        <a:pt x="263" y="1372"/>
                      </a:lnTo>
                      <a:lnTo>
                        <a:pt x="264" y="1371"/>
                      </a:lnTo>
                      <a:lnTo>
                        <a:pt x="264" y="1371"/>
                      </a:lnTo>
                      <a:lnTo>
                        <a:pt x="266" y="1371"/>
                      </a:lnTo>
                      <a:lnTo>
                        <a:pt x="267" y="1370"/>
                      </a:lnTo>
                      <a:lnTo>
                        <a:pt x="268" y="1370"/>
                      </a:lnTo>
                      <a:lnTo>
                        <a:pt x="267" y="1369"/>
                      </a:lnTo>
                      <a:lnTo>
                        <a:pt x="268" y="1367"/>
                      </a:lnTo>
                      <a:lnTo>
                        <a:pt x="267" y="1367"/>
                      </a:lnTo>
                      <a:lnTo>
                        <a:pt x="266" y="1366"/>
                      </a:lnTo>
                      <a:lnTo>
                        <a:pt x="266" y="1365"/>
                      </a:lnTo>
                      <a:lnTo>
                        <a:pt x="267" y="1364"/>
                      </a:lnTo>
                      <a:lnTo>
                        <a:pt x="267" y="1364"/>
                      </a:lnTo>
                      <a:lnTo>
                        <a:pt x="267" y="1363"/>
                      </a:lnTo>
                      <a:lnTo>
                        <a:pt x="268" y="1363"/>
                      </a:lnTo>
                      <a:lnTo>
                        <a:pt x="270" y="1364"/>
                      </a:lnTo>
                      <a:lnTo>
                        <a:pt x="270" y="1364"/>
                      </a:lnTo>
                      <a:lnTo>
                        <a:pt x="270" y="1365"/>
                      </a:lnTo>
                      <a:lnTo>
                        <a:pt x="270" y="1365"/>
                      </a:lnTo>
                      <a:lnTo>
                        <a:pt x="271" y="1365"/>
                      </a:lnTo>
                      <a:lnTo>
                        <a:pt x="271" y="1365"/>
                      </a:lnTo>
                      <a:lnTo>
                        <a:pt x="271" y="1365"/>
                      </a:lnTo>
                      <a:lnTo>
                        <a:pt x="271" y="1366"/>
                      </a:lnTo>
                      <a:lnTo>
                        <a:pt x="271" y="1366"/>
                      </a:lnTo>
                      <a:lnTo>
                        <a:pt x="271" y="1367"/>
                      </a:lnTo>
                      <a:lnTo>
                        <a:pt x="272" y="1368"/>
                      </a:lnTo>
                      <a:lnTo>
                        <a:pt x="272" y="1368"/>
                      </a:lnTo>
                      <a:lnTo>
                        <a:pt x="272" y="1369"/>
                      </a:lnTo>
                      <a:lnTo>
                        <a:pt x="272" y="1369"/>
                      </a:lnTo>
                      <a:lnTo>
                        <a:pt x="272" y="1370"/>
                      </a:lnTo>
                      <a:lnTo>
                        <a:pt x="272" y="1370"/>
                      </a:lnTo>
                      <a:lnTo>
                        <a:pt x="273" y="1372"/>
                      </a:lnTo>
                      <a:lnTo>
                        <a:pt x="273" y="1372"/>
                      </a:lnTo>
                      <a:lnTo>
                        <a:pt x="273" y="1372"/>
                      </a:lnTo>
                      <a:lnTo>
                        <a:pt x="273" y="1373"/>
                      </a:lnTo>
                      <a:lnTo>
                        <a:pt x="273" y="1373"/>
                      </a:lnTo>
                      <a:lnTo>
                        <a:pt x="274" y="1372"/>
                      </a:lnTo>
                      <a:lnTo>
                        <a:pt x="274" y="1372"/>
                      </a:lnTo>
                      <a:lnTo>
                        <a:pt x="274" y="1372"/>
                      </a:lnTo>
                      <a:lnTo>
                        <a:pt x="274" y="1372"/>
                      </a:lnTo>
                      <a:lnTo>
                        <a:pt x="275" y="1372"/>
                      </a:lnTo>
                      <a:lnTo>
                        <a:pt x="275" y="1373"/>
                      </a:lnTo>
                      <a:lnTo>
                        <a:pt x="275" y="1373"/>
                      </a:lnTo>
                      <a:lnTo>
                        <a:pt x="276" y="1373"/>
                      </a:lnTo>
                      <a:lnTo>
                        <a:pt x="277" y="1375"/>
                      </a:lnTo>
                      <a:lnTo>
                        <a:pt x="278" y="1375"/>
                      </a:lnTo>
                      <a:lnTo>
                        <a:pt x="278" y="1376"/>
                      </a:lnTo>
                      <a:lnTo>
                        <a:pt x="279" y="1376"/>
                      </a:lnTo>
                      <a:lnTo>
                        <a:pt x="279" y="1380"/>
                      </a:lnTo>
                      <a:lnTo>
                        <a:pt x="279" y="1381"/>
                      </a:lnTo>
                      <a:lnTo>
                        <a:pt x="279" y="1381"/>
                      </a:lnTo>
                      <a:lnTo>
                        <a:pt x="279" y="1381"/>
                      </a:lnTo>
                      <a:lnTo>
                        <a:pt x="279" y="1381"/>
                      </a:lnTo>
                      <a:lnTo>
                        <a:pt x="280" y="1381"/>
                      </a:lnTo>
                      <a:lnTo>
                        <a:pt x="280" y="1380"/>
                      </a:lnTo>
                      <a:lnTo>
                        <a:pt x="280" y="1380"/>
                      </a:lnTo>
                      <a:lnTo>
                        <a:pt x="280" y="1378"/>
                      </a:lnTo>
                      <a:lnTo>
                        <a:pt x="280" y="1378"/>
                      </a:lnTo>
                      <a:lnTo>
                        <a:pt x="280" y="1378"/>
                      </a:lnTo>
                      <a:lnTo>
                        <a:pt x="280" y="1376"/>
                      </a:lnTo>
                      <a:lnTo>
                        <a:pt x="281" y="1378"/>
                      </a:lnTo>
                      <a:lnTo>
                        <a:pt x="281" y="1380"/>
                      </a:lnTo>
                      <a:lnTo>
                        <a:pt x="281" y="1382"/>
                      </a:lnTo>
                      <a:lnTo>
                        <a:pt x="283" y="1384"/>
                      </a:lnTo>
                      <a:lnTo>
                        <a:pt x="283" y="1385"/>
                      </a:lnTo>
                      <a:lnTo>
                        <a:pt x="283" y="1386"/>
                      </a:lnTo>
                      <a:lnTo>
                        <a:pt x="282" y="1388"/>
                      </a:lnTo>
                      <a:lnTo>
                        <a:pt x="283" y="1388"/>
                      </a:lnTo>
                      <a:lnTo>
                        <a:pt x="282" y="1388"/>
                      </a:lnTo>
                      <a:lnTo>
                        <a:pt x="282" y="1389"/>
                      </a:lnTo>
                      <a:lnTo>
                        <a:pt x="283" y="1389"/>
                      </a:lnTo>
                      <a:lnTo>
                        <a:pt x="283" y="1390"/>
                      </a:lnTo>
                      <a:lnTo>
                        <a:pt x="283" y="1390"/>
                      </a:lnTo>
                      <a:lnTo>
                        <a:pt x="283" y="1391"/>
                      </a:lnTo>
                      <a:lnTo>
                        <a:pt x="284" y="1391"/>
                      </a:lnTo>
                      <a:lnTo>
                        <a:pt x="284" y="1391"/>
                      </a:lnTo>
                      <a:lnTo>
                        <a:pt x="284" y="1392"/>
                      </a:lnTo>
                      <a:lnTo>
                        <a:pt x="286" y="1391"/>
                      </a:lnTo>
                      <a:lnTo>
                        <a:pt x="286" y="1392"/>
                      </a:lnTo>
                      <a:lnTo>
                        <a:pt x="286" y="1391"/>
                      </a:lnTo>
                      <a:lnTo>
                        <a:pt x="284" y="1389"/>
                      </a:lnTo>
                      <a:lnTo>
                        <a:pt x="284" y="1389"/>
                      </a:lnTo>
                      <a:lnTo>
                        <a:pt x="284" y="1388"/>
                      </a:lnTo>
                      <a:lnTo>
                        <a:pt x="284" y="1387"/>
                      </a:lnTo>
                      <a:lnTo>
                        <a:pt x="284" y="1385"/>
                      </a:lnTo>
                      <a:lnTo>
                        <a:pt x="284" y="1384"/>
                      </a:lnTo>
                      <a:lnTo>
                        <a:pt x="283" y="1383"/>
                      </a:lnTo>
                      <a:lnTo>
                        <a:pt x="283" y="1383"/>
                      </a:lnTo>
                      <a:lnTo>
                        <a:pt x="283" y="1383"/>
                      </a:lnTo>
                      <a:lnTo>
                        <a:pt x="283" y="1383"/>
                      </a:lnTo>
                      <a:lnTo>
                        <a:pt x="283" y="1382"/>
                      </a:lnTo>
                      <a:lnTo>
                        <a:pt x="283" y="1380"/>
                      </a:lnTo>
                      <a:lnTo>
                        <a:pt x="283" y="1380"/>
                      </a:lnTo>
                      <a:lnTo>
                        <a:pt x="284" y="1380"/>
                      </a:lnTo>
                      <a:lnTo>
                        <a:pt x="286" y="1380"/>
                      </a:lnTo>
                      <a:lnTo>
                        <a:pt x="286" y="1380"/>
                      </a:lnTo>
                      <a:lnTo>
                        <a:pt x="286" y="1381"/>
                      </a:lnTo>
                      <a:lnTo>
                        <a:pt x="286" y="1381"/>
                      </a:lnTo>
                      <a:lnTo>
                        <a:pt x="287" y="1381"/>
                      </a:lnTo>
                      <a:lnTo>
                        <a:pt x="287" y="1380"/>
                      </a:lnTo>
                      <a:lnTo>
                        <a:pt x="286" y="1379"/>
                      </a:lnTo>
                      <a:lnTo>
                        <a:pt x="283" y="1378"/>
                      </a:lnTo>
                      <a:lnTo>
                        <a:pt x="283" y="1378"/>
                      </a:lnTo>
                      <a:lnTo>
                        <a:pt x="282" y="1376"/>
                      </a:lnTo>
                      <a:lnTo>
                        <a:pt x="282" y="1375"/>
                      </a:lnTo>
                      <a:lnTo>
                        <a:pt x="281" y="1374"/>
                      </a:lnTo>
                      <a:lnTo>
                        <a:pt x="281" y="1374"/>
                      </a:lnTo>
                      <a:lnTo>
                        <a:pt x="281" y="1374"/>
                      </a:lnTo>
                      <a:lnTo>
                        <a:pt x="278" y="1371"/>
                      </a:lnTo>
                      <a:lnTo>
                        <a:pt x="277" y="1371"/>
                      </a:lnTo>
                      <a:lnTo>
                        <a:pt x="277" y="1370"/>
                      </a:lnTo>
                      <a:lnTo>
                        <a:pt x="275" y="1368"/>
                      </a:lnTo>
                      <a:lnTo>
                        <a:pt x="275" y="1368"/>
                      </a:lnTo>
                      <a:lnTo>
                        <a:pt x="274" y="1368"/>
                      </a:lnTo>
                      <a:lnTo>
                        <a:pt x="273" y="1366"/>
                      </a:lnTo>
                      <a:lnTo>
                        <a:pt x="273" y="1364"/>
                      </a:lnTo>
                      <a:lnTo>
                        <a:pt x="274" y="1364"/>
                      </a:lnTo>
                      <a:lnTo>
                        <a:pt x="273" y="1364"/>
                      </a:lnTo>
                      <a:lnTo>
                        <a:pt x="272" y="1363"/>
                      </a:lnTo>
                      <a:lnTo>
                        <a:pt x="272" y="1362"/>
                      </a:lnTo>
                      <a:lnTo>
                        <a:pt x="273" y="1361"/>
                      </a:lnTo>
                      <a:lnTo>
                        <a:pt x="273" y="1360"/>
                      </a:lnTo>
                      <a:lnTo>
                        <a:pt x="272" y="1359"/>
                      </a:lnTo>
                      <a:lnTo>
                        <a:pt x="271" y="1358"/>
                      </a:lnTo>
                      <a:lnTo>
                        <a:pt x="270" y="1357"/>
                      </a:lnTo>
                      <a:lnTo>
                        <a:pt x="269" y="1357"/>
                      </a:lnTo>
                      <a:lnTo>
                        <a:pt x="270" y="1356"/>
                      </a:lnTo>
                      <a:lnTo>
                        <a:pt x="270" y="1356"/>
                      </a:lnTo>
                      <a:lnTo>
                        <a:pt x="270" y="1357"/>
                      </a:lnTo>
                      <a:lnTo>
                        <a:pt x="271" y="1357"/>
                      </a:lnTo>
                      <a:lnTo>
                        <a:pt x="271" y="1355"/>
                      </a:lnTo>
                      <a:lnTo>
                        <a:pt x="270" y="1355"/>
                      </a:lnTo>
                      <a:lnTo>
                        <a:pt x="270" y="1355"/>
                      </a:lnTo>
                      <a:lnTo>
                        <a:pt x="269" y="1355"/>
                      </a:lnTo>
                      <a:lnTo>
                        <a:pt x="269" y="1354"/>
                      </a:lnTo>
                      <a:lnTo>
                        <a:pt x="268" y="1353"/>
                      </a:lnTo>
                      <a:lnTo>
                        <a:pt x="268" y="1353"/>
                      </a:lnTo>
                      <a:lnTo>
                        <a:pt x="268" y="1353"/>
                      </a:lnTo>
                      <a:lnTo>
                        <a:pt x="268" y="1352"/>
                      </a:lnTo>
                      <a:lnTo>
                        <a:pt x="268" y="1352"/>
                      </a:lnTo>
                      <a:lnTo>
                        <a:pt x="268" y="1351"/>
                      </a:lnTo>
                      <a:lnTo>
                        <a:pt x="268" y="1351"/>
                      </a:lnTo>
                      <a:lnTo>
                        <a:pt x="268" y="1349"/>
                      </a:lnTo>
                      <a:lnTo>
                        <a:pt x="269" y="1347"/>
                      </a:lnTo>
                      <a:lnTo>
                        <a:pt x="269" y="1347"/>
                      </a:lnTo>
                      <a:lnTo>
                        <a:pt x="270" y="1348"/>
                      </a:lnTo>
                      <a:lnTo>
                        <a:pt x="271" y="1349"/>
                      </a:lnTo>
                      <a:lnTo>
                        <a:pt x="271" y="1349"/>
                      </a:lnTo>
                      <a:lnTo>
                        <a:pt x="271" y="1347"/>
                      </a:lnTo>
                      <a:lnTo>
                        <a:pt x="273" y="1346"/>
                      </a:lnTo>
                      <a:lnTo>
                        <a:pt x="273" y="1346"/>
                      </a:lnTo>
                      <a:lnTo>
                        <a:pt x="274" y="1344"/>
                      </a:lnTo>
                      <a:lnTo>
                        <a:pt x="274" y="1343"/>
                      </a:lnTo>
                      <a:lnTo>
                        <a:pt x="275" y="1342"/>
                      </a:lnTo>
                      <a:lnTo>
                        <a:pt x="275" y="1339"/>
                      </a:lnTo>
                      <a:lnTo>
                        <a:pt x="276" y="1339"/>
                      </a:lnTo>
                      <a:lnTo>
                        <a:pt x="276" y="1339"/>
                      </a:lnTo>
                      <a:lnTo>
                        <a:pt x="275" y="1339"/>
                      </a:lnTo>
                      <a:lnTo>
                        <a:pt x="275" y="1338"/>
                      </a:lnTo>
                      <a:lnTo>
                        <a:pt x="274" y="1338"/>
                      </a:lnTo>
                      <a:lnTo>
                        <a:pt x="274" y="1339"/>
                      </a:lnTo>
                      <a:lnTo>
                        <a:pt x="273" y="1339"/>
                      </a:lnTo>
                      <a:lnTo>
                        <a:pt x="273" y="1339"/>
                      </a:lnTo>
                      <a:lnTo>
                        <a:pt x="273" y="1339"/>
                      </a:lnTo>
                      <a:lnTo>
                        <a:pt x="273" y="1341"/>
                      </a:lnTo>
                      <a:lnTo>
                        <a:pt x="272" y="1341"/>
                      </a:lnTo>
                      <a:lnTo>
                        <a:pt x="270" y="1341"/>
                      </a:lnTo>
                      <a:lnTo>
                        <a:pt x="270" y="1341"/>
                      </a:lnTo>
                      <a:lnTo>
                        <a:pt x="268" y="1341"/>
                      </a:lnTo>
                      <a:lnTo>
                        <a:pt x="268" y="1341"/>
                      </a:lnTo>
                      <a:lnTo>
                        <a:pt x="269" y="1339"/>
                      </a:lnTo>
                      <a:lnTo>
                        <a:pt x="269" y="1337"/>
                      </a:lnTo>
                      <a:lnTo>
                        <a:pt x="268" y="1336"/>
                      </a:lnTo>
                      <a:lnTo>
                        <a:pt x="268" y="1335"/>
                      </a:lnTo>
                      <a:lnTo>
                        <a:pt x="268" y="1335"/>
                      </a:lnTo>
                      <a:lnTo>
                        <a:pt x="268" y="1334"/>
                      </a:lnTo>
                      <a:lnTo>
                        <a:pt x="268" y="1333"/>
                      </a:lnTo>
                      <a:lnTo>
                        <a:pt x="268" y="1332"/>
                      </a:lnTo>
                      <a:lnTo>
                        <a:pt x="268" y="1331"/>
                      </a:lnTo>
                      <a:lnTo>
                        <a:pt x="268" y="1331"/>
                      </a:lnTo>
                      <a:lnTo>
                        <a:pt x="269" y="1331"/>
                      </a:lnTo>
                      <a:lnTo>
                        <a:pt x="269" y="1329"/>
                      </a:lnTo>
                      <a:lnTo>
                        <a:pt x="268" y="1329"/>
                      </a:lnTo>
                      <a:lnTo>
                        <a:pt x="268" y="1328"/>
                      </a:lnTo>
                      <a:lnTo>
                        <a:pt x="266" y="1325"/>
                      </a:lnTo>
                      <a:lnTo>
                        <a:pt x="265" y="1324"/>
                      </a:lnTo>
                      <a:lnTo>
                        <a:pt x="265" y="1324"/>
                      </a:lnTo>
                      <a:lnTo>
                        <a:pt x="265" y="1323"/>
                      </a:lnTo>
                      <a:lnTo>
                        <a:pt x="265" y="1323"/>
                      </a:lnTo>
                      <a:lnTo>
                        <a:pt x="263" y="1321"/>
                      </a:lnTo>
                      <a:lnTo>
                        <a:pt x="262" y="1319"/>
                      </a:lnTo>
                      <a:lnTo>
                        <a:pt x="262" y="1317"/>
                      </a:lnTo>
                      <a:lnTo>
                        <a:pt x="262" y="1317"/>
                      </a:lnTo>
                      <a:lnTo>
                        <a:pt x="262" y="1317"/>
                      </a:lnTo>
                      <a:lnTo>
                        <a:pt x="263" y="1316"/>
                      </a:lnTo>
                      <a:lnTo>
                        <a:pt x="266" y="1316"/>
                      </a:lnTo>
                      <a:lnTo>
                        <a:pt x="267" y="1315"/>
                      </a:lnTo>
                      <a:lnTo>
                        <a:pt x="267" y="1315"/>
                      </a:lnTo>
                      <a:lnTo>
                        <a:pt x="266" y="1314"/>
                      </a:lnTo>
                      <a:lnTo>
                        <a:pt x="266" y="1313"/>
                      </a:lnTo>
                      <a:lnTo>
                        <a:pt x="265" y="1312"/>
                      </a:lnTo>
                      <a:lnTo>
                        <a:pt x="265" y="1312"/>
                      </a:lnTo>
                      <a:lnTo>
                        <a:pt x="266" y="1311"/>
                      </a:lnTo>
                      <a:lnTo>
                        <a:pt x="267" y="1311"/>
                      </a:lnTo>
                      <a:lnTo>
                        <a:pt x="267" y="1311"/>
                      </a:lnTo>
                      <a:lnTo>
                        <a:pt x="268" y="1311"/>
                      </a:lnTo>
                      <a:lnTo>
                        <a:pt x="268" y="1311"/>
                      </a:lnTo>
                      <a:lnTo>
                        <a:pt x="269" y="1311"/>
                      </a:lnTo>
                      <a:lnTo>
                        <a:pt x="270" y="1311"/>
                      </a:lnTo>
                      <a:lnTo>
                        <a:pt x="270" y="1311"/>
                      </a:lnTo>
                      <a:lnTo>
                        <a:pt x="271" y="1311"/>
                      </a:lnTo>
                      <a:lnTo>
                        <a:pt x="272" y="1311"/>
                      </a:lnTo>
                      <a:lnTo>
                        <a:pt x="273" y="1310"/>
                      </a:lnTo>
                      <a:lnTo>
                        <a:pt x="274" y="1309"/>
                      </a:lnTo>
                      <a:lnTo>
                        <a:pt x="274" y="1309"/>
                      </a:lnTo>
                      <a:lnTo>
                        <a:pt x="275" y="1308"/>
                      </a:lnTo>
                      <a:lnTo>
                        <a:pt x="276" y="1308"/>
                      </a:lnTo>
                      <a:lnTo>
                        <a:pt x="277" y="1307"/>
                      </a:lnTo>
                      <a:lnTo>
                        <a:pt x="277" y="1306"/>
                      </a:lnTo>
                      <a:lnTo>
                        <a:pt x="278" y="1305"/>
                      </a:lnTo>
                      <a:lnTo>
                        <a:pt x="278" y="1304"/>
                      </a:lnTo>
                      <a:lnTo>
                        <a:pt x="279" y="1304"/>
                      </a:lnTo>
                      <a:lnTo>
                        <a:pt x="279" y="1303"/>
                      </a:lnTo>
                      <a:lnTo>
                        <a:pt x="278" y="1303"/>
                      </a:lnTo>
                      <a:lnTo>
                        <a:pt x="278" y="1301"/>
                      </a:lnTo>
                      <a:lnTo>
                        <a:pt x="279" y="1301"/>
                      </a:lnTo>
                      <a:lnTo>
                        <a:pt x="279" y="1300"/>
                      </a:lnTo>
                      <a:lnTo>
                        <a:pt x="279" y="1300"/>
                      </a:lnTo>
                      <a:lnTo>
                        <a:pt x="278" y="1298"/>
                      </a:lnTo>
                      <a:lnTo>
                        <a:pt x="278" y="1297"/>
                      </a:lnTo>
                      <a:lnTo>
                        <a:pt x="277" y="1297"/>
                      </a:lnTo>
                      <a:lnTo>
                        <a:pt x="277" y="1296"/>
                      </a:lnTo>
                      <a:lnTo>
                        <a:pt x="276" y="1296"/>
                      </a:lnTo>
                      <a:lnTo>
                        <a:pt x="276" y="1296"/>
                      </a:lnTo>
                      <a:lnTo>
                        <a:pt x="277" y="1296"/>
                      </a:lnTo>
                      <a:lnTo>
                        <a:pt x="278" y="1295"/>
                      </a:lnTo>
                      <a:lnTo>
                        <a:pt x="278" y="1294"/>
                      </a:lnTo>
                      <a:lnTo>
                        <a:pt x="278" y="1294"/>
                      </a:lnTo>
                      <a:lnTo>
                        <a:pt x="278" y="1294"/>
                      </a:lnTo>
                      <a:lnTo>
                        <a:pt x="277" y="1294"/>
                      </a:lnTo>
                      <a:lnTo>
                        <a:pt x="276" y="1293"/>
                      </a:lnTo>
                      <a:lnTo>
                        <a:pt x="276" y="1293"/>
                      </a:lnTo>
                      <a:lnTo>
                        <a:pt x="277" y="1292"/>
                      </a:lnTo>
                      <a:lnTo>
                        <a:pt x="278" y="1292"/>
                      </a:lnTo>
                      <a:lnTo>
                        <a:pt x="278" y="1292"/>
                      </a:lnTo>
                      <a:close/>
                      <a:moveTo>
                        <a:pt x="204" y="1224"/>
                      </a:moveTo>
                      <a:lnTo>
                        <a:pt x="205" y="1224"/>
                      </a:lnTo>
                      <a:lnTo>
                        <a:pt x="206" y="1225"/>
                      </a:lnTo>
                      <a:lnTo>
                        <a:pt x="209" y="1225"/>
                      </a:lnTo>
                      <a:lnTo>
                        <a:pt x="209" y="1227"/>
                      </a:lnTo>
                      <a:lnTo>
                        <a:pt x="209" y="1227"/>
                      </a:lnTo>
                      <a:lnTo>
                        <a:pt x="209" y="1227"/>
                      </a:lnTo>
                      <a:lnTo>
                        <a:pt x="210" y="1228"/>
                      </a:lnTo>
                      <a:lnTo>
                        <a:pt x="210" y="1227"/>
                      </a:lnTo>
                      <a:lnTo>
                        <a:pt x="210" y="1227"/>
                      </a:lnTo>
                      <a:lnTo>
                        <a:pt x="212" y="1228"/>
                      </a:lnTo>
                      <a:lnTo>
                        <a:pt x="212" y="1227"/>
                      </a:lnTo>
                      <a:lnTo>
                        <a:pt x="214" y="1228"/>
                      </a:lnTo>
                      <a:lnTo>
                        <a:pt x="214" y="1228"/>
                      </a:lnTo>
                      <a:lnTo>
                        <a:pt x="215" y="1229"/>
                      </a:lnTo>
                      <a:lnTo>
                        <a:pt x="216" y="1229"/>
                      </a:lnTo>
                      <a:lnTo>
                        <a:pt x="215" y="1230"/>
                      </a:lnTo>
                      <a:lnTo>
                        <a:pt x="216" y="1230"/>
                      </a:lnTo>
                      <a:lnTo>
                        <a:pt x="216" y="1231"/>
                      </a:lnTo>
                      <a:lnTo>
                        <a:pt x="216" y="1232"/>
                      </a:lnTo>
                      <a:lnTo>
                        <a:pt x="217" y="1232"/>
                      </a:lnTo>
                      <a:lnTo>
                        <a:pt x="217" y="1233"/>
                      </a:lnTo>
                      <a:lnTo>
                        <a:pt x="217" y="1233"/>
                      </a:lnTo>
                      <a:lnTo>
                        <a:pt x="217" y="1234"/>
                      </a:lnTo>
                      <a:lnTo>
                        <a:pt x="215" y="1235"/>
                      </a:lnTo>
                      <a:lnTo>
                        <a:pt x="214" y="1235"/>
                      </a:lnTo>
                      <a:lnTo>
                        <a:pt x="213" y="1236"/>
                      </a:lnTo>
                      <a:lnTo>
                        <a:pt x="212" y="1236"/>
                      </a:lnTo>
                      <a:lnTo>
                        <a:pt x="210" y="1237"/>
                      </a:lnTo>
                      <a:lnTo>
                        <a:pt x="210" y="1237"/>
                      </a:lnTo>
                      <a:lnTo>
                        <a:pt x="210" y="1235"/>
                      </a:lnTo>
                      <a:lnTo>
                        <a:pt x="210" y="1235"/>
                      </a:lnTo>
                      <a:lnTo>
                        <a:pt x="210" y="1235"/>
                      </a:lnTo>
                      <a:lnTo>
                        <a:pt x="210" y="1235"/>
                      </a:lnTo>
                      <a:lnTo>
                        <a:pt x="209" y="1236"/>
                      </a:lnTo>
                      <a:lnTo>
                        <a:pt x="208" y="1236"/>
                      </a:lnTo>
                      <a:lnTo>
                        <a:pt x="208" y="1235"/>
                      </a:lnTo>
                      <a:lnTo>
                        <a:pt x="208" y="1235"/>
                      </a:lnTo>
                      <a:lnTo>
                        <a:pt x="207" y="1236"/>
                      </a:lnTo>
                      <a:lnTo>
                        <a:pt x="207" y="1236"/>
                      </a:lnTo>
                      <a:lnTo>
                        <a:pt x="206" y="1236"/>
                      </a:lnTo>
                      <a:lnTo>
                        <a:pt x="206" y="1236"/>
                      </a:lnTo>
                      <a:lnTo>
                        <a:pt x="206" y="1235"/>
                      </a:lnTo>
                      <a:lnTo>
                        <a:pt x="205" y="1235"/>
                      </a:lnTo>
                      <a:lnTo>
                        <a:pt x="204" y="1234"/>
                      </a:lnTo>
                      <a:lnTo>
                        <a:pt x="205" y="1234"/>
                      </a:lnTo>
                      <a:lnTo>
                        <a:pt x="205" y="1234"/>
                      </a:lnTo>
                      <a:lnTo>
                        <a:pt x="206" y="1234"/>
                      </a:lnTo>
                      <a:lnTo>
                        <a:pt x="206" y="1233"/>
                      </a:lnTo>
                      <a:lnTo>
                        <a:pt x="207" y="1232"/>
                      </a:lnTo>
                      <a:lnTo>
                        <a:pt x="206" y="1232"/>
                      </a:lnTo>
                      <a:lnTo>
                        <a:pt x="206" y="1231"/>
                      </a:lnTo>
                      <a:lnTo>
                        <a:pt x="205" y="1230"/>
                      </a:lnTo>
                      <a:lnTo>
                        <a:pt x="205" y="1230"/>
                      </a:lnTo>
                      <a:lnTo>
                        <a:pt x="205" y="1230"/>
                      </a:lnTo>
                      <a:lnTo>
                        <a:pt x="205" y="1230"/>
                      </a:lnTo>
                      <a:lnTo>
                        <a:pt x="205" y="1230"/>
                      </a:lnTo>
                      <a:lnTo>
                        <a:pt x="204" y="1233"/>
                      </a:lnTo>
                      <a:lnTo>
                        <a:pt x="204" y="1233"/>
                      </a:lnTo>
                      <a:lnTo>
                        <a:pt x="203" y="1232"/>
                      </a:lnTo>
                      <a:lnTo>
                        <a:pt x="203" y="1232"/>
                      </a:lnTo>
                      <a:lnTo>
                        <a:pt x="203" y="1232"/>
                      </a:lnTo>
                      <a:lnTo>
                        <a:pt x="202" y="1231"/>
                      </a:lnTo>
                      <a:lnTo>
                        <a:pt x="203" y="1230"/>
                      </a:lnTo>
                      <a:lnTo>
                        <a:pt x="203" y="1230"/>
                      </a:lnTo>
                      <a:lnTo>
                        <a:pt x="203" y="1229"/>
                      </a:lnTo>
                      <a:lnTo>
                        <a:pt x="202" y="1228"/>
                      </a:lnTo>
                      <a:lnTo>
                        <a:pt x="202" y="1228"/>
                      </a:lnTo>
                      <a:lnTo>
                        <a:pt x="202" y="1228"/>
                      </a:lnTo>
                      <a:lnTo>
                        <a:pt x="202" y="1228"/>
                      </a:lnTo>
                      <a:lnTo>
                        <a:pt x="201" y="1227"/>
                      </a:lnTo>
                      <a:lnTo>
                        <a:pt x="202" y="1227"/>
                      </a:lnTo>
                      <a:lnTo>
                        <a:pt x="203" y="1227"/>
                      </a:lnTo>
                      <a:lnTo>
                        <a:pt x="204" y="1228"/>
                      </a:lnTo>
                      <a:lnTo>
                        <a:pt x="204" y="1227"/>
                      </a:lnTo>
                      <a:lnTo>
                        <a:pt x="204" y="1227"/>
                      </a:lnTo>
                      <a:lnTo>
                        <a:pt x="204" y="1225"/>
                      </a:lnTo>
                      <a:lnTo>
                        <a:pt x="204" y="1227"/>
                      </a:lnTo>
                      <a:lnTo>
                        <a:pt x="203" y="1225"/>
                      </a:lnTo>
                      <a:lnTo>
                        <a:pt x="203" y="1225"/>
                      </a:lnTo>
                      <a:lnTo>
                        <a:pt x="203" y="1224"/>
                      </a:lnTo>
                      <a:lnTo>
                        <a:pt x="204" y="1224"/>
                      </a:lnTo>
                      <a:close/>
                      <a:moveTo>
                        <a:pt x="263" y="1175"/>
                      </a:moveTo>
                      <a:lnTo>
                        <a:pt x="264" y="1175"/>
                      </a:lnTo>
                      <a:lnTo>
                        <a:pt x="264" y="1176"/>
                      </a:lnTo>
                      <a:lnTo>
                        <a:pt x="265" y="1176"/>
                      </a:lnTo>
                      <a:lnTo>
                        <a:pt x="265" y="1177"/>
                      </a:lnTo>
                      <a:lnTo>
                        <a:pt x="265" y="1177"/>
                      </a:lnTo>
                      <a:lnTo>
                        <a:pt x="265" y="1178"/>
                      </a:lnTo>
                      <a:lnTo>
                        <a:pt x="264" y="1178"/>
                      </a:lnTo>
                      <a:lnTo>
                        <a:pt x="263" y="1178"/>
                      </a:lnTo>
                      <a:lnTo>
                        <a:pt x="262" y="1177"/>
                      </a:lnTo>
                      <a:lnTo>
                        <a:pt x="262" y="1178"/>
                      </a:lnTo>
                      <a:lnTo>
                        <a:pt x="260" y="1178"/>
                      </a:lnTo>
                      <a:lnTo>
                        <a:pt x="260" y="1178"/>
                      </a:lnTo>
                      <a:lnTo>
                        <a:pt x="260" y="1178"/>
                      </a:lnTo>
                      <a:lnTo>
                        <a:pt x="259" y="1178"/>
                      </a:lnTo>
                      <a:lnTo>
                        <a:pt x="258" y="1178"/>
                      </a:lnTo>
                      <a:lnTo>
                        <a:pt x="258" y="1177"/>
                      </a:lnTo>
                      <a:lnTo>
                        <a:pt x="257" y="1177"/>
                      </a:lnTo>
                      <a:lnTo>
                        <a:pt x="257" y="1176"/>
                      </a:lnTo>
                      <a:lnTo>
                        <a:pt x="258" y="1176"/>
                      </a:lnTo>
                      <a:lnTo>
                        <a:pt x="258" y="1175"/>
                      </a:lnTo>
                      <a:lnTo>
                        <a:pt x="258" y="1175"/>
                      </a:lnTo>
                      <a:lnTo>
                        <a:pt x="259" y="1175"/>
                      </a:lnTo>
                      <a:lnTo>
                        <a:pt x="259" y="1175"/>
                      </a:lnTo>
                      <a:lnTo>
                        <a:pt x="260" y="1175"/>
                      </a:lnTo>
                      <a:lnTo>
                        <a:pt x="260" y="1175"/>
                      </a:lnTo>
                      <a:lnTo>
                        <a:pt x="261" y="1175"/>
                      </a:lnTo>
                      <a:lnTo>
                        <a:pt x="262" y="1175"/>
                      </a:lnTo>
                      <a:lnTo>
                        <a:pt x="263" y="1175"/>
                      </a:lnTo>
                      <a:lnTo>
                        <a:pt x="263" y="1175"/>
                      </a:lnTo>
                      <a:lnTo>
                        <a:pt x="263" y="1175"/>
                      </a:lnTo>
                      <a:close/>
                      <a:moveTo>
                        <a:pt x="199" y="1174"/>
                      </a:moveTo>
                      <a:lnTo>
                        <a:pt x="200" y="1175"/>
                      </a:lnTo>
                      <a:lnTo>
                        <a:pt x="201" y="1178"/>
                      </a:lnTo>
                      <a:lnTo>
                        <a:pt x="201" y="1178"/>
                      </a:lnTo>
                      <a:lnTo>
                        <a:pt x="201" y="1180"/>
                      </a:lnTo>
                      <a:lnTo>
                        <a:pt x="201" y="1180"/>
                      </a:lnTo>
                      <a:lnTo>
                        <a:pt x="201" y="1180"/>
                      </a:lnTo>
                      <a:lnTo>
                        <a:pt x="201" y="1182"/>
                      </a:lnTo>
                      <a:lnTo>
                        <a:pt x="200" y="1182"/>
                      </a:lnTo>
                      <a:lnTo>
                        <a:pt x="199" y="1183"/>
                      </a:lnTo>
                      <a:lnTo>
                        <a:pt x="199" y="1183"/>
                      </a:lnTo>
                      <a:lnTo>
                        <a:pt x="198" y="1182"/>
                      </a:lnTo>
                      <a:lnTo>
                        <a:pt x="198" y="1179"/>
                      </a:lnTo>
                      <a:lnTo>
                        <a:pt x="196" y="1178"/>
                      </a:lnTo>
                      <a:lnTo>
                        <a:pt x="196" y="1177"/>
                      </a:lnTo>
                      <a:lnTo>
                        <a:pt x="196" y="1176"/>
                      </a:lnTo>
                      <a:lnTo>
                        <a:pt x="196" y="1176"/>
                      </a:lnTo>
                      <a:lnTo>
                        <a:pt x="197" y="1174"/>
                      </a:lnTo>
                      <a:lnTo>
                        <a:pt x="198" y="1174"/>
                      </a:lnTo>
                      <a:lnTo>
                        <a:pt x="199" y="1174"/>
                      </a:lnTo>
                      <a:lnTo>
                        <a:pt x="199" y="1174"/>
                      </a:lnTo>
                      <a:close/>
                      <a:moveTo>
                        <a:pt x="114" y="1162"/>
                      </a:moveTo>
                      <a:lnTo>
                        <a:pt x="115" y="1163"/>
                      </a:lnTo>
                      <a:lnTo>
                        <a:pt x="115" y="1164"/>
                      </a:lnTo>
                      <a:lnTo>
                        <a:pt x="115" y="1164"/>
                      </a:lnTo>
                      <a:lnTo>
                        <a:pt x="115" y="1164"/>
                      </a:lnTo>
                      <a:lnTo>
                        <a:pt x="115" y="1164"/>
                      </a:lnTo>
                      <a:lnTo>
                        <a:pt x="116" y="1164"/>
                      </a:lnTo>
                      <a:lnTo>
                        <a:pt x="116" y="1164"/>
                      </a:lnTo>
                      <a:lnTo>
                        <a:pt x="116" y="1164"/>
                      </a:lnTo>
                      <a:lnTo>
                        <a:pt x="117" y="1165"/>
                      </a:lnTo>
                      <a:lnTo>
                        <a:pt x="117" y="1164"/>
                      </a:lnTo>
                      <a:lnTo>
                        <a:pt x="118" y="1165"/>
                      </a:lnTo>
                      <a:lnTo>
                        <a:pt x="118" y="1165"/>
                      </a:lnTo>
                      <a:lnTo>
                        <a:pt x="119" y="1166"/>
                      </a:lnTo>
                      <a:lnTo>
                        <a:pt x="119" y="1166"/>
                      </a:lnTo>
                      <a:lnTo>
                        <a:pt x="119" y="1166"/>
                      </a:lnTo>
                      <a:lnTo>
                        <a:pt x="119" y="1167"/>
                      </a:lnTo>
                      <a:lnTo>
                        <a:pt x="119" y="1167"/>
                      </a:lnTo>
                      <a:lnTo>
                        <a:pt x="119" y="1169"/>
                      </a:lnTo>
                      <a:lnTo>
                        <a:pt x="120" y="1169"/>
                      </a:lnTo>
                      <a:lnTo>
                        <a:pt x="120" y="1170"/>
                      </a:lnTo>
                      <a:lnTo>
                        <a:pt x="120" y="1170"/>
                      </a:lnTo>
                      <a:lnTo>
                        <a:pt x="120" y="1170"/>
                      </a:lnTo>
                      <a:lnTo>
                        <a:pt x="119" y="1170"/>
                      </a:lnTo>
                      <a:lnTo>
                        <a:pt x="119" y="1171"/>
                      </a:lnTo>
                      <a:lnTo>
                        <a:pt x="120" y="1172"/>
                      </a:lnTo>
                      <a:lnTo>
                        <a:pt x="120" y="1172"/>
                      </a:lnTo>
                      <a:lnTo>
                        <a:pt x="120" y="1173"/>
                      </a:lnTo>
                      <a:lnTo>
                        <a:pt x="121" y="1173"/>
                      </a:lnTo>
                      <a:lnTo>
                        <a:pt x="121" y="1173"/>
                      </a:lnTo>
                      <a:lnTo>
                        <a:pt x="120" y="1173"/>
                      </a:lnTo>
                      <a:lnTo>
                        <a:pt x="120" y="1174"/>
                      </a:lnTo>
                      <a:lnTo>
                        <a:pt x="120" y="1174"/>
                      </a:lnTo>
                      <a:lnTo>
                        <a:pt x="120" y="1175"/>
                      </a:lnTo>
                      <a:lnTo>
                        <a:pt x="120" y="1175"/>
                      </a:lnTo>
                      <a:lnTo>
                        <a:pt x="118" y="1175"/>
                      </a:lnTo>
                      <a:lnTo>
                        <a:pt x="118" y="1176"/>
                      </a:lnTo>
                      <a:lnTo>
                        <a:pt x="117" y="1176"/>
                      </a:lnTo>
                      <a:lnTo>
                        <a:pt x="116" y="1176"/>
                      </a:lnTo>
                      <a:lnTo>
                        <a:pt x="116" y="1175"/>
                      </a:lnTo>
                      <a:lnTo>
                        <a:pt x="116" y="1175"/>
                      </a:lnTo>
                      <a:lnTo>
                        <a:pt x="116" y="1174"/>
                      </a:lnTo>
                      <a:lnTo>
                        <a:pt x="115" y="1173"/>
                      </a:lnTo>
                      <a:lnTo>
                        <a:pt x="114" y="1174"/>
                      </a:lnTo>
                      <a:lnTo>
                        <a:pt x="113" y="1173"/>
                      </a:lnTo>
                      <a:lnTo>
                        <a:pt x="113" y="1173"/>
                      </a:lnTo>
                      <a:lnTo>
                        <a:pt x="113" y="1173"/>
                      </a:lnTo>
                      <a:lnTo>
                        <a:pt x="112" y="1173"/>
                      </a:lnTo>
                      <a:lnTo>
                        <a:pt x="112" y="1173"/>
                      </a:lnTo>
                      <a:lnTo>
                        <a:pt x="112" y="1173"/>
                      </a:lnTo>
                      <a:lnTo>
                        <a:pt x="110" y="1173"/>
                      </a:lnTo>
                      <a:lnTo>
                        <a:pt x="110" y="1174"/>
                      </a:lnTo>
                      <a:lnTo>
                        <a:pt x="109" y="1174"/>
                      </a:lnTo>
                      <a:lnTo>
                        <a:pt x="109" y="1173"/>
                      </a:lnTo>
                      <a:lnTo>
                        <a:pt x="109" y="1173"/>
                      </a:lnTo>
                      <a:lnTo>
                        <a:pt x="109" y="1172"/>
                      </a:lnTo>
                      <a:lnTo>
                        <a:pt x="108" y="1172"/>
                      </a:lnTo>
                      <a:lnTo>
                        <a:pt x="108" y="1172"/>
                      </a:lnTo>
                      <a:lnTo>
                        <a:pt x="108" y="1170"/>
                      </a:lnTo>
                      <a:lnTo>
                        <a:pt x="107" y="1170"/>
                      </a:lnTo>
                      <a:lnTo>
                        <a:pt x="107" y="1170"/>
                      </a:lnTo>
                      <a:lnTo>
                        <a:pt x="107" y="1170"/>
                      </a:lnTo>
                      <a:lnTo>
                        <a:pt x="107" y="1169"/>
                      </a:lnTo>
                      <a:lnTo>
                        <a:pt x="106" y="1169"/>
                      </a:lnTo>
                      <a:lnTo>
                        <a:pt x="106" y="1168"/>
                      </a:lnTo>
                      <a:lnTo>
                        <a:pt x="106" y="1168"/>
                      </a:lnTo>
                      <a:lnTo>
                        <a:pt x="106" y="1168"/>
                      </a:lnTo>
                      <a:lnTo>
                        <a:pt x="106" y="1167"/>
                      </a:lnTo>
                      <a:lnTo>
                        <a:pt x="105" y="1167"/>
                      </a:lnTo>
                      <a:lnTo>
                        <a:pt x="105" y="1165"/>
                      </a:lnTo>
                      <a:lnTo>
                        <a:pt x="106" y="1165"/>
                      </a:lnTo>
                      <a:lnTo>
                        <a:pt x="106" y="1165"/>
                      </a:lnTo>
                      <a:lnTo>
                        <a:pt x="107" y="1165"/>
                      </a:lnTo>
                      <a:lnTo>
                        <a:pt x="107" y="1165"/>
                      </a:lnTo>
                      <a:lnTo>
                        <a:pt x="107" y="1164"/>
                      </a:lnTo>
                      <a:lnTo>
                        <a:pt x="109" y="1164"/>
                      </a:lnTo>
                      <a:lnTo>
                        <a:pt x="109" y="1163"/>
                      </a:lnTo>
                      <a:lnTo>
                        <a:pt x="110" y="1163"/>
                      </a:lnTo>
                      <a:lnTo>
                        <a:pt x="111" y="1163"/>
                      </a:lnTo>
                      <a:lnTo>
                        <a:pt x="111" y="1163"/>
                      </a:lnTo>
                      <a:lnTo>
                        <a:pt x="111" y="1163"/>
                      </a:lnTo>
                      <a:lnTo>
                        <a:pt x="112" y="1163"/>
                      </a:lnTo>
                      <a:lnTo>
                        <a:pt x="112" y="1163"/>
                      </a:lnTo>
                      <a:lnTo>
                        <a:pt x="113" y="1162"/>
                      </a:lnTo>
                      <a:lnTo>
                        <a:pt x="114" y="1162"/>
                      </a:lnTo>
                      <a:close/>
                      <a:moveTo>
                        <a:pt x="272" y="1138"/>
                      </a:moveTo>
                      <a:lnTo>
                        <a:pt x="273" y="1139"/>
                      </a:lnTo>
                      <a:lnTo>
                        <a:pt x="273" y="1138"/>
                      </a:lnTo>
                      <a:lnTo>
                        <a:pt x="273" y="1141"/>
                      </a:lnTo>
                      <a:lnTo>
                        <a:pt x="273" y="1141"/>
                      </a:lnTo>
                      <a:lnTo>
                        <a:pt x="273" y="1140"/>
                      </a:lnTo>
                      <a:lnTo>
                        <a:pt x="272" y="1140"/>
                      </a:lnTo>
                      <a:lnTo>
                        <a:pt x="272" y="1139"/>
                      </a:lnTo>
                      <a:lnTo>
                        <a:pt x="272" y="1139"/>
                      </a:lnTo>
                      <a:lnTo>
                        <a:pt x="271" y="1139"/>
                      </a:lnTo>
                      <a:lnTo>
                        <a:pt x="271" y="1138"/>
                      </a:lnTo>
                      <a:lnTo>
                        <a:pt x="272" y="1138"/>
                      </a:lnTo>
                      <a:lnTo>
                        <a:pt x="272" y="1138"/>
                      </a:lnTo>
                      <a:close/>
                      <a:moveTo>
                        <a:pt x="271" y="1137"/>
                      </a:moveTo>
                      <a:lnTo>
                        <a:pt x="271" y="1138"/>
                      </a:lnTo>
                      <a:lnTo>
                        <a:pt x="272" y="1138"/>
                      </a:lnTo>
                      <a:lnTo>
                        <a:pt x="272" y="1138"/>
                      </a:lnTo>
                      <a:lnTo>
                        <a:pt x="271" y="1138"/>
                      </a:lnTo>
                      <a:lnTo>
                        <a:pt x="271" y="1137"/>
                      </a:lnTo>
                      <a:close/>
                      <a:moveTo>
                        <a:pt x="252" y="1136"/>
                      </a:moveTo>
                      <a:lnTo>
                        <a:pt x="252" y="1137"/>
                      </a:lnTo>
                      <a:lnTo>
                        <a:pt x="253" y="1137"/>
                      </a:lnTo>
                      <a:lnTo>
                        <a:pt x="253" y="1137"/>
                      </a:lnTo>
                      <a:lnTo>
                        <a:pt x="253" y="1137"/>
                      </a:lnTo>
                      <a:lnTo>
                        <a:pt x="253" y="1137"/>
                      </a:lnTo>
                      <a:lnTo>
                        <a:pt x="252" y="1137"/>
                      </a:lnTo>
                      <a:lnTo>
                        <a:pt x="252" y="1137"/>
                      </a:lnTo>
                      <a:lnTo>
                        <a:pt x="251" y="1137"/>
                      </a:lnTo>
                      <a:lnTo>
                        <a:pt x="252" y="1136"/>
                      </a:lnTo>
                      <a:close/>
                      <a:moveTo>
                        <a:pt x="271" y="1137"/>
                      </a:moveTo>
                      <a:lnTo>
                        <a:pt x="270" y="1137"/>
                      </a:lnTo>
                      <a:lnTo>
                        <a:pt x="270" y="1137"/>
                      </a:lnTo>
                      <a:lnTo>
                        <a:pt x="270" y="1136"/>
                      </a:lnTo>
                      <a:lnTo>
                        <a:pt x="272" y="1136"/>
                      </a:lnTo>
                      <a:lnTo>
                        <a:pt x="272" y="1137"/>
                      </a:lnTo>
                      <a:lnTo>
                        <a:pt x="271" y="1137"/>
                      </a:lnTo>
                      <a:close/>
                      <a:moveTo>
                        <a:pt x="262" y="1133"/>
                      </a:moveTo>
                      <a:lnTo>
                        <a:pt x="262" y="1134"/>
                      </a:lnTo>
                      <a:lnTo>
                        <a:pt x="262" y="1134"/>
                      </a:lnTo>
                      <a:lnTo>
                        <a:pt x="261" y="1135"/>
                      </a:lnTo>
                      <a:lnTo>
                        <a:pt x="261" y="1136"/>
                      </a:lnTo>
                      <a:lnTo>
                        <a:pt x="261" y="1136"/>
                      </a:lnTo>
                      <a:lnTo>
                        <a:pt x="259" y="1138"/>
                      </a:lnTo>
                      <a:lnTo>
                        <a:pt x="258" y="1138"/>
                      </a:lnTo>
                      <a:lnTo>
                        <a:pt x="258" y="1137"/>
                      </a:lnTo>
                      <a:lnTo>
                        <a:pt x="257" y="1138"/>
                      </a:lnTo>
                      <a:lnTo>
                        <a:pt x="257" y="1136"/>
                      </a:lnTo>
                      <a:lnTo>
                        <a:pt x="257" y="1136"/>
                      </a:lnTo>
                      <a:lnTo>
                        <a:pt x="258" y="1136"/>
                      </a:lnTo>
                      <a:lnTo>
                        <a:pt x="258" y="1135"/>
                      </a:lnTo>
                      <a:lnTo>
                        <a:pt x="259" y="1134"/>
                      </a:lnTo>
                      <a:lnTo>
                        <a:pt x="259" y="1134"/>
                      </a:lnTo>
                      <a:lnTo>
                        <a:pt x="259" y="1134"/>
                      </a:lnTo>
                      <a:lnTo>
                        <a:pt x="261" y="1134"/>
                      </a:lnTo>
                      <a:lnTo>
                        <a:pt x="261" y="1134"/>
                      </a:lnTo>
                      <a:lnTo>
                        <a:pt x="261" y="1134"/>
                      </a:lnTo>
                      <a:lnTo>
                        <a:pt x="262" y="1134"/>
                      </a:lnTo>
                      <a:lnTo>
                        <a:pt x="261" y="1133"/>
                      </a:lnTo>
                      <a:lnTo>
                        <a:pt x="262" y="1133"/>
                      </a:lnTo>
                      <a:lnTo>
                        <a:pt x="262" y="1133"/>
                      </a:lnTo>
                      <a:close/>
                      <a:moveTo>
                        <a:pt x="271" y="1129"/>
                      </a:moveTo>
                      <a:lnTo>
                        <a:pt x="271" y="1129"/>
                      </a:lnTo>
                      <a:lnTo>
                        <a:pt x="271" y="1130"/>
                      </a:lnTo>
                      <a:lnTo>
                        <a:pt x="270" y="1130"/>
                      </a:lnTo>
                      <a:lnTo>
                        <a:pt x="270" y="1130"/>
                      </a:lnTo>
                      <a:lnTo>
                        <a:pt x="270" y="1129"/>
                      </a:lnTo>
                      <a:lnTo>
                        <a:pt x="271" y="1129"/>
                      </a:lnTo>
                      <a:close/>
                      <a:moveTo>
                        <a:pt x="272" y="1129"/>
                      </a:moveTo>
                      <a:lnTo>
                        <a:pt x="273" y="1129"/>
                      </a:lnTo>
                      <a:lnTo>
                        <a:pt x="273" y="1130"/>
                      </a:lnTo>
                      <a:lnTo>
                        <a:pt x="272" y="1131"/>
                      </a:lnTo>
                      <a:lnTo>
                        <a:pt x="271" y="1131"/>
                      </a:lnTo>
                      <a:lnTo>
                        <a:pt x="271" y="1129"/>
                      </a:lnTo>
                      <a:lnTo>
                        <a:pt x="272" y="1129"/>
                      </a:lnTo>
                      <a:lnTo>
                        <a:pt x="272" y="1129"/>
                      </a:lnTo>
                      <a:close/>
                      <a:moveTo>
                        <a:pt x="263" y="1128"/>
                      </a:moveTo>
                      <a:lnTo>
                        <a:pt x="263" y="1128"/>
                      </a:lnTo>
                      <a:lnTo>
                        <a:pt x="262" y="1128"/>
                      </a:lnTo>
                      <a:lnTo>
                        <a:pt x="262" y="1128"/>
                      </a:lnTo>
                      <a:lnTo>
                        <a:pt x="263" y="1128"/>
                      </a:lnTo>
                      <a:close/>
                      <a:moveTo>
                        <a:pt x="266" y="1127"/>
                      </a:moveTo>
                      <a:lnTo>
                        <a:pt x="266" y="1128"/>
                      </a:lnTo>
                      <a:lnTo>
                        <a:pt x="265" y="1128"/>
                      </a:lnTo>
                      <a:lnTo>
                        <a:pt x="265" y="1129"/>
                      </a:lnTo>
                      <a:lnTo>
                        <a:pt x="264" y="1129"/>
                      </a:lnTo>
                      <a:lnTo>
                        <a:pt x="264" y="1129"/>
                      </a:lnTo>
                      <a:lnTo>
                        <a:pt x="264" y="1128"/>
                      </a:lnTo>
                      <a:lnTo>
                        <a:pt x="264" y="1128"/>
                      </a:lnTo>
                      <a:lnTo>
                        <a:pt x="264" y="1127"/>
                      </a:lnTo>
                      <a:lnTo>
                        <a:pt x="265" y="1127"/>
                      </a:lnTo>
                      <a:lnTo>
                        <a:pt x="266" y="1127"/>
                      </a:lnTo>
                      <a:close/>
                      <a:moveTo>
                        <a:pt x="267" y="1127"/>
                      </a:moveTo>
                      <a:lnTo>
                        <a:pt x="267" y="1127"/>
                      </a:lnTo>
                      <a:lnTo>
                        <a:pt x="267" y="1127"/>
                      </a:lnTo>
                      <a:lnTo>
                        <a:pt x="267" y="1128"/>
                      </a:lnTo>
                      <a:lnTo>
                        <a:pt x="267" y="1128"/>
                      </a:lnTo>
                      <a:lnTo>
                        <a:pt x="267" y="1127"/>
                      </a:lnTo>
                      <a:lnTo>
                        <a:pt x="267" y="1127"/>
                      </a:lnTo>
                      <a:close/>
                      <a:moveTo>
                        <a:pt x="310" y="1101"/>
                      </a:moveTo>
                      <a:lnTo>
                        <a:pt x="310" y="1102"/>
                      </a:lnTo>
                      <a:lnTo>
                        <a:pt x="309" y="1102"/>
                      </a:lnTo>
                      <a:lnTo>
                        <a:pt x="309" y="1101"/>
                      </a:lnTo>
                      <a:lnTo>
                        <a:pt x="310" y="1101"/>
                      </a:lnTo>
                      <a:close/>
                      <a:moveTo>
                        <a:pt x="165" y="1068"/>
                      </a:moveTo>
                      <a:lnTo>
                        <a:pt x="165" y="1069"/>
                      </a:lnTo>
                      <a:lnTo>
                        <a:pt x="166" y="1069"/>
                      </a:lnTo>
                      <a:lnTo>
                        <a:pt x="166" y="1070"/>
                      </a:lnTo>
                      <a:lnTo>
                        <a:pt x="168" y="1069"/>
                      </a:lnTo>
                      <a:lnTo>
                        <a:pt x="168" y="1069"/>
                      </a:lnTo>
                      <a:lnTo>
                        <a:pt x="168" y="1070"/>
                      </a:lnTo>
                      <a:lnTo>
                        <a:pt x="168" y="1070"/>
                      </a:lnTo>
                      <a:lnTo>
                        <a:pt x="168" y="1071"/>
                      </a:lnTo>
                      <a:lnTo>
                        <a:pt x="169" y="1071"/>
                      </a:lnTo>
                      <a:lnTo>
                        <a:pt x="170" y="1070"/>
                      </a:lnTo>
                      <a:lnTo>
                        <a:pt x="169" y="1070"/>
                      </a:lnTo>
                      <a:lnTo>
                        <a:pt x="169" y="1070"/>
                      </a:lnTo>
                      <a:lnTo>
                        <a:pt x="170" y="1070"/>
                      </a:lnTo>
                      <a:lnTo>
                        <a:pt x="170" y="1070"/>
                      </a:lnTo>
                      <a:lnTo>
                        <a:pt x="170" y="1070"/>
                      </a:lnTo>
                      <a:lnTo>
                        <a:pt x="171" y="1071"/>
                      </a:lnTo>
                      <a:lnTo>
                        <a:pt x="171" y="1072"/>
                      </a:lnTo>
                      <a:lnTo>
                        <a:pt x="170" y="1073"/>
                      </a:lnTo>
                      <a:lnTo>
                        <a:pt x="169" y="1073"/>
                      </a:lnTo>
                      <a:lnTo>
                        <a:pt x="169" y="1073"/>
                      </a:lnTo>
                      <a:lnTo>
                        <a:pt x="168" y="1073"/>
                      </a:lnTo>
                      <a:lnTo>
                        <a:pt x="167" y="1073"/>
                      </a:lnTo>
                      <a:lnTo>
                        <a:pt x="169" y="1075"/>
                      </a:lnTo>
                      <a:lnTo>
                        <a:pt x="170" y="1075"/>
                      </a:lnTo>
                      <a:lnTo>
                        <a:pt x="171" y="1075"/>
                      </a:lnTo>
                      <a:lnTo>
                        <a:pt x="171" y="1075"/>
                      </a:lnTo>
                      <a:lnTo>
                        <a:pt x="172" y="1073"/>
                      </a:lnTo>
                      <a:lnTo>
                        <a:pt x="172" y="1075"/>
                      </a:lnTo>
                      <a:lnTo>
                        <a:pt x="174" y="1075"/>
                      </a:lnTo>
                      <a:lnTo>
                        <a:pt x="174" y="1075"/>
                      </a:lnTo>
                      <a:lnTo>
                        <a:pt x="174" y="1075"/>
                      </a:lnTo>
                      <a:lnTo>
                        <a:pt x="174" y="1076"/>
                      </a:lnTo>
                      <a:lnTo>
                        <a:pt x="174" y="1076"/>
                      </a:lnTo>
                      <a:lnTo>
                        <a:pt x="174" y="1076"/>
                      </a:lnTo>
                      <a:lnTo>
                        <a:pt x="175" y="1076"/>
                      </a:lnTo>
                      <a:lnTo>
                        <a:pt x="175" y="1076"/>
                      </a:lnTo>
                      <a:lnTo>
                        <a:pt x="175" y="1077"/>
                      </a:lnTo>
                      <a:lnTo>
                        <a:pt x="175" y="1077"/>
                      </a:lnTo>
                      <a:lnTo>
                        <a:pt x="175" y="1078"/>
                      </a:lnTo>
                      <a:lnTo>
                        <a:pt x="175" y="1079"/>
                      </a:lnTo>
                      <a:lnTo>
                        <a:pt x="175" y="1079"/>
                      </a:lnTo>
                      <a:lnTo>
                        <a:pt x="175" y="1080"/>
                      </a:lnTo>
                      <a:lnTo>
                        <a:pt x="175" y="1080"/>
                      </a:lnTo>
                      <a:lnTo>
                        <a:pt x="175" y="1081"/>
                      </a:lnTo>
                      <a:lnTo>
                        <a:pt x="175" y="1081"/>
                      </a:lnTo>
                      <a:lnTo>
                        <a:pt x="175" y="1081"/>
                      </a:lnTo>
                      <a:lnTo>
                        <a:pt x="175" y="1081"/>
                      </a:lnTo>
                      <a:lnTo>
                        <a:pt x="175" y="1082"/>
                      </a:lnTo>
                      <a:lnTo>
                        <a:pt x="175" y="1082"/>
                      </a:lnTo>
                      <a:lnTo>
                        <a:pt x="175" y="1083"/>
                      </a:lnTo>
                      <a:lnTo>
                        <a:pt x="176" y="1083"/>
                      </a:lnTo>
                      <a:lnTo>
                        <a:pt x="176" y="1084"/>
                      </a:lnTo>
                      <a:lnTo>
                        <a:pt x="176" y="1084"/>
                      </a:lnTo>
                      <a:lnTo>
                        <a:pt x="176" y="1084"/>
                      </a:lnTo>
                      <a:lnTo>
                        <a:pt x="176" y="1084"/>
                      </a:lnTo>
                      <a:lnTo>
                        <a:pt x="176" y="1082"/>
                      </a:lnTo>
                      <a:lnTo>
                        <a:pt x="177" y="1082"/>
                      </a:lnTo>
                      <a:lnTo>
                        <a:pt x="177" y="1083"/>
                      </a:lnTo>
                      <a:lnTo>
                        <a:pt x="177" y="1083"/>
                      </a:lnTo>
                      <a:lnTo>
                        <a:pt x="177" y="1084"/>
                      </a:lnTo>
                      <a:lnTo>
                        <a:pt x="178" y="1085"/>
                      </a:lnTo>
                      <a:lnTo>
                        <a:pt x="178" y="1085"/>
                      </a:lnTo>
                      <a:lnTo>
                        <a:pt x="178" y="1085"/>
                      </a:lnTo>
                      <a:lnTo>
                        <a:pt x="179" y="1085"/>
                      </a:lnTo>
                      <a:lnTo>
                        <a:pt x="179" y="1086"/>
                      </a:lnTo>
                      <a:lnTo>
                        <a:pt x="180" y="1086"/>
                      </a:lnTo>
                      <a:lnTo>
                        <a:pt x="180" y="1086"/>
                      </a:lnTo>
                      <a:lnTo>
                        <a:pt x="179" y="1085"/>
                      </a:lnTo>
                      <a:lnTo>
                        <a:pt x="179" y="1085"/>
                      </a:lnTo>
                      <a:lnTo>
                        <a:pt x="178" y="1084"/>
                      </a:lnTo>
                      <a:lnTo>
                        <a:pt x="178" y="1083"/>
                      </a:lnTo>
                      <a:lnTo>
                        <a:pt x="178" y="1083"/>
                      </a:lnTo>
                      <a:lnTo>
                        <a:pt x="179" y="1083"/>
                      </a:lnTo>
                      <a:lnTo>
                        <a:pt x="179" y="1083"/>
                      </a:lnTo>
                      <a:lnTo>
                        <a:pt x="179" y="1083"/>
                      </a:lnTo>
                      <a:lnTo>
                        <a:pt x="179" y="1083"/>
                      </a:lnTo>
                      <a:lnTo>
                        <a:pt x="179" y="1082"/>
                      </a:lnTo>
                      <a:lnTo>
                        <a:pt x="180" y="1082"/>
                      </a:lnTo>
                      <a:lnTo>
                        <a:pt x="180" y="1082"/>
                      </a:lnTo>
                      <a:lnTo>
                        <a:pt x="180" y="1082"/>
                      </a:lnTo>
                      <a:lnTo>
                        <a:pt x="180" y="1083"/>
                      </a:lnTo>
                      <a:lnTo>
                        <a:pt x="180" y="1083"/>
                      </a:lnTo>
                      <a:lnTo>
                        <a:pt x="180" y="1083"/>
                      </a:lnTo>
                      <a:lnTo>
                        <a:pt x="181" y="1083"/>
                      </a:lnTo>
                      <a:lnTo>
                        <a:pt x="181" y="1084"/>
                      </a:lnTo>
                      <a:lnTo>
                        <a:pt x="182" y="1084"/>
                      </a:lnTo>
                      <a:lnTo>
                        <a:pt x="182" y="1085"/>
                      </a:lnTo>
                      <a:lnTo>
                        <a:pt x="181" y="1084"/>
                      </a:lnTo>
                      <a:lnTo>
                        <a:pt x="181" y="1085"/>
                      </a:lnTo>
                      <a:lnTo>
                        <a:pt x="182" y="1085"/>
                      </a:lnTo>
                      <a:lnTo>
                        <a:pt x="183" y="1086"/>
                      </a:lnTo>
                      <a:lnTo>
                        <a:pt x="183" y="1087"/>
                      </a:lnTo>
                      <a:lnTo>
                        <a:pt x="184" y="1086"/>
                      </a:lnTo>
                      <a:lnTo>
                        <a:pt x="183" y="1087"/>
                      </a:lnTo>
                      <a:lnTo>
                        <a:pt x="184" y="1088"/>
                      </a:lnTo>
                      <a:lnTo>
                        <a:pt x="184" y="1089"/>
                      </a:lnTo>
                      <a:lnTo>
                        <a:pt x="185" y="1090"/>
                      </a:lnTo>
                      <a:lnTo>
                        <a:pt x="185" y="1090"/>
                      </a:lnTo>
                      <a:lnTo>
                        <a:pt x="185" y="1089"/>
                      </a:lnTo>
                      <a:lnTo>
                        <a:pt x="185" y="1089"/>
                      </a:lnTo>
                      <a:lnTo>
                        <a:pt x="185" y="1088"/>
                      </a:lnTo>
                      <a:lnTo>
                        <a:pt x="185" y="1086"/>
                      </a:lnTo>
                      <a:lnTo>
                        <a:pt x="185" y="1086"/>
                      </a:lnTo>
                      <a:lnTo>
                        <a:pt x="185" y="1087"/>
                      </a:lnTo>
                      <a:lnTo>
                        <a:pt x="186" y="1087"/>
                      </a:lnTo>
                      <a:lnTo>
                        <a:pt x="186" y="1088"/>
                      </a:lnTo>
                      <a:lnTo>
                        <a:pt x="186" y="1088"/>
                      </a:lnTo>
                      <a:lnTo>
                        <a:pt x="186" y="1088"/>
                      </a:lnTo>
                      <a:lnTo>
                        <a:pt x="186" y="1088"/>
                      </a:lnTo>
                      <a:lnTo>
                        <a:pt x="186" y="1089"/>
                      </a:lnTo>
                      <a:lnTo>
                        <a:pt x="186" y="1089"/>
                      </a:lnTo>
                      <a:lnTo>
                        <a:pt x="187" y="1090"/>
                      </a:lnTo>
                      <a:lnTo>
                        <a:pt x="187" y="1090"/>
                      </a:lnTo>
                      <a:lnTo>
                        <a:pt x="187" y="1091"/>
                      </a:lnTo>
                      <a:lnTo>
                        <a:pt x="187" y="1092"/>
                      </a:lnTo>
                      <a:lnTo>
                        <a:pt x="187" y="1092"/>
                      </a:lnTo>
                      <a:lnTo>
                        <a:pt x="187" y="1093"/>
                      </a:lnTo>
                      <a:lnTo>
                        <a:pt x="187" y="1094"/>
                      </a:lnTo>
                      <a:lnTo>
                        <a:pt x="187" y="1094"/>
                      </a:lnTo>
                      <a:lnTo>
                        <a:pt x="187" y="1094"/>
                      </a:lnTo>
                      <a:lnTo>
                        <a:pt x="187" y="1095"/>
                      </a:lnTo>
                      <a:lnTo>
                        <a:pt x="187" y="1097"/>
                      </a:lnTo>
                      <a:lnTo>
                        <a:pt x="185" y="1097"/>
                      </a:lnTo>
                      <a:lnTo>
                        <a:pt x="184" y="1096"/>
                      </a:lnTo>
                      <a:lnTo>
                        <a:pt x="184" y="1095"/>
                      </a:lnTo>
                      <a:lnTo>
                        <a:pt x="183" y="1095"/>
                      </a:lnTo>
                      <a:lnTo>
                        <a:pt x="182" y="1095"/>
                      </a:lnTo>
                      <a:lnTo>
                        <a:pt x="181" y="1095"/>
                      </a:lnTo>
                      <a:lnTo>
                        <a:pt x="180" y="1095"/>
                      </a:lnTo>
                      <a:lnTo>
                        <a:pt x="179" y="1095"/>
                      </a:lnTo>
                      <a:lnTo>
                        <a:pt x="178" y="1095"/>
                      </a:lnTo>
                      <a:lnTo>
                        <a:pt x="177" y="1096"/>
                      </a:lnTo>
                      <a:lnTo>
                        <a:pt x="177" y="1096"/>
                      </a:lnTo>
                      <a:lnTo>
                        <a:pt x="172" y="1095"/>
                      </a:lnTo>
                      <a:lnTo>
                        <a:pt x="172" y="1095"/>
                      </a:lnTo>
                      <a:lnTo>
                        <a:pt x="171" y="1095"/>
                      </a:lnTo>
                      <a:lnTo>
                        <a:pt x="171" y="1095"/>
                      </a:lnTo>
                      <a:lnTo>
                        <a:pt x="170" y="1095"/>
                      </a:lnTo>
                      <a:lnTo>
                        <a:pt x="170" y="1095"/>
                      </a:lnTo>
                      <a:lnTo>
                        <a:pt x="170" y="1095"/>
                      </a:lnTo>
                      <a:lnTo>
                        <a:pt x="170" y="1095"/>
                      </a:lnTo>
                      <a:lnTo>
                        <a:pt x="169" y="1095"/>
                      </a:lnTo>
                      <a:lnTo>
                        <a:pt x="169" y="1095"/>
                      </a:lnTo>
                      <a:lnTo>
                        <a:pt x="168" y="1093"/>
                      </a:lnTo>
                      <a:lnTo>
                        <a:pt x="168" y="1093"/>
                      </a:lnTo>
                      <a:lnTo>
                        <a:pt x="168" y="1092"/>
                      </a:lnTo>
                      <a:lnTo>
                        <a:pt x="167" y="1091"/>
                      </a:lnTo>
                      <a:lnTo>
                        <a:pt x="167" y="1091"/>
                      </a:lnTo>
                      <a:lnTo>
                        <a:pt x="167" y="1091"/>
                      </a:lnTo>
                      <a:lnTo>
                        <a:pt x="167" y="1091"/>
                      </a:lnTo>
                      <a:lnTo>
                        <a:pt x="167" y="1091"/>
                      </a:lnTo>
                      <a:lnTo>
                        <a:pt x="167" y="1090"/>
                      </a:lnTo>
                      <a:lnTo>
                        <a:pt x="167" y="1090"/>
                      </a:lnTo>
                      <a:lnTo>
                        <a:pt x="167" y="1089"/>
                      </a:lnTo>
                      <a:lnTo>
                        <a:pt x="168" y="1090"/>
                      </a:lnTo>
                      <a:lnTo>
                        <a:pt x="169" y="1090"/>
                      </a:lnTo>
                      <a:lnTo>
                        <a:pt x="169" y="1090"/>
                      </a:lnTo>
                      <a:lnTo>
                        <a:pt x="170" y="1089"/>
                      </a:lnTo>
                      <a:lnTo>
                        <a:pt x="170" y="1089"/>
                      </a:lnTo>
                      <a:lnTo>
                        <a:pt x="170" y="1090"/>
                      </a:lnTo>
                      <a:lnTo>
                        <a:pt x="171" y="1089"/>
                      </a:lnTo>
                      <a:lnTo>
                        <a:pt x="170" y="1088"/>
                      </a:lnTo>
                      <a:lnTo>
                        <a:pt x="169" y="1088"/>
                      </a:lnTo>
                      <a:lnTo>
                        <a:pt x="169" y="1088"/>
                      </a:lnTo>
                      <a:lnTo>
                        <a:pt x="169" y="1087"/>
                      </a:lnTo>
                      <a:lnTo>
                        <a:pt x="169" y="1087"/>
                      </a:lnTo>
                      <a:lnTo>
                        <a:pt x="169" y="1087"/>
                      </a:lnTo>
                      <a:lnTo>
                        <a:pt x="168" y="1087"/>
                      </a:lnTo>
                      <a:lnTo>
                        <a:pt x="167" y="1086"/>
                      </a:lnTo>
                      <a:lnTo>
                        <a:pt x="167" y="1084"/>
                      </a:lnTo>
                      <a:lnTo>
                        <a:pt x="167" y="1084"/>
                      </a:lnTo>
                      <a:lnTo>
                        <a:pt x="167" y="1083"/>
                      </a:lnTo>
                      <a:lnTo>
                        <a:pt x="166" y="1082"/>
                      </a:lnTo>
                      <a:lnTo>
                        <a:pt x="166" y="1082"/>
                      </a:lnTo>
                      <a:lnTo>
                        <a:pt x="166" y="1082"/>
                      </a:lnTo>
                      <a:lnTo>
                        <a:pt x="166" y="1082"/>
                      </a:lnTo>
                      <a:lnTo>
                        <a:pt x="166" y="1082"/>
                      </a:lnTo>
                      <a:lnTo>
                        <a:pt x="165" y="1082"/>
                      </a:lnTo>
                      <a:lnTo>
                        <a:pt x="164" y="1082"/>
                      </a:lnTo>
                      <a:lnTo>
                        <a:pt x="164" y="1081"/>
                      </a:lnTo>
                      <a:lnTo>
                        <a:pt x="164" y="1080"/>
                      </a:lnTo>
                      <a:lnTo>
                        <a:pt x="164" y="1079"/>
                      </a:lnTo>
                      <a:lnTo>
                        <a:pt x="165" y="1079"/>
                      </a:lnTo>
                      <a:lnTo>
                        <a:pt x="165" y="1079"/>
                      </a:lnTo>
                      <a:lnTo>
                        <a:pt x="164" y="1079"/>
                      </a:lnTo>
                      <a:lnTo>
                        <a:pt x="164" y="1078"/>
                      </a:lnTo>
                      <a:lnTo>
                        <a:pt x="164" y="1078"/>
                      </a:lnTo>
                      <a:lnTo>
                        <a:pt x="164" y="1077"/>
                      </a:lnTo>
                      <a:lnTo>
                        <a:pt x="164" y="1076"/>
                      </a:lnTo>
                      <a:lnTo>
                        <a:pt x="163" y="1076"/>
                      </a:lnTo>
                      <a:lnTo>
                        <a:pt x="163" y="1075"/>
                      </a:lnTo>
                      <a:lnTo>
                        <a:pt x="164" y="1075"/>
                      </a:lnTo>
                      <a:lnTo>
                        <a:pt x="164" y="1073"/>
                      </a:lnTo>
                      <a:lnTo>
                        <a:pt x="165" y="1073"/>
                      </a:lnTo>
                      <a:lnTo>
                        <a:pt x="165" y="1075"/>
                      </a:lnTo>
                      <a:lnTo>
                        <a:pt x="165" y="1075"/>
                      </a:lnTo>
                      <a:lnTo>
                        <a:pt x="165" y="1075"/>
                      </a:lnTo>
                      <a:lnTo>
                        <a:pt x="166" y="1075"/>
                      </a:lnTo>
                      <a:lnTo>
                        <a:pt x="166" y="1075"/>
                      </a:lnTo>
                      <a:lnTo>
                        <a:pt x="166" y="1073"/>
                      </a:lnTo>
                      <a:lnTo>
                        <a:pt x="166" y="1072"/>
                      </a:lnTo>
                      <a:lnTo>
                        <a:pt x="166" y="1072"/>
                      </a:lnTo>
                      <a:lnTo>
                        <a:pt x="165" y="1071"/>
                      </a:lnTo>
                      <a:lnTo>
                        <a:pt x="165" y="1071"/>
                      </a:lnTo>
                      <a:lnTo>
                        <a:pt x="165" y="1071"/>
                      </a:lnTo>
                      <a:lnTo>
                        <a:pt x="165" y="1070"/>
                      </a:lnTo>
                      <a:lnTo>
                        <a:pt x="165" y="1069"/>
                      </a:lnTo>
                      <a:lnTo>
                        <a:pt x="164" y="1069"/>
                      </a:lnTo>
                      <a:lnTo>
                        <a:pt x="164" y="1069"/>
                      </a:lnTo>
                      <a:lnTo>
                        <a:pt x="164" y="1069"/>
                      </a:lnTo>
                      <a:lnTo>
                        <a:pt x="164" y="1068"/>
                      </a:lnTo>
                      <a:lnTo>
                        <a:pt x="165" y="1068"/>
                      </a:lnTo>
                      <a:lnTo>
                        <a:pt x="165" y="1068"/>
                      </a:lnTo>
                      <a:close/>
                      <a:moveTo>
                        <a:pt x="298" y="1064"/>
                      </a:moveTo>
                      <a:lnTo>
                        <a:pt x="297" y="1064"/>
                      </a:lnTo>
                      <a:lnTo>
                        <a:pt x="297" y="1064"/>
                      </a:lnTo>
                      <a:lnTo>
                        <a:pt x="296" y="1064"/>
                      </a:lnTo>
                      <a:lnTo>
                        <a:pt x="296" y="1064"/>
                      </a:lnTo>
                      <a:lnTo>
                        <a:pt x="298" y="1063"/>
                      </a:lnTo>
                      <a:lnTo>
                        <a:pt x="298" y="1064"/>
                      </a:lnTo>
                      <a:close/>
                      <a:moveTo>
                        <a:pt x="297" y="1062"/>
                      </a:moveTo>
                      <a:lnTo>
                        <a:pt x="298" y="1063"/>
                      </a:lnTo>
                      <a:lnTo>
                        <a:pt x="298" y="1063"/>
                      </a:lnTo>
                      <a:lnTo>
                        <a:pt x="297" y="1063"/>
                      </a:lnTo>
                      <a:lnTo>
                        <a:pt x="297" y="1063"/>
                      </a:lnTo>
                      <a:lnTo>
                        <a:pt x="296" y="1063"/>
                      </a:lnTo>
                      <a:lnTo>
                        <a:pt x="295" y="1063"/>
                      </a:lnTo>
                      <a:lnTo>
                        <a:pt x="295" y="1062"/>
                      </a:lnTo>
                      <a:lnTo>
                        <a:pt x="297" y="1062"/>
                      </a:lnTo>
                      <a:close/>
                      <a:moveTo>
                        <a:pt x="297" y="970"/>
                      </a:moveTo>
                      <a:lnTo>
                        <a:pt x="297" y="971"/>
                      </a:lnTo>
                      <a:lnTo>
                        <a:pt x="298" y="971"/>
                      </a:lnTo>
                      <a:lnTo>
                        <a:pt x="300" y="972"/>
                      </a:lnTo>
                      <a:lnTo>
                        <a:pt x="300" y="973"/>
                      </a:lnTo>
                      <a:lnTo>
                        <a:pt x="299" y="974"/>
                      </a:lnTo>
                      <a:lnTo>
                        <a:pt x="300" y="974"/>
                      </a:lnTo>
                      <a:lnTo>
                        <a:pt x="300" y="974"/>
                      </a:lnTo>
                      <a:lnTo>
                        <a:pt x="300" y="974"/>
                      </a:lnTo>
                      <a:lnTo>
                        <a:pt x="301" y="975"/>
                      </a:lnTo>
                      <a:lnTo>
                        <a:pt x="302" y="975"/>
                      </a:lnTo>
                      <a:lnTo>
                        <a:pt x="303" y="975"/>
                      </a:lnTo>
                      <a:lnTo>
                        <a:pt x="303" y="976"/>
                      </a:lnTo>
                      <a:lnTo>
                        <a:pt x="304" y="977"/>
                      </a:lnTo>
                      <a:lnTo>
                        <a:pt x="304" y="977"/>
                      </a:lnTo>
                      <a:lnTo>
                        <a:pt x="305" y="977"/>
                      </a:lnTo>
                      <a:lnTo>
                        <a:pt x="305" y="978"/>
                      </a:lnTo>
                      <a:lnTo>
                        <a:pt x="305" y="978"/>
                      </a:lnTo>
                      <a:lnTo>
                        <a:pt x="305" y="978"/>
                      </a:lnTo>
                      <a:lnTo>
                        <a:pt x="305" y="979"/>
                      </a:lnTo>
                      <a:lnTo>
                        <a:pt x="306" y="979"/>
                      </a:lnTo>
                      <a:lnTo>
                        <a:pt x="306" y="980"/>
                      </a:lnTo>
                      <a:lnTo>
                        <a:pt x="305" y="980"/>
                      </a:lnTo>
                      <a:lnTo>
                        <a:pt x="305" y="981"/>
                      </a:lnTo>
                      <a:lnTo>
                        <a:pt x="304" y="981"/>
                      </a:lnTo>
                      <a:lnTo>
                        <a:pt x="304" y="981"/>
                      </a:lnTo>
                      <a:lnTo>
                        <a:pt x="304" y="982"/>
                      </a:lnTo>
                      <a:lnTo>
                        <a:pt x="305" y="982"/>
                      </a:lnTo>
                      <a:lnTo>
                        <a:pt x="306" y="982"/>
                      </a:lnTo>
                      <a:lnTo>
                        <a:pt x="306" y="982"/>
                      </a:lnTo>
                      <a:lnTo>
                        <a:pt x="306" y="983"/>
                      </a:lnTo>
                      <a:lnTo>
                        <a:pt x="306" y="983"/>
                      </a:lnTo>
                      <a:lnTo>
                        <a:pt x="306" y="984"/>
                      </a:lnTo>
                      <a:lnTo>
                        <a:pt x="307" y="984"/>
                      </a:lnTo>
                      <a:lnTo>
                        <a:pt x="308" y="984"/>
                      </a:lnTo>
                      <a:lnTo>
                        <a:pt x="309" y="984"/>
                      </a:lnTo>
                      <a:lnTo>
                        <a:pt x="309" y="984"/>
                      </a:lnTo>
                      <a:lnTo>
                        <a:pt x="308" y="985"/>
                      </a:lnTo>
                      <a:lnTo>
                        <a:pt x="309" y="986"/>
                      </a:lnTo>
                      <a:lnTo>
                        <a:pt x="311" y="987"/>
                      </a:lnTo>
                      <a:lnTo>
                        <a:pt x="312" y="989"/>
                      </a:lnTo>
                      <a:lnTo>
                        <a:pt x="314" y="989"/>
                      </a:lnTo>
                      <a:lnTo>
                        <a:pt x="313" y="990"/>
                      </a:lnTo>
                      <a:lnTo>
                        <a:pt x="314" y="990"/>
                      </a:lnTo>
                      <a:lnTo>
                        <a:pt x="313" y="992"/>
                      </a:lnTo>
                      <a:lnTo>
                        <a:pt x="312" y="993"/>
                      </a:lnTo>
                      <a:lnTo>
                        <a:pt x="311" y="994"/>
                      </a:lnTo>
                      <a:lnTo>
                        <a:pt x="311" y="995"/>
                      </a:lnTo>
                      <a:lnTo>
                        <a:pt x="311" y="995"/>
                      </a:lnTo>
                      <a:lnTo>
                        <a:pt x="311" y="995"/>
                      </a:lnTo>
                      <a:lnTo>
                        <a:pt x="311" y="995"/>
                      </a:lnTo>
                      <a:lnTo>
                        <a:pt x="311" y="996"/>
                      </a:lnTo>
                      <a:lnTo>
                        <a:pt x="312" y="997"/>
                      </a:lnTo>
                      <a:lnTo>
                        <a:pt x="312" y="997"/>
                      </a:lnTo>
                      <a:lnTo>
                        <a:pt x="311" y="999"/>
                      </a:lnTo>
                      <a:lnTo>
                        <a:pt x="311" y="999"/>
                      </a:lnTo>
                      <a:lnTo>
                        <a:pt x="311" y="1000"/>
                      </a:lnTo>
                      <a:lnTo>
                        <a:pt x="312" y="1001"/>
                      </a:lnTo>
                      <a:lnTo>
                        <a:pt x="313" y="1001"/>
                      </a:lnTo>
                      <a:lnTo>
                        <a:pt x="313" y="1001"/>
                      </a:lnTo>
                      <a:lnTo>
                        <a:pt x="313" y="1001"/>
                      </a:lnTo>
                      <a:lnTo>
                        <a:pt x="313" y="1001"/>
                      </a:lnTo>
                      <a:lnTo>
                        <a:pt x="313" y="1001"/>
                      </a:lnTo>
                      <a:lnTo>
                        <a:pt x="313" y="1002"/>
                      </a:lnTo>
                      <a:lnTo>
                        <a:pt x="314" y="1002"/>
                      </a:lnTo>
                      <a:lnTo>
                        <a:pt x="314" y="1003"/>
                      </a:lnTo>
                      <a:lnTo>
                        <a:pt x="314" y="1003"/>
                      </a:lnTo>
                      <a:lnTo>
                        <a:pt x="314" y="1004"/>
                      </a:lnTo>
                      <a:lnTo>
                        <a:pt x="315" y="1004"/>
                      </a:lnTo>
                      <a:lnTo>
                        <a:pt x="315" y="1004"/>
                      </a:lnTo>
                      <a:lnTo>
                        <a:pt x="315" y="1004"/>
                      </a:lnTo>
                      <a:lnTo>
                        <a:pt x="315" y="1004"/>
                      </a:lnTo>
                      <a:lnTo>
                        <a:pt x="315" y="1004"/>
                      </a:lnTo>
                      <a:lnTo>
                        <a:pt x="315" y="1004"/>
                      </a:lnTo>
                      <a:lnTo>
                        <a:pt x="315" y="1005"/>
                      </a:lnTo>
                      <a:lnTo>
                        <a:pt x="316" y="1005"/>
                      </a:lnTo>
                      <a:lnTo>
                        <a:pt x="316" y="1005"/>
                      </a:lnTo>
                      <a:lnTo>
                        <a:pt x="316" y="1006"/>
                      </a:lnTo>
                      <a:lnTo>
                        <a:pt x="317" y="1005"/>
                      </a:lnTo>
                      <a:lnTo>
                        <a:pt x="317" y="1006"/>
                      </a:lnTo>
                      <a:lnTo>
                        <a:pt x="316" y="1007"/>
                      </a:lnTo>
                      <a:lnTo>
                        <a:pt x="316" y="1011"/>
                      </a:lnTo>
                      <a:lnTo>
                        <a:pt x="314" y="1012"/>
                      </a:lnTo>
                      <a:lnTo>
                        <a:pt x="313" y="1013"/>
                      </a:lnTo>
                      <a:lnTo>
                        <a:pt x="312" y="1014"/>
                      </a:lnTo>
                      <a:lnTo>
                        <a:pt x="311" y="1018"/>
                      </a:lnTo>
                      <a:lnTo>
                        <a:pt x="311" y="1019"/>
                      </a:lnTo>
                      <a:lnTo>
                        <a:pt x="310" y="1019"/>
                      </a:lnTo>
                      <a:lnTo>
                        <a:pt x="310" y="1020"/>
                      </a:lnTo>
                      <a:lnTo>
                        <a:pt x="309" y="1020"/>
                      </a:lnTo>
                      <a:lnTo>
                        <a:pt x="309" y="1021"/>
                      </a:lnTo>
                      <a:lnTo>
                        <a:pt x="310" y="1022"/>
                      </a:lnTo>
                      <a:lnTo>
                        <a:pt x="309" y="1023"/>
                      </a:lnTo>
                      <a:lnTo>
                        <a:pt x="308" y="1023"/>
                      </a:lnTo>
                      <a:lnTo>
                        <a:pt x="308" y="1024"/>
                      </a:lnTo>
                      <a:lnTo>
                        <a:pt x="309" y="1024"/>
                      </a:lnTo>
                      <a:lnTo>
                        <a:pt x="308" y="1025"/>
                      </a:lnTo>
                      <a:lnTo>
                        <a:pt x="308" y="1025"/>
                      </a:lnTo>
                      <a:lnTo>
                        <a:pt x="308" y="1025"/>
                      </a:lnTo>
                      <a:lnTo>
                        <a:pt x="308" y="1026"/>
                      </a:lnTo>
                      <a:lnTo>
                        <a:pt x="308" y="1027"/>
                      </a:lnTo>
                      <a:lnTo>
                        <a:pt x="308" y="1027"/>
                      </a:lnTo>
                      <a:lnTo>
                        <a:pt x="308" y="1027"/>
                      </a:lnTo>
                      <a:lnTo>
                        <a:pt x="308" y="1027"/>
                      </a:lnTo>
                      <a:lnTo>
                        <a:pt x="308" y="1028"/>
                      </a:lnTo>
                      <a:lnTo>
                        <a:pt x="307" y="1029"/>
                      </a:lnTo>
                      <a:lnTo>
                        <a:pt x="307" y="1029"/>
                      </a:lnTo>
                      <a:lnTo>
                        <a:pt x="306" y="1030"/>
                      </a:lnTo>
                      <a:lnTo>
                        <a:pt x="307" y="1031"/>
                      </a:lnTo>
                      <a:lnTo>
                        <a:pt x="308" y="1032"/>
                      </a:lnTo>
                      <a:lnTo>
                        <a:pt x="307" y="1032"/>
                      </a:lnTo>
                      <a:lnTo>
                        <a:pt x="309" y="1034"/>
                      </a:lnTo>
                      <a:lnTo>
                        <a:pt x="310" y="1037"/>
                      </a:lnTo>
                      <a:lnTo>
                        <a:pt x="311" y="1037"/>
                      </a:lnTo>
                      <a:lnTo>
                        <a:pt x="311" y="1038"/>
                      </a:lnTo>
                      <a:lnTo>
                        <a:pt x="313" y="1038"/>
                      </a:lnTo>
                      <a:lnTo>
                        <a:pt x="313" y="1039"/>
                      </a:lnTo>
                      <a:lnTo>
                        <a:pt x="314" y="1039"/>
                      </a:lnTo>
                      <a:lnTo>
                        <a:pt x="315" y="1040"/>
                      </a:lnTo>
                      <a:lnTo>
                        <a:pt x="316" y="1039"/>
                      </a:lnTo>
                      <a:lnTo>
                        <a:pt x="317" y="1039"/>
                      </a:lnTo>
                      <a:lnTo>
                        <a:pt x="317" y="1040"/>
                      </a:lnTo>
                      <a:lnTo>
                        <a:pt x="317" y="1040"/>
                      </a:lnTo>
                      <a:lnTo>
                        <a:pt x="317" y="1041"/>
                      </a:lnTo>
                      <a:lnTo>
                        <a:pt x="317" y="1041"/>
                      </a:lnTo>
                      <a:lnTo>
                        <a:pt x="316" y="1041"/>
                      </a:lnTo>
                      <a:lnTo>
                        <a:pt x="316" y="1042"/>
                      </a:lnTo>
                      <a:lnTo>
                        <a:pt x="314" y="1042"/>
                      </a:lnTo>
                      <a:lnTo>
                        <a:pt x="314" y="1042"/>
                      </a:lnTo>
                      <a:lnTo>
                        <a:pt x="313" y="1042"/>
                      </a:lnTo>
                      <a:lnTo>
                        <a:pt x="313" y="1042"/>
                      </a:lnTo>
                      <a:lnTo>
                        <a:pt x="311" y="1042"/>
                      </a:lnTo>
                      <a:lnTo>
                        <a:pt x="310" y="1043"/>
                      </a:lnTo>
                      <a:lnTo>
                        <a:pt x="310" y="1043"/>
                      </a:lnTo>
                      <a:lnTo>
                        <a:pt x="310" y="1043"/>
                      </a:lnTo>
                      <a:lnTo>
                        <a:pt x="310" y="1044"/>
                      </a:lnTo>
                      <a:lnTo>
                        <a:pt x="309" y="1044"/>
                      </a:lnTo>
                      <a:lnTo>
                        <a:pt x="309" y="1045"/>
                      </a:lnTo>
                      <a:lnTo>
                        <a:pt x="309" y="1046"/>
                      </a:lnTo>
                      <a:lnTo>
                        <a:pt x="308" y="1046"/>
                      </a:lnTo>
                      <a:lnTo>
                        <a:pt x="308" y="1047"/>
                      </a:lnTo>
                      <a:lnTo>
                        <a:pt x="306" y="1049"/>
                      </a:lnTo>
                      <a:lnTo>
                        <a:pt x="305" y="1051"/>
                      </a:lnTo>
                      <a:lnTo>
                        <a:pt x="305" y="1051"/>
                      </a:lnTo>
                      <a:lnTo>
                        <a:pt x="304" y="1051"/>
                      </a:lnTo>
                      <a:lnTo>
                        <a:pt x="303" y="1051"/>
                      </a:lnTo>
                      <a:lnTo>
                        <a:pt x="303" y="1052"/>
                      </a:lnTo>
                      <a:lnTo>
                        <a:pt x="302" y="1053"/>
                      </a:lnTo>
                      <a:lnTo>
                        <a:pt x="302" y="1054"/>
                      </a:lnTo>
                      <a:lnTo>
                        <a:pt x="301" y="1055"/>
                      </a:lnTo>
                      <a:lnTo>
                        <a:pt x="300" y="1055"/>
                      </a:lnTo>
                      <a:lnTo>
                        <a:pt x="300" y="1055"/>
                      </a:lnTo>
                      <a:lnTo>
                        <a:pt x="301" y="1055"/>
                      </a:lnTo>
                      <a:lnTo>
                        <a:pt x="302" y="1056"/>
                      </a:lnTo>
                      <a:lnTo>
                        <a:pt x="302" y="1056"/>
                      </a:lnTo>
                      <a:lnTo>
                        <a:pt x="302" y="1056"/>
                      </a:lnTo>
                      <a:lnTo>
                        <a:pt x="302" y="1058"/>
                      </a:lnTo>
                      <a:lnTo>
                        <a:pt x="301" y="1060"/>
                      </a:lnTo>
                      <a:lnTo>
                        <a:pt x="300" y="1060"/>
                      </a:lnTo>
                      <a:lnTo>
                        <a:pt x="298" y="1060"/>
                      </a:lnTo>
                      <a:lnTo>
                        <a:pt x="298" y="1060"/>
                      </a:lnTo>
                      <a:lnTo>
                        <a:pt x="298" y="1060"/>
                      </a:lnTo>
                      <a:lnTo>
                        <a:pt x="297" y="1060"/>
                      </a:lnTo>
                      <a:lnTo>
                        <a:pt x="296" y="1061"/>
                      </a:lnTo>
                      <a:lnTo>
                        <a:pt x="295" y="1061"/>
                      </a:lnTo>
                      <a:lnTo>
                        <a:pt x="295" y="1060"/>
                      </a:lnTo>
                      <a:lnTo>
                        <a:pt x="294" y="1060"/>
                      </a:lnTo>
                      <a:lnTo>
                        <a:pt x="293" y="1061"/>
                      </a:lnTo>
                      <a:lnTo>
                        <a:pt x="293" y="1062"/>
                      </a:lnTo>
                      <a:lnTo>
                        <a:pt x="293" y="1063"/>
                      </a:lnTo>
                      <a:lnTo>
                        <a:pt x="293" y="1064"/>
                      </a:lnTo>
                      <a:lnTo>
                        <a:pt x="293" y="1064"/>
                      </a:lnTo>
                      <a:lnTo>
                        <a:pt x="293" y="1065"/>
                      </a:lnTo>
                      <a:lnTo>
                        <a:pt x="293" y="1066"/>
                      </a:lnTo>
                      <a:lnTo>
                        <a:pt x="293" y="1066"/>
                      </a:lnTo>
                      <a:lnTo>
                        <a:pt x="293" y="1067"/>
                      </a:lnTo>
                      <a:lnTo>
                        <a:pt x="294" y="1067"/>
                      </a:lnTo>
                      <a:lnTo>
                        <a:pt x="294" y="1067"/>
                      </a:lnTo>
                      <a:lnTo>
                        <a:pt x="294" y="1067"/>
                      </a:lnTo>
                      <a:lnTo>
                        <a:pt x="294" y="1067"/>
                      </a:lnTo>
                      <a:lnTo>
                        <a:pt x="294" y="1068"/>
                      </a:lnTo>
                      <a:lnTo>
                        <a:pt x="294" y="1068"/>
                      </a:lnTo>
                      <a:lnTo>
                        <a:pt x="293" y="1068"/>
                      </a:lnTo>
                      <a:lnTo>
                        <a:pt x="293" y="1069"/>
                      </a:lnTo>
                      <a:lnTo>
                        <a:pt x="293" y="1069"/>
                      </a:lnTo>
                      <a:lnTo>
                        <a:pt x="293" y="1069"/>
                      </a:lnTo>
                      <a:lnTo>
                        <a:pt x="293" y="1070"/>
                      </a:lnTo>
                      <a:lnTo>
                        <a:pt x="292" y="1070"/>
                      </a:lnTo>
                      <a:lnTo>
                        <a:pt x="291" y="1070"/>
                      </a:lnTo>
                      <a:lnTo>
                        <a:pt x="290" y="1071"/>
                      </a:lnTo>
                      <a:lnTo>
                        <a:pt x="288" y="1071"/>
                      </a:lnTo>
                      <a:lnTo>
                        <a:pt x="286" y="1070"/>
                      </a:lnTo>
                      <a:lnTo>
                        <a:pt x="284" y="1070"/>
                      </a:lnTo>
                      <a:lnTo>
                        <a:pt x="283" y="1071"/>
                      </a:lnTo>
                      <a:lnTo>
                        <a:pt x="283" y="1075"/>
                      </a:lnTo>
                      <a:lnTo>
                        <a:pt x="283" y="1076"/>
                      </a:lnTo>
                      <a:lnTo>
                        <a:pt x="283" y="1078"/>
                      </a:lnTo>
                      <a:lnTo>
                        <a:pt x="286" y="1078"/>
                      </a:lnTo>
                      <a:lnTo>
                        <a:pt x="286" y="1080"/>
                      </a:lnTo>
                      <a:lnTo>
                        <a:pt x="284" y="1081"/>
                      </a:lnTo>
                      <a:lnTo>
                        <a:pt x="286" y="1081"/>
                      </a:lnTo>
                      <a:lnTo>
                        <a:pt x="283" y="1081"/>
                      </a:lnTo>
                      <a:lnTo>
                        <a:pt x="283" y="1081"/>
                      </a:lnTo>
                      <a:lnTo>
                        <a:pt x="284" y="1082"/>
                      </a:lnTo>
                      <a:lnTo>
                        <a:pt x="284" y="1083"/>
                      </a:lnTo>
                      <a:lnTo>
                        <a:pt x="283" y="1083"/>
                      </a:lnTo>
                      <a:lnTo>
                        <a:pt x="283" y="1083"/>
                      </a:lnTo>
                      <a:lnTo>
                        <a:pt x="282" y="1083"/>
                      </a:lnTo>
                      <a:lnTo>
                        <a:pt x="281" y="1083"/>
                      </a:lnTo>
                      <a:lnTo>
                        <a:pt x="280" y="1083"/>
                      </a:lnTo>
                      <a:lnTo>
                        <a:pt x="279" y="1083"/>
                      </a:lnTo>
                      <a:lnTo>
                        <a:pt x="279" y="1084"/>
                      </a:lnTo>
                      <a:lnTo>
                        <a:pt x="280" y="1084"/>
                      </a:lnTo>
                      <a:lnTo>
                        <a:pt x="280" y="1085"/>
                      </a:lnTo>
                      <a:lnTo>
                        <a:pt x="279" y="1086"/>
                      </a:lnTo>
                      <a:lnTo>
                        <a:pt x="279" y="1087"/>
                      </a:lnTo>
                      <a:lnTo>
                        <a:pt x="279" y="1087"/>
                      </a:lnTo>
                      <a:lnTo>
                        <a:pt x="279" y="1087"/>
                      </a:lnTo>
                      <a:lnTo>
                        <a:pt x="280" y="1087"/>
                      </a:lnTo>
                      <a:lnTo>
                        <a:pt x="281" y="1087"/>
                      </a:lnTo>
                      <a:lnTo>
                        <a:pt x="282" y="1087"/>
                      </a:lnTo>
                      <a:lnTo>
                        <a:pt x="282" y="1088"/>
                      </a:lnTo>
                      <a:lnTo>
                        <a:pt x="282" y="1089"/>
                      </a:lnTo>
                      <a:lnTo>
                        <a:pt x="284" y="1091"/>
                      </a:lnTo>
                      <a:lnTo>
                        <a:pt x="286" y="1091"/>
                      </a:lnTo>
                      <a:lnTo>
                        <a:pt x="287" y="1091"/>
                      </a:lnTo>
                      <a:lnTo>
                        <a:pt x="287" y="1091"/>
                      </a:lnTo>
                      <a:lnTo>
                        <a:pt x="289" y="1092"/>
                      </a:lnTo>
                      <a:lnTo>
                        <a:pt x="289" y="1094"/>
                      </a:lnTo>
                      <a:lnTo>
                        <a:pt x="289" y="1094"/>
                      </a:lnTo>
                      <a:lnTo>
                        <a:pt x="290" y="1094"/>
                      </a:lnTo>
                      <a:lnTo>
                        <a:pt x="291" y="1095"/>
                      </a:lnTo>
                      <a:lnTo>
                        <a:pt x="291" y="1095"/>
                      </a:lnTo>
                      <a:lnTo>
                        <a:pt x="291" y="1095"/>
                      </a:lnTo>
                      <a:lnTo>
                        <a:pt x="293" y="1095"/>
                      </a:lnTo>
                      <a:lnTo>
                        <a:pt x="293" y="1094"/>
                      </a:lnTo>
                      <a:lnTo>
                        <a:pt x="293" y="1093"/>
                      </a:lnTo>
                      <a:lnTo>
                        <a:pt x="294" y="1092"/>
                      </a:lnTo>
                      <a:lnTo>
                        <a:pt x="295" y="1092"/>
                      </a:lnTo>
                      <a:lnTo>
                        <a:pt x="296" y="1092"/>
                      </a:lnTo>
                      <a:lnTo>
                        <a:pt x="298" y="1089"/>
                      </a:lnTo>
                      <a:lnTo>
                        <a:pt x="300" y="1088"/>
                      </a:lnTo>
                      <a:lnTo>
                        <a:pt x="302" y="1088"/>
                      </a:lnTo>
                      <a:lnTo>
                        <a:pt x="303" y="1088"/>
                      </a:lnTo>
                      <a:lnTo>
                        <a:pt x="304" y="1087"/>
                      </a:lnTo>
                      <a:lnTo>
                        <a:pt x="304" y="1087"/>
                      </a:lnTo>
                      <a:lnTo>
                        <a:pt x="305" y="1086"/>
                      </a:lnTo>
                      <a:lnTo>
                        <a:pt x="306" y="1086"/>
                      </a:lnTo>
                      <a:lnTo>
                        <a:pt x="306" y="1085"/>
                      </a:lnTo>
                      <a:lnTo>
                        <a:pt x="306" y="1083"/>
                      </a:lnTo>
                      <a:lnTo>
                        <a:pt x="307" y="1083"/>
                      </a:lnTo>
                      <a:lnTo>
                        <a:pt x="307" y="1083"/>
                      </a:lnTo>
                      <a:lnTo>
                        <a:pt x="308" y="1083"/>
                      </a:lnTo>
                      <a:lnTo>
                        <a:pt x="309" y="1081"/>
                      </a:lnTo>
                      <a:lnTo>
                        <a:pt x="309" y="1080"/>
                      </a:lnTo>
                      <a:lnTo>
                        <a:pt x="309" y="1080"/>
                      </a:lnTo>
                      <a:lnTo>
                        <a:pt x="309" y="1079"/>
                      </a:lnTo>
                      <a:lnTo>
                        <a:pt x="310" y="1079"/>
                      </a:lnTo>
                      <a:lnTo>
                        <a:pt x="311" y="1079"/>
                      </a:lnTo>
                      <a:lnTo>
                        <a:pt x="313" y="1077"/>
                      </a:lnTo>
                      <a:lnTo>
                        <a:pt x="315" y="1077"/>
                      </a:lnTo>
                      <a:lnTo>
                        <a:pt x="315" y="1077"/>
                      </a:lnTo>
                      <a:lnTo>
                        <a:pt x="315" y="1077"/>
                      </a:lnTo>
                      <a:lnTo>
                        <a:pt x="316" y="1076"/>
                      </a:lnTo>
                      <a:lnTo>
                        <a:pt x="316" y="1076"/>
                      </a:lnTo>
                      <a:lnTo>
                        <a:pt x="317" y="1076"/>
                      </a:lnTo>
                      <a:lnTo>
                        <a:pt x="317" y="1075"/>
                      </a:lnTo>
                      <a:lnTo>
                        <a:pt x="317" y="1075"/>
                      </a:lnTo>
                      <a:lnTo>
                        <a:pt x="317" y="1075"/>
                      </a:lnTo>
                      <a:lnTo>
                        <a:pt x="317" y="1073"/>
                      </a:lnTo>
                      <a:lnTo>
                        <a:pt x="317" y="1073"/>
                      </a:lnTo>
                      <a:lnTo>
                        <a:pt x="317" y="1072"/>
                      </a:lnTo>
                      <a:lnTo>
                        <a:pt x="317" y="1072"/>
                      </a:lnTo>
                      <a:lnTo>
                        <a:pt x="318" y="1072"/>
                      </a:lnTo>
                      <a:lnTo>
                        <a:pt x="319" y="1072"/>
                      </a:lnTo>
                      <a:lnTo>
                        <a:pt x="319" y="1072"/>
                      </a:lnTo>
                      <a:lnTo>
                        <a:pt x="320" y="1073"/>
                      </a:lnTo>
                      <a:lnTo>
                        <a:pt x="321" y="1073"/>
                      </a:lnTo>
                      <a:lnTo>
                        <a:pt x="321" y="1073"/>
                      </a:lnTo>
                      <a:lnTo>
                        <a:pt x="321" y="1073"/>
                      </a:lnTo>
                      <a:lnTo>
                        <a:pt x="321" y="1072"/>
                      </a:lnTo>
                      <a:lnTo>
                        <a:pt x="322" y="1072"/>
                      </a:lnTo>
                      <a:lnTo>
                        <a:pt x="322" y="1073"/>
                      </a:lnTo>
                      <a:lnTo>
                        <a:pt x="324" y="1073"/>
                      </a:lnTo>
                      <a:lnTo>
                        <a:pt x="324" y="1073"/>
                      </a:lnTo>
                      <a:lnTo>
                        <a:pt x="324" y="1073"/>
                      </a:lnTo>
                      <a:lnTo>
                        <a:pt x="324" y="1075"/>
                      </a:lnTo>
                      <a:lnTo>
                        <a:pt x="324" y="1075"/>
                      </a:lnTo>
                      <a:lnTo>
                        <a:pt x="324" y="1075"/>
                      </a:lnTo>
                      <a:lnTo>
                        <a:pt x="324" y="1076"/>
                      </a:lnTo>
                      <a:lnTo>
                        <a:pt x="324" y="1077"/>
                      </a:lnTo>
                      <a:lnTo>
                        <a:pt x="322" y="1077"/>
                      </a:lnTo>
                      <a:lnTo>
                        <a:pt x="322" y="1078"/>
                      </a:lnTo>
                      <a:lnTo>
                        <a:pt x="320" y="1078"/>
                      </a:lnTo>
                      <a:lnTo>
                        <a:pt x="319" y="1080"/>
                      </a:lnTo>
                      <a:lnTo>
                        <a:pt x="319" y="1081"/>
                      </a:lnTo>
                      <a:lnTo>
                        <a:pt x="320" y="1081"/>
                      </a:lnTo>
                      <a:lnTo>
                        <a:pt x="321" y="1081"/>
                      </a:lnTo>
                      <a:lnTo>
                        <a:pt x="321" y="1081"/>
                      </a:lnTo>
                      <a:lnTo>
                        <a:pt x="321" y="1082"/>
                      </a:lnTo>
                      <a:lnTo>
                        <a:pt x="320" y="1082"/>
                      </a:lnTo>
                      <a:lnTo>
                        <a:pt x="320" y="1083"/>
                      </a:lnTo>
                      <a:lnTo>
                        <a:pt x="319" y="1083"/>
                      </a:lnTo>
                      <a:lnTo>
                        <a:pt x="319" y="1083"/>
                      </a:lnTo>
                      <a:lnTo>
                        <a:pt x="319" y="1083"/>
                      </a:lnTo>
                      <a:lnTo>
                        <a:pt x="319" y="1084"/>
                      </a:lnTo>
                      <a:lnTo>
                        <a:pt x="319" y="1085"/>
                      </a:lnTo>
                      <a:lnTo>
                        <a:pt x="319" y="1085"/>
                      </a:lnTo>
                      <a:lnTo>
                        <a:pt x="319" y="1085"/>
                      </a:lnTo>
                      <a:lnTo>
                        <a:pt x="318" y="1085"/>
                      </a:lnTo>
                      <a:lnTo>
                        <a:pt x="317" y="1086"/>
                      </a:lnTo>
                      <a:lnTo>
                        <a:pt x="317" y="1087"/>
                      </a:lnTo>
                      <a:lnTo>
                        <a:pt x="318" y="1087"/>
                      </a:lnTo>
                      <a:lnTo>
                        <a:pt x="318" y="1088"/>
                      </a:lnTo>
                      <a:lnTo>
                        <a:pt x="320" y="1089"/>
                      </a:lnTo>
                      <a:lnTo>
                        <a:pt x="320" y="1089"/>
                      </a:lnTo>
                      <a:lnTo>
                        <a:pt x="319" y="1090"/>
                      </a:lnTo>
                      <a:lnTo>
                        <a:pt x="319" y="1090"/>
                      </a:lnTo>
                      <a:lnTo>
                        <a:pt x="319" y="1090"/>
                      </a:lnTo>
                      <a:lnTo>
                        <a:pt x="319" y="1090"/>
                      </a:lnTo>
                      <a:lnTo>
                        <a:pt x="318" y="1090"/>
                      </a:lnTo>
                      <a:lnTo>
                        <a:pt x="318" y="1090"/>
                      </a:lnTo>
                      <a:lnTo>
                        <a:pt x="317" y="1090"/>
                      </a:lnTo>
                      <a:lnTo>
                        <a:pt x="317" y="1091"/>
                      </a:lnTo>
                      <a:lnTo>
                        <a:pt x="318" y="1091"/>
                      </a:lnTo>
                      <a:lnTo>
                        <a:pt x="318" y="1092"/>
                      </a:lnTo>
                      <a:lnTo>
                        <a:pt x="318" y="1092"/>
                      </a:lnTo>
                      <a:lnTo>
                        <a:pt x="318" y="1092"/>
                      </a:lnTo>
                      <a:lnTo>
                        <a:pt x="318" y="1092"/>
                      </a:lnTo>
                      <a:lnTo>
                        <a:pt x="317" y="1092"/>
                      </a:lnTo>
                      <a:lnTo>
                        <a:pt x="317" y="1094"/>
                      </a:lnTo>
                      <a:lnTo>
                        <a:pt x="316" y="1094"/>
                      </a:lnTo>
                      <a:lnTo>
                        <a:pt x="316" y="1094"/>
                      </a:lnTo>
                      <a:lnTo>
                        <a:pt x="315" y="1095"/>
                      </a:lnTo>
                      <a:lnTo>
                        <a:pt x="315" y="1095"/>
                      </a:lnTo>
                      <a:lnTo>
                        <a:pt x="315" y="1096"/>
                      </a:lnTo>
                      <a:lnTo>
                        <a:pt x="314" y="1096"/>
                      </a:lnTo>
                      <a:lnTo>
                        <a:pt x="315" y="1096"/>
                      </a:lnTo>
                      <a:lnTo>
                        <a:pt x="314" y="1096"/>
                      </a:lnTo>
                      <a:lnTo>
                        <a:pt x="313" y="1096"/>
                      </a:lnTo>
                      <a:lnTo>
                        <a:pt x="313" y="1097"/>
                      </a:lnTo>
                      <a:lnTo>
                        <a:pt x="311" y="1097"/>
                      </a:lnTo>
                      <a:lnTo>
                        <a:pt x="311" y="1098"/>
                      </a:lnTo>
                      <a:lnTo>
                        <a:pt x="311" y="1098"/>
                      </a:lnTo>
                      <a:lnTo>
                        <a:pt x="311" y="1098"/>
                      </a:lnTo>
                      <a:lnTo>
                        <a:pt x="311" y="1098"/>
                      </a:lnTo>
                      <a:lnTo>
                        <a:pt x="310" y="1097"/>
                      </a:lnTo>
                      <a:lnTo>
                        <a:pt x="310" y="1097"/>
                      </a:lnTo>
                      <a:lnTo>
                        <a:pt x="309" y="1098"/>
                      </a:lnTo>
                      <a:lnTo>
                        <a:pt x="309" y="1098"/>
                      </a:lnTo>
                      <a:lnTo>
                        <a:pt x="308" y="1098"/>
                      </a:lnTo>
                      <a:lnTo>
                        <a:pt x="308" y="1098"/>
                      </a:lnTo>
                      <a:lnTo>
                        <a:pt x="308" y="1099"/>
                      </a:lnTo>
                      <a:lnTo>
                        <a:pt x="308" y="1099"/>
                      </a:lnTo>
                      <a:lnTo>
                        <a:pt x="308" y="1100"/>
                      </a:lnTo>
                      <a:lnTo>
                        <a:pt x="308" y="1100"/>
                      </a:lnTo>
                      <a:lnTo>
                        <a:pt x="308" y="1101"/>
                      </a:lnTo>
                      <a:lnTo>
                        <a:pt x="309" y="1101"/>
                      </a:lnTo>
                      <a:lnTo>
                        <a:pt x="309" y="1102"/>
                      </a:lnTo>
                      <a:lnTo>
                        <a:pt x="308" y="1102"/>
                      </a:lnTo>
                      <a:lnTo>
                        <a:pt x="307" y="1102"/>
                      </a:lnTo>
                      <a:lnTo>
                        <a:pt x="307" y="1102"/>
                      </a:lnTo>
                      <a:lnTo>
                        <a:pt x="307" y="1102"/>
                      </a:lnTo>
                      <a:lnTo>
                        <a:pt x="307" y="1103"/>
                      </a:lnTo>
                      <a:lnTo>
                        <a:pt x="305" y="1103"/>
                      </a:lnTo>
                      <a:lnTo>
                        <a:pt x="304" y="1105"/>
                      </a:lnTo>
                      <a:lnTo>
                        <a:pt x="303" y="1105"/>
                      </a:lnTo>
                      <a:lnTo>
                        <a:pt x="303" y="1105"/>
                      </a:lnTo>
                      <a:lnTo>
                        <a:pt x="302" y="1105"/>
                      </a:lnTo>
                      <a:lnTo>
                        <a:pt x="300" y="1105"/>
                      </a:lnTo>
                      <a:lnTo>
                        <a:pt x="300" y="1105"/>
                      </a:lnTo>
                      <a:lnTo>
                        <a:pt x="298" y="1105"/>
                      </a:lnTo>
                      <a:lnTo>
                        <a:pt x="298" y="1104"/>
                      </a:lnTo>
                      <a:lnTo>
                        <a:pt x="298" y="1104"/>
                      </a:lnTo>
                      <a:lnTo>
                        <a:pt x="298" y="1103"/>
                      </a:lnTo>
                      <a:lnTo>
                        <a:pt x="297" y="1103"/>
                      </a:lnTo>
                      <a:lnTo>
                        <a:pt x="297" y="1103"/>
                      </a:lnTo>
                      <a:lnTo>
                        <a:pt x="297" y="1102"/>
                      </a:lnTo>
                      <a:lnTo>
                        <a:pt x="295" y="1102"/>
                      </a:lnTo>
                      <a:lnTo>
                        <a:pt x="294" y="1100"/>
                      </a:lnTo>
                      <a:lnTo>
                        <a:pt x="294" y="1099"/>
                      </a:lnTo>
                      <a:lnTo>
                        <a:pt x="294" y="1099"/>
                      </a:lnTo>
                      <a:lnTo>
                        <a:pt x="294" y="1098"/>
                      </a:lnTo>
                      <a:lnTo>
                        <a:pt x="293" y="1098"/>
                      </a:lnTo>
                      <a:lnTo>
                        <a:pt x="293" y="1097"/>
                      </a:lnTo>
                      <a:lnTo>
                        <a:pt x="292" y="1096"/>
                      </a:lnTo>
                      <a:lnTo>
                        <a:pt x="292" y="1096"/>
                      </a:lnTo>
                      <a:lnTo>
                        <a:pt x="292" y="1095"/>
                      </a:lnTo>
                      <a:lnTo>
                        <a:pt x="288" y="1095"/>
                      </a:lnTo>
                      <a:lnTo>
                        <a:pt x="287" y="1096"/>
                      </a:lnTo>
                      <a:lnTo>
                        <a:pt x="287" y="1096"/>
                      </a:lnTo>
                      <a:lnTo>
                        <a:pt x="286" y="1096"/>
                      </a:lnTo>
                      <a:lnTo>
                        <a:pt x="286" y="1096"/>
                      </a:lnTo>
                      <a:lnTo>
                        <a:pt x="286" y="1097"/>
                      </a:lnTo>
                      <a:lnTo>
                        <a:pt x="286" y="1097"/>
                      </a:lnTo>
                      <a:lnTo>
                        <a:pt x="286" y="1097"/>
                      </a:lnTo>
                      <a:lnTo>
                        <a:pt x="286" y="1097"/>
                      </a:lnTo>
                      <a:lnTo>
                        <a:pt x="284" y="1097"/>
                      </a:lnTo>
                      <a:lnTo>
                        <a:pt x="284" y="1097"/>
                      </a:lnTo>
                      <a:lnTo>
                        <a:pt x="284" y="1097"/>
                      </a:lnTo>
                      <a:lnTo>
                        <a:pt x="284" y="1098"/>
                      </a:lnTo>
                      <a:lnTo>
                        <a:pt x="283" y="1098"/>
                      </a:lnTo>
                      <a:lnTo>
                        <a:pt x="283" y="1098"/>
                      </a:lnTo>
                      <a:lnTo>
                        <a:pt x="284" y="1099"/>
                      </a:lnTo>
                      <a:lnTo>
                        <a:pt x="286" y="1099"/>
                      </a:lnTo>
                      <a:lnTo>
                        <a:pt x="284" y="1099"/>
                      </a:lnTo>
                      <a:lnTo>
                        <a:pt x="286" y="1099"/>
                      </a:lnTo>
                      <a:lnTo>
                        <a:pt x="284" y="1100"/>
                      </a:lnTo>
                      <a:lnTo>
                        <a:pt x="284" y="1100"/>
                      </a:lnTo>
                      <a:lnTo>
                        <a:pt x="284" y="1101"/>
                      </a:lnTo>
                      <a:lnTo>
                        <a:pt x="284" y="1102"/>
                      </a:lnTo>
                      <a:lnTo>
                        <a:pt x="283" y="1101"/>
                      </a:lnTo>
                      <a:lnTo>
                        <a:pt x="283" y="1101"/>
                      </a:lnTo>
                      <a:lnTo>
                        <a:pt x="284" y="1101"/>
                      </a:lnTo>
                      <a:lnTo>
                        <a:pt x="284" y="1101"/>
                      </a:lnTo>
                      <a:lnTo>
                        <a:pt x="283" y="1101"/>
                      </a:lnTo>
                      <a:lnTo>
                        <a:pt x="283" y="1101"/>
                      </a:lnTo>
                      <a:lnTo>
                        <a:pt x="282" y="1101"/>
                      </a:lnTo>
                      <a:lnTo>
                        <a:pt x="282" y="1101"/>
                      </a:lnTo>
                      <a:lnTo>
                        <a:pt x="282" y="1101"/>
                      </a:lnTo>
                      <a:lnTo>
                        <a:pt x="282" y="1102"/>
                      </a:lnTo>
                      <a:lnTo>
                        <a:pt x="281" y="1102"/>
                      </a:lnTo>
                      <a:lnTo>
                        <a:pt x="281" y="1101"/>
                      </a:lnTo>
                      <a:lnTo>
                        <a:pt x="281" y="1101"/>
                      </a:lnTo>
                      <a:lnTo>
                        <a:pt x="281" y="1102"/>
                      </a:lnTo>
                      <a:lnTo>
                        <a:pt x="281" y="1103"/>
                      </a:lnTo>
                      <a:lnTo>
                        <a:pt x="279" y="1103"/>
                      </a:lnTo>
                      <a:lnTo>
                        <a:pt x="279" y="1102"/>
                      </a:lnTo>
                      <a:lnTo>
                        <a:pt x="279" y="1102"/>
                      </a:lnTo>
                      <a:lnTo>
                        <a:pt x="279" y="1102"/>
                      </a:lnTo>
                      <a:lnTo>
                        <a:pt x="278" y="1102"/>
                      </a:lnTo>
                      <a:lnTo>
                        <a:pt x="277" y="1102"/>
                      </a:lnTo>
                      <a:lnTo>
                        <a:pt x="277" y="1102"/>
                      </a:lnTo>
                      <a:lnTo>
                        <a:pt x="277" y="1101"/>
                      </a:lnTo>
                      <a:lnTo>
                        <a:pt x="277" y="1100"/>
                      </a:lnTo>
                      <a:lnTo>
                        <a:pt x="277" y="1100"/>
                      </a:lnTo>
                      <a:lnTo>
                        <a:pt x="277" y="1100"/>
                      </a:lnTo>
                      <a:lnTo>
                        <a:pt x="277" y="1100"/>
                      </a:lnTo>
                      <a:lnTo>
                        <a:pt x="277" y="1100"/>
                      </a:lnTo>
                      <a:lnTo>
                        <a:pt x="277" y="1098"/>
                      </a:lnTo>
                      <a:lnTo>
                        <a:pt x="276" y="1098"/>
                      </a:lnTo>
                      <a:lnTo>
                        <a:pt x="275" y="1098"/>
                      </a:lnTo>
                      <a:lnTo>
                        <a:pt x="276" y="1097"/>
                      </a:lnTo>
                      <a:lnTo>
                        <a:pt x="276" y="1096"/>
                      </a:lnTo>
                      <a:lnTo>
                        <a:pt x="275" y="1096"/>
                      </a:lnTo>
                      <a:lnTo>
                        <a:pt x="274" y="1097"/>
                      </a:lnTo>
                      <a:lnTo>
                        <a:pt x="274" y="1097"/>
                      </a:lnTo>
                      <a:lnTo>
                        <a:pt x="275" y="1097"/>
                      </a:lnTo>
                      <a:lnTo>
                        <a:pt x="275" y="1098"/>
                      </a:lnTo>
                      <a:lnTo>
                        <a:pt x="274" y="1098"/>
                      </a:lnTo>
                      <a:lnTo>
                        <a:pt x="273" y="1097"/>
                      </a:lnTo>
                      <a:lnTo>
                        <a:pt x="273" y="1096"/>
                      </a:lnTo>
                      <a:lnTo>
                        <a:pt x="272" y="1097"/>
                      </a:lnTo>
                      <a:lnTo>
                        <a:pt x="272" y="1097"/>
                      </a:lnTo>
                      <a:lnTo>
                        <a:pt x="272" y="1097"/>
                      </a:lnTo>
                      <a:lnTo>
                        <a:pt x="271" y="1096"/>
                      </a:lnTo>
                      <a:lnTo>
                        <a:pt x="271" y="1096"/>
                      </a:lnTo>
                      <a:lnTo>
                        <a:pt x="272" y="1096"/>
                      </a:lnTo>
                      <a:lnTo>
                        <a:pt x="272" y="1096"/>
                      </a:lnTo>
                      <a:lnTo>
                        <a:pt x="270" y="1096"/>
                      </a:lnTo>
                      <a:lnTo>
                        <a:pt x="269" y="1094"/>
                      </a:lnTo>
                      <a:lnTo>
                        <a:pt x="269" y="1094"/>
                      </a:lnTo>
                      <a:lnTo>
                        <a:pt x="268" y="1095"/>
                      </a:lnTo>
                      <a:lnTo>
                        <a:pt x="269" y="1096"/>
                      </a:lnTo>
                      <a:lnTo>
                        <a:pt x="269" y="1097"/>
                      </a:lnTo>
                      <a:lnTo>
                        <a:pt x="270" y="1098"/>
                      </a:lnTo>
                      <a:lnTo>
                        <a:pt x="270" y="1098"/>
                      </a:lnTo>
                      <a:lnTo>
                        <a:pt x="270" y="1098"/>
                      </a:lnTo>
                      <a:lnTo>
                        <a:pt x="270" y="1099"/>
                      </a:lnTo>
                      <a:lnTo>
                        <a:pt x="270" y="1099"/>
                      </a:lnTo>
                      <a:lnTo>
                        <a:pt x="271" y="1100"/>
                      </a:lnTo>
                      <a:lnTo>
                        <a:pt x="271" y="1102"/>
                      </a:lnTo>
                      <a:lnTo>
                        <a:pt x="271" y="1101"/>
                      </a:lnTo>
                      <a:lnTo>
                        <a:pt x="271" y="1102"/>
                      </a:lnTo>
                      <a:lnTo>
                        <a:pt x="272" y="1102"/>
                      </a:lnTo>
                      <a:lnTo>
                        <a:pt x="272" y="1101"/>
                      </a:lnTo>
                      <a:lnTo>
                        <a:pt x="272" y="1102"/>
                      </a:lnTo>
                      <a:lnTo>
                        <a:pt x="272" y="1101"/>
                      </a:lnTo>
                      <a:lnTo>
                        <a:pt x="272" y="1101"/>
                      </a:lnTo>
                      <a:lnTo>
                        <a:pt x="272" y="1101"/>
                      </a:lnTo>
                      <a:lnTo>
                        <a:pt x="272" y="1101"/>
                      </a:lnTo>
                      <a:lnTo>
                        <a:pt x="273" y="1100"/>
                      </a:lnTo>
                      <a:lnTo>
                        <a:pt x="274" y="1100"/>
                      </a:lnTo>
                      <a:lnTo>
                        <a:pt x="274" y="1101"/>
                      </a:lnTo>
                      <a:lnTo>
                        <a:pt x="274" y="1101"/>
                      </a:lnTo>
                      <a:lnTo>
                        <a:pt x="274" y="1102"/>
                      </a:lnTo>
                      <a:lnTo>
                        <a:pt x="274" y="1103"/>
                      </a:lnTo>
                      <a:lnTo>
                        <a:pt x="273" y="1103"/>
                      </a:lnTo>
                      <a:lnTo>
                        <a:pt x="272" y="1103"/>
                      </a:lnTo>
                      <a:lnTo>
                        <a:pt x="272" y="1104"/>
                      </a:lnTo>
                      <a:lnTo>
                        <a:pt x="272" y="1104"/>
                      </a:lnTo>
                      <a:lnTo>
                        <a:pt x="272" y="1105"/>
                      </a:lnTo>
                      <a:lnTo>
                        <a:pt x="271" y="1105"/>
                      </a:lnTo>
                      <a:lnTo>
                        <a:pt x="271" y="1105"/>
                      </a:lnTo>
                      <a:lnTo>
                        <a:pt x="272" y="1106"/>
                      </a:lnTo>
                      <a:lnTo>
                        <a:pt x="273" y="1107"/>
                      </a:lnTo>
                      <a:lnTo>
                        <a:pt x="273" y="1107"/>
                      </a:lnTo>
                      <a:lnTo>
                        <a:pt x="272" y="1107"/>
                      </a:lnTo>
                      <a:lnTo>
                        <a:pt x="272" y="1107"/>
                      </a:lnTo>
                      <a:lnTo>
                        <a:pt x="272" y="1108"/>
                      </a:lnTo>
                      <a:lnTo>
                        <a:pt x="273" y="1109"/>
                      </a:lnTo>
                      <a:lnTo>
                        <a:pt x="273" y="1109"/>
                      </a:lnTo>
                      <a:lnTo>
                        <a:pt x="273" y="1111"/>
                      </a:lnTo>
                      <a:lnTo>
                        <a:pt x="274" y="1113"/>
                      </a:lnTo>
                      <a:lnTo>
                        <a:pt x="274" y="1113"/>
                      </a:lnTo>
                      <a:lnTo>
                        <a:pt x="274" y="1114"/>
                      </a:lnTo>
                      <a:lnTo>
                        <a:pt x="274" y="1115"/>
                      </a:lnTo>
                      <a:lnTo>
                        <a:pt x="275" y="1116"/>
                      </a:lnTo>
                      <a:lnTo>
                        <a:pt x="275" y="1117"/>
                      </a:lnTo>
                      <a:lnTo>
                        <a:pt x="274" y="1118"/>
                      </a:lnTo>
                      <a:lnTo>
                        <a:pt x="273" y="1118"/>
                      </a:lnTo>
                      <a:lnTo>
                        <a:pt x="273" y="1119"/>
                      </a:lnTo>
                      <a:lnTo>
                        <a:pt x="272" y="1119"/>
                      </a:lnTo>
                      <a:lnTo>
                        <a:pt x="271" y="1119"/>
                      </a:lnTo>
                      <a:lnTo>
                        <a:pt x="269" y="1119"/>
                      </a:lnTo>
                      <a:lnTo>
                        <a:pt x="269" y="1120"/>
                      </a:lnTo>
                      <a:lnTo>
                        <a:pt x="268" y="1120"/>
                      </a:lnTo>
                      <a:lnTo>
                        <a:pt x="267" y="1120"/>
                      </a:lnTo>
                      <a:lnTo>
                        <a:pt x="267" y="1121"/>
                      </a:lnTo>
                      <a:lnTo>
                        <a:pt x="266" y="1121"/>
                      </a:lnTo>
                      <a:lnTo>
                        <a:pt x="264" y="1121"/>
                      </a:lnTo>
                      <a:lnTo>
                        <a:pt x="264" y="1121"/>
                      </a:lnTo>
                      <a:lnTo>
                        <a:pt x="264" y="1121"/>
                      </a:lnTo>
                      <a:lnTo>
                        <a:pt x="265" y="1121"/>
                      </a:lnTo>
                      <a:lnTo>
                        <a:pt x="265" y="1122"/>
                      </a:lnTo>
                      <a:lnTo>
                        <a:pt x="264" y="1122"/>
                      </a:lnTo>
                      <a:lnTo>
                        <a:pt x="264" y="1123"/>
                      </a:lnTo>
                      <a:lnTo>
                        <a:pt x="265" y="1123"/>
                      </a:lnTo>
                      <a:lnTo>
                        <a:pt x="266" y="1121"/>
                      </a:lnTo>
                      <a:lnTo>
                        <a:pt x="267" y="1121"/>
                      </a:lnTo>
                      <a:lnTo>
                        <a:pt x="268" y="1121"/>
                      </a:lnTo>
                      <a:lnTo>
                        <a:pt x="269" y="1120"/>
                      </a:lnTo>
                      <a:lnTo>
                        <a:pt x="271" y="1120"/>
                      </a:lnTo>
                      <a:lnTo>
                        <a:pt x="271" y="1120"/>
                      </a:lnTo>
                      <a:lnTo>
                        <a:pt x="272" y="1120"/>
                      </a:lnTo>
                      <a:lnTo>
                        <a:pt x="273" y="1120"/>
                      </a:lnTo>
                      <a:lnTo>
                        <a:pt x="274" y="1120"/>
                      </a:lnTo>
                      <a:lnTo>
                        <a:pt x="275" y="1122"/>
                      </a:lnTo>
                      <a:lnTo>
                        <a:pt x="274" y="1123"/>
                      </a:lnTo>
                      <a:lnTo>
                        <a:pt x="274" y="1123"/>
                      </a:lnTo>
                      <a:lnTo>
                        <a:pt x="274" y="1124"/>
                      </a:lnTo>
                      <a:lnTo>
                        <a:pt x="274" y="1124"/>
                      </a:lnTo>
                      <a:lnTo>
                        <a:pt x="274" y="1125"/>
                      </a:lnTo>
                      <a:lnTo>
                        <a:pt x="274" y="1125"/>
                      </a:lnTo>
                      <a:lnTo>
                        <a:pt x="273" y="1125"/>
                      </a:lnTo>
                      <a:lnTo>
                        <a:pt x="273" y="1125"/>
                      </a:lnTo>
                      <a:lnTo>
                        <a:pt x="272" y="1125"/>
                      </a:lnTo>
                      <a:lnTo>
                        <a:pt x="272" y="1126"/>
                      </a:lnTo>
                      <a:lnTo>
                        <a:pt x="271" y="1126"/>
                      </a:lnTo>
                      <a:lnTo>
                        <a:pt x="270" y="1126"/>
                      </a:lnTo>
                      <a:lnTo>
                        <a:pt x="269" y="1124"/>
                      </a:lnTo>
                      <a:lnTo>
                        <a:pt x="267" y="1124"/>
                      </a:lnTo>
                      <a:lnTo>
                        <a:pt x="267" y="1124"/>
                      </a:lnTo>
                      <a:lnTo>
                        <a:pt x="267" y="1124"/>
                      </a:lnTo>
                      <a:lnTo>
                        <a:pt x="267" y="1125"/>
                      </a:lnTo>
                      <a:lnTo>
                        <a:pt x="267" y="1126"/>
                      </a:lnTo>
                      <a:lnTo>
                        <a:pt x="267" y="1126"/>
                      </a:lnTo>
                      <a:lnTo>
                        <a:pt x="267" y="1126"/>
                      </a:lnTo>
                      <a:lnTo>
                        <a:pt x="266" y="1126"/>
                      </a:lnTo>
                      <a:lnTo>
                        <a:pt x="266" y="1125"/>
                      </a:lnTo>
                      <a:lnTo>
                        <a:pt x="265" y="1125"/>
                      </a:lnTo>
                      <a:lnTo>
                        <a:pt x="264" y="1126"/>
                      </a:lnTo>
                      <a:lnTo>
                        <a:pt x="263" y="1126"/>
                      </a:lnTo>
                      <a:lnTo>
                        <a:pt x="262" y="1126"/>
                      </a:lnTo>
                      <a:lnTo>
                        <a:pt x="261" y="1126"/>
                      </a:lnTo>
                      <a:lnTo>
                        <a:pt x="261" y="1125"/>
                      </a:lnTo>
                      <a:lnTo>
                        <a:pt x="261" y="1125"/>
                      </a:lnTo>
                      <a:lnTo>
                        <a:pt x="258" y="1125"/>
                      </a:lnTo>
                      <a:lnTo>
                        <a:pt x="258" y="1124"/>
                      </a:lnTo>
                      <a:lnTo>
                        <a:pt x="257" y="1124"/>
                      </a:lnTo>
                      <a:lnTo>
                        <a:pt x="256" y="1124"/>
                      </a:lnTo>
                      <a:lnTo>
                        <a:pt x="255" y="1124"/>
                      </a:lnTo>
                      <a:lnTo>
                        <a:pt x="255" y="1123"/>
                      </a:lnTo>
                      <a:lnTo>
                        <a:pt x="254" y="1122"/>
                      </a:lnTo>
                      <a:lnTo>
                        <a:pt x="252" y="1122"/>
                      </a:lnTo>
                      <a:lnTo>
                        <a:pt x="252" y="1122"/>
                      </a:lnTo>
                      <a:lnTo>
                        <a:pt x="251" y="1122"/>
                      </a:lnTo>
                      <a:lnTo>
                        <a:pt x="250" y="1121"/>
                      </a:lnTo>
                      <a:lnTo>
                        <a:pt x="250" y="1121"/>
                      </a:lnTo>
                      <a:lnTo>
                        <a:pt x="250" y="1122"/>
                      </a:lnTo>
                      <a:lnTo>
                        <a:pt x="250" y="1122"/>
                      </a:lnTo>
                      <a:lnTo>
                        <a:pt x="250" y="1122"/>
                      </a:lnTo>
                      <a:lnTo>
                        <a:pt x="250" y="1122"/>
                      </a:lnTo>
                      <a:lnTo>
                        <a:pt x="250" y="1123"/>
                      </a:lnTo>
                      <a:lnTo>
                        <a:pt x="251" y="1123"/>
                      </a:lnTo>
                      <a:lnTo>
                        <a:pt x="251" y="1123"/>
                      </a:lnTo>
                      <a:lnTo>
                        <a:pt x="252" y="1123"/>
                      </a:lnTo>
                      <a:lnTo>
                        <a:pt x="252" y="1123"/>
                      </a:lnTo>
                      <a:lnTo>
                        <a:pt x="252" y="1123"/>
                      </a:lnTo>
                      <a:lnTo>
                        <a:pt x="252" y="1123"/>
                      </a:lnTo>
                      <a:lnTo>
                        <a:pt x="253" y="1123"/>
                      </a:lnTo>
                      <a:lnTo>
                        <a:pt x="254" y="1124"/>
                      </a:lnTo>
                      <a:lnTo>
                        <a:pt x="254" y="1124"/>
                      </a:lnTo>
                      <a:lnTo>
                        <a:pt x="255" y="1124"/>
                      </a:lnTo>
                      <a:lnTo>
                        <a:pt x="254" y="1126"/>
                      </a:lnTo>
                      <a:lnTo>
                        <a:pt x="255" y="1126"/>
                      </a:lnTo>
                      <a:lnTo>
                        <a:pt x="255" y="1125"/>
                      </a:lnTo>
                      <a:lnTo>
                        <a:pt x="256" y="1125"/>
                      </a:lnTo>
                      <a:lnTo>
                        <a:pt x="257" y="1126"/>
                      </a:lnTo>
                      <a:lnTo>
                        <a:pt x="257" y="1127"/>
                      </a:lnTo>
                      <a:lnTo>
                        <a:pt x="258" y="1127"/>
                      </a:lnTo>
                      <a:lnTo>
                        <a:pt x="258" y="1128"/>
                      </a:lnTo>
                      <a:lnTo>
                        <a:pt x="258" y="1127"/>
                      </a:lnTo>
                      <a:lnTo>
                        <a:pt x="257" y="1126"/>
                      </a:lnTo>
                      <a:lnTo>
                        <a:pt x="257" y="1125"/>
                      </a:lnTo>
                      <a:lnTo>
                        <a:pt x="258" y="1125"/>
                      </a:lnTo>
                      <a:lnTo>
                        <a:pt x="259" y="1126"/>
                      </a:lnTo>
                      <a:lnTo>
                        <a:pt x="258" y="1126"/>
                      </a:lnTo>
                      <a:lnTo>
                        <a:pt x="259" y="1126"/>
                      </a:lnTo>
                      <a:lnTo>
                        <a:pt x="260" y="1126"/>
                      </a:lnTo>
                      <a:lnTo>
                        <a:pt x="261" y="1126"/>
                      </a:lnTo>
                      <a:lnTo>
                        <a:pt x="261" y="1126"/>
                      </a:lnTo>
                      <a:lnTo>
                        <a:pt x="261" y="1127"/>
                      </a:lnTo>
                      <a:lnTo>
                        <a:pt x="262" y="1127"/>
                      </a:lnTo>
                      <a:lnTo>
                        <a:pt x="262" y="1129"/>
                      </a:lnTo>
                      <a:lnTo>
                        <a:pt x="262" y="1129"/>
                      </a:lnTo>
                      <a:lnTo>
                        <a:pt x="262" y="1129"/>
                      </a:lnTo>
                      <a:lnTo>
                        <a:pt x="262" y="1129"/>
                      </a:lnTo>
                      <a:lnTo>
                        <a:pt x="261" y="1130"/>
                      </a:lnTo>
                      <a:lnTo>
                        <a:pt x="261" y="1130"/>
                      </a:lnTo>
                      <a:lnTo>
                        <a:pt x="261" y="1129"/>
                      </a:lnTo>
                      <a:lnTo>
                        <a:pt x="260" y="1130"/>
                      </a:lnTo>
                      <a:lnTo>
                        <a:pt x="259" y="1131"/>
                      </a:lnTo>
                      <a:lnTo>
                        <a:pt x="258" y="1132"/>
                      </a:lnTo>
                      <a:lnTo>
                        <a:pt x="257" y="1132"/>
                      </a:lnTo>
                      <a:lnTo>
                        <a:pt x="257" y="1133"/>
                      </a:lnTo>
                      <a:lnTo>
                        <a:pt x="257" y="1134"/>
                      </a:lnTo>
                      <a:lnTo>
                        <a:pt x="256" y="1135"/>
                      </a:lnTo>
                      <a:lnTo>
                        <a:pt x="255" y="1135"/>
                      </a:lnTo>
                      <a:lnTo>
                        <a:pt x="255" y="1136"/>
                      </a:lnTo>
                      <a:lnTo>
                        <a:pt x="254" y="1136"/>
                      </a:lnTo>
                      <a:lnTo>
                        <a:pt x="253" y="1136"/>
                      </a:lnTo>
                      <a:lnTo>
                        <a:pt x="251" y="1136"/>
                      </a:lnTo>
                      <a:lnTo>
                        <a:pt x="250" y="1136"/>
                      </a:lnTo>
                      <a:lnTo>
                        <a:pt x="250" y="1137"/>
                      </a:lnTo>
                      <a:lnTo>
                        <a:pt x="249" y="1138"/>
                      </a:lnTo>
                      <a:lnTo>
                        <a:pt x="247" y="1137"/>
                      </a:lnTo>
                      <a:lnTo>
                        <a:pt x="247" y="1136"/>
                      </a:lnTo>
                      <a:lnTo>
                        <a:pt x="246" y="1137"/>
                      </a:lnTo>
                      <a:lnTo>
                        <a:pt x="247" y="1137"/>
                      </a:lnTo>
                      <a:lnTo>
                        <a:pt x="246" y="1137"/>
                      </a:lnTo>
                      <a:lnTo>
                        <a:pt x="246" y="1137"/>
                      </a:lnTo>
                      <a:lnTo>
                        <a:pt x="246" y="1137"/>
                      </a:lnTo>
                      <a:lnTo>
                        <a:pt x="246" y="1136"/>
                      </a:lnTo>
                      <a:lnTo>
                        <a:pt x="245" y="1136"/>
                      </a:lnTo>
                      <a:lnTo>
                        <a:pt x="244" y="1136"/>
                      </a:lnTo>
                      <a:lnTo>
                        <a:pt x="245" y="1137"/>
                      </a:lnTo>
                      <a:lnTo>
                        <a:pt x="244" y="1138"/>
                      </a:lnTo>
                      <a:lnTo>
                        <a:pt x="243" y="1138"/>
                      </a:lnTo>
                      <a:lnTo>
                        <a:pt x="243" y="1138"/>
                      </a:lnTo>
                      <a:lnTo>
                        <a:pt x="243" y="1139"/>
                      </a:lnTo>
                      <a:lnTo>
                        <a:pt x="242" y="1139"/>
                      </a:lnTo>
                      <a:lnTo>
                        <a:pt x="242" y="1139"/>
                      </a:lnTo>
                      <a:lnTo>
                        <a:pt x="241" y="1138"/>
                      </a:lnTo>
                      <a:lnTo>
                        <a:pt x="242" y="1138"/>
                      </a:lnTo>
                      <a:lnTo>
                        <a:pt x="240" y="1138"/>
                      </a:lnTo>
                      <a:lnTo>
                        <a:pt x="240" y="1137"/>
                      </a:lnTo>
                      <a:lnTo>
                        <a:pt x="240" y="1137"/>
                      </a:lnTo>
                      <a:lnTo>
                        <a:pt x="240" y="1138"/>
                      </a:lnTo>
                      <a:lnTo>
                        <a:pt x="240" y="1138"/>
                      </a:lnTo>
                      <a:lnTo>
                        <a:pt x="240" y="1139"/>
                      </a:lnTo>
                      <a:lnTo>
                        <a:pt x="239" y="1139"/>
                      </a:lnTo>
                      <a:lnTo>
                        <a:pt x="238" y="1140"/>
                      </a:lnTo>
                      <a:lnTo>
                        <a:pt x="235" y="1140"/>
                      </a:lnTo>
                      <a:lnTo>
                        <a:pt x="233" y="1140"/>
                      </a:lnTo>
                      <a:lnTo>
                        <a:pt x="233" y="1140"/>
                      </a:lnTo>
                      <a:lnTo>
                        <a:pt x="231" y="1141"/>
                      </a:lnTo>
                      <a:lnTo>
                        <a:pt x="231" y="1141"/>
                      </a:lnTo>
                      <a:lnTo>
                        <a:pt x="230" y="1141"/>
                      </a:lnTo>
                      <a:lnTo>
                        <a:pt x="230" y="1141"/>
                      </a:lnTo>
                      <a:lnTo>
                        <a:pt x="228" y="1141"/>
                      </a:lnTo>
                      <a:lnTo>
                        <a:pt x="228" y="1142"/>
                      </a:lnTo>
                      <a:lnTo>
                        <a:pt x="226" y="1142"/>
                      </a:lnTo>
                      <a:lnTo>
                        <a:pt x="225" y="1142"/>
                      </a:lnTo>
                      <a:lnTo>
                        <a:pt x="223" y="1142"/>
                      </a:lnTo>
                      <a:lnTo>
                        <a:pt x="222" y="1143"/>
                      </a:lnTo>
                      <a:lnTo>
                        <a:pt x="221" y="1143"/>
                      </a:lnTo>
                      <a:lnTo>
                        <a:pt x="219" y="1143"/>
                      </a:lnTo>
                      <a:lnTo>
                        <a:pt x="219" y="1144"/>
                      </a:lnTo>
                      <a:lnTo>
                        <a:pt x="220" y="1144"/>
                      </a:lnTo>
                      <a:lnTo>
                        <a:pt x="220" y="1145"/>
                      </a:lnTo>
                      <a:lnTo>
                        <a:pt x="221" y="1145"/>
                      </a:lnTo>
                      <a:lnTo>
                        <a:pt x="221" y="1144"/>
                      </a:lnTo>
                      <a:lnTo>
                        <a:pt x="221" y="1144"/>
                      </a:lnTo>
                      <a:lnTo>
                        <a:pt x="221" y="1144"/>
                      </a:lnTo>
                      <a:lnTo>
                        <a:pt x="224" y="1143"/>
                      </a:lnTo>
                      <a:lnTo>
                        <a:pt x="224" y="1143"/>
                      </a:lnTo>
                      <a:lnTo>
                        <a:pt x="224" y="1144"/>
                      </a:lnTo>
                      <a:lnTo>
                        <a:pt x="224" y="1144"/>
                      </a:lnTo>
                      <a:lnTo>
                        <a:pt x="224" y="1144"/>
                      </a:lnTo>
                      <a:lnTo>
                        <a:pt x="225" y="1142"/>
                      </a:lnTo>
                      <a:lnTo>
                        <a:pt x="225" y="1142"/>
                      </a:lnTo>
                      <a:lnTo>
                        <a:pt x="226" y="1142"/>
                      </a:lnTo>
                      <a:lnTo>
                        <a:pt x="227" y="1142"/>
                      </a:lnTo>
                      <a:lnTo>
                        <a:pt x="227" y="1142"/>
                      </a:lnTo>
                      <a:lnTo>
                        <a:pt x="227" y="1142"/>
                      </a:lnTo>
                      <a:lnTo>
                        <a:pt x="229" y="1142"/>
                      </a:lnTo>
                      <a:lnTo>
                        <a:pt x="230" y="1142"/>
                      </a:lnTo>
                      <a:lnTo>
                        <a:pt x="231" y="1142"/>
                      </a:lnTo>
                      <a:lnTo>
                        <a:pt x="232" y="1143"/>
                      </a:lnTo>
                      <a:lnTo>
                        <a:pt x="232" y="1143"/>
                      </a:lnTo>
                      <a:lnTo>
                        <a:pt x="233" y="1144"/>
                      </a:lnTo>
                      <a:lnTo>
                        <a:pt x="233" y="1143"/>
                      </a:lnTo>
                      <a:lnTo>
                        <a:pt x="233" y="1143"/>
                      </a:lnTo>
                      <a:lnTo>
                        <a:pt x="233" y="1142"/>
                      </a:lnTo>
                      <a:lnTo>
                        <a:pt x="233" y="1142"/>
                      </a:lnTo>
                      <a:lnTo>
                        <a:pt x="234" y="1142"/>
                      </a:lnTo>
                      <a:lnTo>
                        <a:pt x="235" y="1142"/>
                      </a:lnTo>
                      <a:lnTo>
                        <a:pt x="235" y="1142"/>
                      </a:lnTo>
                      <a:lnTo>
                        <a:pt x="235" y="1142"/>
                      </a:lnTo>
                      <a:lnTo>
                        <a:pt x="236" y="1142"/>
                      </a:lnTo>
                      <a:lnTo>
                        <a:pt x="236" y="1142"/>
                      </a:lnTo>
                      <a:lnTo>
                        <a:pt x="237" y="1142"/>
                      </a:lnTo>
                      <a:lnTo>
                        <a:pt x="238" y="1142"/>
                      </a:lnTo>
                      <a:lnTo>
                        <a:pt x="238" y="1142"/>
                      </a:lnTo>
                      <a:lnTo>
                        <a:pt x="238" y="1143"/>
                      </a:lnTo>
                      <a:lnTo>
                        <a:pt x="238" y="1142"/>
                      </a:lnTo>
                      <a:lnTo>
                        <a:pt x="239" y="1142"/>
                      </a:lnTo>
                      <a:lnTo>
                        <a:pt x="239" y="1142"/>
                      </a:lnTo>
                      <a:lnTo>
                        <a:pt x="240" y="1142"/>
                      </a:lnTo>
                      <a:lnTo>
                        <a:pt x="241" y="1142"/>
                      </a:lnTo>
                      <a:lnTo>
                        <a:pt x="241" y="1142"/>
                      </a:lnTo>
                      <a:lnTo>
                        <a:pt x="241" y="1142"/>
                      </a:lnTo>
                      <a:lnTo>
                        <a:pt x="242" y="1142"/>
                      </a:lnTo>
                      <a:lnTo>
                        <a:pt x="244" y="1140"/>
                      </a:lnTo>
                      <a:lnTo>
                        <a:pt x="246" y="1140"/>
                      </a:lnTo>
                      <a:lnTo>
                        <a:pt x="251" y="1139"/>
                      </a:lnTo>
                      <a:lnTo>
                        <a:pt x="251" y="1140"/>
                      </a:lnTo>
                      <a:lnTo>
                        <a:pt x="252" y="1140"/>
                      </a:lnTo>
                      <a:lnTo>
                        <a:pt x="252" y="1140"/>
                      </a:lnTo>
                      <a:lnTo>
                        <a:pt x="253" y="1139"/>
                      </a:lnTo>
                      <a:lnTo>
                        <a:pt x="253" y="1139"/>
                      </a:lnTo>
                      <a:lnTo>
                        <a:pt x="255" y="1138"/>
                      </a:lnTo>
                      <a:lnTo>
                        <a:pt x="256" y="1139"/>
                      </a:lnTo>
                      <a:lnTo>
                        <a:pt x="257" y="1139"/>
                      </a:lnTo>
                      <a:lnTo>
                        <a:pt x="257" y="1139"/>
                      </a:lnTo>
                      <a:lnTo>
                        <a:pt x="257" y="1139"/>
                      </a:lnTo>
                      <a:lnTo>
                        <a:pt x="258" y="1139"/>
                      </a:lnTo>
                      <a:lnTo>
                        <a:pt x="259" y="1139"/>
                      </a:lnTo>
                      <a:lnTo>
                        <a:pt x="259" y="1139"/>
                      </a:lnTo>
                      <a:lnTo>
                        <a:pt x="260" y="1140"/>
                      </a:lnTo>
                      <a:lnTo>
                        <a:pt x="261" y="1140"/>
                      </a:lnTo>
                      <a:lnTo>
                        <a:pt x="261" y="1140"/>
                      </a:lnTo>
                      <a:lnTo>
                        <a:pt x="262" y="1140"/>
                      </a:lnTo>
                      <a:lnTo>
                        <a:pt x="262" y="1140"/>
                      </a:lnTo>
                      <a:lnTo>
                        <a:pt x="262" y="1140"/>
                      </a:lnTo>
                      <a:lnTo>
                        <a:pt x="262" y="1138"/>
                      </a:lnTo>
                      <a:lnTo>
                        <a:pt x="263" y="1138"/>
                      </a:lnTo>
                      <a:lnTo>
                        <a:pt x="263" y="1138"/>
                      </a:lnTo>
                      <a:lnTo>
                        <a:pt x="263" y="1138"/>
                      </a:lnTo>
                      <a:lnTo>
                        <a:pt x="262" y="1138"/>
                      </a:lnTo>
                      <a:lnTo>
                        <a:pt x="261" y="1138"/>
                      </a:lnTo>
                      <a:lnTo>
                        <a:pt x="261" y="1138"/>
                      </a:lnTo>
                      <a:lnTo>
                        <a:pt x="260" y="1138"/>
                      </a:lnTo>
                      <a:lnTo>
                        <a:pt x="260" y="1138"/>
                      </a:lnTo>
                      <a:lnTo>
                        <a:pt x="261" y="1137"/>
                      </a:lnTo>
                      <a:lnTo>
                        <a:pt x="262" y="1137"/>
                      </a:lnTo>
                      <a:lnTo>
                        <a:pt x="262" y="1136"/>
                      </a:lnTo>
                      <a:lnTo>
                        <a:pt x="262" y="1135"/>
                      </a:lnTo>
                      <a:lnTo>
                        <a:pt x="264" y="1135"/>
                      </a:lnTo>
                      <a:lnTo>
                        <a:pt x="264" y="1135"/>
                      </a:lnTo>
                      <a:lnTo>
                        <a:pt x="264" y="1135"/>
                      </a:lnTo>
                      <a:lnTo>
                        <a:pt x="264" y="1136"/>
                      </a:lnTo>
                      <a:lnTo>
                        <a:pt x="264" y="1136"/>
                      </a:lnTo>
                      <a:lnTo>
                        <a:pt x="265" y="1136"/>
                      </a:lnTo>
                      <a:lnTo>
                        <a:pt x="265" y="1135"/>
                      </a:lnTo>
                      <a:lnTo>
                        <a:pt x="264" y="1134"/>
                      </a:lnTo>
                      <a:lnTo>
                        <a:pt x="265" y="1134"/>
                      </a:lnTo>
                      <a:lnTo>
                        <a:pt x="265" y="1134"/>
                      </a:lnTo>
                      <a:lnTo>
                        <a:pt x="267" y="1134"/>
                      </a:lnTo>
                      <a:lnTo>
                        <a:pt x="267" y="1133"/>
                      </a:lnTo>
                      <a:lnTo>
                        <a:pt x="268" y="1133"/>
                      </a:lnTo>
                      <a:lnTo>
                        <a:pt x="268" y="1133"/>
                      </a:lnTo>
                      <a:lnTo>
                        <a:pt x="268" y="1134"/>
                      </a:lnTo>
                      <a:lnTo>
                        <a:pt x="268" y="1136"/>
                      </a:lnTo>
                      <a:lnTo>
                        <a:pt x="269" y="1136"/>
                      </a:lnTo>
                      <a:lnTo>
                        <a:pt x="268" y="1135"/>
                      </a:lnTo>
                      <a:lnTo>
                        <a:pt x="268" y="1134"/>
                      </a:lnTo>
                      <a:lnTo>
                        <a:pt x="269" y="1134"/>
                      </a:lnTo>
                      <a:lnTo>
                        <a:pt x="270" y="1134"/>
                      </a:lnTo>
                      <a:lnTo>
                        <a:pt x="269" y="1135"/>
                      </a:lnTo>
                      <a:lnTo>
                        <a:pt x="269" y="1135"/>
                      </a:lnTo>
                      <a:lnTo>
                        <a:pt x="270" y="1135"/>
                      </a:lnTo>
                      <a:lnTo>
                        <a:pt x="271" y="1135"/>
                      </a:lnTo>
                      <a:lnTo>
                        <a:pt x="270" y="1136"/>
                      </a:lnTo>
                      <a:lnTo>
                        <a:pt x="270" y="1136"/>
                      </a:lnTo>
                      <a:lnTo>
                        <a:pt x="269" y="1137"/>
                      </a:lnTo>
                      <a:lnTo>
                        <a:pt x="268" y="1136"/>
                      </a:lnTo>
                      <a:lnTo>
                        <a:pt x="269" y="1137"/>
                      </a:lnTo>
                      <a:lnTo>
                        <a:pt x="268" y="1137"/>
                      </a:lnTo>
                      <a:lnTo>
                        <a:pt x="268" y="1138"/>
                      </a:lnTo>
                      <a:lnTo>
                        <a:pt x="267" y="1138"/>
                      </a:lnTo>
                      <a:lnTo>
                        <a:pt x="267" y="1139"/>
                      </a:lnTo>
                      <a:lnTo>
                        <a:pt x="268" y="1139"/>
                      </a:lnTo>
                      <a:lnTo>
                        <a:pt x="270" y="1138"/>
                      </a:lnTo>
                      <a:lnTo>
                        <a:pt x="270" y="1139"/>
                      </a:lnTo>
                      <a:lnTo>
                        <a:pt x="271" y="1140"/>
                      </a:lnTo>
                      <a:lnTo>
                        <a:pt x="270" y="1140"/>
                      </a:lnTo>
                      <a:lnTo>
                        <a:pt x="269" y="1140"/>
                      </a:lnTo>
                      <a:lnTo>
                        <a:pt x="269" y="1141"/>
                      </a:lnTo>
                      <a:lnTo>
                        <a:pt x="269" y="1141"/>
                      </a:lnTo>
                      <a:lnTo>
                        <a:pt x="268" y="1140"/>
                      </a:lnTo>
                      <a:lnTo>
                        <a:pt x="268" y="1140"/>
                      </a:lnTo>
                      <a:lnTo>
                        <a:pt x="268" y="1140"/>
                      </a:lnTo>
                      <a:lnTo>
                        <a:pt x="268" y="1142"/>
                      </a:lnTo>
                      <a:lnTo>
                        <a:pt x="268" y="1142"/>
                      </a:lnTo>
                      <a:lnTo>
                        <a:pt x="268" y="1142"/>
                      </a:lnTo>
                      <a:lnTo>
                        <a:pt x="268" y="1143"/>
                      </a:lnTo>
                      <a:lnTo>
                        <a:pt x="269" y="1143"/>
                      </a:lnTo>
                      <a:lnTo>
                        <a:pt x="270" y="1142"/>
                      </a:lnTo>
                      <a:lnTo>
                        <a:pt x="270" y="1141"/>
                      </a:lnTo>
                      <a:lnTo>
                        <a:pt x="271" y="1141"/>
                      </a:lnTo>
                      <a:lnTo>
                        <a:pt x="271" y="1140"/>
                      </a:lnTo>
                      <a:lnTo>
                        <a:pt x="272" y="1140"/>
                      </a:lnTo>
                      <a:lnTo>
                        <a:pt x="272" y="1140"/>
                      </a:lnTo>
                      <a:lnTo>
                        <a:pt x="272" y="1141"/>
                      </a:lnTo>
                      <a:lnTo>
                        <a:pt x="272" y="1142"/>
                      </a:lnTo>
                      <a:lnTo>
                        <a:pt x="272" y="1142"/>
                      </a:lnTo>
                      <a:lnTo>
                        <a:pt x="272" y="1142"/>
                      </a:lnTo>
                      <a:lnTo>
                        <a:pt x="271" y="1143"/>
                      </a:lnTo>
                      <a:lnTo>
                        <a:pt x="272" y="1144"/>
                      </a:lnTo>
                      <a:lnTo>
                        <a:pt x="272" y="1144"/>
                      </a:lnTo>
                      <a:lnTo>
                        <a:pt x="271" y="1145"/>
                      </a:lnTo>
                      <a:lnTo>
                        <a:pt x="272" y="1145"/>
                      </a:lnTo>
                      <a:lnTo>
                        <a:pt x="272" y="1145"/>
                      </a:lnTo>
                      <a:lnTo>
                        <a:pt x="272" y="1145"/>
                      </a:lnTo>
                      <a:lnTo>
                        <a:pt x="273" y="1145"/>
                      </a:lnTo>
                      <a:lnTo>
                        <a:pt x="274" y="1146"/>
                      </a:lnTo>
                      <a:lnTo>
                        <a:pt x="274" y="1147"/>
                      </a:lnTo>
                      <a:lnTo>
                        <a:pt x="272" y="1151"/>
                      </a:lnTo>
                      <a:lnTo>
                        <a:pt x="272" y="1151"/>
                      </a:lnTo>
                      <a:lnTo>
                        <a:pt x="274" y="1152"/>
                      </a:lnTo>
                      <a:lnTo>
                        <a:pt x="274" y="1153"/>
                      </a:lnTo>
                      <a:lnTo>
                        <a:pt x="274" y="1153"/>
                      </a:lnTo>
                      <a:lnTo>
                        <a:pt x="274" y="1155"/>
                      </a:lnTo>
                      <a:lnTo>
                        <a:pt x="274" y="1155"/>
                      </a:lnTo>
                      <a:lnTo>
                        <a:pt x="273" y="1156"/>
                      </a:lnTo>
                      <a:lnTo>
                        <a:pt x="273" y="1156"/>
                      </a:lnTo>
                      <a:lnTo>
                        <a:pt x="273" y="1157"/>
                      </a:lnTo>
                      <a:lnTo>
                        <a:pt x="274" y="1157"/>
                      </a:lnTo>
                      <a:lnTo>
                        <a:pt x="274" y="1158"/>
                      </a:lnTo>
                      <a:lnTo>
                        <a:pt x="273" y="1158"/>
                      </a:lnTo>
                      <a:lnTo>
                        <a:pt x="273" y="1158"/>
                      </a:lnTo>
                      <a:lnTo>
                        <a:pt x="272" y="1159"/>
                      </a:lnTo>
                      <a:lnTo>
                        <a:pt x="270" y="1159"/>
                      </a:lnTo>
                      <a:lnTo>
                        <a:pt x="270" y="1159"/>
                      </a:lnTo>
                      <a:lnTo>
                        <a:pt x="269" y="1159"/>
                      </a:lnTo>
                      <a:lnTo>
                        <a:pt x="269" y="1159"/>
                      </a:lnTo>
                      <a:lnTo>
                        <a:pt x="264" y="1159"/>
                      </a:lnTo>
                      <a:lnTo>
                        <a:pt x="263" y="1158"/>
                      </a:lnTo>
                      <a:lnTo>
                        <a:pt x="261" y="1158"/>
                      </a:lnTo>
                      <a:lnTo>
                        <a:pt x="260" y="1158"/>
                      </a:lnTo>
                      <a:lnTo>
                        <a:pt x="260" y="1158"/>
                      </a:lnTo>
                      <a:lnTo>
                        <a:pt x="263" y="1158"/>
                      </a:lnTo>
                      <a:lnTo>
                        <a:pt x="263" y="1159"/>
                      </a:lnTo>
                      <a:lnTo>
                        <a:pt x="263" y="1159"/>
                      </a:lnTo>
                      <a:lnTo>
                        <a:pt x="263" y="1159"/>
                      </a:lnTo>
                      <a:lnTo>
                        <a:pt x="264" y="1159"/>
                      </a:lnTo>
                      <a:lnTo>
                        <a:pt x="264" y="1159"/>
                      </a:lnTo>
                      <a:lnTo>
                        <a:pt x="265" y="1159"/>
                      </a:lnTo>
                      <a:lnTo>
                        <a:pt x="265" y="1159"/>
                      </a:lnTo>
                      <a:lnTo>
                        <a:pt x="266" y="1159"/>
                      </a:lnTo>
                      <a:lnTo>
                        <a:pt x="266" y="1160"/>
                      </a:lnTo>
                      <a:lnTo>
                        <a:pt x="266" y="1160"/>
                      </a:lnTo>
                      <a:lnTo>
                        <a:pt x="266" y="1160"/>
                      </a:lnTo>
                      <a:lnTo>
                        <a:pt x="267" y="1160"/>
                      </a:lnTo>
                      <a:lnTo>
                        <a:pt x="267" y="1161"/>
                      </a:lnTo>
                      <a:lnTo>
                        <a:pt x="268" y="1161"/>
                      </a:lnTo>
                      <a:lnTo>
                        <a:pt x="268" y="1161"/>
                      </a:lnTo>
                      <a:lnTo>
                        <a:pt x="268" y="1161"/>
                      </a:lnTo>
                      <a:lnTo>
                        <a:pt x="271" y="1161"/>
                      </a:lnTo>
                      <a:lnTo>
                        <a:pt x="271" y="1160"/>
                      </a:lnTo>
                      <a:lnTo>
                        <a:pt x="272" y="1160"/>
                      </a:lnTo>
                      <a:lnTo>
                        <a:pt x="274" y="1161"/>
                      </a:lnTo>
                      <a:lnTo>
                        <a:pt x="275" y="1161"/>
                      </a:lnTo>
                      <a:lnTo>
                        <a:pt x="276" y="1161"/>
                      </a:lnTo>
                      <a:lnTo>
                        <a:pt x="276" y="1166"/>
                      </a:lnTo>
                      <a:lnTo>
                        <a:pt x="276" y="1166"/>
                      </a:lnTo>
                      <a:lnTo>
                        <a:pt x="275" y="1166"/>
                      </a:lnTo>
                      <a:lnTo>
                        <a:pt x="275" y="1167"/>
                      </a:lnTo>
                      <a:lnTo>
                        <a:pt x="275" y="1170"/>
                      </a:lnTo>
                      <a:lnTo>
                        <a:pt x="274" y="1170"/>
                      </a:lnTo>
                      <a:lnTo>
                        <a:pt x="272" y="1171"/>
                      </a:lnTo>
                      <a:lnTo>
                        <a:pt x="272" y="1172"/>
                      </a:lnTo>
                      <a:lnTo>
                        <a:pt x="271" y="1173"/>
                      </a:lnTo>
                      <a:lnTo>
                        <a:pt x="272" y="1173"/>
                      </a:lnTo>
                      <a:lnTo>
                        <a:pt x="271" y="1174"/>
                      </a:lnTo>
                      <a:lnTo>
                        <a:pt x="270" y="1174"/>
                      </a:lnTo>
                      <a:lnTo>
                        <a:pt x="270" y="1175"/>
                      </a:lnTo>
                      <a:lnTo>
                        <a:pt x="270" y="1177"/>
                      </a:lnTo>
                      <a:lnTo>
                        <a:pt x="270" y="1177"/>
                      </a:lnTo>
                      <a:lnTo>
                        <a:pt x="269" y="1177"/>
                      </a:lnTo>
                      <a:lnTo>
                        <a:pt x="268" y="1177"/>
                      </a:lnTo>
                      <a:lnTo>
                        <a:pt x="268" y="1177"/>
                      </a:lnTo>
                      <a:lnTo>
                        <a:pt x="267" y="1176"/>
                      </a:lnTo>
                      <a:lnTo>
                        <a:pt x="267" y="1175"/>
                      </a:lnTo>
                      <a:lnTo>
                        <a:pt x="267" y="1175"/>
                      </a:lnTo>
                      <a:lnTo>
                        <a:pt x="266" y="1173"/>
                      </a:lnTo>
                      <a:lnTo>
                        <a:pt x="265" y="1173"/>
                      </a:lnTo>
                      <a:lnTo>
                        <a:pt x="264" y="1172"/>
                      </a:lnTo>
                      <a:lnTo>
                        <a:pt x="264" y="1172"/>
                      </a:lnTo>
                      <a:lnTo>
                        <a:pt x="263" y="1173"/>
                      </a:lnTo>
                      <a:lnTo>
                        <a:pt x="262" y="1173"/>
                      </a:lnTo>
                      <a:lnTo>
                        <a:pt x="261" y="1172"/>
                      </a:lnTo>
                      <a:lnTo>
                        <a:pt x="261" y="1172"/>
                      </a:lnTo>
                      <a:lnTo>
                        <a:pt x="261" y="1171"/>
                      </a:lnTo>
                      <a:lnTo>
                        <a:pt x="260" y="1171"/>
                      </a:lnTo>
                      <a:lnTo>
                        <a:pt x="260" y="1172"/>
                      </a:lnTo>
                      <a:lnTo>
                        <a:pt x="260" y="1172"/>
                      </a:lnTo>
                      <a:lnTo>
                        <a:pt x="260" y="1172"/>
                      </a:lnTo>
                      <a:lnTo>
                        <a:pt x="260" y="1173"/>
                      </a:lnTo>
                      <a:lnTo>
                        <a:pt x="260" y="1173"/>
                      </a:lnTo>
                      <a:lnTo>
                        <a:pt x="259" y="1173"/>
                      </a:lnTo>
                      <a:lnTo>
                        <a:pt x="259" y="1173"/>
                      </a:lnTo>
                      <a:lnTo>
                        <a:pt x="259" y="1174"/>
                      </a:lnTo>
                      <a:lnTo>
                        <a:pt x="257" y="1175"/>
                      </a:lnTo>
                      <a:lnTo>
                        <a:pt x="256" y="1172"/>
                      </a:lnTo>
                      <a:lnTo>
                        <a:pt x="256" y="1172"/>
                      </a:lnTo>
                      <a:lnTo>
                        <a:pt x="255" y="1172"/>
                      </a:lnTo>
                      <a:lnTo>
                        <a:pt x="254" y="1170"/>
                      </a:lnTo>
                      <a:lnTo>
                        <a:pt x="254" y="1170"/>
                      </a:lnTo>
                      <a:lnTo>
                        <a:pt x="254" y="1171"/>
                      </a:lnTo>
                      <a:lnTo>
                        <a:pt x="254" y="1171"/>
                      </a:lnTo>
                      <a:lnTo>
                        <a:pt x="254" y="1172"/>
                      </a:lnTo>
                      <a:lnTo>
                        <a:pt x="254" y="1173"/>
                      </a:lnTo>
                      <a:lnTo>
                        <a:pt x="253" y="1173"/>
                      </a:lnTo>
                      <a:lnTo>
                        <a:pt x="252" y="1173"/>
                      </a:lnTo>
                      <a:lnTo>
                        <a:pt x="252" y="1173"/>
                      </a:lnTo>
                      <a:lnTo>
                        <a:pt x="250" y="1173"/>
                      </a:lnTo>
                      <a:lnTo>
                        <a:pt x="250" y="1173"/>
                      </a:lnTo>
                      <a:lnTo>
                        <a:pt x="249" y="1173"/>
                      </a:lnTo>
                      <a:lnTo>
                        <a:pt x="249" y="1172"/>
                      </a:lnTo>
                      <a:lnTo>
                        <a:pt x="249" y="1172"/>
                      </a:lnTo>
                      <a:lnTo>
                        <a:pt x="249" y="1172"/>
                      </a:lnTo>
                      <a:lnTo>
                        <a:pt x="249" y="1172"/>
                      </a:lnTo>
                      <a:lnTo>
                        <a:pt x="249" y="1173"/>
                      </a:lnTo>
                      <a:lnTo>
                        <a:pt x="249" y="1173"/>
                      </a:lnTo>
                      <a:lnTo>
                        <a:pt x="249" y="1173"/>
                      </a:lnTo>
                      <a:lnTo>
                        <a:pt x="249" y="1174"/>
                      </a:lnTo>
                      <a:lnTo>
                        <a:pt x="247" y="1174"/>
                      </a:lnTo>
                      <a:lnTo>
                        <a:pt x="246" y="1175"/>
                      </a:lnTo>
                      <a:lnTo>
                        <a:pt x="246" y="1175"/>
                      </a:lnTo>
                      <a:lnTo>
                        <a:pt x="245" y="1174"/>
                      </a:lnTo>
                      <a:lnTo>
                        <a:pt x="243" y="1174"/>
                      </a:lnTo>
                      <a:lnTo>
                        <a:pt x="242" y="1173"/>
                      </a:lnTo>
                      <a:lnTo>
                        <a:pt x="241" y="1172"/>
                      </a:lnTo>
                      <a:lnTo>
                        <a:pt x="241" y="1171"/>
                      </a:lnTo>
                      <a:lnTo>
                        <a:pt x="241" y="1172"/>
                      </a:lnTo>
                      <a:lnTo>
                        <a:pt x="241" y="1173"/>
                      </a:lnTo>
                      <a:lnTo>
                        <a:pt x="240" y="1174"/>
                      </a:lnTo>
                      <a:lnTo>
                        <a:pt x="241" y="1174"/>
                      </a:lnTo>
                      <a:lnTo>
                        <a:pt x="241" y="1175"/>
                      </a:lnTo>
                      <a:lnTo>
                        <a:pt x="239" y="1175"/>
                      </a:lnTo>
                      <a:lnTo>
                        <a:pt x="238" y="1175"/>
                      </a:lnTo>
                      <a:lnTo>
                        <a:pt x="237" y="1174"/>
                      </a:lnTo>
                      <a:lnTo>
                        <a:pt x="236" y="1174"/>
                      </a:lnTo>
                      <a:lnTo>
                        <a:pt x="235" y="1174"/>
                      </a:lnTo>
                      <a:lnTo>
                        <a:pt x="234" y="1175"/>
                      </a:lnTo>
                      <a:lnTo>
                        <a:pt x="231" y="1175"/>
                      </a:lnTo>
                      <a:lnTo>
                        <a:pt x="231" y="1175"/>
                      </a:lnTo>
                      <a:lnTo>
                        <a:pt x="232" y="1176"/>
                      </a:lnTo>
                      <a:lnTo>
                        <a:pt x="233" y="1176"/>
                      </a:lnTo>
                      <a:lnTo>
                        <a:pt x="234" y="1176"/>
                      </a:lnTo>
                      <a:lnTo>
                        <a:pt x="236" y="1175"/>
                      </a:lnTo>
                      <a:lnTo>
                        <a:pt x="237" y="1176"/>
                      </a:lnTo>
                      <a:lnTo>
                        <a:pt x="237" y="1176"/>
                      </a:lnTo>
                      <a:lnTo>
                        <a:pt x="239" y="1177"/>
                      </a:lnTo>
                      <a:lnTo>
                        <a:pt x="239" y="1177"/>
                      </a:lnTo>
                      <a:lnTo>
                        <a:pt x="242" y="1177"/>
                      </a:lnTo>
                      <a:lnTo>
                        <a:pt x="242" y="1177"/>
                      </a:lnTo>
                      <a:lnTo>
                        <a:pt x="245" y="1177"/>
                      </a:lnTo>
                      <a:lnTo>
                        <a:pt x="246" y="1176"/>
                      </a:lnTo>
                      <a:lnTo>
                        <a:pt x="250" y="1176"/>
                      </a:lnTo>
                      <a:lnTo>
                        <a:pt x="250" y="1176"/>
                      </a:lnTo>
                      <a:lnTo>
                        <a:pt x="250" y="1176"/>
                      </a:lnTo>
                      <a:lnTo>
                        <a:pt x="250" y="1176"/>
                      </a:lnTo>
                      <a:lnTo>
                        <a:pt x="253" y="1176"/>
                      </a:lnTo>
                      <a:lnTo>
                        <a:pt x="254" y="1177"/>
                      </a:lnTo>
                      <a:lnTo>
                        <a:pt x="254" y="1177"/>
                      </a:lnTo>
                      <a:lnTo>
                        <a:pt x="255" y="1178"/>
                      </a:lnTo>
                      <a:lnTo>
                        <a:pt x="255" y="1178"/>
                      </a:lnTo>
                      <a:lnTo>
                        <a:pt x="255" y="1179"/>
                      </a:lnTo>
                      <a:lnTo>
                        <a:pt x="256" y="1179"/>
                      </a:lnTo>
                      <a:lnTo>
                        <a:pt x="257" y="1180"/>
                      </a:lnTo>
                      <a:lnTo>
                        <a:pt x="257" y="1181"/>
                      </a:lnTo>
                      <a:lnTo>
                        <a:pt x="258" y="1181"/>
                      </a:lnTo>
                      <a:lnTo>
                        <a:pt x="257" y="1181"/>
                      </a:lnTo>
                      <a:lnTo>
                        <a:pt x="257" y="1181"/>
                      </a:lnTo>
                      <a:lnTo>
                        <a:pt x="257" y="1182"/>
                      </a:lnTo>
                      <a:lnTo>
                        <a:pt x="256" y="1182"/>
                      </a:lnTo>
                      <a:lnTo>
                        <a:pt x="256" y="1183"/>
                      </a:lnTo>
                      <a:lnTo>
                        <a:pt x="257" y="1183"/>
                      </a:lnTo>
                      <a:lnTo>
                        <a:pt x="257" y="1184"/>
                      </a:lnTo>
                      <a:lnTo>
                        <a:pt x="258" y="1184"/>
                      </a:lnTo>
                      <a:lnTo>
                        <a:pt x="258" y="1185"/>
                      </a:lnTo>
                      <a:lnTo>
                        <a:pt x="258" y="1185"/>
                      </a:lnTo>
                      <a:lnTo>
                        <a:pt x="258" y="1186"/>
                      </a:lnTo>
                      <a:lnTo>
                        <a:pt x="258" y="1186"/>
                      </a:lnTo>
                      <a:lnTo>
                        <a:pt x="258" y="1187"/>
                      </a:lnTo>
                      <a:lnTo>
                        <a:pt x="257" y="1187"/>
                      </a:lnTo>
                      <a:lnTo>
                        <a:pt x="258" y="1187"/>
                      </a:lnTo>
                      <a:lnTo>
                        <a:pt x="257" y="1187"/>
                      </a:lnTo>
                      <a:lnTo>
                        <a:pt x="257" y="1189"/>
                      </a:lnTo>
                      <a:lnTo>
                        <a:pt x="257" y="1189"/>
                      </a:lnTo>
                      <a:lnTo>
                        <a:pt x="257" y="1190"/>
                      </a:lnTo>
                      <a:lnTo>
                        <a:pt x="258" y="1190"/>
                      </a:lnTo>
                      <a:lnTo>
                        <a:pt x="257" y="1190"/>
                      </a:lnTo>
                      <a:lnTo>
                        <a:pt x="258" y="1190"/>
                      </a:lnTo>
                      <a:lnTo>
                        <a:pt x="258" y="1191"/>
                      </a:lnTo>
                      <a:lnTo>
                        <a:pt x="257" y="1191"/>
                      </a:lnTo>
                      <a:lnTo>
                        <a:pt x="257" y="1192"/>
                      </a:lnTo>
                      <a:lnTo>
                        <a:pt x="256" y="1193"/>
                      </a:lnTo>
                      <a:lnTo>
                        <a:pt x="256" y="1193"/>
                      </a:lnTo>
                      <a:lnTo>
                        <a:pt x="255" y="1193"/>
                      </a:lnTo>
                      <a:lnTo>
                        <a:pt x="254" y="1193"/>
                      </a:lnTo>
                      <a:lnTo>
                        <a:pt x="254" y="1194"/>
                      </a:lnTo>
                      <a:lnTo>
                        <a:pt x="254" y="1195"/>
                      </a:lnTo>
                      <a:lnTo>
                        <a:pt x="255" y="1195"/>
                      </a:lnTo>
                      <a:lnTo>
                        <a:pt x="254" y="1198"/>
                      </a:lnTo>
                      <a:lnTo>
                        <a:pt x="254" y="1199"/>
                      </a:lnTo>
                      <a:lnTo>
                        <a:pt x="254" y="1200"/>
                      </a:lnTo>
                      <a:lnTo>
                        <a:pt x="254" y="1200"/>
                      </a:lnTo>
                      <a:lnTo>
                        <a:pt x="254" y="1201"/>
                      </a:lnTo>
                      <a:lnTo>
                        <a:pt x="254" y="1201"/>
                      </a:lnTo>
                      <a:lnTo>
                        <a:pt x="253" y="1201"/>
                      </a:lnTo>
                      <a:lnTo>
                        <a:pt x="253" y="1202"/>
                      </a:lnTo>
                      <a:lnTo>
                        <a:pt x="252" y="1202"/>
                      </a:lnTo>
                      <a:lnTo>
                        <a:pt x="251" y="1201"/>
                      </a:lnTo>
                      <a:lnTo>
                        <a:pt x="251" y="1202"/>
                      </a:lnTo>
                      <a:lnTo>
                        <a:pt x="251" y="1202"/>
                      </a:lnTo>
                      <a:lnTo>
                        <a:pt x="249" y="1202"/>
                      </a:lnTo>
                      <a:lnTo>
                        <a:pt x="247" y="1201"/>
                      </a:lnTo>
                      <a:lnTo>
                        <a:pt x="246" y="1201"/>
                      </a:lnTo>
                      <a:lnTo>
                        <a:pt x="246" y="1201"/>
                      </a:lnTo>
                      <a:lnTo>
                        <a:pt x="246" y="1201"/>
                      </a:lnTo>
                      <a:lnTo>
                        <a:pt x="246" y="1202"/>
                      </a:lnTo>
                      <a:lnTo>
                        <a:pt x="245" y="1203"/>
                      </a:lnTo>
                      <a:lnTo>
                        <a:pt x="246" y="1203"/>
                      </a:lnTo>
                      <a:lnTo>
                        <a:pt x="245" y="1203"/>
                      </a:lnTo>
                      <a:lnTo>
                        <a:pt x="245" y="1203"/>
                      </a:lnTo>
                      <a:lnTo>
                        <a:pt x="245" y="1203"/>
                      </a:lnTo>
                      <a:lnTo>
                        <a:pt x="245" y="1204"/>
                      </a:lnTo>
                      <a:lnTo>
                        <a:pt x="244" y="1205"/>
                      </a:lnTo>
                      <a:lnTo>
                        <a:pt x="244" y="1205"/>
                      </a:lnTo>
                      <a:lnTo>
                        <a:pt x="243" y="1205"/>
                      </a:lnTo>
                      <a:lnTo>
                        <a:pt x="243" y="1206"/>
                      </a:lnTo>
                      <a:lnTo>
                        <a:pt x="242" y="1206"/>
                      </a:lnTo>
                      <a:lnTo>
                        <a:pt x="241" y="1204"/>
                      </a:lnTo>
                      <a:lnTo>
                        <a:pt x="241" y="1203"/>
                      </a:lnTo>
                      <a:lnTo>
                        <a:pt x="241" y="1203"/>
                      </a:lnTo>
                      <a:lnTo>
                        <a:pt x="241" y="1203"/>
                      </a:lnTo>
                      <a:lnTo>
                        <a:pt x="240" y="1203"/>
                      </a:lnTo>
                      <a:lnTo>
                        <a:pt x="240" y="1202"/>
                      </a:lnTo>
                      <a:lnTo>
                        <a:pt x="241" y="1202"/>
                      </a:lnTo>
                      <a:lnTo>
                        <a:pt x="241" y="1202"/>
                      </a:lnTo>
                      <a:lnTo>
                        <a:pt x="241" y="1202"/>
                      </a:lnTo>
                      <a:lnTo>
                        <a:pt x="240" y="1201"/>
                      </a:lnTo>
                      <a:lnTo>
                        <a:pt x="239" y="1201"/>
                      </a:lnTo>
                      <a:lnTo>
                        <a:pt x="239" y="1200"/>
                      </a:lnTo>
                      <a:lnTo>
                        <a:pt x="239" y="1201"/>
                      </a:lnTo>
                      <a:lnTo>
                        <a:pt x="238" y="1200"/>
                      </a:lnTo>
                      <a:lnTo>
                        <a:pt x="238" y="1199"/>
                      </a:lnTo>
                      <a:lnTo>
                        <a:pt x="238" y="1199"/>
                      </a:lnTo>
                      <a:lnTo>
                        <a:pt x="237" y="1198"/>
                      </a:lnTo>
                      <a:lnTo>
                        <a:pt x="237" y="1198"/>
                      </a:lnTo>
                      <a:lnTo>
                        <a:pt x="237" y="1197"/>
                      </a:lnTo>
                      <a:lnTo>
                        <a:pt x="237" y="1196"/>
                      </a:lnTo>
                      <a:lnTo>
                        <a:pt x="237" y="1195"/>
                      </a:lnTo>
                      <a:lnTo>
                        <a:pt x="237" y="1194"/>
                      </a:lnTo>
                      <a:lnTo>
                        <a:pt x="236" y="1195"/>
                      </a:lnTo>
                      <a:lnTo>
                        <a:pt x="236" y="1196"/>
                      </a:lnTo>
                      <a:lnTo>
                        <a:pt x="236" y="1196"/>
                      </a:lnTo>
                      <a:lnTo>
                        <a:pt x="237" y="1197"/>
                      </a:lnTo>
                      <a:lnTo>
                        <a:pt x="237" y="1198"/>
                      </a:lnTo>
                      <a:lnTo>
                        <a:pt x="237" y="1198"/>
                      </a:lnTo>
                      <a:lnTo>
                        <a:pt x="237" y="1199"/>
                      </a:lnTo>
                      <a:lnTo>
                        <a:pt x="237" y="1199"/>
                      </a:lnTo>
                      <a:lnTo>
                        <a:pt x="237" y="1200"/>
                      </a:lnTo>
                      <a:lnTo>
                        <a:pt x="237" y="1200"/>
                      </a:lnTo>
                      <a:lnTo>
                        <a:pt x="237" y="1201"/>
                      </a:lnTo>
                      <a:lnTo>
                        <a:pt x="236" y="1201"/>
                      </a:lnTo>
                      <a:lnTo>
                        <a:pt x="236" y="1201"/>
                      </a:lnTo>
                      <a:lnTo>
                        <a:pt x="237" y="1202"/>
                      </a:lnTo>
                      <a:lnTo>
                        <a:pt x="237" y="1202"/>
                      </a:lnTo>
                      <a:lnTo>
                        <a:pt x="237" y="1202"/>
                      </a:lnTo>
                      <a:lnTo>
                        <a:pt x="237" y="1202"/>
                      </a:lnTo>
                      <a:lnTo>
                        <a:pt x="237" y="1203"/>
                      </a:lnTo>
                      <a:lnTo>
                        <a:pt x="238" y="1204"/>
                      </a:lnTo>
                      <a:lnTo>
                        <a:pt x="238" y="1204"/>
                      </a:lnTo>
                      <a:lnTo>
                        <a:pt x="238" y="1204"/>
                      </a:lnTo>
                      <a:lnTo>
                        <a:pt x="238" y="1205"/>
                      </a:lnTo>
                      <a:lnTo>
                        <a:pt x="238" y="1206"/>
                      </a:lnTo>
                      <a:lnTo>
                        <a:pt x="239" y="1207"/>
                      </a:lnTo>
                      <a:lnTo>
                        <a:pt x="239" y="1207"/>
                      </a:lnTo>
                      <a:lnTo>
                        <a:pt x="239" y="1208"/>
                      </a:lnTo>
                      <a:lnTo>
                        <a:pt x="239" y="1209"/>
                      </a:lnTo>
                      <a:lnTo>
                        <a:pt x="239" y="1210"/>
                      </a:lnTo>
                      <a:lnTo>
                        <a:pt x="237" y="1210"/>
                      </a:lnTo>
                      <a:lnTo>
                        <a:pt x="236" y="1210"/>
                      </a:lnTo>
                      <a:lnTo>
                        <a:pt x="236" y="1210"/>
                      </a:lnTo>
                      <a:lnTo>
                        <a:pt x="235" y="1210"/>
                      </a:lnTo>
                      <a:lnTo>
                        <a:pt x="235" y="1210"/>
                      </a:lnTo>
                      <a:lnTo>
                        <a:pt x="235" y="1211"/>
                      </a:lnTo>
                      <a:lnTo>
                        <a:pt x="234" y="1211"/>
                      </a:lnTo>
                      <a:lnTo>
                        <a:pt x="234" y="1210"/>
                      </a:lnTo>
                      <a:lnTo>
                        <a:pt x="234" y="1211"/>
                      </a:lnTo>
                      <a:lnTo>
                        <a:pt x="233" y="1211"/>
                      </a:lnTo>
                      <a:lnTo>
                        <a:pt x="233" y="1211"/>
                      </a:lnTo>
                      <a:lnTo>
                        <a:pt x="233" y="1210"/>
                      </a:lnTo>
                      <a:lnTo>
                        <a:pt x="232" y="1209"/>
                      </a:lnTo>
                      <a:lnTo>
                        <a:pt x="232" y="1208"/>
                      </a:lnTo>
                      <a:lnTo>
                        <a:pt x="232" y="1208"/>
                      </a:lnTo>
                      <a:lnTo>
                        <a:pt x="233" y="1208"/>
                      </a:lnTo>
                      <a:lnTo>
                        <a:pt x="233" y="1208"/>
                      </a:lnTo>
                      <a:lnTo>
                        <a:pt x="232" y="1208"/>
                      </a:lnTo>
                      <a:lnTo>
                        <a:pt x="231" y="1207"/>
                      </a:lnTo>
                      <a:lnTo>
                        <a:pt x="231" y="1208"/>
                      </a:lnTo>
                      <a:lnTo>
                        <a:pt x="231" y="1209"/>
                      </a:lnTo>
                      <a:lnTo>
                        <a:pt x="232" y="1209"/>
                      </a:lnTo>
                      <a:lnTo>
                        <a:pt x="232" y="1210"/>
                      </a:lnTo>
                      <a:lnTo>
                        <a:pt x="232" y="1210"/>
                      </a:lnTo>
                      <a:lnTo>
                        <a:pt x="232" y="1210"/>
                      </a:lnTo>
                      <a:lnTo>
                        <a:pt x="232" y="1210"/>
                      </a:lnTo>
                      <a:lnTo>
                        <a:pt x="232" y="1211"/>
                      </a:lnTo>
                      <a:lnTo>
                        <a:pt x="232" y="1211"/>
                      </a:lnTo>
                      <a:lnTo>
                        <a:pt x="232" y="1213"/>
                      </a:lnTo>
                      <a:lnTo>
                        <a:pt x="231" y="1213"/>
                      </a:lnTo>
                      <a:lnTo>
                        <a:pt x="231" y="1212"/>
                      </a:lnTo>
                      <a:lnTo>
                        <a:pt x="231" y="1212"/>
                      </a:lnTo>
                      <a:lnTo>
                        <a:pt x="230" y="1212"/>
                      </a:lnTo>
                      <a:lnTo>
                        <a:pt x="230" y="1211"/>
                      </a:lnTo>
                      <a:lnTo>
                        <a:pt x="231" y="1210"/>
                      </a:lnTo>
                      <a:lnTo>
                        <a:pt x="230" y="1210"/>
                      </a:lnTo>
                      <a:lnTo>
                        <a:pt x="229" y="1211"/>
                      </a:lnTo>
                      <a:lnTo>
                        <a:pt x="229" y="1211"/>
                      </a:lnTo>
                      <a:lnTo>
                        <a:pt x="228" y="1209"/>
                      </a:lnTo>
                      <a:lnTo>
                        <a:pt x="228" y="1208"/>
                      </a:lnTo>
                      <a:lnTo>
                        <a:pt x="227" y="1208"/>
                      </a:lnTo>
                      <a:lnTo>
                        <a:pt x="226" y="1207"/>
                      </a:lnTo>
                      <a:lnTo>
                        <a:pt x="227" y="1207"/>
                      </a:lnTo>
                      <a:lnTo>
                        <a:pt x="226" y="1207"/>
                      </a:lnTo>
                      <a:lnTo>
                        <a:pt x="225" y="1206"/>
                      </a:lnTo>
                      <a:lnTo>
                        <a:pt x="226" y="1206"/>
                      </a:lnTo>
                      <a:lnTo>
                        <a:pt x="226" y="1206"/>
                      </a:lnTo>
                      <a:lnTo>
                        <a:pt x="227" y="1207"/>
                      </a:lnTo>
                      <a:lnTo>
                        <a:pt x="227" y="1207"/>
                      </a:lnTo>
                      <a:lnTo>
                        <a:pt x="225" y="1205"/>
                      </a:lnTo>
                      <a:lnTo>
                        <a:pt x="225" y="1203"/>
                      </a:lnTo>
                      <a:lnTo>
                        <a:pt x="223" y="1201"/>
                      </a:lnTo>
                      <a:lnTo>
                        <a:pt x="224" y="1200"/>
                      </a:lnTo>
                      <a:lnTo>
                        <a:pt x="223" y="1199"/>
                      </a:lnTo>
                      <a:lnTo>
                        <a:pt x="223" y="1199"/>
                      </a:lnTo>
                      <a:lnTo>
                        <a:pt x="223" y="1199"/>
                      </a:lnTo>
                      <a:lnTo>
                        <a:pt x="224" y="1198"/>
                      </a:lnTo>
                      <a:lnTo>
                        <a:pt x="223" y="1197"/>
                      </a:lnTo>
                      <a:lnTo>
                        <a:pt x="223" y="1197"/>
                      </a:lnTo>
                      <a:lnTo>
                        <a:pt x="223" y="1197"/>
                      </a:lnTo>
                      <a:lnTo>
                        <a:pt x="223" y="1197"/>
                      </a:lnTo>
                      <a:lnTo>
                        <a:pt x="223" y="1198"/>
                      </a:lnTo>
                      <a:lnTo>
                        <a:pt x="223" y="1198"/>
                      </a:lnTo>
                      <a:lnTo>
                        <a:pt x="222" y="1198"/>
                      </a:lnTo>
                      <a:lnTo>
                        <a:pt x="220" y="1196"/>
                      </a:lnTo>
                      <a:lnTo>
                        <a:pt x="220" y="1196"/>
                      </a:lnTo>
                      <a:lnTo>
                        <a:pt x="219" y="1196"/>
                      </a:lnTo>
                      <a:lnTo>
                        <a:pt x="219" y="1195"/>
                      </a:lnTo>
                      <a:lnTo>
                        <a:pt x="219" y="1195"/>
                      </a:lnTo>
                      <a:lnTo>
                        <a:pt x="219" y="1194"/>
                      </a:lnTo>
                      <a:lnTo>
                        <a:pt x="218" y="1194"/>
                      </a:lnTo>
                      <a:lnTo>
                        <a:pt x="218" y="1193"/>
                      </a:lnTo>
                      <a:lnTo>
                        <a:pt x="217" y="1192"/>
                      </a:lnTo>
                      <a:lnTo>
                        <a:pt x="217" y="1193"/>
                      </a:lnTo>
                      <a:lnTo>
                        <a:pt x="217" y="1194"/>
                      </a:lnTo>
                      <a:lnTo>
                        <a:pt x="217" y="1194"/>
                      </a:lnTo>
                      <a:lnTo>
                        <a:pt x="217" y="1195"/>
                      </a:lnTo>
                      <a:lnTo>
                        <a:pt x="219" y="1197"/>
                      </a:lnTo>
                      <a:lnTo>
                        <a:pt x="220" y="1198"/>
                      </a:lnTo>
                      <a:lnTo>
                        <a:pt x="220" y="1199"/>
                      </a:lnTo>
                      <a:lnTo>
                        <a:pt x="220" y="1199"/>
                      </a:lnTo>
                      <a:lnTo>
                        <a:pt x="221" y="1201"/>
                      </a:lnTo>
                      <a:lnTo>
                        <a:pt x="221" y="1201"/>
                      </a:lnTo>
                      <a:lnTo>
                        <a:pt x="221" y="1202"/>
                      </a:lnTo>
                      <a:lnTo>
                        <a:pt x="221" y="1202"/>
                      </a:lnTo>
                      <a:lnTo>
                        <a:pt x="221" y="1202"/>
                      </a:lnTo>
                      <a:lnTo>
                        <a:pt x="221" y="1202"/>
                      </a:lnTo>
                      <a:lnTo>
                        <a:pt x="221" y="1203"/>
                      </a:lnTo>
                      <a:lnTo>
                        <a:pt x="221" y="1203"/>
                      </a:lnTo>
                      <a:lnTo>
                        <a:pt x="221" y="1204"/>
                      </a:lnTo>
                      <a:lnTo>
                        <a:pt x="221" y="1204"/>
                      </a:lnTo>
                      <a:lnTo>
                        <a:pt x="221" y="1204"/>
                      </a:lnTo>
                      <a:lnTo>
                        <a:pt x="222" y="1204"/>
                      </a:lnTo>
                      <a:lnTo>
                        <a:pt x="223" y="1206"/>
                      </a:lnTo>
                      <a:lnTo>
                        <a:pt x="223" y="1206"/>
                      </a:lnTo>
                      <a:lnTo>
                        <a:pt x="223" y="1208"/>
                      </a:lnTo>
                      <a:lnTo>
                        <a:pt x="224" y="1209"/>
                      </a:lnTo>
                      <a:lnTo>
                        <a:pt x="225" y="1209"/>
                      </a:lnTo>
                      <a:lnTo>
                        <a:pt x="225" y="1210"/>
                      </a:lnTo>
                      <a:lnTo>
                        <a:pt x="224" y="1211"/>
                      </a:lnTo>
                      <a:lnTo>
                        <a:pt x="223" y="1211"/>
                      </a:lnTo>
                      <a:lnTo>
                        <a:pt x="223" y="1210"/>
                      </a:lnTo>
                      <a:lnTo>
                        <a:pt x="222" y="1211"/>
                      </a:lnTo>
                      <a:lnTo>
                        <a:pt x="222" y="1210"/>
                      </a:lnTo>
                      <a:lnTo>
                        <a:pt x="221" y="1210"/>
                      </a:lnTo>
                      <a:lnTo>
                        <a:pt x="221" y="1210"/>
                      </a:lnTo>
                      <a:lnTo>
                        <a:pt x="221" y="1209"/>
                      </a:lnTo>
                      <a:lnTo>
                        <a:pt x="220" y="1209"/>
                      </a:lnTo>
                      <a:lnTo>
                        <a:pt x="220" y="1207"/>
                      </a:lnTo>
                      <a:lnTo>
                        <a:pt x="220" y="1207"/>
                      </a:lnTo>
                      <a:lnTo>
                        <a:pt x="220" y="1207"/>
                      </a:lnTo>
                      <a:lnTo>
                        <a:pt x="219" y="1208"/>
                      </a:lnTo>
                      <a:lnTo>
                        <a:pt x="220" y="1208"/>
                      </a:lnTo>
                      <a:lnTo>
                        <a:pt x="220" y="1208"/>
                      </a:lnTo>
                      <a:lnTo>
                        <a:pt x="219" y="1208"/>
                      </a:lnTo>
                      <a:lnTo>
                        <a:pt x="218" y="1208"/>
                      </a:lnTo>
                      <a:lnTo>
                        <a:pt x="217" y="1207"/>
                      </a:lnTo>
                      <a:lnTo>
                        <a:pt x="217" y="1207"/>
                      </a:lnTo>
                      <a:lnTo>
                        <a:pt x="217" y="1208"/>
                      </a:lnTo>
                      <a:lnTo>
                        <a:pt x="217" y="1209"/>
                      </a:lnTo>
                      <a:lnTo>
                        <a:pt x="217" y="1210"/>
                      </a:lnTo>
                      <a:lnTo>
                        <a:pt x="215" y="1209"/>
                      </a:lnTo>
                      <a:lnTo>
                        <a:pt x="215" y="1209"/>
                      </a:lnTo>
                      <a:lnTo>
                        <a:pt x="214" y="1208"/>
                      </a:lnTo>
                      <a:lnTo>
                        <a:pt x="214" y="1208"/>
                      </a:lnTo>
                      <a:lnTo>
                        <a:pt x="213" y="1207"/>
                      </a:lnTo>
                      <a:lnTo>
                        <a:pt x="212" y="1205"/>
                      </a:lnTo>
                      <a:lnTo>
                        <a:pt x="212" y="1205"/>
                      </a:lnTo>
                      <a:lnTo>
                        <a:pt x="210" y="1203"/>
                      </a:lnTo>
                      <a:lnTo>
                        <a:pt x="209" y="1200"/>
                      </a:lnTo>
                      <a:lnTo>
                        <a:pt x="208" y="1198"/>
                      </a:lnTo>
                      <a:lnTo>
                        <a:pt x="207" y="1197"/>
                      </a:lnTo>
                      <a:lnTo>
                        <a:pt x="207" y="1196"/>
                      </a:lnTo>
                      <a:lnTo>
                        <a:pt x="206" y="1196"/>
                      </a:lnTo>
                      <a:lnTo>
                        <a:pt x="206" y="1195"/>
                      </a:lnTo>
                      <a:lnTo>
                        <a:pt x="206" y="1194"/>
                      </a:lnTo>
                      <a:lnTo>
                        <a:pt x="206" y="1193"/>
                      </a:lnTo>
                      <a:lnTo>
                        <a:pt x="205" y="1193"/>
                      </a:lnTo>
                      <a:lnTo>
                        <a:pt x="205" y="1193"/>
                      </a:lnTo>
                      <a:lnTo>
                        <a:pt x="205" y="1194"/>
                      </a:lnTo>
                      <a:lnTo>
                        <a:pt x="204" y="1194"/>
                      </a:lnTo>
                      <a:lnTo>
                        <a:pt x="204" y="1193"/>
                      </a:lnTo>
                      <a:lnTo>
                        <a:pt x="204" y="1192"/>
                      </a:lnTo>
                      <a:lnTo>
                        <a:pt x="204" y="1192"/>
                      </a:lnTo>
                      <a:lnTo>
                        <a:pt x="204" y="1191"/>
                      </a:lnTo>
                      <a:lnTo>
                        <a:pt x="203" y="1191"/>
                      </a:lnTo>
                      <a:lnTo>
                        <a:pt x="203" y="1191"/>
                      </a:lnTo>
                      <a:lnTo>
                        <a:pt x="203" y="1186"/>
                      </a:lnTo>
                      <a:lnTo>
                        <a:pt x="202" y="1185"/>
                      </a:lnTo>
                      <a:lnTo>
                        <a:pt x="202" y="1184"/>
                      </a:lnTo>
                      <a:lnTo>
                        <a:pt x="202" y="1184"/>
                      </a:lnTo>
                      <a:lnTo>
                        <a:pt x="202" y="1182"/>
                      </a:lnTo>
                      <a:lnTo>
                        <a:pt x="203" y="1181"/>
                      </a:lnTo>
                      <a:lnTo>
                        <a:pt x="202" y="1181"/>
                      </a:lnTo>
                      <a:lnTo>
                        <a:pt x="203" y="1181"/>
                      </a:lnTo>
                      <a:lnTo>
                        <a:pt x="203" y="1180"/>
                      </a:lnTo>
                      <a:lnTo>
                        <a:pt x="203" y="1180"/>
                      </a:lnTo>
                      <a:lnTo>
                        <a:pt x="203" y="1179"/>
                      </a:lnTo>
                      <a:lnTo>
                        <a:pt x="203" y="1177"/>
                      </a:lnTo>
                      <a:lnTo>
                        <a:pt x="202" y="1176"/>
                      </a:lnTo>
                      <a:lnTo>
                        <a:pt x="202" y="1175"/>
                      </a:lnTo>
                      <a:lnTo>
                        <a:pt x="202" y="1174"/>
                      </a:lnTo>
                      <a:lnTo>
                        <a:pt x="202" y="1173"/>
                      </a:lnTo>
                      <a:lnTo>
                        <a:pt x="202" y="1172"/>
                      </a:lnTo>
                      <a:lnTo>
                        <a:pt x="202" y="1171"/>
                      </a:lnTo>
                      <a:lnTo>
                        <a:pt x="204" y="1170"/>
                      </a:lnTo>
                      <a:lnTo>
                        <a:pt x="204" y="1169"/>
                      </a:lnTo>
                      <a:lnTo>
                        <a:pt x="204" y="1168"/>
                      </a:lnTo>
                      <a:lnTo>
                        <a:pt x="206" y="1166"/>
                      </a:lnTo>
                      <a:lnTo>
                        <a:pt x="207" y="1163"/>
                      </a:lnTo>
                      <a:lnTo>
                        <a:pt x="208" y="1162"/>
                      </a:lnTo>
                      <a:lnTo>
                        <a:pt x="210" y="1163"/>
                      </a:lnTo>
                      <a:lnTo>
                        <a:pt x="212" y="1162"/>
                      </a:lnTo>
                      <a:lnTo>
                        <a:pt x="212" y="1160"/>
                      </a:lnTo>
                      <a:lnTo>
                        <a:pt x="212" y="1158"/>
                      </a:lnTo>
                      <a:lnTo>
                        <a:pt x="212" y="1157"/>
                      </a:lnTo>
                      <a:lnTo>
                        <a:pt x="213" y="1156"/>
                      </a:lnTo>
                      <a:lnTo>
                        <a:pt x="214" y="1155"/>
                      </a:lnTo>
                      <a:lnTo>
                        <a:pt x="217" y="1155"/>
                      </a:lnTo>
                      <a:lnTo>
                        <a:pt x="217" y="1156"/>
                      </a:lnTo>
                      <a:lnTo>
                        <a:pt x="219" y="1156"/>
                      </a:lnTo>
                      <a:lnTo>
                        <a:pt x="219" y="1156"/>
                      </a:lnTo>
                      <a:lnTo>
                        <a:pt x="220" y="1156"/>
                      </a:lnTo>
                      <a:lnTo>
                        <a:pt x="221" y="1157"/>
                      </a:lnTo>
                      <a:lnTo>
                        <a:pt x="221" y="1158"/>
                      </a:lnTo>
                      <a:lnTo>
                        <a:pt x="221" y="1158"/>
                      </a:lnTo>
                      <a:lnTo>
                        <a:pt x="221" y="1158"/>
                      </a:lnTo>
                      <a:lnTo>
                        <a:pt x="222" y="1158"/>
                      </a:lnTo>
                      <a:lnTo>
                        <a:pt x="223" y="1157"/>
                      </a:lnTo>
                      <a:lnTo>
                        <a:pt x="225" y="1157"/>
                      </a:lnTo>
                      <a:lnTo>
                        <a:pt x="226" y="1157"/>
                      </a:lnTo>
                      <a:lnTo>
                        <a:pt x="226" y="1157"/>
                      </a:lnTo>
                      <a:lnTo>
                        <a:pt x="225" y="1157"/>
                      </a:lnTo>
                      <a:lnTo>
                        <a:pt x="224" y="1156"/>
                      </a:lnTo>
                      <a:lnTo>
                        <a:pt x="221" y="1156"/>
                      </a:lnTo>
                      <a:lnTo>
                        <a:pt x="221" y="1156"/>
                      </a:lnTo>
                      <a:lnTo>
                        <a:pt x="220" y="1156"/>
                      </a:lnTo>
                      <a:lnTo>
                        <a:pt x="218" y="1155"/>
                      </a:lnTo>
                      <a:lnTo>
                        <a:pt x="216" y="1155"/>
                      </a:lnTo>
                      <a:lnTo>
                        <a:pt x="215" y="1155"/>
                      </a:lnTo>
                      <a:lnTo>
                        <a:pt x="215" y="1155"/>
                      </a:lnTo>
                      <a:lnTo>
                        <a:pt x="209" y="1155"/>
                      </a:lnTo>
                      <a:lnTo>
                        <a:pt x="209" y="1155"/>
                      </a:lnTo>
                      <a:lnTo>
                        <a:pt x="207" y="1155"/>
                      </a:lnTo>
                      <a:lnTo>
                        <a:pt x="207" y="1155"/>
                      </a:lnTo>
                      <a:lnTo>
                        <a:pt x="207" y="1155"/>
                      </a:lnTo>
                      <a:lnTo>
                        <a:pt x="207" y="1156"/>
                      </a:lnTo>
                      <a:lnTo>
                        <a:pt x="208" y="1155"/>
                      </a:lnTo>
                      <a:lnTo>
                        <a:pt x="210" y="1156"/>
                      </a:lnTo>
                      <a:lnTo>
                        <a:pt x="212" y="1157"/>
                      </a:lnTo>
                      <a:lnTo>
                        <a:pt x="212" y="1159"/>
                      </a:lnTo>
                      <a:lnTo>
                        <a:pt x="210" y="1159"/>
                      </a:lnTo>
                      <a:lnTo>
                        <a:pt x="210" y="1160"/>
                      </a:lnTo>
                      <a:lnTo>
                        <a:pt x="208" y="1162"/>
                      </a:lnTo>
                      <a:lnTo>
                        <a:pt x="207" y="1162"/>
                      </a:lnTo>
                      <a:lnTo>
                        <a:pt x="206" y="1164"/>
                      </a:lnTo>
                      <a:lnTo>
                        <a:pt x="204" y="1165"/>
                      </a:lnTo>
                      <a:lnTo>
                        <a:pt x="204" y="1167"/>
                      </a:lnTo>
                      <a:lnTo>
                        <a:pt x="203" y="1168"/>
                      </a:lnTo>
                      <a:lnTo>
                        <a:pt x="203" y="1168"/>
                      </a:lnTo>
                      <a:lnTo>
                        <a:pt x="201" y="1170"/>
                      </a:lnTo>
                      <a:lnTo>
                        <a:pt x="201" y="1170"/>
                      </a:lnTo>
                      <a:lnTo>
                        <a:pt x="200" y="1171"/>
                      </a:lnTo>
                      <a:lnTo>
                        <a:pt x="200" y="1172"/>
                      </a:lnTo>
                      <a:lnTo>
                        <a:pt x="194" y="1175"/>
                      </a:lnTo>
                      <a:lnTo>
                        <a:pt x="193" y="1175"/>
                      </a:lnTo>
                      <a:lnTo>
                        <a:pt x="193" y="1176"/>
                      </a:lnTo>
                      <a:lnTo>
                        <a:pt x="194" y="1177"/>
                      </a:lnTo>
                      <a:lnTo>
                        <a:pt x="194" y="1177"/>
                      </a:lnTo>
                      <a:lnTo>
                        <a:pt x="194" y="1177"/>
                      </a:lnTo>
                      <a:lnTo>
                        <a:pt x="194" y="1178"/>
                      </a:lnTo>
                      <a:lnTo>
                        <a:pt x="194" y="1178"/>
                      </a:lnTo>
                      <a:lnTo>
                        <a:pt x="193" y="1179"/>
                      </a:lnTo>
                      <a:lnTo>
                        <a:pt x="193" y="1179"/>
                      </a:lnTo>
                      <a:lnTo>
                        <a:pt x="194" y="1180"/>
                      </a:lnTo>
                      <a:lnTo>
                        <a:pt x="195" y="1179"/>
                      </a:lnTo>
                      <a:lnTo>
                        <a:pt x="195" y="1179"/>
                      </a:lnTo>
                      <a:lnTo>
                        <a:pt x="196" y="1180"/>
                      </a:lnTo>
                      <a:lnTo>
                        <a:pt x="197" y="1181"/>
                      </a:lnTo>
                      <a:lnTo>
                        <a:pt x="197" y="1182"/>
                      </a:lnTo>
                      <a:lnTo>
                        <a:pt x="197" y="1182"/>
                      </a:lnTo>
                      <a:lnTo>
                        <a:pt x="197" y="1183"/>
                      </a:lnTo>
                      <a:lnTo>
                        <a:pt x="198" y="1184"/>
                      </a:lnTo>
                      <a:lnTo>
                        <a:pt x="198" y="1185"/>
                      </a:lnTo>
                      <a:lnTo>
                        <a:pt x="198" y="1185"/>
                      </a:lnTo>
                      <a:lnTo>
                        <a:pt x="198" y="1186"/>
                      </a:lnTo>
                      <a:lnTo>
                        <a:pt x="199" y="1186"/>
                      </a:lnTo>
                      <a:lnTo>
                        <a:pt x="198" y="1186"/>
                      </a:lnTo>
                      <a:lnTo>
                        <a:pt x="199" y="1186"/>
                      </a:lnTo>
                      <a:lnTo>
                        <a:pt x="199" y="1187"/>
                      </a:lnTo>
                      <a:lnTo>
                        <a:pt x="199" y="1189"/>
                      </a:lnTo>
                      <a:lnTo>
                        <a:pt x="199" y="1190"/>
                      </a:lnTo>
                      <a:lnTo>
                        <a:pt x="199" y="1190"/>
                      </a:lnTo>
                      <a:lnTo>
                        <a:pt x="199" y="1191"/>
                      </a:lnTo>
                      <a:lnTo>
                        <a:pt x="200" y="1192"/>
                      </a:lnTo>
                      <a:lnTo>
                        <a:pt x="200" y="1193"/>
                      </a:lnTo>
                      <a:lnTo>
                        <a:pt x="199" y="1194"/>
                      </a:lnTo>
                      <a:lnTo>
                        <a:pt x="199" y="1195"/>
                      </a:lnTo>
                      <a:lnTo>
                        <a:pt x="199" y="1196"/>
                      </a:lnTo>
                      <a:lnTo>
                        <a:pt x="199" y="1196"/>
                      </a:lnTo>
                      <a:lnTo>
                        <a:pt x="198" y="1196"/>
                      </a:lnTo>
                      <a:lnTo>
                        <a:pt x="198" y="1196"/>
                      </a:lnTo>
                      <a:lnTo>
                        <a:pt x="197" y="1196"/>
                      </a:lnTo>
                      <a:lnTo>
                        <a:pt x="196" y="1196"/>
                      </a:lnTo>
                      <a:lnTo>
                        <a:pt x="195" y="1196"/>
                      </a:lnTo>
                      <a:lnTo>
                        <a:pt x="197" y="1196"/>
                      </a:lnTo>
                      <a:lnTo>
                        <a:pt x="198" y="1197"/>
                      </a:lnTo>
                      <a:lnTo>
                        <a:pt x="200" y="1197"/>
                      </a:lnTo>
                      <a:lnTo>
                        <a:pt x="200" y="1197"/>
                      </a:lnTo>
                      <a:lnTo>
                        <a:pt x="201" y="1195"/>
                      </a:lnTo>
                      <a:lnTo>
                        <a:pt x="203" y="1195"/>
                      </a:lnTo>
                      <a:lnTo>
                        <a:pt x="203" y="1197"/>
                      </a:lnTo>
                      <a:lnTo>
                        <a:pt x="203" y="1198"/>
                      </a:lnTo>
                      <a:lnTo>
                        <a:pt x="204" y="1199"/>
                      </a:lnTo>
                      <a:lnTo>
                        <a:pt x="205" y="1200"/>
                      </a:lnTo>
                      <a:lnTo>
                        <a:pt x="205" y="1200"/>
                      </a:lnTo>
                      <a:lnTo>
                        <a:pt x="206" y="1201"/>
                      </a:lnTo>
                      <a:lnTo>
                        <a:pt x="206" y="1201"/>
                      </a:lnTo>
                      <a:lnTo>
                        <a:pt x="206" y="1202"/>
                      </a:lnTo>
                      <a:lnTo>
                        <a:pt x="206" y="1202"/>
                      </a:lnTo>
                      <a:lnTo>
                        <a:pt x="206" y="1203"/>
                      </a:lnTo>
                      <a:lnTo>
                        <a:pt x="208" y="1204"/>
                      </a:lnTo>
                      <a:lnTo>
                        <a:pt x="208" y="1207"/>
                      </a:lnTo>
                      <a:lnTo>
                        <a:pt x="209" y="1207"/>
                      </a:lnTo>
                      <a:lnTo>
                        <a:pt x="210" y="1208"/>
                      </a:lnTo>
                      <a:lnTo>
                        <a:pt x="210" y="1208"/>
                      </a:lnTo>
                      <a:lnTo>
                        <a:pt x="209" y="1208"/>
                      </a:lnTo>
                      <a:lnTo>
                        <a:pt x="209" y="1209"/>
                      </a:lnTo>
                      <a:lnTo>
                        <a:pt x="210" y="1210"/>
                      </a:lnTo>
                      <a:lnTo>
                        <a:pt x="210" y="1210"/>
                      </a:lnTo>
                      <a:lnTo>
                        <a:pt x="209" y="1210"/>
                      </a:lnTo>
                      <a:lnTo>
                        <a:pt x="209" y="1210"/>
                      </a:lnTo>
                      <a:lnTo>
                        <a:pt x="209" y="1210"/>
                      </a:lnTo>
                      <a:lnTo>
                        <a:pt x="208" y="1210"/>
                      </a:lnTo>
                      <a:lnTo>
                        <a:pt x="208" y="1210"/>
                      </a:lnTo>
                      <a:lnTo>
                        <a:pt x="207" y="1210"/>
                      </a:lnTo>
                      <a:lnTo>
                        <a:pt x="206" y="1210"/>
                      </a:lnTo>
                      <a:lnTo>
                        <a:pt x="205" y="1210"/>
                      </a:lnTo>
                      <a:lnTo>
                        <a:pt x="204" y="1210"/>
                      </a:lnTo>
                      <a:lnTo>
                        <a:pt x="204" y="1210"/>
                      </a:lnTo>
                      <a:lnTo>
                        <a:pt x="204" y="1211"/>
                      </a:lnTo>
                      <a:lnTo>
                        <a:pt x="202" y="1211"/>
                      </a:lnTo>
                      <a:lnTo>
                        <a:pt x="202" y="1211"/>
                      </a:lnTo>
                      <a:lnTo>
                        <a:pt x="202" y="1211"/>
                      </a:lnTo>
                      <a:lnTo>
                        <a:pt x="203" y="1212"/>
                      </a:lnTo>
                      <a:lnTo>
                        <a:pt x="204" y="1212"/>
                      </a:lnTo>
                      <a:lnTo>
                        <a:pt x="205" y="1212"/>
                      </a:lnTo>
                      <a:lnTo>
                        <a:pt x="207" y="1214"/>
                      </a:lnTo>
                      <a:lnTo>
                        <a:pt x="208" y="1214"/>
                      </a:lnTo>
                      <a:lnTo>
                        <a:pt x="208" y="1214"/>
                      </a:lnTo>
                      <a:lnTo>
                        <a:pt x="208" y="1215"/>
                      </a:lnTo>
                      <a:lnTo>
                        <a:pt x="209" y="1215"/>
                      </a:lnTo>
                      <a:lnTo>
                        <a:pt x="210" y="1216"/>
                      </a:lnTo>
                      <a:lnTo>
                        <a:pt x="212" y="1218"/>
                      </a:lnTo>
                      <a:lnTo>
                        <a:pt x="210" y="1218"/>
                      </a:lnTo>
                      <a:lnTo>
                        <a:pt x="210" y="1218"/>
                      </a:lnTo>
                      <a:lnTo>
                        <a:pt x="210" y="1219"/>
                      </a:lnTo>
                      <a:lnTo>
                        <a:pt x="212" y="1219"/>
                      </a:lnTo>
                      <a:lnTo>
                        <a:pt x="210" y="1220"/>
                      </a:lnTo>
                      <a:lnTo>
                        <a:pt x="213" y="1221"/>
                      </a:lnTo>
                      <a:lnTo>
                        <a:pt x="212" y="1224"/>
                      </a:lnTo>
                      <a:lnTo>
                        <a:pt x="210" y="1224"/>
                      </a:lnTo>
                      <a:lnTo>
                        <a:pt x="208" y="1224"/>
                      </a:lnTo>
                      <a:lnTo>
                        <a:pt x="208" y="1224"/>
                      </a:lnTo>
                      <a:lnTo>
                        <a:pt x="207" y="1224"/>
                      </a:lnTo>
                      <a:lnTo>
                        <a:pt x="206" y="1224"/>
                      </a:lnTo>
                      <a:lnTo>
                        <a:pt x="206" y="1224"/>
                      </a:lnTo>
                      <a:lnTo>
                        <a:pt x="205" y="1224"/>
                      </a:lnTo>
                      <a:lnTo>
                        <a:pt x="204" y="1224"/>
                      </a:lnTo>
                      <a:lnTo>
                        <a:pt x="204" y="1223"/>
                      </a:lnTo>
                      <a:lnTo>
                        <a:pt x="203" y="1223"/>
                      </a:lnTo>
                      <a:lnTo>
                        <a:pt x="202" y="1223"/>
                      </a:lnTo>
                      <a:lnTo>
                        <a:pt x="201" y="1223"/>
                      </a:lnTo>
                      <a:lnTo>
                        <a:pt x="200" y="1222"/>
                      </a:lnTo>
                      <a:lnTo>
                        <a:pt x="200" y="1222"/>
                      </a:lnTo>
                      <a:lnTo>
                        <a:pt x="199" y="1223"/>
                      </a:lnTo>
                      <a:lnTo>
                        <a:pt x="198" y="1223"/>
                      </a:lnTo>
                      <a:lnTo>
                        <a:pt x="197" y="1222"/>
                      </a:lnTo>
                      <a:lnTo>
                        <a:pt x="197" y="1221"/>
                      </a:lnTo>
                      <a:lnTo>
                        <a:pt x="196" y="1222"/>
                      </a:lnTo>
                      <a:lnTo>
                        <a:pt x="196" y="1222"/>
                      </a:lnTo>
                      <a:lnTo>
                        <a:pt x="196" y="1222"/>
                      </a:lnTo>
                      <a:lnTo>
                        <a:pt x="195" y="1222"/>
                      </a:lnTo>
                      <a:lnTo>
                        <a:pt x="194" y="1222"/>
                      </a:lnTo>
                      <a:lnTo>
                        <a:pt x="194" y="1221"/>
                      </a:lnTo>
                      <a:lnTo>
                        <a:pt x="193" y="1221"/>
                      </a:lnTo>
                      <a:lnTo>
                        <a:pt x="193" y="1221"/>
                      </a:lnTo>
                      <a:lnTo>
                        <a:pt x="192" y="1219"/>
                      </a:lnTo>
                      <a:lnTo>
                        <a:pt x="192" y="1218"/>
                      </a:lnTo>
                      <a:lnTo>
                        <a:pt x="192" y="1218"/>
                      </a:lnTo>
                      <a:lnTo>
                        <a:pt x="191" y="1219"/>
                      </a:lnTo>
                      <a:lnTo>
                        <a:pt x="191" y="1219"/>
                      </a:lnTo>
                      <a:lnTo>
                        <a:pt x="190" y="1219"/>
                      </a:lnTo>
                      <a:lnTo>
                        <a:pt x="189" y="1218"/>
                      </a:lnTo>
                      <a:lnTo>
                        <a:pt x="189" y="1217"/>
                      </a:lnTo>
                      <a:lnTo>
                        <a:pt x="188" y="1217"/>
                      </a:lnTo>
                      <a:lnTo>
                        <a:pt x="188" y="1217"/>
                      </a:lnTo>
                      <a:lnTo>
                        <a:pt x="188" y="1218"/>
                      </a:lnTo>
                      <a:lnTo>
                        <a:pt x="187" y="1217"/>
                      </a:lnTo>
                      <a:lnTo>
                        <a:pt x="187" y="1218"/>
                      </a:lnTo>
                      <a:lnTo>
                        <a:pt x="186" y="1218"/>
                      </a:lnTo>
                      <a:lnTo>
                        <a:pt x="185" y="1218"/>
                      </a:lnTo>
                      <a:lnTo>
                        <a:pt x="184" y="1218"/>
                      </a:lnTo>
                      <a:lnTo>
                        <a:pt x="183" y="1217"/>
                      </a:lnTo>
                      <a:lnTo>
                        <a:pt x="183" y="1218"/>
                      </a:lnTo>
                      <a:lnTo>
                        <a:pt x="184" y="1218"/>
                      </a:lnTo>
                      <a:lnTo>
                        <a:pt x="185" y="1219"/>
                      </a:lnTo>
                      <a:lnTo>
                        <a:pt x="185" y="1220"/>
                      </a:lnTo>
                      <a:lnTo>
                        <a:pt x="186" y="1221"/>
                      </a:lnTo>
                      <a:lnTo>
                        <a:pt x="185" y="1222"/>
                      </a:lnTo>
                      <a:lnTo>
                        <a:pt x="185" y="1222"/>
                      </a:lnTo>
                      <a:lnTo>
                        <a:pt x="186" y="1222"/>
                      </a:lnTo>
                      <a:lnTo>
                        <a:pt x="186" y="1223"/>
                      </a:lnTo>
                      <a:lnTo>
                        <a:pt x="186" y="1223"/>
                      </a:lnTo>
                      <a:lnTo>
                        <a:pt x="186" y="1224"/>
                      </a:lnTo>
                      <a:lnTo>
                        <a:pt x="185" y="1224"/>
                      </a:lnTo>
                      <a:lnTo>
                        <a:pt x="184" y="1224"/>
                      </a:lnTo>
                      <a:lnTo>
                        <a:pt x="183" y="1223"/>
                      </a:lnTo>
                      <a:lnTo>
                        <a:pt x="183" y="1222"/>
                      </a:lnTo>
                      <a:lnTo>
                        <a:pt x="183" y="1223"/>
                      </a:lnTo>
                      <a:lnTo>
                        <a:pt x="183" y="1224"/>
                      </a:lnTo>
                      <a:lnTo>
                        <a:pt x="182" y="1224"/>
                      </a:lnTo>
                      <a:lnTo>
                        <a:pt x="182" y="1223"/>
                      </a:lnTo>
                      <a:lnTo>
                        <a:pt x="182" y="1223"/>
                      </a:lnTo>
                      <a:lnTo>
                        <a:pt x="182" y="1224"/>
                      </a:lnTo>
                      <a:lnTo>
                        <a:pt x="181" y="1224"/>
                      </a:lnTo>
                      <a:lnTo>
                        <a:pt x="181" y="1224"/>
                      </a:lnTo>
                      <a:lnTo>
                        <a:pt x="182" y="1224"/>
                      </a:lnTo>
                      <a:lnTo>
                        <a:pt x="182" y="1225"/>
                      </a:lnTo>
                      <a:lnTo>
                        <a:pt x="182" y="1227"/>
                      </a:lnTo>
                      <a:lnTo>
                        <a:pt x="183" y="1229"/>
                      </a:lnTo>
                      <a:lnTo>
                        <a:pt x="183" y="1230"/>
                      </a:lnTo>
                      <a:lnTo>
                        <a:pt x="183" y="1230"/>
                      </a:lnTo>
                      <a:lnTo>
                        <a:pt x="184" y="1230"/>
                      </a:lnTo>
                      <a:lnTo>
                        <a:pt x="184" y="1230"/>
                      </a:lnTo>
                      <a:lnTo>
                        <a:pt x="185" y="1230"/>
                      </a:lnTo>
                      <a:lnTo>
                        <a:pt x="185" y="1229"/>
                      </a:lnTo>
                      <a:lnTo>
                        <a:pt x="185" y="1229"/>
                      </a:lnTo>
                      <a:lnTo>
                        <a:pt x="186" y="1229"/>
                      </a:lnTo>
                      <a:lnTo>
                        <a:pt x="187" y="1229"/>
                      </a:lnTo>
                      <a:lnTo>
                        <a:pt x="188" y="1229"/>
                      </a:lnTo>
                      <a:lnTo>
                        <a:pt x="188" y="1230"/>
                      </a:lnTo>
                      <a:lnTo>
                        <a:pt x="189" y="1230"/>
                      </a:lnTo>
                      <a:lnTo>
                        <a:pt x="189" y="1231"/>
                      </a:lnTo>
                      <a:lnTo>
                        <a:pt x="190" y="1231"/>
                      </a:lnTo>
                      <a:lnTo>
                        <a:pt x="190" y="1232"/>
                      </a:lnTo>
                      <a:lnTo>
                        <a:pt x="190" y="1232"/>
                      </a:lnTo>
                      <a:lnTo>
                        <a:pt x="190" y="1232"/>
                      </a:lnTo>
                      <a:lnTo>
                        <a:pt x="191" y="1232"/>
                      </a:lnTo>
                      <a:lnTo>
                        <a:pt x="191" y="1232"/>
                      </a:lnTo>
                      <a:lnTo>
                        <a:pt x="191" y="1233"/>
                      </a:lnTo>
                      <a:lnTo>
                        <a:pt x="191" y="1234"/>
                      </a:lnTo>
                      <a:lnTo>
                        <a:pt x="191" y="1235"/>
                      </a:lnTo>
                      <a:lnTo>
                        <a:pt x="191" y="1234"/>
                      </a:lnTo>
                      <a:lnTo>
                        <a:pt x="191" y="1235"/>
                      </a:lnTo>
                      <a:lnTo>
                        <a:pt x="190" y="1235"/>
                      </a:lnTo>
                      <a:lnTo>
                        <a:pt x="190" y="1236"/>
                      </a:lnTo>
                      <a:lnTo>
                        <a:pt x="191" y="1236"/>
                      </a:lnTo>
                      <a:lnTo>
                        <a:pt x="191" y="1236"/>
                      </a:lnTo>
                      <a:lnTo>
                        <a:pt x="191" y="1236"/>
                      </a:lnTo>
                      <a:lnTo>
                        <a:pt x="191" y="1236"/>
                      </a:lnTo>
                      <a:lnTo>
                        <a:pt x="192" y="1237"/>
                      </a:lnTo>
                      <a:lnTo>
                        <a:pt x="192" y="1238"/>
                      </a:lnTo>
                      <a:lnTo>
                        <a:pt x="193" y="1238"/>
                      </a:lnTo>
                      <a:lnTo>
                        <a:pt x="193" y="1239"/>
                      </a:lnTo>
                      <a:lnTo>
                        <a:pt x="193" y="1239"/>
                      </a:lnTo>
                      <a:lnTo>
                        <a:pt x="193" y="1240"/>
                      </a:lnTo>
                      <a:lnTo>
                        <a:pt x="193" y="1240"/>
                      </a:lnTo>
                      <a:lnTo>
                        <a:pt x="195" y="1239"/>
                      </a:lnTo>
                      <a:lnTo>
                        <a:pt x="195" y="1239"/>
                      </a:lnTo>
                      <a:lnTo>
                        <a:pt x="196" y="1240"/>
                      </a:lnTo>
                      <a:lnTo>
                        <a:pt x="196" y="1241"/>
                      </a:lnTo>
                      <a:lnTo>
                        <a:pt x="195" y="1241"/>
                      </a:lnTo>
                      <a:lnTo>
                        <a:pt x="195" y="1241"/>
                      </a:lnTo>
                      <a:lnTo>
                        <a:pt x="195" y="1241"/>
                      </a:lnTo>
                      <a:lnTo>
                        <a:pt x="196" y="1242"/>
                      </a:lnTo>
                      <a:lnTo>
                        <a:pt x="196" y="1242"/>
                      </a:lnTo>
                      <a:lnTo>
                        <a:pt x="196" y="1243"/>
                      </a:lnTo>
                      <a:lnTo>
                        <a:pt x="196" y="1244"/>
                      </a:lnTo>
                      <a:lnTo>
                        <a:pt x="196" y="1244"/>
                      </a:lnTo>
                      <a:lnTo>
                        <a:pt x="196" y="1244"/>
                      </a:lnTo>
                      <a:lnTo>
                        <a:pt x="196" y="1244"/>
                      </a:lnTo>
                      <a:lnTo>
                        <a:pt x="196" y="1245"/>
                      </a:lnTo>
                      <a:lnTo>
                        <a:pt x="197" y="1246"/>
                      </a:lnTo>
                      <a:lnTo>
                        <a:pt x="196" y="1246"/>
                      </a:lnTo>
                      <a:lnTo>
                        <a:pt x="196" y="1246"/>
                      </a:lnTo>
                      <a:lnTo>
                        <a:pt x="196" y="1247"/>
                      </a:lnTo>
                      <a:lnTo>
                        <a:pt x="195" y="1247"/>
                      </a:lnTo>
                      <a:lnTo>
                        <a:pt x="194" y="1247"/>
                      </a:lnTo>
                      <a:lnTo>
                        <a:pt x="194" y="1248"/>
                      </a:lnTo>
                      <a:lnTo>
                        <a:pt x="194" y="1248"/>
                      </a:lnTo>
                      <a:lnTo>
                        <a:pt x="193" y="1247"/>
                      </a:lnTo>
                      <a:lnTo>
                        <a:pt x="193" y="1245"/>
                      </a:lnTo>
                      <a:lnTo>
                        <a:pt x="193" y="1245"/>
                      </a:lnTo>
                      <a:lnTo>
                        <a:pt x="192" y="1245"/>
                      </a:lnTo>
                      <a:lnTo>
                        <a:pt x="192" y="1247"/>
                      </a:lnTo>
                      <a:lnTo>
                        <a:pt x="192" y="1248"/>
                      </a:lnTo>
                      <a:lnTo>
                        <a:pt x="191" y="1248"/>
                      </a:lnTo>
                      <a:lnTo>
                        <a:pt x="191" y="1248"/>
                      </a:lnTo>
                      <a:lnTo>
                        <a:pt x="190" y="1247"/>
                      </a:lnTo>
                      <a:lnTo>
                        <a:pt x="190" y="1247"/>
                      </a:lnTo>
                      <a:lnTo>
                        <a:pt x="190" y="1247"/>
                      </a:lnTo>
                      <a:lnTo>
                        <a:pt x="190" y="1245"/>
                      </a:lnTo>
                      <a:lnTo>
                        <a:pt x="190" y="1245"/>
                      </a:lnTo>
                      <a:lnTo>
                        <a:pt x="190" y="1246"/>
                      </a:lnTo>
                      <a:lnTo>
                        <a:pt x="189" y="1247"/>
                      </a:lnTo>
                      <a:lnTo>
                        <a:pt x="188" y="1246"/>
                      </a:lnTo>
                      <a:lnTo>
                        <a:pt x="187" y="1246"/>
                      </a:lnTo>
                      <a:lnTo>
                        <a:pt x="187" y="1245"/>
                      </a:lnTo>
                      <a:lnTo>
                        <a:pt x="186" y="1245"/>
                      </a:lnTo>
                      <a:lnTo>
                        <a:pt x="186" y="1244"/>
                      </a:lnTo>
                      <a:lnTo>
                        <a:pt x="185" y="1244"/>
                      </a:lnTo>
                      <a:lnTo>
                        <a:pt x="185" y="1243"/>
                      </a:lnTo>
                      <a:lnTo>
                        <a:pt x="185" y="1243"/>
                      </a:lnTo>
                      <a:lnTo>
                        <a:pt x="184" y="1244"/>
                      </a:lnTo>
                      <a:lnTo>
                        <a:pt x="184" y="1244"/>
                      </a:lnTo>
                      <a:lnTo>
                        <a:pt x="185" y="1245"/>
                      </a:lnTo>
                      <a:lnTo>
                        <a:pt x="185" y="1245"/>
                      </a:lnTo>
                      <a:lnTo>
                        <a:pt x="185" y="1246"/>
                      </a:lnTo>
                      <a:lnTo>
                        <a:pt x="186" y="1246"/>
                      </a:lnTo>
                      <a:lnTo>
                        <a:pt x="186" y="1249"/>
                      </a:lnTo>
                      <a:lnTo>
                        <a:pt x="185" y="1249"/>
                      </a:lnTo>
                      <a:lnTo>
                        <a:pt x="185" y="1248"/>
                      </a:lnTo>
                      <a:lnTo>
                        <a:pt x="184" y="1248"/>
                      </a:lnTo>
                      <a:lnTo>
                        <a:pt x="185" y="1249"/>
                      </a:lnTo>
                      <a:lnTo>
                        <a:pt x="186" y="1249"/>
                      </a:lnTo>
                      <a:lnTo>
                        <a:pt x="186" y="1250"/>
                      </a:lnTo>
                      <a:lnTo>
                        <a:pt x="186" y="1250"/>
                      </a:lnTo>
                      <a:lnTo>
                        <a:pt x="186" y="1251"/>
                      </a:lnTo>
                      <a:lnTo>
                        <a:pt x="187" y="1251"/>
                      </a:lnTo>
                      <a:lnTo>
                        <a:pt x="187" y="1252"/>
                      </a:lnTo>
                      <a:lnTo>
                        <a:pt x="186" y="1252"/>
                      </a:lnTo>
                      <a:lnTo>
                        <a:pt x="186" y="1253"/>
                      </a:lnTo>
                      <a:lnTo>
                        <a:pt x="186" y="1253"/>
                      </a:lnTo>
                      <a:lnTo>
                        <a:pt x="186" y="1254"/>
                      </a:lnTo>
                      <a:lnTo>
                        <a:pt x="186" y="1254"/>
                      </a:lnTo>
                      <a:lnTo>
                        <a:pt x="185" y="1254"/>
                      </a:lnTo>
                      <a:lnTo>
                        <a:pt x="184" y="1254"/>
                      </a:lnTo>
                      <a:lnTo>
                        <a:pt x="184" y="1253"/>
                      </a:lnTo>
                      <a:lnTo>
                        <a:pt x="183" y="1252"/>
                      </a:lnTo>
                      <a:lnTo>
                        <a:pt x="183" y="1252"/>
                      </a:lnTo>
                      <a:lnTo>
                        <a:pt x="183" y="1251"/>
                      </a:lnTo>
                      <a:lnTo>
                        <a:pt x="183" y="1251"/>
                      </a:lnTo>
                      <a:lnTo>
                        <a:pt x="183" y="1251"/>
                      </a:lnTo>
                      <a:lnTo>
                        <a:pt x="182" y="1251"/>
                      </a:lnTo>
                      <a:lnTo>
                        <a:pt x="182" y="1250"/>
                      </a:lnTo>
                      <a:lnTo>
                        <a:pt x="182" y="1250"/>
                      </a:lnTo>
                      <a:lnTo>
                        <a:pt x="182" y="1250"/>
                      </a:lnTo>
                      <a:lnTo>
                        <a:pt x="182" y="1251"/>
                      </a:lnTo>
                      <a:lnTo>
                        <a:pt x="181" y="1251"/>
                      </a:lnTo>
                      <a:lnTo>
                        <a:pt x="181" y="1251"/>
                      </a:lnTo>
                      <a:lnTo>
                        <a:pt x="182" y="1251"/>
                      </a:lnTo>
                      <a:lnTo>
                        <a:pt x="182" y="1252"/>
                      </a:lnTo>
                      <a:lnTo>
                        <a:pt x="181" y="1252"/>
                      </a:lnTo>
                      <a:lnTo>
                        <a:pt x="180" y="1252"/>
                      </a:lnTo>
                      <a:lnTo>
                        <a:pt x="179" y="1251"/>
                      </a:lnTo>
                      <a:lnTo>
                        <a:pt x="179" y="1251"/>
                      </a:lnTo>
                      <a:lnTo>
                        <a:pt x="181" y="1253"/>
                      </a:lnTo>
                      <a:lnTo>
                        <a:pt x="182" y="1254"/>
                      </a:lnTo>
                      <a:lnTo>
                        <a:pt x="182" y="1254"/>
                      </a:lnTo>
                      <a:lnTo>
                        <a:pt x="182" y="1255"/>
                      </a:lnTo>
                      <a:lnTo>
                        <a:pt x="181" y="1254"/>
                      </a:lnTo>
                      <a:lnTo>
                        <a:pt x="181" y="1255"/>
                      </a:lnTo>
                      <a:lnTo>
                        <a:pt x="179" y="1254"/>
                      </a:lnTo>
                      <a:lnTo>
                        <a:pt x="179" y="1254"/>
                      </a:lnTo>
                      <a:lnTo>
                        <a:pt x="179" y="1255"/>
                      </a:lnTo>
                      <a:lnTo>
                        <a:pt x="179" y="1255"/>
                      </a:lnTo>
                      <a:lnTo>
                        <a:pt x="178" y="1255"/>
                      </a:lnTo>
                      <a:lnTo>
                        <a:pt x="178" y="1255"/>
                      </a:lnTo>
                      <a:lnTo>
                        <a:pt x="179" y="1254"/>
                      </a:lnTo>
                      <a:lnTo>
                        <a:pt x="178" y="1254"/>
                      </a:lnTo>
                      <a:lnTo>
                        <a:pt x="178" y="1254"/>
                      </a:lnTo>
                      <a:lnTo>
                        <a:pt x="178" y="1253"/>
                      </a:lnTo>
                      <a:lnTo>
                        <a:pt x="178" y="1254"/>
                      </a:lnTo>
                      <a:lnTo>
                        <a:pt x="178" y="1253"/>
                      </a:lnTo>
                      <a:lnTo>
                        <a:pt x="178" y="1252"/>
                      </a:lnTo>
                      <a:lnTo>
                        <a:pt x="177" y="1252"/>
                      </a:lnTo>
                      <a:lnTo>
                        <a:pt x="178" y="1251"/>
                      </a:lnTo>
                      <a:lnTo>
                        <a:pt x="178" y="1251"/>
                      </a:lnTo>
                      <a:lnTo>
                        <a:pt x="178" y="1250"/>
                      </a:lnTo>
                      <a:lnTo>
                        <a:pt x="177" y="1249"/>
                      </a:lnTo>
                      <a:lnTo>
                        <a:pt x="175" y="1246"/>
                      </a:lnTo>
                      <a:lnTo>
                        <a:pt x="175" y="1245"/>
                      </a:lnTo>
                      <a:lnTo>
                        <a:pt x="175" y="1244"/>
                      </a:lnTo>
                      <a:lnTo>
                        <a:pt x="174" y="1244"/>
                      </a:lnTo>
                      <a:lnTo>
                        <a:pt x="174" y="1245"/>
                      </a:lnTo>
                      <a:lnTo>
                        <a:pt x="174" y="1245"/>
                      </a:lnTo>
                      <a:lnTo>
                        <a:pt x="171" y="1244"/>
                      </a:lnTo>
                      <a:lnTo>
                        <a:pt x="172" y="1246"/>
                      </a:lnTo>
                      <a:lnTo>
                        <a:pt x="174" y="1247"/>
                      </a:lnTo>
                      <a:lnTo>
                        <a:pt x="175" y="1248"/>
                      </a:lnTo>
                      <a:lnTo>
                        <a:pt x="175" y="1248"/>
                      </a:lnTo>
                      <a:lnTo>
                        <a:pt x="175" y="1248"/>
                      </a:lnTo>
                      <a:lnTo>
                        <a:pt x="175" y="1249"/>
                      </a:lnTo>
                      <a:lnTo>
                        <a:pt x="176" y="1249"/>
                      </a:lnTo>
                      <a:lnTo>
                        <a:pt x="177" y="1250"/>
                      </a:lnTo>
                      <a:lnTo>
                        <a:pt x="176" y="1250"/>
                      </a:lnTo>
                      <a:lnTo>
                        <a:pt x="175" y="1251"/>
                      </a:lnTo>
                      <a:lnTo>
                        <a:pt x="175" y="1252"/>
                      </a:lnTo>
                      <a:lnTo>
                        <a:pt x="175" y="1253"/>
                      </a:lnTo>
                      <a:lnTo>
                        <a:pt x="175" y="1253"/>
                      </a:lnTo>
                      <a:lnTo>
                        <a:pt x="175" y="1254"/>
                      </a:lnTo>
                      <a:lnTo>
                        <a:pt x="175" y="1255"/>
                      </a:lnTo>
                      <a:lnTo>
                        <a:pt x="174" y="1255"/>
                      </a:lnTo>
                      <a:lnTo>
                        <a:pt x="174" y="1255"/>
                      </a:lnTo>
                      <a:lnTo>
                        <a:pt x="172" y="1254"/>
                      </a:lnTo>
                      <a:lnTo>
                        <a:pt x="172" y="1254"/>
                      </a:lnTo>
                      <a:lnTo>
                        <a:pt x="172" y="1253"/>
                      </a:lnTo>
                      <a:lnTo>
                        <a:pt x="172" y="1252"/>
                      </a:lnTo>
                      <a:lnTo>
                        <a:pt x="172" y="1252"/>
                      </a:lnTo>
                      <a:lnTo>
                        <a:pt x="171" y="1251"/>
                      </a:lnTo>
                      <a:lnTo>
                        <a:pt x="171" y="1251"/>
                      </a:lnTo>
                      <a:lnTo>
                        <a:pt x="171" y="1252"/>
                      </a:lnTo>
                      <a:lnTo>
                        <a:pt x="171" y="1253"/>
                      </a:lnTo>
                      <a:lnTo>
                        <a:pt x="171" y="1253"/>
                      </a:lnTo>
                      <a:lnTo>
                        <a:pt x="170" y="1252"/>
                      </a:lnTo>
                      <a:lnTo>
                        <a:pt x="170" y="1252"/>
                      </a:lnTo>
                      <a:lnTo>
                        <a:pt x="170" y="1252"/>
                      </a:lnTo>
                      <a:lnTo>
                        <a:pt x="170" y="1253"/>
                      </a:lnTo>
                      <a:lnTo>
                        <a:pt x="171" y="1254"/>
                      </a:lnTo>
                      <a:lnTo>
                        <a:pt x="171" y="1254"/>
                      </a:lnTo>
                      <a:lnTo>
                        <a:pt x="170" y="1254"/>
                      </a:lnTo>
                      <a:lnTo>
                        <a:pt x="170" y="1254"/>
                      </a:lnTo>
                      <a:lnTo>
                        <a:pt x="170" y="1254"/>
                      </a:lnTo>
                      <a:lnTo>
                        <a:pt x="170" y="1255"/>
                      </a:lnTo>
                      <a:lnTo>
                        <a:pt x="171" y="1255"/>
                      </a:lnTo>
                      <a:lnTo>
                        <a:pt x="171" y="1256"/>
                      </a:lnTo>
                      <a:lnTo>
                        <a:pt x="171" y="1256"/>
                      </a:lnTo>
                      <a:lnTo>
                        <a:pt x="171" y="1256"/>
                      </a:lnTo>
                      <a:lnTo>
                        <a:pt x="171" y="1257"/>
                      </a:lnTo>
                      <a:lnTo>
                        <a:pt x="171" y="1257"/>
                      </a:lnTo>
                      <a:lnTo>
                        <a:pt x="170" y="1257"/>
                      </a:lnTo>
                      <a:lnTo>
                        <a:pt x="170" y="1257"/>
                      </a:lnTo>
                      <a:lnTo>
                        <a:pt x="171" y="1258"/>
                      </a:lnTo>
                      <a:lnTo>
                        <a:pt x="171" y="1259"/>
                      </a:lnTo>
                      <a:lnTo>
                        <a:pt x="171" y="1259"/>
                      </a:lnTo>
                      <a:lnTo>
                        <a:pt x="171" y="1260"/>
                      </a:lnTo>
                      <a:lnTo>
                        <a:pt x="171" y="1260"/>
                      </a:lnTo>
                      <a:lnTo>
                        <a:pt x="169" y="1260"/>
                      </a:lnTo>
                      <a:lnTo>
                        <a:pt x="168" y="1259"/>
                      </a:lnTo>
                      <a:lnTo>
                        <a:pt x="168" y="1258"/>
                      </a:lnTo>
                      <a:lnTo>
                        <a:pt x="167" y="1258"/>
                      </a:lnTo>
                      <a:lnTo>
                        <a:pt x="167" y="1257"/>
                      </a:lnTo>
                      <a:lnTo>
                        <a:pt x="166" y="1257"/>
                      </a:lnTo>
                      <a:lnTo>
                        <a:pt x="166" y="1258"/>
                      </a:lnTo>
                      <a:lnTo>
                        <a:pt x="167" y="1259"/>
                      </a:lnTo>
                      <a:lnTo>
                        <a:pt x="167" y="1259"/>
                      </a:lnTo>
                      <a:lnTo>
                        <a:pt x="166" y="1259"/>
                      </a:lnTo>
                      <a:lnTo>
                        <a:pt x="165" y="1259"/>
                      </a:lnTo>
                      <a:lnTo>
                        <a:pt x="165" y="1259"/>
                      </a:lnTo>
                      <a:lnTo>
                        <a:pt x="165" y="1260"/>
                      </a:lnTo>
                      <a:lnTo>
                        <a:pt x="166" y="1260"/>
                      </a:lnTo>
                      <a:lnTo>
                        <a:pt x="166" y="1262"/>
                      </a:lnTo>
                      <a:lnTo>
                        <a:pt x="167" y="1263"/>
                      </a:lnTo>
                      <a:lnTo>
                        <a:pt x="167" y="1263"/>
                      </a:lnTo>
                      <a:lnTo>
                        <a:pt x="167" y="1265"/>
                      </a:lnTo>
                      <a:lnTo>
                        <a:pt x="167" y="1265"/>
                      </a:lnTo>
                      <a:lnTo>
                        <a:pt x="168" y="1266"/>
                      </a:lnTo>
                      <a:lnTo>
                        <a:pt x="168" y="1267"/>
                      </a:lnTo>
                      <a:lnTo>
                        <a:pt x="167" y="1267"/>
                      </a:lnTo>
                      <a:lnTo>
                        <a:pt x="167" y="1267"/>
                      </a:lnTo>
                      <a:lnTo>
                        <a:pt x="166" y="1268"/>
                      </a:lnTo>
                      <a:lnTo>
                        <a:pt x="166" y="1268"/>
                      </a:lnTo>
                      <a:lnTo>
                        <a:pt x="165" y="1268"/>
                      </a:lnTo>
                      <a:lnTo>
                        <a:pt x="165" y="1268"/>
                      </a:lnTo>
                      <a:lnTo>
                        <a:pt x="165" y="1268"/>
                      </a:lnTo>
                      <a:lnTo>
                        <a:pt x="164" y="1267"/>
                      </a:lnTo>
                      <a:lnTo>
                        <a:pt x="163" y="1267"/>
                      </a:lnTo>
                      <a:lnTo>
                        <a:pt x="163" y="1267"/>
                      </a:lnTo>
                      <a:lnTo>
                        <a:pt x="162" y="1267"/>
                      </a:lnTo>
                      <a:lnTo>
                        <a:pt x="162" y="1266"/>
                      </a:lnTo>
                      <a:lnTo>
                        <a:pt x="162" y="1266"/>
                      </a:lnTo>
                      <a:lnTo>
                        <a:pt x="162" y="1265"/>
                      </a:lnTo>
                      <a:lnTo>
                        <a:pt x="161" y="1263"/>
                      </a:lnTo>
                      <a:lnTo>
                        <a:pt x="159" y="1263"/>
                      </a:lnTo>
                      <a:lnTo>
                        <a:pt x="159" y="1265"/>
                      </a:lnTo>
                      <a:lnTo>
                        <a:pt x="160" y="1265"/>
                      </a:lnTo>
                      <a:lnTo>
                        <a:pt x="161" y="1267"/>
                      </a:lnTo>
                      <a:lnTo>
                        <a:pt x="160" y="1267"/>
                      </a:lnTo>
                      <a:lnTo>
                        <a:pt x="160" y="1267"/>
                      </a:lnTo>
                      <a:lnTo>
                        <a:pt x="158" y="1266"/>
                      </a:lnTo>
                      <a:lnTo>
                        <a:pt x="158" y="1266"/>
                      </a:lnTo>
                      <a:lnTo>
                        <a:pt x="158" y="1266"/>
                      </a:lnTo>
                      <a:lnTo>
                        <a:pt x="158" y="1267"/>
                      </a:lnTo>
                      <a:lnTo>
                        <a:pt x="158" y="1267"/>
                      </a:lnTo>
                      <a:lnTo>
                        <a:pt x="159" y="1267"/>
                      </a:lnTo>
                      <a:lnTo>
                        <a:pt x="160" y="1268"/>
                      </a:lnTo>
                      <a:lnTo>
                        <a:pt x="161" y="1268"/>
                      </a:lnTo>
                      <a:lnTo>
                        <a:pt x="161" y="1268"/>
                      </a:lnTo>
                      <a:lnTo>
                        <a:pt x="161" y="1268"/>
                      </a:lnTo>
                      <a:lnTo>
                        <a:pt x="161" y="1268"/>
                      </a:lnTo>
                      <a:lnTo>
                        <a:pt x="160" y="1269"/>
                      </a:lnTo>
                      <a:lnTo>
                        <a:pt x="161" y="1269"/>
                      </a:lnTo>
                      <a:lnTo>
                        <a:pt x="161" y="1270"/>
                      </a:lnTo>
                      <a:lnTo>
                        <a:pt x="162" y="1269"/>
                      </a:lnTo>
                      <a:lnTo>
                        <a:pt x="162" y="1270"/>
                      </a:lnTo>
                      <a:lnTo>
                        <a:pt x="162" y="1271"/>
                      </a:lnTo>
                      <a:lnTo>
                        <a:pt x="161" y="1271"/>
                      </a:lnTo>
                      <a:lnTo>
                        <a:pt x="161" y="1271"/>
                      </a:lnTo>
                      <a:lnTo>
                        <a:pt x="160" y="1272"/>
                      </a:lnTo>
                      <a:lnTo>
                        <a:pt x="160" y="1272"/>
                      </a:lnTo>
                      <a:lnTo>
                        <a:pt x="159" y="1272"/>
                      </a:lnTo>
                      <a:lnTo>
                        <a:pt x="158" y="1273"/>
                      </a:lnTo>
                      <a:lnTo>
                        <a:pt x="158" y="1273"/>
                      </a:lnTo>
                      <a:lnTo>
                        <a:pt x="157" y="1273"/>
                      </a:lnTo>
                      <a:lnTo>
                        <a:pt x="156" y="1273"/>
                      </a:lnTo>
                      <a:lnTo>
                        <a:pt x="155" y="1273"/>
                      </a:lnTo>
                      <a:lnTo>
                        <a:pt x="155" y="1274"/>
                      </a:lnTo>
                      <a:lnTo>
                        <a:pt x="154" y="1274"/>
                      </a:lnTo>
                      <a:lnTo>
                        <a:pt x="154" y="1274"/>
                      </a:lnTo>
                      <a:lnTo>
                        <a:pt x="154" y="1274"/>
                      </a:lnTo>
                      <a:lnTo>
                        <a:pt x="154" y="1276"/>
                      </a:lnTo>
                      <a:lnTo>
                        <a:pt x="154" y="1276"/>
                      </a:lnTo>
                      <a:lnTo>
                        <a:pt x="154" y="1277"/>
                      </a:lnTo>
                      <a:lnTo>
                        <a:pt x="154" y="1277"/>
                      </a:lnTo>
                      <a:lnTo>
                        <a:pt x="154" y="1278"/>
                      </a:lnTo>
                      <a:lnTo>
                        <a:pt x="154" y="1279"/>
                      </a:lnTo>
                      <a:lnTo>
                        <a:pt x="153" y="1279"/>
                      </a:lnTo>
                      <a:lnTo>
                        <a:pt x="153" y="1280"/>
                      </a:lnTo>
                      <a:lnTo>
                        <a:pt x="154" y="1280"/>
                      </a:lnTo>
                      <a:lnTo>
                        <a:pt x="154" y="1280"/>
                      </a:lnTo>
                      <a:lnTo>
                        <a:pt x="153" y="1280"/>
                      </a:lnTo>
                      <a:lnTo>
                        <a:pt x="153" y="1281"/>
                      </a:lnTo>
                      <a:lnTo>
                        <a:pt x="153" y="1280"/>
                      </a:lnTo>
                      <a:lnTo>
                        <a:pt x="151" y="1280"/>
                      </a:lnTo>
                      <a:lnTo>
                        <a:pt x="151" y="1281"/>
                      </a:lnTo>
                      <a:lnTo>
                        <a:pt x="151" y="1282"/>
                      </a:lnTo>
                      <a:lnTo>
                        <a:pt x="151" y="1283"/>
                      </a:lnTo>
                      <a:lnTo>
                        <a:pt x="150" y="1282"/>
                      </a:lnTo>
                      <a:lnTo>
                        <a:pt x="150" y="1282"/>
                      </a:lnTo>
                      <a:lnTo>
                        <a:pt x="150" y="1281"/>
                      </a:lnTo>
                      <a:lnTo>
                        <a:pt x="150" y="1281"/>
                      </a:lnTo>
                      <a:lnTo>
                        <a:pt x="149" y="1281"/>
                      </a:lnTo>
                      <a:lnTo>
                        <a:pt x="150" y="1281"/>
                      </a:lnTo>
                      <a:lnTo>
                        <a:pt x="150" y="1282"/>
                      </a:lnTo>
                      <a:lnTo>
                        <a:pt x="149" y="1282"/>
                      </a:lnTo>
                      <a:lnTo>
                        <a:pt x="149" y="1281"/>
                      </a:lnTo>
                      <a:lnTo>
                        <a:pt x="148" y="1280"/>
                      </a:lnTo>
                      <a:lnTo>
                        <a:pt x="148" y="1280"/>
                      </a:lnTo>
                      <a:lnTo>
                        <a:pt x="146" y="1279"/>
                      </a:lnTo>
                      <a:lnTo>
                        <a:pt x="147" y="1280"/>
                      </a:lnTo>
                      <a:lnTo>
                        <a:pt x="147" y="1282"/>
                      </a:lnTo>
                      <a:lnTo>
                        <a:pt x="148" y="1282"/>
                      </a:lnTo>
                      <a:lnTo>
                        <a:pt x="148" y="1283"/>
                      </a:lnTo>
                      <a:lnTo>
                        <a:pt x="149" y="1284"/>
                      </a:lnTo>
                      <a:lnTo>
                        <a:pt x="149" y="1285"/>
                      </a:lnTo>
                      <a:lnTo>
                        <a:pt x="147" y="1284"/>
                      </a:lnTo>
                      <a:lnTo>
                        <a:pt x="146" y="1284"/>
                      </a:lnTo>
                      <a:lnTo>
                        <a:pt x="146" y="1283"/>
                      </a:lnTo>
                      <a:lnTo>
                        <a:pt x="146" y="1282"/>
                      </a:lnTo>
                      <a:lnTo>
                        <a:pt x="146" y="1282"/>
                      </a:lnTo>
                      <a:lnTo>
                        <a:pt x="145" y="1281"/>
                      </a:lnTo>
                      <a:lnTo>
                        <a:pt x="145" y="1280"/>
                      </a:lnTo>
                      <a:lnTo>
                        <a:pt x="144" y="1279"/>
                      </a:lnTo>
                      <a:lnTo>
                        <a:pt x="144" y="1279"/>
                      </a:lnTo>
                      <a:lnTo>
                        <a:pt x="143" y="1278"/>
                      </a:lnTo>
                      <a:lnTo>
                        <a:pt x="142" y="1276"/>
                      </a:lnTo>
                      <a:lnTo>
                        <a:pt x="142" y="1276"/>
                      </a:lnTo>
                      <a:lnTo>
                        <a:pt x="141" y="1276"/>
                      </a:lnTo>
                      <a:lnTo>
                        <a:pt x="141" y="1275"/>
                      </a:lnTo>
                      <a:lnTo>
                        <a:pt x="140" y="1275"/>
                      </a:lnTo>
                      <a:lnTo>
                        <a:pt x="140" y="1276"/>
                      </a:lnTo>
                      <a:lnTo>
                        <a:pt x="139" y="1275"/>
                      </a:lnTo>
                      <a:lnTo>
                        <a:pt x="139" y="1274"/>
                      </a:lnTo>
                      <a:lnTo>
                        <a:pt x="138" y="1274"/>
                      </a:lnTo>
                      <a:lnTo>
                        <a:pt x="138" y="1274"/>
                      </a:lnTo>
                      <a:lnTo>
                        <a:pt x="138" y="1273"/>
                      </a:lnTo>
                      <a:lnTo>
                        <a:pt x="137" y="1273"/>
                      </a:lnTo>
                      <a:lnTo>
                        <a:pt x="137" y="1272"/>
                      </a:lnTo>
                      <a:lnTo>
                        <a:pt x="137" y="1272"/>
                      </a:lnTo>
                      <a:lnTo>
                        <a:pt x="137" y="1271"/>
                      </a:lnTo>
                      <a:lnTo>
                        <a:pt x="137" y="1271"/>
                      </a:lnTo>
                      <a:lnTo>
                        <a:pt x="137" y="1270"/>
                      </a:lnTo>
                      <a:lnTo>
                        <a:pt x="137" y="1270"/>
                      </a:lnTo>
                      <a:lnTo>
                        <a:pt x="137" y="1270"/>
                      </a:lnTo>
                      <a:lnTo>
                        <a:pt x="137" y="1270"/>
                      </a:lnTo>
                      <a:lnTo>
                        <a:pt x="135" y="1270"/>
                      </a:lnTo>
                      <a:lnTo>
                        <a:pt x="135" y="1269"/>
                      </a:lnTo>
                      <a:lnTo>
                        <a:pt x="134" y="1269"/>
                      </a:lnTo>
                      <a:lnTo>
                        <a:pt x="134" y="1268"/>
                      </a:lnTo>
                      <a:lnTo>
                        <a:pt x="133" y="1268"/>
                      </a:lnTo>
                      <a:lnTo>
                        <a:pt x="133" y="1268"/>
                      </a:lnTo>
                      <a:lnTo>
                        <a:pt x="131" y="1267"/>
                      </a:lnTo>
                      <a:lnTo>
                        <a:pt x="131" y="1266"/>
                      </a:lnTo>
                      <a:lnTo>
                        <a:pt x="131" y="1266"/>
                      </a:lnTo>
                      <a:lnTo>
                        <a:pt x="130" y="1265"/>
                      </a:lnTo>
                      <a:lnTo>
                        <a:pt x="129" y="1265"/>
                      </a:lnTo>
                      <a:lnTo>
                        <a:pt x="129" y="1265"/>
                      </a:lnTo>
                      <a:lnTo>
                        <a:pt x="129" y="1263"/>
                      </a:lnTo>
                      <a:lnTo>
                        <a:pt x="129" y="1263"/>
                      </a:lnTo>
                      <a:lnTo>
                        <a:pt x="128" y="1262"/>
                      </a:lnTo>
                      <a:lnTo>
                        <a:pt x="127" y="1262"/>
                      </a:lnTo>
                      <a:lnTo>
                        <a:pt x="127" y="1260"/>
                      </a:lnTo>
                      <a:lnTo>
                        <a:pt x="126" y="1260"/>
                      </a:lnTo>
                      <a:lnTo>
                        <a:pt x="125" y="1258"/>
                      </a:lnTo>
                      <a:lnTo>
                        <a:pt x="125" y="1257"/>
                      </a:lnTo>
                      <a:lnTo>
                        <a:pt x="125" y="1256"/>
                      </a:lnTo>
                      <a:lnTo>
                        <a:pt x="125" y="1256"/>
                      </a:lnTo>
                      <a:lnTo>
                        <a:pt x="125" y="1255"/>
                      </a:lnTo>
                      <a:lnTo>
                        <a:pt x="124" y="1255"/>
                      </a:lnTo>
                      <a:lnTo>
                        <a:pt x="124" y="1255"/>
                      </a:lnTo>
                      <a:lnTo>
                        <a:pt x="123" y="1253"/>
                      </a:lnTo>
                      <a:lnTo>
                        <a:pt x="123" y="1253"/>
                      </a:lnTo>
                      <a:lnTo>
                        <a:pt x="121" y="1253"/>
                      </a:lnTo>
                      <a:lnTo>
                        <a:pt x="121" y="1253"/>
                      </a:lnTo>
                      <a:lnTo>
                        <a:pt x="120" y="1252"/>
                      </a:lnTo>
                      <a:lnTo>
                        <a:pt x="120" y="1253"/>
                      </a:lnTo>
                      <a:lnTo>
                        <a:pt x="120" y="1253"/>
                      </a:lnTo>
                      <a:lnTo>
                        <a:pt x="119" y="1253"/>
                      </a:lnTo>
                      <a:lnTo>
                        <a:pt x="119" y="1252"/>
                      </a:lnTo>
                      <a:lnTo>
                        <a:pt x="117" y="1251"/>
                      </a:lnTo>
                      <a:lnTo>
                        <a:pt x="116" y="1250"/>
                      </a:lnTo>
                      <a:lnTo>
                        <a:pt x="116" y="1249"/>
                      </a:lnTo>
                      <a:lnTo>
                        <a:pt x="115" y="1248"/>
                      </a:lnTo>
                      <a:lnTo>
                        <a:pt x="115" y="1247"/>
                      </a:lnTo>
                      <a:lnTo>
                        <a:pt x="114" y="1247"/>
                      </a:lnTo>
                      <a:lnTo>
                        <a:pt x="114" y="1246"/>
                      </a:lnTo>
                      <a:lnTo>
                        <a:pt x="115" y="1245"/>
                      </a:lnTo>
                      <a:lnTo>
                        <a:pt x="115" y="1244"/>
                      </a:lnTo>
                      <a:lnTo>
                        <a:pt x="114" y="1243"/>
                      </a:lnTo>
                      <a:lnTo>
                        <a:pt x="114" y="1243"/>
                      </a:lnTo>
                      <a:lnTo>
                        <a:pt x="114" y="1243"/>
                      </a:lnTo>
                      <a:lnTo>
                        <a:pt x="113" y="1242"/>
                      </a:lnTo>
                      <a:lnTo>
                        <a:pt x="113" y="1241"/>
                      </a:lnTo>
                      <a:lnTo>
                        <a:pt x="113" y="1241"/>
                      </a:lnTo>
                      <a:lnTo>
                        <a:pt x="114" y="1241"/>
                      </a:lnTo>
                      <a:lnTo>
                        <a:pt x="115" y="1241"/>
                      </a:lnTo>
                      <a:lnTo>
                        <a:pt x="117" y="1241"/>
                      </a:lnTo>
                      <a:lnTo>
                        <a:pt x="117" y="1241"/>
                      </a:lnTo>
                      <a:lnTo>
                        <a:pt x="118" y="1240"/>
                      </a:lnTo>
                      <a:lnTo>
                        <a:pt x="119" y="1240"/>
                      </a:lnTo>
                      <a:lnTo>
                        <a:pt x="120" y="1240"/>
                      </a:lnTo>
                      <a:lnTo>
                        <a:pt x="121" y="1242"/>
                      </a:lnTo>
                      <a:lnTo>
                        <a:pt x="121" y="1242"/>
                      </a:lnTo>
                      <a:lnTo>
                        <a:pt x="123" y="1243"/>
                      </a:lnTo>
                      <a:lnTo>
                        <a:pt x="124" y="1243"/>
                      </a:lnTo>
                      <a:lnTo>
                        <a:pt x="124" y="1244"/>
                      </a:lnTo>
                      <a:lnTo>
                        <a:pt x="124" y="1245"/>
                      </a:lnTo>
                      <a:lnTo>
                        <a:pt x="125" y="1245"/>
                      </a:lnTo>
                      <a:lnTo>
                        <a:pt x="124" y="1246"/>
                      </a:lnTo>
                      <a:lnTo>
                        <a:pt x="125" y="1247"/>
                      </a:lnTo>
                      <a:lnTo>
                        <a:pt x="124" y="1249"/>
                      </a:lnTo>
                      <a:lnTo>
                        <a:pt x="124" y="1250"/>
                      </a:lnTo>
                      <a:lnTo>
                        <a:pt x="124" y="1251"/>
                      </a:lnTo>
                      <a:lnTo>
                        <a:pt x="125" y="1251"/>
                      </a:lnTo>
                      <a:lnTo>
                        <a:pt x="126" y="1250"/>
                      </a:lnTo>
                      <a:lnTo>
                        <a:pt x="126" y="1250"/>
                      </a:lnTo>
                      <a:lnTo>
                        <a:pt x="125" y="1249"/>
                      </a:lnTo>
                      <a:lnTo>
                        <a:pt x="125" y="1249"/>
                      </a:lnTo>
                      <a:lnTo>
                        <a:pt x="125" y="1246"/>
                      </a:lnTo>
                      <a:lnTo>
                        <a:pt x="128" y="1247"/>
                      </a:lnTo>
                      <a:lnTo>
                        <a:pt x="129" y="1246"/>
                      </a:lnTo>
                      <a:lnTo>
                        <a:pt x="131" y="1245"/>
                      </a:lnTo>
                      <a:lnTo>
                        <a:pt x="132" y="1244"/>
                      </a:lnTo>
                      <a:lnTo>
                        <a:pt x="132" y="1244"/>
                      </a:lnTo>
                      <a:lnTo>
                        <a:pt x="132" y="1243"/>
                      </a:lnTo>
                      <a:lnTo>
                        <a:pt x="132" y="1243"/>
                      </a:lnTo>
                      <a:lnTo>
                        <a:pt x="134" y="1243"/>
                      </a:lnTo>
                      <a:lnTo>
                        <a:pt x="137" y="1243"/>
                      </a:lnTo>
                      <a:lnTo>
                        <a:pt x="137" y="1242"/>
                      </a:lnTo>
                      <a:lnTo>
                        <a:pt x="137" y="1242"/>
                      </a:lnTo>
                      <a:lnTo>
                        <a:pt x="138" y="1241"/>
                      </a:lnTo>
                      <a:lnTo>
                        <a:pt x="138" y="1241"/>
                      </a:lnTo>
                      <a:lnTo>
                        <a:pt x="139" y="1240"/>
                      </a:lnTo>
                      <a:lnTo>
                        <a:pt x="139" y="1240"/>
                      </a:lnTo>
                      <a:lnTo>
                        <a:pt x="139" y="1239"/>
                      </a:lnTo>
                      <a:lnTo>
                        <a:pt x="140" y="1239"/>
                      </a:lnTo>
                      <a:lnTo>
                        <a:pt x="141" y="1238"/>
                      </a:lnTo>
                      <a:lnTo>
                        <a:pt x="141" y="1237"/>
                      </a:lnTo>
                      <a:lnTo>
                        <a:pt x="141" y="1237"/>
                      </a:lnTo>
                      <a:lnTo>
                        <a:pt x="141" y="1236"/>
                      </a:lnTo>
                      <a:lnTo>
                        <a:pt x="141" y="1236"/>
                      </a:lnTo>
                      <a:lnTo>
                        <a:pt x="141" y="1235"/>
                      </a:lnTo>
                      <a:lnTo>
                        <a:pt x="141" y="1234"/>
                      </a:lnTo>
                      <a:lnTo>
                        <a:pt x="141" y="1233"/>
                      </a:lnTo>
                      <a:lnTo>
                        <a:pt x="142" y="1233"/>
                      </a:lnTo>
                      <a:lnTo>
                        <a:pt x="143" y="1232"/>
                      </a:lnTo>
                      <a:lnTo>
                        <a:pt x="143" y="1232"/>
                      </a:lnTo>
                      <a:lnTo>
                        <a:pt x="142" y="1231"/>
                      </a:lnTo>
                      <a:lnTo>
                        <a:pt x="142" y="1230"/>
                      </a:lnTo>
                      <a:lnTo>
                        <a:pt x="143" y="1230"/>
                      </a:lnTo>
                      <a:lnTo>
                        <a:pt x="143" y="1229"/>
                      </a:lnTo>
                      <a:lnTo>
                        <a:pt x="144" y="1229"/>
                      </a:lnTo>
                      <a:lnTo>
                        <a:pt x="145" y="1229"/>
                      </a:lnTo>
                      <a:lnTo>
                        <a:pt x="145" y="1231"/>
                      </a:lnTo>
                      <a:lnTo>
                        <a:pt x="145" y="1232"/>
                      </a:lnTo>
                      <a:lnTo>
                        <a:pt x="146" y="1231"/>
                      </a:lnTo>
                      <a:lnTo>
                        <a:pt x="146" y="1231"/>
                      </a:lnTo>
                      <a:lnTo>
                        <a:pt x="147" y="1231"/>
                      </a:lnTo>
                      <a:lnTo>
                        <a:pt x="148" y="1230"/>
                      </a:lnTo>
                      <a:lnTo>
                        <a:pt x="149" y="1230"/>
                      </a:lnTo>
                      <a:lnTo>
                        <a:pt x="149" y="1229"/>
                      </a:lnTo>
                      <a:lnTo>
                        <a:pt x="150" y="1230"/>
                      </a:lnTo>
                      <a:lnTo>
                        <a:pt x="150" y="1229"/>
                      </a:lnTo>
                      <a:lnTo>
                        <a:pt x="151" y="1229"/>
                      </a:lnTo>
                      <a:lnTo>
                        <a:pt x="151" y="1228"/>
                      </a:lnTo>
                      <a:lnTo>
                        <a:pt x="151" y="1227"/>
                      </a:lnTo>
                      <a:lnTo>
                        <a:pt x="151" y="1227"/>
                      </a:lnTo>
                      <a:lnTo>
                        <a:pt x="152" y="1229"/>
                      </a:lnTo>
                      <a:lnTo>
                        <a:pt x="152" y="1229"/>
                      </a:lnTo>
                      <a:lnTo>
                        <a:pt x="153" y="1230"/>
                      </a:lnTo>
                      <a:lnTo>
                        <a:pt x="152" y="1230"/>
                      </a:lnTo>
                      <a:lnTo>
                        <a:pt x="153" y="1230"/>
                      </a:lnTo>
                      <a:lnTo>
                        <a:pt x="153" y="1230"/>
                      </a:lnTo>
                      <a:lnTo>
                        <a:pt x="153" y="1230"/>
                      </a:lnTo>
                      <a:lnTo>
                        <a:pt x="153" y="1230"/>
                      </a:lnTo>
                      <a:lnTo>
                        <a:pt x="154" y="1230"/>
                      </a:lnTo>
                      <a:lnTo>
                        <a:pt x="154" y="1230"/>
                      </a:lnTo>
                      <a:lnTo>
                        <a:pt x="154" y="1229"/>
                      </a:lnTo>
                      <a:lnTo>
                        <a:pt x="154" y="1229"/>
                      </a:lnTo>
                      <a:lnTo>
                        <a:pt x="154" y="1228"/>
                      </a:lnTo>
                      <a:lnTo>
                        <a:pt x="155" y="1229"/>
                      </a:lnTo>
                      <a:lnTo>
                        <a:pt x="155" y="1229"/>
                      </a:lnTo>
                      <a:lnTo>
                        <a:pt x="156" y="1230"/>
                      </a:lnTo>
                      <a:lnTo>
                        <a:pt x="156" y="1230"/>
                      </a:lnTo>
                      <a:lnTo>
                        <a:pt x="157" y="1230"/>
                      </a:lnTo>
                      <a:lnTo>
                        <a:pt x="158" y="1231"/>
                      </a:lnTo>
                      <a:lnTo>
                        <a:pt x="159" y="1230"/>
                      </a:lnTo>
                      <a:lnTo>
                        <a:pt x="159" y="1229"/>
                      </a:lnTo>
                      <a:lnTo>
                        <a:pt x="160" y="1230"/>
                      </a:lnTo>
                      <a:lnTo>
                        <a:pt x="161" y="1229"/>
                      </a:lnTo>
                      <a:lnTo>
                        <a:pt x="161" y="1229"/>
                      </a:lnTo>
                      <a:lnTo>
                        <a:pt x="160" y="1229"/>
                      </a:lnTo>
                      <a:lnTo>
                        <a:pt x="159" y="1228"/>
                      </a:lnTo>
                      <a:lnTo>
                        <a:pt x="159" y="1228"/>
                      </a:lnTo>
                      <a:lnTo>
                        <a:pt x="158" y="1228"/>
                      </a:lnTo>
                      <a:lnTo>
                        <a:pt x="158" y="1227"/>
                      </a:lnTo>
                      <a:lnTo>
                        <a:pt x="157" y="1227"/>
                      </a:lnTo>
                      <a:lnTo>
                        <a:pt x="156" y="1225"/>
                      </a:lnTo>
                      <a:lnTo>
                        <a:pt x="155" y="1225"/>
                      </a:lnTo>
                      <a:lnTo>
                        <a:pt x="155" y="1224"/>
                      </a:lnTo>
                      <a:lnTo>
                        <a:pt x="154" y="1225"/>
                      </a:lnTo>
                      <a:lnTo>
                        <a:pt x="154" y="1224"/>
                      </a:lnTo>
                      <a:lnTo>
                        <a:pt x="154" y="1224"/>
                      </a:lnTo>
                      <a:lnTo>
                        <a:pt x="153" y="1224"/>
                      </a:lnTo>
                      <a:lnTo>
                        <a:pt x="153" y="1223"/>
                      </a:lnTo>
                      <a:lnTo>
                        <a:pt x="152" y="1223"/>
                      </a:lnTo>
                      <a:lnTo>
                        <a:pt x="152" y="1223"/>
                      </a:lnTo>
                      <a:lnTo>
                        <a:pt x="152" y="1223"/>
                      </a:lnTo>
                      <a:lnTo>
                        <a:pt x="150" y="1222"/>
                      </a:lnTo>
                      <a:lnTo>
                        <a:pt x="150" y="1222"/>
                      </a:lnTo>
                      <a:lnTo>
                        <a:pt x="149" y="1220"/>
                      </a:lnTo>
                      <a:lnTo>
                        <a:pt x="150" y="1220"/>
                      </a:lnTo>
                      <a:lnTo>
                        <a:pt x="152" y="1219"/>
                      </a:lnTo>
                      <a:lnTo>
                        <a:pt x="152" y="1217"/>
                      </a:lnTo>
                      <a:lnTo>
                        <a:pt x="152" y="1217"/>
                      </a:lnTo>
                      <a:lnTo>
                        <a:pt x="151" y="1216"/>
                      </a:lnTo>
                      <a:lnTo>
                        <a:pt x="152" y="1216"/>
                      </a:lnTo>
                      <a:lnTo>
                        <a:pt x="152" y="1215"/>
                      </a:lnTo>
                      <a:lnTo>
                        <a:pt x="152" y="1215"/>
                      </a:lnTo>
                      <a:lnTo>
                        <a:pt x="152" y="1215"/>
                      </a:lnTo>
                      <a:lnTo>
                        <a:pt x="154" y="1216"/>
                      </a:lnTo>
                      <a:lnTo>
                        <a:pt x="155" y="1214"/>
                      </a:lnTo>
                      <a:lnTo>
                        <a:pt x="156" y="1214"/>
                      </a:lnTo>
                      <a:lnTo>
                        <a:pt x="157" y="1213"/>
                      </a:lnTo>
                      <a:lnTo>
                        <a:pt x="158" y="1212"/>
                      </a:lnTo>
                      <a:lnTo>
                        <a:pt x="159" y="1212"/>
                      </a:lnTo>
                      <a:lnTo>
                        <a:pt x="159" y="1212"/>
                      </a:lnTo>
                      <a:lnTo>
                        <a:pt x="160" y="1212"/>
                      </a:lnTo>
                      <a:lnTo>
                        <a:pt x="160" y="1213"/>
                      </a:lnTo>
                      <a:lnTo>
                        <a:pt x="162" y="1213"/>
                      </a:lnTo>
                      <a:lnTo>
                        <a:pt x="162" y="1214"/>
                      </a:lnTo>
                      <a:lnTo>
                        <a:pt x="163" y="1214"/>
                      </a:lnTo>
                      <a:lnTo>
                        <a:pt x="163" y="1214"/>
                      </a:lnTo>
                      <a:lnTo>
                        <a:pt x="164" y="1214"/>
                      </a:lnTo>
                      <a:lnTo>
                        <a:pt x="164" y="1214"/>
                      </a:lnTo>
                      <a:lnTo>
                        <a:pt x="165" y="1214"/>
                      </a:lnTo>
                      <a:lnTo>
                        <a:pt x="165" y="1214"/>
                      </a:lnTo>
                      <a:lnTo>
                        <a:pt x="166" y="1214"/>
                      </a:lnTo>
                      <a:lnTo>
                        <a:pt x="166" y="1215"/>
                      </a:lnTo>
                      <a:lnTo>
                        <a:pt x="167" y="1215"/>
                      </a:lnTo>
                      <a:lnTo>
                        <a:pt x="167" y="1216"/>
                      </a:lnTo>
                      <a:lnTo>
                        <a:pt x="167" y="1216"/>
                      </a:lnTo>
                      <a:lnTo>
                        <a:pt x="168" y="1216"/>
                      </a:lnTo>
                      <a:lnTo>
                        <a:pt x="169" y="1215"/>
                      </a:lnTo>
                      <a:lnTo>
                        <a:pt x="169" y="1215"/>
                      </a:lnTo>
                      <a:lnTo>
                        <a:pt x="172" y="1217"/>
                      </a:lnTo>
                      <a:lnTo>
                        <a:pt x="172" y="1216"/>
                      </a:lnTo>
                      <a:lnTo>
                        <a:pt x="172" y="1216"/>
                      </a:lnTo>
                      <a:lnTo>
                        <a:pt x="172" y="1215"/>
                      </a:lnTo>
                      <a:lnTo>
                        <a:pt x="172" y="1215"/>
                      </a:lnTo>
                      <a:lnTo>
                        <a:pt x="174" y="1214"/>
                      </a:lnTo>
                      <a:lnTo>
                        <a:pt x="176" y="1215"/>
                      </a:lnTo>
                      <a:lnTo>
                        <a:pt x="179" y="1216"/>
                      </a:lnTo>
                      <a:lnTo>
                        <a:pt x="179" y="1216"/>
                      </a:lnTo>
                      <a:lnTo>
                        <a:pt x="180" y="1216"/>
                      </a:lnTo>
                      <a:lnTo>
                        <a:pt x="181" y="1216"/>
                      </a:lnTo>
                      <a:lnTo>
                        <a:pt x="180" y="1216"/>
                      </a:lnTo>
                      <a:lnTo>
                        <a:pt x="179" y="1215"/>
                      </a:lnTo>
                      <a:lnTo>
                        <a:pt x="179" y="1215"/>
                      </a:lnTo>
                      <a:lnTo>
                        <a:pt x="179" y="1215"/>
                      </a:lnTo>
                      <a:lnTo>
                        <a:pt x="177" y="1214"/>
                      </a:lnTo>
                      <a:lnTo>
                        <a:pt x="176" y="1213"/>
                      </a:lnTo>
                      <a:lnTo>
                        <a:pt x="175" y="1213"/>
                      </a:lnTo>
                      <a:lnTo>
                        <a:pt x="174" y="1212"/>
                      </a:lnTo>
                      <a:lnTo>
                        <a:pt x="174" y="1211"/>
                      </a:lnTo>
                      <a:lnTo>
                        <a:pt x="172" y="1211"/>
                      </a:lnTo>
                      <a:lnTo>
                        <a:pt x="171" y="1210"/>
                      </a:lnTo>
                      <a:lnTo>
                        <a:pt x="171" y="1210"/>
                      </a:lnTo>
                      <a:lnTo>
                        <a:pt x="170" y="1210"/>
                      </a:lnTo>
                      <a:lnTo>
                        <a:pt x="170" y="1209"/>
                      </a:lnTo>
                      <a:lnTo>
                        <a:pt x="170" y="1208"/>
                      </a:lnTo>
                      <a:lnTo>
                        <a:pt x="170" y="1208"/>
                      </a:lnTo>
                      <a:lnTo>
                        <a:pt x="169" y="1207"/>
                      </a:lnTo>
                      <a:lnTo>
                        <a:pt x="169" y="1207"/>
                      </a:lnTo>
                      <a:lnTo>
                        <a:pt x="169" y="1207"/>
                      </a:lnTo>
                      <a:lnTo>
                        <a:pt x="169" y="1207"/>
                      </a:lnTo>
                      <a:lnTo>
                        <a:pt x="170" y="1207"/>
                      </a:lnTo>
                      <a:lnTo>
                        <a:pt x="170" y="1207"/>
                      </a:lnTo>
                      <a:lnTo>
                        <a:pt x="170" y="1206"/>
                      </a:lnTo>
                      <a:lnTo>
                        <a:pt x="171" y="1206"/>
                      </a:lnTo>
                      <a:lnTo>
                        <a:pt x="172" y="1207"/>
                      </a:lnTo>
                      <a:lnTo>
                        <a:pt x="172" y="1207"/>
                      </a:lnTo>
                      <a:lnTo>
                        <a:pt x="174" y="1206"/>
                      </a:lnTo>
                      <a:lnTo>
                        <a:pt x="175" y="1206"/>
                      </a:lnTo>
                      <a:lnTo>
                        <a:pt x="175" y="1205"/>
                      </a:lnTo>
                      <a:lnTo>
                        <a:pt x="174" y="1205"/>
                      </a:lnTo>
                      <a:lnTo>
                        <a:pt x="174" y="1205"/>
                      </a:lnTo>
                      <a:lnTo>
                        <a:pt x="174" y="1204"/>
                      </a:lnTo>
                      <a:lnTo>
                        <a:pt x="172" y="1204"/>
                      </a:lnTo>
                      <a:lnTo>
                        <a:pt x="171" y="1205"/>
                      </a:lnTo>
                      <a:lnTo>
                        <a:pt x="170" y="1205"/>
                      </a:lnTo>
                      <a:lnTo>
                        <a:pt x="170" y="1205"/>
                      </a:lnTo>
                      <a:lnTo>
                        <a:pt x="169" y="1205"/>
                      </a:lnTo>
                      <a:lnTo>
                        <a:pt x="169" y="1204"/>
                      </a:lnTo>
                      <a:lnTo>
                        <a:pt x="169" y="1204"/>
                      </a:lnTo>
                      <a:lnTo>
                        <a:pt x="168" y="1204"/>
                      </a:lnTo>
                      <a:lnTo>
                        <a:pt x="168" y="1205"/>
                      </a:lnTo>
                      <a:lnTo>
                        <a:pt x="167" y="1205"/>
                      </a:lnTo>
                      <a:lnTo>
                        <a:pt x="166" y="1205"/>
                      </a:lnTo>
                      <a:lnTo>
                        <a:pt x="166" y="1205"/>
                      </a:lnTo>
                      <a:lnTo>
                        <a:pt x="166" y="1205"/>
                      </a:lnTo>
                      <a:lnTo>
                        <a:pt x="165" y="1204"/>
                      </a:lnTo>
                      <a:lnTo>
                        <a:pt x="166" y="1203"/>
                      </a:lnTo>
                      <a:lnTo>
                        <a:pt x="165" y="1203"/>
                      </a:lnTo>
                      <a:lnTo>
                        <a:pt x="163" y="1203"/>
                      </a:lnTo>
                      <a:lnTo>
                        <a:pt x="163" y="1203"/>
                      </a:lnTo>
                      <a:lnTo>
                        <a:pt x="161" y="1203"/>
                      </a:lnTo>
                      <a:lnTo>
                        <a:pt x="160" y="1203"/>
                      </a:lnTo>
                      <a:lnTo>
                        <a:pt x="159" y="1202"/>
                      </a:lnTo>
                      <a:lnTo>
                        <a:pt x="159" y="1201"/>
                      </a:lnTo>
                      <a:lnTo>
                        <a:pt x="161" y="1199"/>
                      </a:lnTo>
                      <a:lnTo>
                        <a:pt x="162" y="1199"/>
                      </a:lnTo>
                      <a:lnTo>
                        <a:pt x="162" y="1198"/>
                      </a:lnTo>
                      <a:lnTo>
                        <a:pt x="161" y="1197"/>
                      </a:lnTo>
                      <a:lnTo>
                        <a:pt x="161" y="1197"/>
                      </a:lnTo>
                      <a:lnTo>
                        <a:pt x="161" y="1198"/>
                      </a:lnTo>
                      <a:lnTo>
                        <a:pt x="160" y="1200"/>
                      </a:lnTo>
                      <a:lnTo>
                        <a:pt x="158" y="1201"/>
                      </a:lnTo>
                      <a:lnTo>
                        <a:pt x="158" y="1201"/>
                      </a:lnTo>
                      <a:lnTo>
                        <a:pt x="158" y="1201"/>
                      </a:lnTo>
                      <a:lnTo>
                        <a:pt x="157" y="1201"/>
                      </a:lnTo>
                      <a:lnTo>
                        <a:pt x="156" y="1200"/>
                      </a:lnTo>
                      <a:lnTo>
                        <a:pt x="157" y="1199"/>
                      </a:lnTo>
                      <a:lnTo>
                        <a:pt x="156" y="1199"/>
                      </a:lnTo>
                      <a:lnTo>
                        <a:pt x="155" y="1199"/>
                      </a:lnTo>
                      <a:lnTo>
                        <a:pt x="155" y="1199"/>
                      </a:lnTo>
                      <a:lnTo>
                        <a:pt x="153" y="1198"/>
                      </a:lnTo>
                      <a:lnTo>
                        <a:pt x="153" y="1197"/>
                      </a:lnTo>
                      <a:lnTo>
                        <a:pt x="153" y="1197"/>
                      </a:lnTo>
                      <a:lnTo>
                        <a:pt x="151" y="1198"/>
                      </a:lnTo>
                      <a:lnTo>
                        <a:pt x="151" y="1198"/>
                      </a:lnTo>
                      <a:lnTo>
                        <a:pt x="150" y="1198"/>
                      </a:lnTo>
                      <a:lnTo>
                        <a:pt x="150" y="1197"/>
                      </a:lnTo>
                      <a:lnTo>
                        <a:pt x="150" y="1197"/>
                      </a:lnTo>
                      <a:lnTo>
                        <a:pt x="150" y="1197"/>
                      </a:lnTo>
                      <a:lnTo>
                        <a:pt x="150" y="1197"/>
                      </a:lnTo>
                      <a:lnTo>
                        <a:pt x="149" y="1197"/>
                      </a:lnTo>
                      <a:lnTo>
                        <a:pt x="148" y="1197"/>
                      </a:lnTo>
                      <a:lnTo>
                        <a:pt x="147" y="1197"/>
                      </a:lnTo>
                      <a:lnTo>
                        <a:pt x="147" y="1196"/>
                      </a:lnTo>
                      <a:lnTo>
                        <a:pt x="147" y="1196"/>
                      </a:lnTo>
                      <a:lnTo>
                        <a:pt x="147" y="1196"/>
                      </a:lnTo>
                      <a:lnTo>
                        <a:pt x="146" y="1196"/>
                      </a:lnTo>
                      <a:lnTo>
                        <a:pt x="144" y="1195"/>
                      </a:lnTo>
                      <a:lnTo>
                        <a:pt x="144" y="1194"/>
                      </a:lnTo>
                      <a:lnTo>
                        <a:pt x="144" y="1194"/>
                      </a:lnTo>
                      <a:lnTo>
                        <a:pt x="143" y="1193"/>
                      </a:lnTo>
                      <a:lnTo>
                        <a:pt x="142" y="1192"/>
                      </a:lnTo>
                      <a:lnTo>
                        <a:pt x="142" y="1192"/>
                      </a:lnTo>
                      <a:lnTo>
                        <a:pt x="142" y="1192"/>
                      </a:lnTo>
                      <a:lnTo>
                        <a:pt x="142" y="1191"/>
                      </a:lnTo>
                      <a:lnTo>
                        <a:pt x="141" y="1192"/>
                      </a:lnTo>
                      <a:lnTo>
                        <a:pt x="141" y="1192"/>
                      </a:lnTo>
                      <a:lnTo>
                        <a:pt x="141" y="1192"/>
                      </a:lnTo>
                      <a:lnTo>
                        <a:pt x="142" y="1193"/>
                      </a:lnTo>
                      <a:lnTo>
                        <a:pt x="142" y="1193"/>
                      </a:lnTo>
                      <a:lnTo>
                        <a:pt x="142" y="1193"/>
                      </a:lnTo>
                      <a:lnTo>
                        <a:pt x="143" y="1194"/>
                      </a:lnTo>
                      <a:lnTo>
                        <a:pt x="142" y="1194"/>
                      </a:lnTo>
                      <a:lnTo>
                        <a:pt x="142" y="1194"/>
                      </a:lnTo>
                      <a:lnTo>
                        <a:pt x="143" y="1195"/>
                      </a:lnTo>
                      <a:lnTo>
                        <a:pt x="143" y="1195"/>
                      </a:lnTo>
                      <a:lnTo>
                        <a:pt x="141" y="1196"/>
                      </a:lnTo>
                      <a:lnTo>
                        <a:pt x="141" y="1197"/>
                      </a:lnTo>
                      <a:lnTo>
                        <a:pt x="141" y="1197"/>
                      </a:lnTo>
                      <a:lnTo>
                        <a:pt x="141" y="1196"/>
                      </a:lnTo>
                      <a:lnTo>
                        <a:pt x="140" y="1196"/>
                      </a:lnTo>
                      <a:lnTo>
                        <a:pt x="140" y="1196"/>
                      </a:lnTo>
                      <a:lnTo>
                        <a:pt x="139" y="1196"/>
                      </a:lnTo>
                      <a:lnTo>
                        <a:pt x="139" y="1195"/>
                      </a:lnTo>
                      <a:lnTo>
                        <a:pt x="139" y="1195"/>
                      </a:lnTo>
                      <a:lnTo>
                        <a:pt x="138" y="1196"/>
                      </a:lnTo>
                      <a:lnTo>
                        <a:pt x="137" y="1197"/>
                      </a:lnTo>
                      <a:lnTo>
                        <a:pt x="135" y="1196"/>
                      </a:lnTo>
                      <a:lnTo>
                        <a:pt x="134" y="1196"/>
                      </a:lnTo>
                      <a:lnTo>
                        <a:pt x="134" y="1195"/>
                      </a:lnTo>
                      <a:lnTo>
                        <a:pt x="132" y="1195"/>
                      </a:lnTo>
                      <a:lnTo>
                        <a:pt x="132" y="1194"/>
                      </a:lnTo>
                      <a:lnTo>
                        <a:pt x="131" y="1194"/>
                      </a:lnTo>
                      <a:lnTo>
                        <a:pt x="131" y="1194"/>
                      </a:lnTo>
                      <a:lnTo>
                        <a:pt x="131" y="1194"/>
                      </a:lnTo>
                      <a:lnTo>
                        <a:pt x="130" y="1194"/>
                      </a:lnTo>
                      <a:lnTo>
                        <a:pt x="130" y="1193"/>
                      </a:lnTo>
                      <a:lnTo>
                        <a:pt x="129" y="1193"/>
                      </a:lnTo>
                      <a:lnTo>
                        <a:pt x="129" y="1193"/>
                      </a:lnTo>
                      <a:lnTo>
                        <a:pt x="129" y="1192"/>
                      </a:lnTo>
                      <a:lnTo>
                        <a:pt x="129" y="1192"/>
                      </a:lnTo>
                      <a:lnTo>
                        <a:pt x="128" y="1191"/>
                      </a:lnTo>
                      <a:lnTo>
                        <a:pt x="129" y="1191"/>
                      </a:lnTo>
                      <a:lnTo>
                        <a:pt x="129" y="1190"/>
                      </a:lnTo>
                      <a:lnTo>
                        <a:pt x="128" y="1190"/>
                      </a:lnTo>
                      <a:lnTo>
                        <a:pt x="127" y="1190"/>
                      </a:lnTo>
                      <a:lnTo>
                        <a:pt x="127" y="1191"/>
                      </a:lnTo>
                      <a:lnTo>
                        <a:pt x="128" y="1191"/>
                      </a:lnTo>
                      <a:lnTo>
                        <a:pt x="127" y="1191"/>
                      </a:lnTo>
                      <a:lnTo>
                        <a:pt x="126" y="1192"/>
                      </a:lnTo>
                      <a:lnTo>
                        <a:pt x="126" y="1192"/>
                      </a:lnTo>
                      <a:lnTo>
                        <a:pt x="124" y="1191"/>
                      </a:lnTo>
                      <a:lnTo>
                        <a:pt x="124" y="1190"/>
                      </a:lnTo>
                      <a:lnTo>
                        <a:pt x="124" y="1190"/>
                      </a:lnTo>
                      <a:lnTo>
                        <a:pt x="124" y="1190"/>
                      </a:lnTo>
                      <a:lnTo>
                        <a:pt x="124" y="1189"/>
                      </a:lnTo>
                      <a:lnTo>
                        <a:pt x="123" y="1189"/>
                      </a:lnTo>
                      <a:lnTo>
                        <a:pt x="123" y="1187"/>
                      </a:lnTo>
                      <a:lnTo>
                        <a:pt x="123" y="1185"/>
                      </a:lnTo>
                      <a:lnTo>
                        <a:pt x="124" y="1185"/>
                      </a:lnTo>
                      <a:lnTo>
                        <a:pt x="124" y="1185"/>
                      </a:lnTo>
                      <a:lnTo>
                        <a:pt x="123" y="1183"/>
                      </a:lnTo>
                      <a:lnTo>
                        <a:pt x="123" y="1183"/>
                      </a:lnTo>
                      <a:lnTo>
                        <a:pt x="123" y="1182"/>
                      </a:lnTo>
                      <a:lnTo>
                        <a:pt x="123" y="1182"/>
                      </a:lnTo>
                      <a:lnTo>
                        <a:pt x="123" y="1182"/>
                      </a:lnTo>
                      <a:lnTo>
                        <a:pt x="123" y="1181"/>
                      </a:lnTo>
                      <a:lnTo>
                        <a:pt x="123" y="1180"/>
                      </a:lnTo>
                      <a:lnTo>
                        <a:pt x="122" y="1180"/>
                      </a:lnTo>
                      <a:lnTo>
                        <a:pt x="122" y="1179"/>
                      </a:lnTo>
                      <a:lnTo>
                        <a:pt x="121" y="1179"/>
                      </a:lnTo>
                      <a:lnTo>
                        <a:pt x="121" y="1179"/>
                      </a:lnTo>
                      <a:lnTo>
                        <a:pt x="121" y="1180"/>
                      </a:lnTo>
                      <a:lnTo>
                        <a:pt x="120" y="1180"/>
                      </a:lnTo>
                      <a:lnTo>
                        <a:pt x="120" y="1180"/>
                      </a:lnTo>
                      <a:lnTo>
                        <a:pt x="120" y="1181"/>
                      </a:lnTo>
                      <a:lnTo>
                        <a:pt x="120" y="1181"/>
                      </a:lnTo>
                      <a:lnTo>
                        <a:pt x="120" y="1181"/>
                      </a:lnTo>
                      <a:lnTo>
                        <a:pt x="120" y="1182"/>
                      </a:lnTo>
                      <a:lnTo>
                        <a:pt x="120" y="1182"/>
                      </a:lnTo>
                      <a:lnTo>
                        <a:pt x="119" y="1182"/>
                      </a:lnTo>
                      <a:lnTo>
                        <a:pt x="119" y="1182"/>
                      </a:lnTo>
                      <a:lnTo>
                        <a:pt x="118" y="1183"/>
                      </a:lnTo>
                      <a:lnTo>
                        <a:pt x="118" y="1182"/>
                      </a:lnTo>
                      <a:lnTo>
                        <a:pt x="117" y="1182"/>
                      </a:lnTo>
                      <a:lnTo>
                        <a:pt x="117" y="1181"/>
                      </a:lnTo>
                      <a:lnTo>
                        <a:pt x="117" y="1180"/>
                      </a:lnTo>
                      <a:lnTo>
                        <a:pt x="118" y="1180"/>
                      </a:lnTo>
                      <a:lnTo>
                        <a:pt x="118" y="1179"/>
                      </a:lnTo>
                      <a:lnTo>
                        <a:pt x="117" y="1179"/>
                      </a:lnTo>
                      <a:lnTo>
                        <a:pt x="118" y="1178"/>
                      </a:lnTo>
                      <a:lnTo>
                        <a:pt x="119" y="1178"/>
                      </a:lnTo>
                      <a:lnTo>
                        <a:pt x="120" y="1177"/>
                      </a:lnTo>
                      <a:lnTo>
                        <a:pt x="121" y="1177"/>
                      </a:lnTo>
                      <a:lnTo>
                        <a:pt x="121" y="1177"/>
                      </a:lnTo>
                      <a:lnTo>
                        <a:pt x="122" y="1176"/>
                      </a:lnTo>
                      <a:lnTo>
                        <a:pt x="122" y="1175"/>
                      </a:lnTo>
                      <a:lnTo>
                        <a:pt x="122" y="1174"/>
                      </a:lnTo>
                      <a:lnTo>
                        <a:pt x="121" y="1174"/>
                      </a:lnTo>
                      <a:lnTo>
                        <a:pt x="121" y="1173"/>
                      </a:lnTo>
                      <a:lnTo>
                        <a:pt x="122" y="1172"/>
                      </a:lnTo>
                      <a:lnTo>
                        <a:pt x="123" y="1169"/>
                      </a:lnTo>
                      <a:lnTo>
                        <a:pt x="123" y="1169"/>
                      </a:lnTo>
                      <a:lnTo>
                        <a:pt x="123" y="1169"/>
                      </a:lnTo>
                      <a:lnTo>
                        <a:pt x="123" y="1169"/>
                      </a:lnTo>
                      <a:lnTo>
                        <a:pt x="124" y="1169"/>
                      </a:lnTo>
                      <a:lnTo>
                        <a:pt x="124" y="1169"/>
                      </a:lnTo>
                      <a:lnTo>
                        <a:pt x="125" y="1169"/>
                      </a:lnTo>
                      <a:lnTo>
                        <a:pt x="125" y="1170"/>
                      </a:lnTo>
                      <a:lnTo>
                        <a:pt x="126" y="1170"/>
                      </a:lnTo>
                      <a:lnTo>
                        <a:pt x="126" y="1171"/>
                      </a:lnTo>
                      <a:lnTo>
                        <a:pt x="127" y="1171"/>
                      </a:lnTo>
                      <a:lnTo>
                        <a:pt x="127" y="1172"/>
                      </a:lnTo>
                      <a:lnTo>
                        <a:pt x="127" y="1173"/>
                      </a:lnTo>
                      <a:lnTo>
                        <a:pt x="128" y="1173"/>
                      </a:lnTo>
                      <a:lnTo>
                        <a:pt x="128" y="1173"/>
                      </a:lnTo>
                      <a:lnTo>
                        <a:pt x="129" y="1173"/>
                      </a:lnTo>
                      <a:lnTo>
                        <a:pt x="129" y="1173"/>
                      </a:lnTo>
                      <a:lnTo>
                        <a:pt x="130" y="1173"/>
                      </a:lnTo>
                      <a:lnTo>
                        <a:pt x="129" y="1171"/>
                      </a:lnTo>
                      <a:lnTo>
                        <a:pt x="130" y="1171"/>
                      </a:lnTo>
                      <a:lnTo>
                        <a:pt x="130" y="1169"/>
                      </a:lnTo>
                      <a:lnTo>
                        <a:pt x="131" y="1169"/>
                      </a:lnTo>
                      <a:lnTo>
                        <a:pt x="131" y="1168"/>
                      </a:lnTo>
                      <a:lnTo>
                        <a:pt x="131" y="1168"/>
                      </a:lnTo>
                      <a:lnTo>
                        <a:pt x="131" y="1167"/>
                      </a:lnTo>
                      <a:lnTo>
                        <a:pt x="132" y="1167"/>
                      </a:lnTo>
                      <a:lnTo>
                        <a:pt x="133" y="1167"/>
                      </a:lnTo>
                      <a:lnTo>
                        <a:pt x="134" y="1166"/>
                      </a:lnTo>
                      <a:lnTo>
                        <a:pt x="135" y="1165"/>
                      </a:lnTo>
                      <a:lnTo>
                        <a:pt x="138" y="1164"/>
                      </a:lnTo>
                      <a:lnTo>
                        <a:pt x="138" y="1164"/>
                      </a:lnTo>
                      <a:lnTo>
                        <a:pt x="139" y="1164"/>
                      </a:lnTo>
                      <a:lnTo>
                        <a:pt x="140" y="1163"/>
                      </a:lnTo>
                      <a:lnTo>
                        <a:pt x="141" y="1162"/>
                      </a:lnTo>
                      <a:lnTo>
                        <a:pt x="142" y="1162"/>
                      </a:lnTo>
                      <a:lnTo>
                        <a:pt x="142" y="1162"/>
                      </a:lnTo>
                      <a:lnTo>
                        <a:pt x="142" y="1162"/>
                      </a:lnTo>
                      <a:lnTo>
                        <a:pt x="143" y="1161"/>
                      </a:lnTo>
                      <a:lnTo>
                        <a:pt x="144" y="1161"/>
                      </a:lnTo>
                      <a:lnTo>
                        <a:pt x="145" y="1161"/>
                      </a:lnTo>
                      <a:lnTo>
                        <a:pt x="147" y="1161"/>
                      </a:lnTo>
                      <a:lnTo>
                        <a:pt x="148" y="1161"/>
                      </a:lnTo>
                      <a:lnTo>
                        <a:pt x="149" y="1161"/>
                      </a:lnTo>
                      <a:lnTo>
                        <a:pt x="149" y="1160"/>
                      </a:lnTo>
                      <a:lnTo>
                        <a:pt x="150" y="1160"/>
                      </a:lnTo>
                      <a:lnTo>
                        <a:pt x="151" y="1159"/>
                      </a:lnTo>
                      <a:lnTo>
                        <a:pt x="152" y="1159"/>
                      </a:lnTo>
                      <a:lnTo>
                        <a:pt x="153" y="1159"/>
                      </a:lnTo>
                      <a:lnTo>
                        <a:pt x="154" y="1158"/>
                      </a:lnTo>
                      <a:lnTo>
                        <a:pt x="157" y="1158"/>
                      </a:lnTo>
                      <a:lnTo>
                        <a:pt x="157" y="1157"/>
                      </a:lnTo>
                      <a:lnTo>
                        <a:pt x="159" y="1157"/>
                      </a:lnTo>
                      <a:lnTo>
                        <a:pt x="160" y="1158"/>
                      </a:lnTo>
                      <a:lnTo>
                        <a:pt x="161" y="1158"/>
                      </a:lnTo>
                      <a:lnTo>
                        <a:pt x="159" y="1157"/>
                      </a:lnTo>
                      <a:lnTo>
                        <a:pt x="158" y="1157"/>
                      </a:lnTo>
                      <a:lnTo>
                        <a:pt x="157" y="1157"/>
                      </a:lnTo>
                      <a:lnTo>
                        <a:pt x="157" y="1157"/>
                      </a:lnTo>
                      <a:lnTo>
                        <a:pt x="156" y="1157"/>
                      </a:lnTo>
                      <a:lnTo>
                        <a:pt x="156" y="1157"/>
                      </a:lnTo>
                      <a:lnTo>
                        <a:pt x="155" y="1158"/>
                      </a:lnTo>
                      <a:lnTo>
                        <a:pt x="154" y="1158"/>
                      </a:lnTo>
                      <a:lnTo>
                        <a:pt x="153" y="1158"/>
                      </a:lnTo>
                      <a:lnTo>
                        <a:pt x="150" y="1158"/>
                      </a:lnTo>
                      <a:lnTo>
                        <a:pt x="148" y="1159"/>
                      </a:lnTo>
                      <a:lnTo>
                        <a:pt x="145" y="1159"/>
                      </a:lnTo>
                      <a:lnTo>
                        <a:pt x="145" y="1159"/>
                      </a:lnTo>
                      <a:lnTo>
                        <a:pt x="145" y="1160"/>
                      </a:lnTo>
                      <a:lnTo>
                        <a:pt x="144" y="1159"/>
                      </a:lnTo>
                      <a:lnTo>
                        <a:pt x="142" y="1160"/>
                      </a:lnTo>
                      <a:lnTo>
                        <a:pt x="142" y="1161"/>
                      </a:lnTo>
                      <a:lnTo>
                        <a:pt x="141" y="1161"/>
                      </a:lnTo>
                      <a:lnTo>
                        <a:pt x="141" y="1161"/>
                      </a:lnTo>
                      <a:lnTo>
                        <a:pt x="140" y="1161"/>
                      </a:lnTo>
                      <a:lnTo>
                        <a:pt x="140" y="1161"/>
                      </a:lnTo>
                      <a:lnTo>
                        <a:pt x="138" y="1161"/>
                      </a:lnTo>
                      <a:lnTo>
                        <a:pt x="138" y="1162"/>
                      </a:lnTo>
                      <a:lnTo>
                        <a:pt x="137" y="1163"/>
                      </a:lnTo>
                      <a:lnTo>
                        <a:pt x="135" y="1163"/>
                      </a:lnTo>
                      <a:lnTo>
                        <a:pt x="134" y="1163"/>
                      </a:lnTo>
                      <a:lnTo>
                        <a:pt x="133" y="1164"/>
                      </a:lnTo>
                      <a:lnTo>
                        <a:pt x="133" y="1164"/>
                      </a:lnTo>
                      <a:lnTo>
                        <a:pt x="133" y="1164"/>
                      </a:lnTo>
                      <a:lnTo>
                        <a:pt x="132" y="1163"/>
                      </a:lnTo>
                      <a:lnTo>
                        <a:pt x="132" y="1163"/>
                      </a:lnTo>
                      <a:lnTo>
                        <a:pt x="132" y="1163"/>
                      </a:lnTo>
                      <a:lnTo>
                        <a:pt x="131" y="1163"/>
                      </a:lnTo>
                      <a:lnTo>
                        <a:pt x="131" y="1164"/>
                      </a:lnTo>
                      <a:lnTo>
                        <a:pt x="130" y="1163"/>
                      </a:lnTo>
                      <a:lnTo>
                        <a:pt x="130" y="1161"/>
                      </a:lnTo>
                      <a:lnTo>
                        <a:pt x="129" y="1161"/>
                      </a:lnTo>
                      <a:lnTo>
                        <a:pt x="128" y="1161"/>
                      </a:lnTo>
                      <a:lnTo>
                        <a:pt x="128" y="1161"/>
                      </a:lnTo>
                      <a:lnTo>
                        <a:pt x="127" y="1160"/>
                      </a:lnTo>
                      <a:lnTo>
                        <a:pt x="128" y="1159"/>
                      </a:lnTo>
                      <a:lnTo>
                        <a:pt x="128" y="1159"/>
                      </a:lnTo>
                      <a:lnTo>
                        <a:pt x="130" y="1159"/>
                      </a:lnTo>
                      <a:lnTo>
                        <a:pt x="131" y="1158"/>
                      </a:lnTo>
                      <a:lnTo>
                        <a:pt x="131" y="1158"/>
                      </a:lnTo>
                      <a:lnTo>
                        <a:pt x="131" y="1157"/>
                      </a:lnTo>
                      <a:lnTo>
                        <a:pt x="132" y="1157"/>
                      </a:lnTo>
                      <a:lnTo>
                        <a:pt x="133" y="1158"/>
                      </a:lnTo>
                      <a:lnTo>
                        <a:pt x="134" y="1158"/>
                      </a:lnTo>
                      <a:lnTo>
                        <a:pt x="135" y="1157"/>
                      </a:lnTo>
                      <a:lnTo>
                        <a:pt x="137" y="1157"/>
                      </a:lnTo>
                      <a:lnTo>
                        <a:pt x="137" y="1156"/>
                      </a:lnTo>
                      <a:lnTo>
                        <a:pt x="135" y="1155"/>
                      </a:lnTo>
                      <a:lnTo>
                        <a:pt x="133" y="1155"/>
                      </a:lnTo>
                      <a:lnTo>
                        <a:pt x="133" y="1156"/>
                      </a:lnTo>
                      <a:lnTo>
                        <a:pt x="131" y="1156"/>
                      </a:lnTo>
                      <a:lnTo>
                        <a:pt x="130" y="1157"/>
                      </a:lnTo>
                      <a:lnTo>
                        <a:pt x="129" y="1157"/>
                      </a:lnTo>
                      <a:lnTo>
                        <a:pt x="128" y="1156"/>
                      </a:lnTo>
                      <a:lnTo>
                        <a:pt x="129" y="1155"/>
                      </a:lnTo>
                      <a:lnTo>
                        <a:pt x="129" y="1154"/>
                      </a:lnTo>
                      <a:lnTo>
                        <a:pt x="129" y="1154"/>
                      </a:lnTo>
                      <a:lnTo>
                        <a:pt x="129" y="1153"/>
                      </a:lnTo>
                      <a:lnTo>
                        <a:pt x="130" y="1152"/>
                      </a:lnTo>
                      <a:lnTo>
                        <a:pt x="131" y="1152"/>
                      </a:lnTo>
                      <a:lnTo>
                        <a:pt x="132" y="1152"/>
                      </a:lnTo>
                      <a:lnTo>
                        <a:pt x="133" y="1152"/>
                      </a:lnTo>
                      <a:lnTo>
                        <a:pt x="132" y="1152"/>
                      </a:lnTo>
                      <a:lnTo>
                        <a:pt x="132" y="1151"/>
                      </a:lnTo>
                      <a:lnTo>
                        <a:pt x="133" y="1151"/>
                      </a:lnTo>
                      <a:lnTo>
                        <a:pt x="133" y="1151"/>
                      </a:lnTo>
                      <a:lnTo>
                        <a:pt x="133" y="1151"/>
                      </a:lnTo>
                      <a:lnTo>
                        <a:pt x="134" y="1151"/>
                      </a:lnTo>
                      <a:lnTo>
                        <a:pt x="135" y="1149"/>
                      </a:lnTo>
                      <a:lnTo>
                        <a:pt x="137" y="1149"/>
                      </a:lnTo>
                      <a:lnTo>
                        <a:pt x="137" y="1148"/>
                      </a:lnTo>
                      <a:lnTo>
                        <a:pt x="135" y="1148"/>
                      </a:lnTo>
                      <a:lnTo>
                        <a:pt x="135" y="1145"/>
                      </a:lnTo>
                      <a:lnTo>
                        <a:pt x="135" y="1145"/>
                      </a:lnTo>
                      <a:lnTo>
                        <a:pt x="134" y="1145"/>
                      </a:lnTo>
                      <a:lnTo>
                        <a:pt x="134" y="1146"/>
                      </a:lnTo>
                      <a:lnTo>
                        <a:pt x="133" y="1148"/>
                      </a:lnTo>
                      <a:lnTo>
                        <a:pt x="132" y="1148"/>
                      </a:lnTo>
                      <a:lnTo>
                        <a:pt x="131" y="1148"/>
                      </a:lnTo>
                      <a:lnTo>
                        <a:pt x="130" y="1149"/>
                      </a:lnTo>
                      <a:lnTo>
                        <a:pt x="129" y="1151"/>
                      </a:lnTo>
                      <a:lnTo>
                        <a:pt x="129" y="1151"/>
                      </a:lnTo>
                      <a:lnTo>
                        <a:pt x="128" y="1151"/>
                      </a:lnTo>
                      <a:lnTo>
                        <a:pt x="128" y="1151"/>
                      </a:lnTo>
                      <a:lnTo>
                        <a:pt x="128" y="1151"/>
                      </a:lnTo>
                      <a:lnTo>
                        <a:pt x="127" y="1152"/>
                      </a:lnTo>
                      <a:lnTo>
                        <a:pt x="128" y="1152"/>
                      </a:lnTo>
                      <a:lnTo>
                        <a:pt x="128" y="1152"/>
                      </a:lnTo>
                      <a:lnTo>
                        <a:pt x="128" y="1154"/>
                      </a:lnTo>
                      <a:lnTo>
                        <a:pt x="127" y="1154"/>
                      </a:lnTo>
                      <a:lnTo>
                        <a:pt x="127" y="1154"/>
                      </a:lnTo>
                      <a:lnTo>
                        <a:pt x="126" y="1154"/>
                      </a:lnTo>
                      <a:lnTo>
                        <a:pt x="126" y="1153"/>
                      </a:lnTo>
                      <a:lnTo>
                        <a:pt x="125" y="1153"/>
                      </a:lnTo>
                      <a:lnTo>
                        <a:pt x="125" y="1152"/>
                      </a:lnTo>
                      <a:lnTo>
                        <a:pt x="124" y="1153"/>
                      </a:lnTo>
                      <a:lnTo>
                        <a:pt x="124" y="1153"/>
                      </a:lnTo>
                      <a:lnTo>
                        <a:pt x="124" y="1153"/>
                      </a:lnTo>
                      <a:lnTo>
                        <a:pt x="123" y="1153"/>
                      </a:lnTo>
                      <a:lnTo>
                        <a:pt x="123" y="1152"/>
                      </a:lnTo>
                      <a:lnTo>
                        <a:pt x="123" y="1152"/>
                      </a:lnTo>
                      <a:lnTo>
                        <a:pt x="123" y="1152"/>
                      </a:lnTo>
                      <a:lnTo>
                        <a:pt x="122" y="1152"/>
                      </a:lnTo>
                      <a:lnTo>
                        <a:pt x="122" y="1152"/>
                      </a:lnTo>
                      <a:lnTo>
                        <a:pt x="123" y="1151"/>
                      </a:lnTo>
                      <a:lnTo>
                        <a:pt x="124" y="1151"/>
                      </a:lnTo>
                      <a:lnTo>
                        <a:pt x="124" y="1151"/>
                      </a:lnTo>
                      <a:lnTo>
                        <a:pt x="122" y="1151"/>
                      </a:lnTo>
                      <a:lnTo>
                        <a:pt x="121" y="1149"/>
                      </a:lnTo>
                      <a:lnTo>
                        <a:pt x="120" y="1151"/>
                      </a:lnTo>
                      <a:lnTo>
                        <a:pt x="120" y="1149"/>
                      </a:lnTo>
                      <a:lnTo>
                        <a:pt x="120" y="1148"/>
                      </a:lnTo>
                      <a:lnTo>
                        <a:pt x="120" y="1148"/>
                      </a:lnTo>
                      <a:lnTo>
                        <a:pt x="119" y="1147"/>
                      </a:lnTo>
                      <a:lnTo>
                        <a:pt x="120" y="1147"/>
                      </a:lnTo>
                      <a:lnTo>
                        <a:pt x="120" y="1147"/>
                      </a:lnTo>
                      <a:lnTo>
                        <a:pt x="120" y="1147"/>
                      </a:lnTo>
                      <a:lnTo>
                        <a:pt x="120" y="1146"/>
                      </a:lnTo>
                      <a:lnTo>
                        <a:pt x="120" y="1146"/>
                      </a:lnTo>
                      <a:lnTo>
                        <a:pt x="119" y="1144"/>
                      </a:lnTo>
                      <a:lnTo>
                        <a:pt x="119" y="1143"/>
                      </a:lnTo>
                      <a:lnTo>
                        <a:pt x="120" y="1142"/>
                      </a:lnTo>
                      <a:lnTo>
                        <a:pt x="119" y="1142"/>
                      </a:lnTo>
                      <a:lnTo>
                        <a:pt x="120" y="1141"/>
                      </a:lnTo>
                      <a:lnTo>
                        <a:pt x="119" y="1140"/>
                      </a:lnTo>
                      <a:lnTo>
                        <a:pt x="119" y="1139"/>
                      </a:lnTo>
                      <a:lnTo>
                        <a:pt x="119" y="1139"/>
                      </a:lnTo>
                      <a:lnTo>
                        <a:pt x="118" y="1139"/>
                      </a:lnTo>
                      <a:lnTo>
                        <a:pt x="118" y="1139"/>
                      </a:lnTo>
                      <a:lnTo>
                        <a:pt x="118" y="1139"/>
                      </a:lnTo>
                      <a:lnTo>
                        <a:pt x="119" y="1138"/>
                      </a:lnTo>
                      <a:lnTo>
                        <a:pt x="119" y="1138"/>
                      </a:lnTo>
                      <a:lnTo>
                        <a:pt x="118" y="1138"/>
                      </a:lnTo>
                      <a:lnTo>
                        <a:pt x="117" y="1137"/>
                      </a:lnTo>
                      <a:lnTo>
                        <a:pt x="117" y="1137"/>
                      </a:lnTo>
                      <a:lnTo>
                        <a:pt x="118" y="1137"/>
                      </a:lnTo>
                      <a:lnTo>
                        <a:pt x="118" y="1137"/>
                      </a:lnTo>
                      <a:lnTo>
                        <a:pt x="117" y="1136"/>
                      </a:lnTo>
                      <a:lnTo>
                        <a:pt x="118" y="1136"/>
                      </a:lnTo>
                      <a:lnTo>
                        <a:pt x="118" y="1135"/>
                      </a:lnTo>
                      <a:lnTo>
                        <a:pt x="118" y="1135"/>
                      </a:lnTo>
                      <a:lnTo>
                        <a:pt x="118" y="1134"/>
                      </a:lnTo>
                      <a:lnTo>
                        <a:pt x="117" y="1133"/>
                      </a:lnTo>
                      <a:lnTo>
                        <a:pt x="117" y="1133"/>
                      </a:lnTo>
                      <a:lnTo>
                        <a:pt x="117" y="1133"/>
                      </a:lnTo>
                      <a:lnTo>
                        <a:pt x="117" y="1132"/>
                      </a:lnTo>
                      <a:lnTo>
                        <a:pt x="117" y="1132"/>
                      </a:lnTo>
                      <a:lnTo>
                        <a:pt x="116" y="1132"/>
                      </a:lnTo>
                      <a:lnTo>
                        <a:pt x="116" y="1132"/>
                      </a:lnTo>
                      <a:lnTo>
                        <a:pt x="116" y="1132"/>
                      </a:lnTo>
                      <a:lnTo>
                        <a:pt x="115" y="1132"/>
                      </a:lnTo>
                      <a:lnTo>
                        <a:pt x="115" y="1132"/>
                      </a:lnTo>
                      <a:lnTo>
                        <a:pt x="115" y="1131"/>
                      </a:lnTo>
                      <a:lnTo>
                        <a:pt x="115" y="1131"/>
                      </a:lnTo>
                      <a:lnTo>
                        <a:pt x="114" y="1131"/>
                      </a:lnTo>
                      <a:lnTo>
                        <a:pt x="114" y="1131"/>
                      </a:lnTo>
                      <a:lnTo>
                        <a:pt x="114" y="1131"/>
                      </a:lnTo>
                      <a:lnTo>
                        <a:pt x="114" y="1130"/>
                      </a:lnTo>
                      <a:lnTo>
                        <a:pt x="113" y="1129"/>
                      </a:lnTo>
                      <a:lnTo>
                        <a:pt x="113" y="1129"/>
                      </a:lnTo>
                      <a:lnTo>
                        <a:pt x="113" y="1128"/>
                      </a:lnTo>
                      <a:lnTo>
                        <a:pt x="114" y="1128"/>
                      </a:lnTo>
                      <a:lnTo>
                        <a:pt x="114" y="1128"/>
                      </a:lnTo>
                      <a:lnTo>
                        <a:pt x="113" y="1128"/>
                      </a:lnTo>
                      <a:lnTo>
                        <a:pt x="113" y="1127"/>
                      </a:lnTo>
                      <a:lnTo>
                        <a:pt x="113" y="1127"/>
                      </a:lnTo>
                      <a:lnTo>
                        <a:pt x="113" y="1126"/>
                      </a:lnTo>
                      <a:lnTo>
                        <a:pt x="113" y="1126"/>
                      </a:lnTo>
                      <a:lnTo>
                        <a:pt x="113" y="1125"/>
                      </a:lnTo>
                      <a:lnTo>
                        <a:pt x="114" y="1125"/>
                      </a:lnTo>
                      <a:lnTo>
                        <a:pt x="114" y="1123"/>
                      </a:lnTo>
                      <a:lnTo>
                        <a:pt x="114" y="1122"/>
                      </a:lnTo>
                      <a:lnTo>
                        <a:pt x="115" y="1122"/>
                      </a:lnTo>
                      <a:lnTo>
                        <a:pt x="116" y="1122"/>
                      </a:lnTo>
                      <a:lnTo>
                        <a:pt x="116" y="1123"/>
                      </a:lnTo>
                      <a:lnTo>
                        <a:pt x="117" y="1123"/>
                      </a:lnTo>
                      <a:lnTo>
                        <a:pt x="117" y="1122"/>
                      </a:lnTo>
                      <a:lnTo>
                        <a:pt x="118" y="1121"/>
                      </a:lnTo>
                      <a:lnTo>
                        <a:pt x="118" y="1121"/>
                      </a:lnTo>
                      <a:lnTo>
                        <a:pt x="118" y="1121"/>
                      </a:lnTo>
                      <a:lnTo>
                        <a:pt x="118" y="1120"/>
                      </a:lnTo>
                      <a:lnTo>
                        <a:pt x="118" y="1120"/>
                      </a:lnTo>
                      <a:lnTo>
                        <a:pt x="117" y="1120"/>
                      </a:lnTo>
                      <a:lnTo>
                        <a:pt x="117" y="1119"/>
                      </a:lnTo>
                      <a:lnTo>
                        <a:pt x="117" y="1119"/>
                      </a:lnTo>
                      <a:lnTo>
                        <a:pt x="117" y="1119"/>
                      </a:lnTo>
                      <a:lnTo>
                        <a:pt x="117" y="1118"/>
                      </a:lnTo>
                      <a:lnTo>
                        <a:pt x="117" y="1118"/>
                      </a:lnTo>
                      <a:lnTo>
                        <a:pt x="118" y="1118"/>
                      </a:lnTo>
                      <a:lnTo>
                        <a:pt x="118" y="1118"/>
                      </a:lnTo>
                      <a:lnTo>
                        <a:pt x="119" y="1118"/>
                      </a:lnTo>
                      <a:lnTo>
                        <a:pt x="120" y="1117"/>
                      </a:lnTo>
                      <a:lnTo>
                        <a:pt x="120" y="1117"/>
                      </a:lnTo>
                      <a:lnTo>
                        <a:pt x="120" y="1117"/>
                      </a:lnTo>
                      <a:lnTo>
                        <a:pt x="120" y="1117"/>
                      </a:lnTo>
                      <a:lnTo>
                        <a:pt x="120" y="1116"/>
                      </a:lnTo>
                      <a:lnTo>
                        <a:pt x="121" y="1115"/>
                      </a:lnTo>
                      <a:lnTo>
                        <a:pt x="121" y="1115"/>
                      </a:lnTo>
                      <a:lnTo>
                        <a:pt x="121" y="1114"/>
                      </a:lnTo>
                      <a:lnTo>
                        <a:pt x="121" y="1114"/>
                      </a:lnTo>
                      <a:lnTo>
                        <a:pt x="121" y="1114"/>
                      </a:lnTo>
                      <a:lnTo>
                        <a:pt x="122" y="1113"/>
                      </a:lnTo>
                      <a:lnTo>
                        <a:pt x="122" y="1113"/>
                      </a:lnTo>
                      <a:lnTo>
                        <a:pt x="122" y="1113"/>
                      </a:lnTo>
                      <a:lnTo>
                        <a:pt x="122" y="1113"/>
                      </a:lnTo>
                      <a:lnTo>
                        <a:pt x="121" y="1111"/>
                      </a:lnTo>
                      <a:lnTo>
                        <a:pt x="121" y="1111"/>
                      </a:lnTo>
                      <a:lnTo>
                        <a:pt x="121" y="1111"/>
                      </a:lnTo>
                      <a:lnTo>
                        <a:pt x="120" y="1110"/>
                      </a:lnTo>
                      <a:lnTo>
                        <a:pt x="120" y="1110"/>
                      </a:lnTo>
                      <a:lnTo>
                        <a:pt x="120" y="1110"/>
                      </a:lnTo>
                      <a:lnTo>
                        <a:pt x="120" y="1109"/>
                      </a:lnTo>
                      <a:lnTo>
                        <a:pt x="120" y="1108"/>
                      </a:lnTo>
                      <a:lnTo>
                        <a:pt x="119" y="1107"/>
                      </a:lnTo>
                      <a:lnTo>
                        <a:pt x="119" y="1107"/>
                      </a:lnTo>
                      <a:lnTo>
                        <a:pt x="118" y="1107"/>
                      </a:lnTo>
                      <a:lnTo>
                        <a:pt x="118" y="1106"/>
                      </a:lnTo>
                      <a:lnTo>
                        <a:pt x="119" y="1105"/>
                      </a:lnTo>
                      <a:lnTo>
                        <a:pt x="119" y="1104"/>
                      </a:lnTo>
                      <a:lnTo>
                        <a:pt x="120" y="1104"/>
                      </a:lnTo>
                      <a:lnTo>
                        <a:pt x="120" y="1103"/>
                      </a:lnTo>
                      <a:lnTo>
                        <a:pt x="120" y="1103"/>
                      </a:lnTo>
                      <a:lnTo>
                        <a:pt x="120" y="1103"/>
                      </a:lnTo>
                      <a:lnTo>
                        <a:pt x="121" y="1103"/>
                      </a:lnTo>
                      <a:lnTo>
                        <a:pt x="121" y="1102"/>
                      </a:lnTo>
                      <a:lnTo>
                        <a:pt x="122" y="1103"/>
                      </a:lnTo>
                      <a:lnTo>
                        <a:pt x="122" y="1102"/>
                      </a:lnTo>
                      <a:lnTo>
                        <a:pt x="123" y="1102"/>
                      </a:lnTo>
                      <a:lnTo>
                        <a:pt x="123" y="1101"/>
                      </a:lnTo>
                      <a:lnTo>
                        <a:pt x="124" y="1101"/>
                      </a:lnTo>
                      <a:lnTo>
                        <a:pt x="124" y="1101"/>
                      </a:lnTo>
                      <a:lnTo>
                        <a:pt x="124" y="1103"/>
                      </a:lnTo>
                      <a:lnTo>
                        <a:pt x="124" y="1104"/>
                      </a:lnTo>
                      <a:lnTo>
                        <a:pt x="124" y="1104"/>
                      </a:lnTo>
                      <a:lnTo>
                        <a:pt x="125" y="1104"/>
                      </a:lnTo>
                      <a:lnTo>
                        <a:pt x="125" y="1103"/>
                      </a:lnTo>
                      <a:lnTo>
                        <a:pt x="125" y="1103"/>
                      </a:lnTo>
                      <a:lnTo>
                        <a:pt x="126" y="1104"/>
                      </a:lnTo>
                      <a:lnTo>
                        <a:pt x="127" y="1104"/>
                      </a:lnTo>
                      <a:lnTo>
                        <a:pt x="128" y="1104"/>
                      </a:lnTo>
                      <a:lnTo>
                        <a:pt x="128" y="1104"/>
                      </a:lnTo>
                      <a:lnTo>
                        <a:pt x="129" y="1105"/>
                      </a:lnTo>
                      <a:lnTo>
                        <a:pt x="128" y="1105"/>
                      </a:lnTo>
                      <a:lnTo>
                        <a:pt x="129" y="1105"/>
                      </a:lnTo>
                      <a:lnTo>
                        <a:pt x="129" y="1105"/>
                      </a:lnTo>
                      <a:lnTo>
                        <a:pt x="129" y="1105"/>
                      </a:lnTo>
                      <a:lnTo>
                        <a:pt x="130" y="1105"/>
                      </a:lnTo>
                      <a:lnTo>
                        <a:pt x="129" y="1105"/>
                      </a:lnTo>
                      <a:lnTo>
                        <a:pt x="129" y="1104"/>
                      </a:lnTo>
                      <a:lnTo>
                        <a:pt x="130" y="1104"/>
                      </a:lnTo>
                      <a:lnTo>
                        <a:pt x="129" y="1103"/>
                      </a:lnTo>
                      <a:lnTo>
                        <a:pt x="129" y="1103"/>
                      </a:lnTo>
                      <a:lnTo>
                        <a:pt x="129" y="1103"/>
                      </a:lnTo>
                      <a:lnTo>
                        <a:pt x="130" y="1103"/>
                      </a:lnTo>
                      <a:lnTo>
                        <a:pt x="130" y="1104"/>
                      </a:lnTo>
                      <a:lnTo>
                        <a:pt x="131" y="1104"/>
                      </a:lnTo>
                      <a:lnTo>
                        <a:pt x="131" y="1105"/>
                      </a:lnTo>
                      <a:lnTo>
                        <a:pt x="131" y="1106"/>
                      </a:lnTo>
                      <a:lnTo>
                        <a:pt x="130" y="1106"/>
                      </a:lnTo>
                      <a:lnTo>
                        <a:pt x="130" y="1107"/>
                      </a:lnTo>
                      <a:lnTo>
                        <a:pt x="131" y="1107"/>
                      </a:lnTo>
                      <a:lnTo>
                        <a:pt x="131" y="1107"/>
                      </a:lnTo>
                      <a:lnTo>
                        <a:pt x="133" y="1106"/>
                      </a:lnTo>
                      <a:lnTo>
                        <a:pt x="133" y="1105"/>
                      </a:lnTo>
                      <a:lnTo>
                        <a:pt x="133" y="1105"/>
                      </a:lnTo>
                      <a:lnTo>
                        <a:pt x="133" y="1104"/>
                      </a:lnTo>
                      <a:lnTo>
                        <a:pt x="134" y="1104"/>
                      </a:lnTo>
                      <a:lnTo>
                        <a:pt x="134" y="1104"/>
                      </a:lnTo>
                      <a:lnTo>
                        <a:pt x="135" y="1103"/>
                      </a:lnTo>
                      <a:lnTo>
                        <a:pt x="138" y="1103"/>
                      </a:lnTo>
                      <a:lnTo>
                        <a:pt x="138" y="1103"/>
                      </a:lnTo>
                      <a:lnTo>
                        <a:pt x="138" y="1104"/>
                      </a:lnTo>
                      <a:lnTo>
                        <a:pt x="139" y="1104"/>
                      </a:lnTo>
                      <a:lnTo>
                        <a:pt x="138" y="1104"/>
                      </a:lnTo>
                      <a:lnTo>
                        <a:pt x="139" y="1103"/>
                      </a:lnTo>
                      <a:lnTo>
                        <a:pt x="138" y="1101"/>
                      </a:lnTo>
                      <a:lnTo>
                        <a:pt x="138" y="1101"/>
                      </a:lnTo>
                      <a:lnTo>
                        <a:pt x="138" y="1102"/>
                      </a:lnTo>
                      <a:lnTo>
                        <a:pt x="137" y="1102"/>
                      </a:lnTo>
                      <a:lnTo>
                        <a:pt x="137" y="1102"/>
                      </a:lnTo>
                      <a:lnTo>
                        <a:pt x="137" y="1100"/>
                      </a:lnTo>
                      <a:lnTo>
                        <a:pt x="135" y="1100"/>
                      </a:lnTo>
                      <a:lnTo>
                        <a:pt x="135" y="1100"/>
                      </a:lnTo>
                      <a:lnTo>
                        <a:pt x="135" y="1101"/>
                      </a:lnTo>
                      <a:lnTo>
                        <a:pt x="135" y="1101"/>
                      </a:lnTo>
                      <a:lnTo>
                        <a:pt x="134" y="1101"/>
                      </a:lnTo>
                      <a:lnTo>
                        <a:pt x="134" y="1100"/>
                      </a:lnTo>
                      <a:lnTo>
                        <a:pt x="135" y="1100"/>
                      </a:lnTo>
                      <a:lnTo>
                        <a:pt x="134" y="1098"/>
                      </a:lnTo>
                      <a:lnTo>
                        <a:pt x="134" y="1098"/>
                      </a:lnTo>
                      <a:lnTo>
                        <a:pt x="133" y="1099"/>
                      </a:lnTo>
                      <a:lnTo>
                        <a:pt x="133" y="1100"/>
                      </a:lnTo>
                      <a:lnTo>
                        <a:pt x="134" y="1101"/>
                      </a:lnTo>
                      <a:lnTo>
                        <a:pt x="134" y="1102"/>
                      </a:lnTo>
                      <a:lnTo>
                        <a:pt x="133" y="1102"/>
                      </a:lnTo>
                      <a:lnTo>
                        <a:pt x="132" y="1103"/>
                      </a:lnTo>
                      <a:lnTo>
                        <a:pt x="132" y="1103"/>
                      </a:lnTo>
                      <a:lnTo>
                        <a:pt x="131" y="1102"/>
                      </a:lnTo>
                      <a:lnTo>
                        <a:pt x="131" y="1102"/>
                      </a:lnTo>
                      <a:lnTo>
                        <a:pt x="130" y="1102"/>
                      </a:lnTo>
                      <a:lnTo>
                        <a:pt x="130" y="1102"/>
                      </a:lnTo>
                      <a:lnTo>
                        <a:pt x="131" y="1102"/>
                      </a:lnTo>
                      <a:lnTo>
                        <a:pt x="131" y="1101"/>
                      </a:lnTo>
                      <a:lnTo>
                        <a:pt x="131" y="1101"/>
                      </a:lnTo>
                      <a:lnTo>
                        <a:pt x="131" y="1101"/>
                      </a:lnTo>
                      <a:lnTo>
                        <a:pt x="131" y="1100"/>
                      </a:lnTo>
                      <a:lnTo>
                        <a:pt x="130" y="1100"/>
                      </a:lnTo>
                      <a:lnTo>
                        <a:pt x="130" y="1100"/>
                      </a:lnTo>
                      <a:lnTo>
                        <a:pt x="129" y="1100"/>
                      </a:lnTo>
                      <a:lnTo>
                        <a:pt x="128" y="1100"/>
                      </a:lnTo>
                      <a:lnTo>
                        <a:pt x="127" y="1100"/>
                      </a:lnTo>
                      <a:lnTo>
                        <a:pt x="127" y="1100"/>
                      </a:lnTo>
                      <a:lnTo>
                        <a:pt x="127" y="1100"/>
                      </a:lnTo>
                      <a:lnTo>
                        <a:pt x="127" y="1100"/>
                      </a:lnTo>
                      <a:lnTo>
                        <a:pt x="127" y="1099"/>
                      </a:lnTo>
                      <a:lnTo>
                        <a:pt x="127" y="1099"/>
                      </a:lnTo>
                      <a:lnTo>
                        <a:pt x="127" y="1099"/>
                      </a:lnTo>
                      <a:lnTo>
                        <a:pt x="128" y="1099"/>
                      </a:lnTo>
                      <a:lnTo>
                        <a:pt x="128" y="1099"/>
                      </a:lnTo>
                      <a:lnTo>
                        <a:pt x="127" y="1099"/>
                      </a:lnTo>
                      <a:lnTo>
                        <a:pt x="128" y="1097"/>
                      </a:lnTo>
                      <a:lnTo>
                        <a:pt x="128" y="1097"/>
                      </a:lnTo>
                      <a:lnTo>
                        <a:pt x="128" y="1096"/>
                      </a:lnTo>
                      <a:lnTo>
                        <a:pt x="128" y="1096"/>
                      </a:lnTo>
                      <a:lnTo>
                        <a:pt x="128" y="1096"/>
                      </a:lnTo>
                      <a:lnTo>
                        <a:pt x="129" y="1095"/>
                      </a:lnTo>
                      <a:lnTo>
                        <a:pt x="129" y="1095"/>
                      </a:lnTo>
                      <a:lnTo>
                        <a:pt x="130" y="1095"/>
                      </a:lnTo>
                      <a:lnTo>
                        <a:pt x="130" y="1094"/>
                      </a:lnTo>
                      <a:lnTo>
                        <a:pt x="129" y="1094"/>
                      </a:lnTo>
                      <a:lnTo>
                        <a:pt x="128" y="1094"/>
                      </a:lnTo>
                      <a:lnTo>
                        <a:pt x="128" y="1093"/>
                      </a:lnTo>
                      <a:lnTo>
                        <a:pt x="129" y="1093"/>
                      </a:lnTo>
                      <a:lnTo>
                        <a:pt x="129" y="1092"/>
                      </a:lnTo>
                      <a:lnTo>
                        <a:pt x="130" y="1091"/>
                      </a:lnTo>
                      <a:lnTo>
                        <a:pt x="130" y="1091"/>
                      </a:lnTo>
                      <a:lnTo>
                        <a:pt x="129" y="1090"/>
                      </a:lnTo>
                      <a:lnTo>
                        <a:pt x="129" y="1089"/>
                      </a:lnTo>
                      <a:lnTo>
                        <a:pt x="130" y="1088"/>
                      </a:lnTo>
                      <a:lnTo>
                        <a:pt x="130" y="1088"/>
                      </a:lnTo>
                      <a:lnTo>
                        <a:pt x="131" y="1087"/>
                      </a:lnTo>
                      <a:lnTo>
                        <a:pt x="130" y="1086"/>
                      </a:lnTo>
                      <a:lnTo>
                        <a:pt x="131" y="1085"/>
                      </a:lnTo>
                      <a:lnTo>
                        <a:pt x="132" y="1085"/>
                      </a:lnTo>
                      <a:lnTo>
                        <a:pt x="133" y="1085"/>
                      </a:lnTo>
                      <a:lnTo>
                        <a:pt x="133" y="1085"/>
                      </a:lnTo>
                      <a:lnTo>
                        <a:pt x="132" y="1084"/>
                      </a:lnTo>
                      <a:lnTo>
                        <a:pt x="133" y="1083"/>
                      </a:lnTo>
                      <a:lnTo>
                        <a:pt x="133" y="1083"/>
                      </a:lnTo>
                      <a:lnTo>
                        <a:pt x="133" y="1082"/>
                      </a:lnTo>
                      <a:lnTo>
                        <a:pt x="134" y="1082"/>
                      </a:lnTo>
                      <a:lnTo>
                        <a:pt x="134" y="1081"/>
                      </a:lnTo>
                      <a:lnTo>
                        <a:pt x="135" y="1081"/>
                      </a:lnTo>
                      <a:lnTo>
                        <a:pt x="135" y="1081"/>
                      </a:lnTo>
                      <a:lnTo>
                        <a:pt x="137" y="1081"/>
                      </a:lnTo>
                      <a:lnTo>
                        <a:pt x="137" y="1081"/>
                      </a:lnTo>
                      <a:lnTo>
                        <a:pt x="137" y="1082"/>
                      </a:lnTo>
                      <a:lnTo>
                        <a:pt x="137" y="1082"/>
                      </a:lnTo>
                      <a:lnTo>
                        <a:pt x="137" y="1082"/>
                      </a:lnTo>
                      <a:lnTo>
                        <a:pt x="135" y="1084"/>
                      </a:lnTo>
                      <a:lnTo>
                        <a:pt x="135" y="1085"/>
                      </a:lnTo>
                      <a:lnTo>
                        <a:pt x="135" y="1085"/>
                      </a:lnTo>
                      <a:lnTo>
                        <a:pt x="135" y="1085"/>
                      </a:lnTo>
                      <a:lnTo>
                        <a:pt x="138" y="1085"/>
                      </a:lnTo>
                      <a:lnTo>
                        <a:pt x="138" y="1084"/>
                      </a:lnTo>
                      <a:lnTo>
                        <a:pt x="139" y="1085"/>
                      </a:lnTo>
                      <a:lnTo>
                        <a:pt x="142" y="1085"/>
                      </a:lnTo>
                      <a:lnTo>
                        <a:pt x="142" y="1085"/>
                      </a:lnTo>
                      <a:lnTo>
                        <a:pt x="143" y="1085"/>
                      </a:lnTo>
                      <a:lnTo>
                        <a:pt x="143" y="1086"/>
                      </a:lnTo>
                      <a:lnTo>
                        <a:pt x="143" y="1086"/>
                      </a:lnTo>
                      <a:lnTo>
                        <a:pt x="142" y="1086"/>
                      </a:lnTo>
                      <a:lnTo>
                        <a:pt x="143" y="1087"/>
                      </a:lnTo>
                      <a:lnTo>
                        <a:pt x="143" y="1087"/>
                      </a:lnTo>
                      <a:lnTo>
                        <a:pt x="143" y="1087"/>
                      </a:lnTo>
                      <a:lnTo>
                        <a:pt x="143" y="1087"/>
                      </a:lnTo>
                      <a:lnTo>
                        <a:pt x="144" y="1088"/>
                      </a:lnTo>
                      <a:lnTo>
                        <a:pt x="145" y="1088"/>
                      </a:lnTo>
                      <a:lnTo>
                        <a:pt x="145" y="1088"/>
                      </a:lnTo>
                      <a:lnTo>
                        <a:pt x="145" y="1089"/>
                      </a:lnTo>
                      <a:lnTo>
                        <a:pt x="146" y="1089"/>
                      </a:lnTo>
                      <a:lnTo>
                        <a:pt x="146" y="1090"/>
                      </a:lnTo>
                      <a:lnTo>
                        <a:pt x="148" y="1091"/>
                      </a:lnTo>
                      <a:lnTo>
                        <a:pt x="149" y="1090"/>
                      </a:lnTo>
                      <a:lnTo>
                        <a:pt x="149" y="1089"/>
                      </a:lnTo>
                      <a:lnTo>
                        <a:pt x="149" y="1089"/>
                      </a:lnTo>
                      <a:lnTo>
                        <a:pt x="148" y="1088"/>
                      </a:lnTo>
                      <a:lnTo>
                        <a:pt x="149" y="1087"/>
                      </a:lnTo>
                      <a:lnTo>
                        <a:pt x="148" y="1087"/>
                      </a:lnTo>
                      <a:lnTo>
                        <a:pt x="148" y="1086"/>
                      </a:lnTo>
                      <a:lnTo>
                        <a:pt x="148" y="1086"/>
                      </a:lnTo>
                      <a:lnTo>
                        <a:pt x="148" y="1085"/>
                      </a:lnTo>
                      <a:lnTo>
                        <a:pt x="149" y="1086"/>
                      </a:lnTo>
                      <a:lnTo>
                        <a:pt x="149" y="1085"/>
                      </a:lnTo>
                      <a:lnTo>
                        <a:pt x="149" y="1084"/>
                      </a:lnTo>
                      <a:lnTo>
                        <a:pt x="150" y="1084"/>
                      </a:lnTo>
                      <a:lnTo>
                        <a:pt x="150" y="1085"/>
                      </a:lnTo>
                      <a:lnTo>
                        <a:pt x="151" y="1085"/>
                      </a:lnTo>
                      <a:lnTo>
                        <a:pt x="151" y="1086"/>
                      </a:lnTo>
                      <a:lnTo>
                        <a:pt x="151" y="1086"/>
                      </a:lnTo>
                      <a:lnTo>
                        <a:pt x="151" y="1086"/>
                      </a:lnTo>
                      <a:lnTo>
                        <a:pt x="152" y="1086"/>
                      </a:lnTo>
                      <a:lnTo>
                        <a:pt x="151" y="1087"/>
                      </a:lnTo>
                      <a:lnTo>
                        <a:pt x="152" y="1087"/>
                      </a:lnTo>
                      <a:lnTo>
                        <a:pt x="152" y="1087"/>
                      </a:lnTo>
                      <a:lnTo>
                        <a:pt x="152" y="1088"/>
                      </a:lnTo>
                      <a:lnTo>
                        <a:pt x="152" y="1089"/>
                      </a:lnTo>
                      <a:lnTo>
                        <a:pt x="153" y="1089"/>
                      </a:lnTo>
                      <a:lnTo>
                        <a:pt x="153" y="1089"/>
                      </a:lnTo>
                      <a:lnTo>
                        <a:pt x="154" y="1089"/>
                      </a:lnTo>
                      <a:lnTo>
                        <a:pt x="154" y="1090"/>
                      </a:lnTo>
                      <a:lnTo>
                        <a:pt x="154" y="1090"/>
                      </a:lnTo>
                      <a:lnTo>
                        <a:pt x="153" y="1091"/>
                      </a:lnTo>
                      <a:lnTo>
                        <a:pt x="154" y="1092"/>
                      </a:lnTo>
                      <a:lnTo>
                        <a:pt x="156" y="1092"/>
                      </a:lnTo>
                      <a:lnTo>
                        <a:pt x="158" y="1092"/>
                      </a:lnTo>
                      <a:lnTo>
                        <a:pt x="158" y="1091"/>
                      </a:lnTo>
                      <a:lnTo>
                        <a:pt x="159" y="1091"/>
                      </a:lnTo>
                      <a:lnTo>
                        <a:pt x="159" y="1092"/>
                      </a:lnTo>
                      <a:lnTo>
                        <a:pt x="160" y="1092"/>
                      </a:lnTo>
                      <a:lnTo>
                        <a:pt x="160" y="1093"/>
                      </a:lnTo>
                      <a:lnTo>
                        <a:pt x="160" y="1093"/>
                      </a:lnTo>
                      <a:lnTo>
                        <a:pt x="160" y="1093"/>
                      </a:lnTo>
                      <a:lnTo>
                        <a:pt x="161" y="1093"/>
                      </a:lnTo>
                      <a:lnTo>
                        <a:pt x="160" y="1094"/>
                      </a:lnTo>
                      <a:lnTo>
                        <a:pt x="159" y="1094"/>
                      </a:lnTo>
                      <a:lnTo>
                        <a:pt x="160" y="1096"/>
                      </a:lnTo>
                      <a:lnTo>
                        <a:pt x="160" y="1097"/>
                      </a:lnTo>
                      <a:lnTo>
                        <a:pt x="157" y="1097"/>
                      </a:lnTo>
                      <a:lnTo>
                        <a:pt x="156" y="1097"/>
                      </a:lnTo>
                      <a:lnTo>
                        <a:pt x="155" y="1097"/>
                      </a:lnTo>
                      <a:lnTo>
                        <a:pt x="155" y="1097"/>
                      </a:lnTo>
                      <a:lnTo>
                        <a:pt x="155" y="1097"/>
                      </a:lnTo>
                      <a:lnTo>
                        <a:pt x="153" y="1097"/>
                      </a:lnTo>
                      <a:lnTo>
                        <a:pt x="153" y="1097"/>
                      </a:lnTo>
                      <a:lnTo>
                        <a:pt x="153" y="1099"/>
                      </a:lnTo>
                      <a:lnTo>
                        <a:pt x="152" y="1097"/>
                      </a:lnTo>
                      <a:lnTo>
                        <a:pt x="151" y="1097"/>
                      </a:lnTo>
                      <a:lnTo>
                        <a:pt x="150" y="1097"/>
                      </a:lnTo>
                      <a:lnTo>
                        <a:pt x="150" y="1096"/>
                      </a:lnTo>
                      <a:lnTo>
                        <a:pt x="149" y="1096"/>
                      </a:lnTo>
                      <a:lnTo>
                        <a:pt x="149" y="1097"/>
                      </a:lnTo>
                      <a:lnTo>
                        <a:pt x="152" y="1098"/>
                      </a:lnTo>
                      <a:lnTo>
                        <a:pt x="152" y="1099"/>
                      </a:lnTo>
                      <a:lnTo>
                        <a:pt x="152" y="1099"/>
                      </a:lnTo>
                      <a:lnTo>
                        <a:pt x="152" y="1099"/>
                      </a:lnTo>
                      <a:lnTo>
                        <a:pt x="153" y="1100"/>
                      </a:lnTo>
                      <a:lnTo>
                        <a:pt x="153" y="1100"/>
                      </a:lnTo>
                      <a:lnTo>
                        <a:pt x="153" y="1100"/>
                      </a:lnTo>
                      <a:lnTo>
                        <a:pt x="154" y="1100"/>
                      </a:lnTo>
                      <a:lnTo>
                        <a:pt x="154" y="1101"/>
                      </a:lnTo>
                      <a:lnTo>
                        <a:pt x="154" y="1101"/>
                      </a:lnTo>
                      <a:lnTo>
                        <a:pt x="154" y="1101"/>
                      </a:lnTo>
                      <a:lnTo>
                        <a:pt x="155" y="1102"/>
                      </a:lnTo>
                      <a:lnTo>
                        <a:pt x="158" y="1102"/>
                      </a:lnTo>
                      <a:lnTo>
                        <a:pt x="158" y="1103"/>
                      </a:lnTo>
                      <a:lnTo>
                        <a:pt x="158" y="1103"/>
                      </a:lnTo>
                      <a:lnTo>
                        <a:pt x="158" y="1103"/>
                      </a:lnTo>
                      <a:lnTo>
                        <a:pt x="158" y="1103"/>
                      </a:lnTo>
                      <a:lnTo>
                        <a:pt x="159" y="1104"/>
                      </a:lnTo>
                      <a:lnTo>
                        <a:pt x="159" y="1103"/>
                      </a:lnTo>
                      <a:lnTo>
                        <a:pt x="159" y="1103"/>
                      </a:lnTo>
                      <a:lnTo>
                        <a:pt x="160" y="1103"/>
                      </a:lnTo>
                      <a:lnTo>
                        <a:pt x="160" y="1104"/>
                      </a:lnTo>
                      <a:lnTo>
                        <a:pt x="161" y="1104"/>
                      </a:lnTo>
                      <a:lnTo>
                        <a:pt x="161" y="1104"/>
                      </a:lnTo>
                      <a:lnTo>
                        <a:pt x="163" y="1103"/>
                      </a:lnTo>
                      <a:lnTo>
                        <a:pt x="164" y="1104"/>
                      </a:lnTo>
                      <a:lnTo>
                        <a:pt x="164" y="1105"/>
                      </a:lnTo>
                      <a:lnTo>
                        <a:pt x="165" y="1107"/>
                      </a:lnTo>
                      <a:lnTo>
                        <a:pt x="165" y="1109"/>
                      </a:lnTo>
                      <a:lnTo>
                        <a:pt x="165" y="1110"/>
                      </a:lnTo>
                      <a:lnTo>
                        <a:pt x="164" y="1115"/>
                      </a:lnTo>
                      <a:lnTo>
                        <a:pt x="165" y="1119"/>
                      </a:lnTo>
                      <a:lnTo>
                        <a:pt x="166" y="1123"/>
                      </a:lnTo>
                      <a:lnTo>
                        <a:pt x="167" y="1126"/>
                      </a:lnTo>
                      <a:lnTo>
                        <a:pt x="167" y="1127"/>
                      </a:lnTo>
                      <a:lnTo>
                        <a:pt x="168" y="1129"/>
                      </a:lnTo>
                      <a:lnTo>
                        <a:pt x="169" y="1129"/>
                      </a:lnTo>
                      <a:lnTo>
                        <a:pt x="170" y="1132"/>
                      </a:lnTo>
                      <a:lnTo>
                        <a:pt x="170" y="1132"/>
                      </a:lnTo>
                      <a:lnTo>
                        <a:pt x="170" y="1131"/>
                      </a:lnTo>
                      <a:lnTo>
                        <a:pt x="168" y="1127"/>
                      </a:lnTo>
                      <a:lnTo>
                        <a:pt x="169" y="1126"/>
                      </a:lnTo>
                      <a:lnTo>
                        <a:pt x="169" y="1126"/>
                      </a:lnTo>
                      <a:lnTo>
                        <a:pt x="169" y="1125"/>
                      </a:lnTo>
                      <a:lnTo>
                        <a:pt x="169" y="1125"/>
                      </a:lnTo>
                      <a:lnTo>
                        <a:pt x="168" y="1124"/>
                      </a:lnTo>
                      <a:lnTo>
                        <a:pt x="168" y="1122"/>
                      </a:lnTo>
                      <a:lnTo>
                        <a:pt x="167" y="1122"/>
                      </a:lnTo>
                      <a:lnTo>
                        <a:pt x="167" y="1121"/>
                      </a:lnTo>
                      <a:lnTo>
                        <a:pt x="166" y="1120"/>
                      </a:lnTo>
                      <a:lnTo>
                        <a:pt x="165" y="1117"/>
                      </a:lnTo>
                      <a:lnTo>
                        <a:pt x="165" y="1114"/>
                      </a:lnTo>
                      <a:lnTo>
                        <a:pt x="166" y="1114"/>
                      </a:lnTo>
                      <a:lnTo>
                        <a:pt x="166" y="1113"/>
                      </a:lnTo>
                      <a:lnTo>
                        <a:pt x="166" y="1113"/>
                      </a:lnTo>
                      <a:lnTo>
                        <a:pt x="165" y="1114"/>
                      </a:lnTo>
                      <a:lnTo>
                        <a:pt x="165" y="1114"/>
                      </a:lnTo>
                      <a:lnTo>
                        <a:pt x="165" y="1113"/>
                      </a:lnTo>
                      <a:lnTo>
                        <a:pt x="166" y="1109"/>
                      </a:lnTo>
                      <a:lnTo>
                        <a:pt x="166" y="1109"/>
                      </a:lnTo>
                      <a:lnTo>
                        <a:pt x="167" y="1108"/>
                      </a:lnTo>
                      <a:lnTo>
                        <a:pt x="167" y="1108"/>
                      </a:lnTo>
                      <a:lnTo>
                        <a:pt x="167" y="1109"/>
                      </a:lnTo>
                      <a:lnTo>
                        <a:pt x="167" y="1109"/>
                      </a:lnTo>
                      <a:lnTo>
                        <a:pt x="168" y="1109"/>
                      </a:lnTo>
                      <a:lnTo>
                        <a:pt x="168" y="1109"/>
                      </a:lnTo>
                      <a:lnTo>
                        <a:pt x="168" y="1108"/>
                      </a:lnTo>
                      <a:lnTo>
                        <a:pt x="167" y="1107"/>
                      </a:lnTo>
                      <a:lnTo>
                        <a:pt x="166" y="1105"/>
                      </a:lnTo>
                      <a:lnTo>
                        <a:pt x="167" y="1104"/>
                      </a:lnTo>
                      <a:lnTo>
                        <a:pt x="166" y="1103"/>
                      </a:lnTo>
                      <a:lnTo>
                        <a:pt x="167" y="1102"/>
                      </a:lnTo>
                      <a:lnTo>
                        <a:pt x="167" y="1102"/>
                      </a:lnTo>
                      <a:lnTo>
                        <a:pt x="167" y="1102"/>
                      </a:lnTo>
                      <a:lnTo>
                        <a:pt x="168" y="1103"/>
                      </a:lnTo>
                      <a:lnTo>
                        <a:pt x="168" y="1104"/>
                      </a:lnTo>
                      <a:lnTo>
                        <a:pt x="167" y="1104"/>
                      </a:lnTo>
                      <a:lnTo>
                        <a:pt x="168" y="1104"/>
                      </a:lnTo>
                      <a:lnTo>
                        <a:pt x="170" y="1105"/>
                      </a:lnTo>
                      <a:lnTo>
                        <a:pt x="170" y="1105"/>
                      </a:lnTo>
                      <a:lnTo>
                        <a:pt x="170" y="1105"/>
                      </a:lnTo>
                      <a:lnTo>
                        <a:pt x="170" y="1104"/>
                      </a:lnTo>
                      <a:lnTo>
                        <a:pt x="170" y="1104"/>
                      </a:lnTo>
                      <a:lnTo>
                        <a:pt x="169" y="1103"/>
                      </a:lnTo>
                      <a:lnTo>
                        <a:pt x="169" y="1102"/>
                      </a:lnTo>
                      <a:lnTo>
                        <a:pt x="169" y="1101"/>
                      </a:lnTo>
                      <a:lnTo>
                        <a:pt x="170" y="1102"/>
                      </a:lnTo>
                      <a:lnTo>
                        <a:pt x="170" y="1103"/>
                      </a:lnTo>
                      <a:lnTo>
                        <a:pt x="170" y="1103"/>
                      </a:lnTo>
                      <a:lnTo>
                        <a:pt x="170" y="1102"/>
                      </a:lnTo>
                      <a:lnTo>
                        <a:pt x="170" y="1102"/>
                      </a:lnTo>
                      <a:lnTo>
                        <a:pt x="170" y="1101"/>
                      </a:lnTo>
                      <a:lnTo>
                        <a:pt x="170" y="1101"/>
                      </a:lnTo>
                      <a:lnTo>
                        <a:pt x="170" y="1101"/>
                      </a:lnTo>
                      <a:lnTo>
                        <a:pt x="170" y="1101"/>
                      </a:lnTo>
                      <a:lnTo>
                        <a:pt x="171" y="1101"/>
                      </a:lnTo>
                      <a:lnTo>
                        <a:pt x="171" y="1101"/>
                      </a:lnTo>
                      <a:lnTo>
                        <a:pt x="171" y="1100"/>
                      </a:lnTo>
                      <a:lnTo>
                        <a:pt x="172" y="1100"/>
                      </a:lnTo>
                      <a:lnTo>
                        <a:pt x="172" y="1099"/>
                      </a:lnTo>
                      <a:lnTo>
                        <a:pt x="172" y="1098"/>
                      </a:lnTo>
                      <a:lnTo>
                        <a:pt x="172" y="1098"/>
                      </a:lnTo>
                      <a:lnTo>
                        <a:pt x="174" y="1098"/>
                      </a:lnTo>
                      <a:lnTo>
                        <a:pt x="175" y="1099"/>
                      </a:lnTo>
                      <a:lnTo>
                        <a:pt x="174" y="1099"/>
                      </a:lnTo>
                      <a:lnTo>
                        <a:pt x="175" y="1099"/>
                      </a:lnTo>
                      <a:lnTo>
                        <a:pt x="176" y="1098"/>
                      </a:lnTo>
                      <a:lnTo>
                        <a:pt x="175" y="1098"/>
                      </a:lnTo>
                      <a:lnTo>
                        <a:pt x="176" y="1098"/>
                      </a:lnTo>
                      <a:lnTo>
                        <a:pt x="176" y="1097"/>
                      </a:lnTo>
                      <a:lnTo>
                        <a:pt x="176" y="1097"/>
                      </a:lnTo>
                      <a:lnTo>
                        <a:pt x="177" y="1097"/>
                      </a:lnTo>
                      <a:lnTo>
                        <a:pt x="178" y="1097"/>
                      </a:lnTo>
                      <a:lnTo>
                        <a:pt x="178" y="1096"/>
                      </a:lnTo>
                      <a:lnTo>
                        <a:pt x="178" y="1096"/>
                      </a:lnTo>
                      <a:lnTo>
                        <a:pt x="178" y="1097"/>
                      </a:lnTo>
                      <a:lnTo>
                        <a:pt x="179" y="1098"/>
                      </a:lnTo>
                      <a:lnTo>
                        <a:pt x="179" y="1097"/>
                      </a:lnTo>
                      <a:lnTo>
                        <a:pt x="180" y="1097"/>
                      </a:lnTo>
                      <a:lnTo>
                        <a:pt x="180" y="1097"/>
                      </a:lnTo>
                      <a:lnTo>
                        <a:pt x="181" y="1097"/>
                      </a:lnTo>
                      <a:lnTo>
                        <a:pt x="181" y="1097"/>
                      </a:lnTo>
                      <a:lnTo>
                        <a:pt x="182" y="1097"/>
                      </a:lnTo>
                      <a:lnTo>
                        <a:pt x="182" y="1097"/>
                      </a:lnTo>
                      <a:lnTo>
                        <a:pt x="182" y="1098"/>
                      </a:lnTo>
                      <a:lnTo>
                        <a:pt x="182" y="1098"/>
                      </a:lnTo>
                      <a:lnTo>
                        <a:pt x="182" y="1097"/>
                      </a:lnTo>
                      <a:lnTo>
                        <a:pt x="183" y="1097"/>
                      </a:lnTo>
                      <a:lnTo>
                        <a:pt x="184" y="1098"/>
                      </a:lnTo>
                      <a:lnTo>
                        <a:pt x="184" y="1098"/>
                      </a:lnTo>
                      <a:lnTo>
                        <a:pt x="184" y="1098"/>
                      </a:lnTo>
                      <a:lnTo>
                        <a:pt x="185" y="1098"/>
                      </a:lnTo>
                      <a:lnTo>
                        <a:pt x="185" y="1098"/>
                      </a:lnTo>
                      <a:lnTo>
                        <a:pt x="185" y="1098"/>
                      </a:lnTo>
                      <a:lnTo>
                        <a:pt x="186" y="1099"/>
                      </a:lnTo>
                      <a:lnTo>
                        <a:pt x="186" y="1100"/>
                      </a:lnTo>
                      <a:lnTo>
                        <a:pt x="186" y="1100"/>
                      </a:lnTo>
                      <a:lnTo>
                        <a:pt x="187" y="1100"/>
                      </a:lnTo>
                      <a:lnTo>
                        <a:pt x="187" y="1099"/>
                      </a:lnTo>
                      <a:lnTo>
                        <a:pt x="188" y="1100"/>
                      </a:lnTo>
                      <a:lnTo>
                        <a:pt x="188" y="1101"/>
                      </a:lnTo>
                      <a:lnTo>
                        <a:pt x="187" y="1101"/>
                      </a:lnTo>
                      <a:lnTo>
                        <a:pt x="188" y="1101"/>
                      </a:lnTo>
                      <a:lnTo>
                        <a:pt x="188" y="1100"/>
                      </a:lnTo>
                      <a:lnTo>
                        <a:pt x="188" y="1100"/>
                      </a:lnTo>
                      <a:lnTo>
                        <a:pt x="188" y="1100"/>
                      </a:lnTo>
                      <a:lnTo>
                        <a:pt x="188" y="1100"/>
                      </a:lnTo>
                      <a:lnTo>
                        <a:pt x="188" y="1100"/>
                      </a:lnTo>
                      <a:lnTo>
                        <a:pt x="189" y="1100"/>
                      </a:lnTo>
                      <a:lnTo>
                        <a:pt x="189" y="1100"/>
                      </a:lnTo>
                      <a:lnTo>
                        <a:pt x="189" y="1101"/>
                      </a:lnTo>
                      <a:lnTo>
                        <a:pt x="190" y="1101"/>
                      </a:lnTo>
                      <a:lnTo>
                        <a:pt x="189" y="1101"/>
                      </a:lnTo>
                      <a:lnTo>
                        <a:pt x="191" y="1101"/>
                      </a:lnTo>
                      <a:lnTo>
                        <a:pt x="192" y="1102"/>
                      </a:lnTo>
                      <a:lnTo>
                        <a:pt x="192" y="1102"/>
                      </a:lnTo>
                      <a:lnTo>
                        <a:pt x="192" y="1102"/>
                      </a:lnTo>
                      <a:lnTo>
                        <a:pt x="193" y="1101"/>
                      </a:lnTo>
                      <a:lnTo>
                        <a:pt x="193" y="1101"/>
                      </a:lnTo>
                      <a:lnTo>
                        <a:pt x="193" y="1101"/>
                      </a:lnTo>
                      <a:lnTo>
                        <a:pt x="194" y="1101"/>
                      </a:lnTo>
                      <a:lnTo>
                        <a:pt x="194" y="1100"/>
                      </a:lnTo>
                      <a:lnTo>
                        <a:pt x="194" y="1100"/>
                      </a:lnTo>
                      <a:lnTo>
                        <a:pt x="195" y="1101"/>
                      </a:lnTo>
                      <a:lnTo>
                        <a:pt x="194" y="1102"/>
                      </a:lnTo>
                      <a:lnTo>
                        <a:pt x="195" y="1102"/>
                      </a:lnTo>
                      <a:lnTo>
                        <a:pt x="195" y="1102"/>
                      </a:lnTo>
                      <a:lnTo>
                        <a:pt x="195" y="1103"/>
                      </a:lnTo>
                      <a:lnTo>
                        <a:pt x="195" y="1103"/>
                      </a:lnTo>
                      <a:lnTo>
                        <a:pt x="195" y="1104"/>
                      </a:lnTo>
                      <a:lnTo>
                        <a:pt x="196" y="1104"/>
                      </a:lnTo>
                      <a:lnTo>
                        <a:pt x="196" y="1106"/>
                      </a:lnTo>
                      <a:lnTo>
                        <a:pt x="197" y="1106"/>
                      </a:lnTo>
                      <a:lnTo>
                        <a:pt x="197" y="1107"/>
                      </a:lnTo>
                      <a:lnTo>
                        <a:pt x="197" y="1108"/>
                      </a:lnTo>
                      <a:lnTo>
                        <a:pt x="197" y="1108"/>
                      </a:lnTo>
                      <a:lnTo>
                        <a:pt x="198" y="1109"/>
                      </a:lnTo>
                      <a:lnTo>
                        <a:pt x="197" y="1109"/>
                      </a:lnTo>
                      <a:lnTo>
                        <a:pt x="197" y="1110"/>
                      </a:lnTo>
                      <a:lnTo>
                        <a:pt x="197" y="1110"/>
                      </a:lnTo>
                      <a:lnTo>
                        <a:pt x="198" y="1109"/>
                      </a:lnTo>
                      <a:lnTo>
                        <a:pt x="198" y="1109"/>
                      </a:lnTo>
                      <a:lnTo>
                        <a:pt x="197" y="1107"/>
                      </a:lnTo>
                      <a:lnTo>
                        <a:pt x="198" y="1107"/>
                      </a:lnTo>
                      <a:lnTo>
                        <a:pt x="198" y="1107"/>
                      </a:lnTo>
                      <a:lnTo>
                        <a:pt x="199" y="1107"/>
                      </a:lnTo>
                      <a:lnTo>
                        <a:pt x="199" y="1108"/>
                      </a:lnTo>
                      <a:lnTo>
                        <a:pt x="199" y="1108"/>
                      </a:lnTo>
                      <a:lnTo>
                        <a:pt x="199" y="1108"/>
                      </a:lnTo>
                      <a:lnTo>
                        <a:pt x="200" y="1108"/>
                      </a:lnTo>
                      <a:lnTo>
                        <a:pt x="200" y="1108"/>
                      </a:lnTo>
                      <a:lnTo>
                        <a:pt x="200" y="1108"/>
                      </a:lnTo>
                      <a:lnTo>
                        <a:pt x="200" y="1109"/>
                      </a:lnTo>
                      <a:lnTo>
                        <a:pt x="201" y="1109"/>
                      </a:lnTo>
                      <a:lnTo>
                        <a:pt x="201" y="1108"/>
                      </a:lnTo>
                      <a:lnTo>
                        <a:pt x="201" y="1108"/>
                      </a:lnTo>
                      <a:lnTo>
                        <a:pt x="201" y="1108"/>
                      </a:lnTo>
                      <a:lnTo>
                        <a:pt x="201" y="1108"/>
                      </a:lnTo>
                      <a:lnTo>
                        <a:pt x="200" y="1107"/>
                      </a:lnTo>
                      <a:lnTo>
                        <a:pt x="200" y="1106"/>
                      </a:lnTo>
                      <a:lnTo>
                        <a:pt x="199" y="1106"/>
                      </a:lnTo>
                      <a:lnTo>
                        <a:pt x="199" y="1106"/>
                      </a:lnTo>
                      <a:lnTo>
                        <a:pt x="199" y="1106"/>
                      </a:lnTo>
                      <a:lnTo>
                        <a:pt x="199" y="1104"/>
                      </a:lnTo>
                      <a:lnTo>
                        <a:pt x="199" y="1103"/>
                      </a:lnTo>
                      <a:lnTo>
                        <a:pt x="200" y="1103"/>
                      </a:lnTo>
                      <a:lnTo>
                        <a:pt x="200" y="1103"/>
                      </a:lnTo>
                      <a:lnTo>
                        <a:pt x="202" y="1103"/>
                      </a:lnTo>
                      <a:lnTo>
                        <a:pt x="202" y="1103"/>
                      </a:lnTo>
                      <a:lnTo>
                        <a:pt x="201" y="1103"/>
                      </a:lnTo>
                      <a:lnTo>
                        <a:pt x="201" y="1102"/>
                      </a:lnTo>
                      <a:lnTo>
                        <a:pt x="200" y="1102"/>
                      </a:lnTo>
                      <a:lnTo>
                        <a:pt x="199" y="1101"/>
                      </a:lnTo>
                      <a:lnTo>
                        <a:pt x="198" y="1100"/>
                      </a:lnTo>
                      <a:lnTo>
                        <a:pt x="198" y="1099"/>
                      </a:lnTo>
                      <a:lnTo>
                        <a:pt x="198" y="1099"/>
                      </a:lnTo>
                      <a:lnTo>
                        <a:pt x="197" y="1098"/>
                      </a:lnTo>
                      <a:lnTo>
                        <a:pt x="197" y="1098"/>
                      </a:lnTo>
                      <a:lnTo>
                        <a:pt x="197" y="1099"/>
                      </a:lnTo>
                      <a:lnTo>
                        <a:pt x="198" y="1099"/>
                      </a:lnTo>
                      <a:lnTo>
                        <a:pt x="197" y="1101"/>
                      </a:lnTo>
                      <a:lnTo>
                        <a:pt x="198" y="1101"/>
                      </a:lnTo>
                      <a:lnTo>
                        <a:pt x="198" y="1101"/>
                      </a:lnTo>
                      <a:lnTo>
                        <a:pt x="198" y="1102"/>
                      </a:lnTo>
                      <a:lnTo>
                        <a:pt x="198" y="1102"/>
                      </a:lnTo>
                      <a:lnTo>
                        <a:pt x="197" y="1102"/>
                      </a:lnTo>
                      <a:lnTo>
                        <a:pt x="197" y="1103"/>
                      </a:lnTo>
                      <a:lnTo>
                        <a:pt x="197" y="1103"/>
                      </a:lnTo>
                      <a:lnTo>
                        <a:pt x="196" y="1103"/>
                      </a:lnTo>
                      <a:lnTo>
                        <a:pt x="196" y="1103"/>
                      </a:lnTo>
                      <a:lnTo>
                        <a:pt x="196" y="1101"/>
                      </a:lnTo>
                      <a:lnTo>
                        <a:pt x="196" y="1101"/>
                      </a:lnTo>
                      <a:lnTo>
                        <a:pt x="197" y="1101"/>
                      </a:lnTo>
                      <a:lnTo>
                        <a:pt x="197" y="1101"/>
                      </a:lnTo>
                      <a:lnTo>
                        <a:pt x="197" y="1101"/>
                      </a:lnTo>
                      <a:lnTo>
                        <a:pt x="196" y="1100"/>
                      </a:lnTo>
                      <a:lnTo>
                        <a:pt x="197" y="1099"/>
                      </a:lnTo>
                      <a:lnTo>
                        <a:pt x="196" y="1098"/>
                      </a:lnTo>
                      <a:lnTo>
                        <a:pt x="196" y="1098"/>
                      </a:lnTo>
                      <a:lnTo>
                        <a:pt x="196" y="1099"/>
                      </a:lnTo>
                      <a:lnTo>
                        <a:pt x="195" y="1100"/>
                      </a:lnTo>
                      <a:lnTo>
                        <a:pt x="194" y="1099"/>
                      </a:lnTo>
                      <a:lnTo>
                        <a:pt x="194" y="1099"/>
                      </a:lnTo>
                      <a:lnTo>
                        <a:pt x="194" y="1099"/>
                      </a:lnTo>
                      <a:lnTo>
                        <a:pt x="193" y="1098"/>
                      </a:lnTo>
                      <a:lnTo>
                        <a:pt x="193" y="1098"/>
                      </a:lnTo>
                      <a:lnTo>
                        <a:pt x="194" y="1099"/>
                      </a:lnTo>
                      <a:lnTo>
                        <a:pt x="193" y="1100"/>
                      </a:lnTo>
                      <a:lnTo>
                        <a:pt x="193" y="1099"/>
                      </a:lnTo>
                      <a:lnTo>
                        <a:pt x="193" y="1099"/>
                      </a:lnTo>
                      <a:lnTo>
                        <a:pt x="193" y="1098"/>
                      </a:lnTo>
                      <a:lnTo>
                        <a:pt x="192" y="1098"/>
                      </a:lnTo>
                      <a:lnTo>
                        <a:pt x="192" y="1097"/>
                      </a:lnTo>
                      <a:lnTo>
                        <a:pt x="191" y="1097"/>
                      </a:lnTo>
                      <a:lnTo>
                        <a:pt x="191" y="1096"/>
                      </a:lnTo>
                      <a:lnTo>
                        <a:pt x="192" y="1096"/>
                      </a:lnTo>
                      <a:lnTo>
                        <a:pt x="192" y="1095"/>
                      </a:lnTo>
                      <a:lnTo>
                        <a:pt x="192" y="1094"/>
                      </a:lnTo>
                      <a:lnTo>
                        <a:pt x="192" y="1093"/>
                      </a:lnTo>
                      <a:lnTo>
                        <a:pt x="194" y="1093"/>
                      </a:lnTo>
                      <a:lnTo>
                        <a:pt x="195" y="1094"/>
                      </a:lnTo>
                      <a:lnTo>
                        <a:pt x="195" y="1093"/>
                      </a:lnTo>
                      <a:lnTo>
                        <a:pt x="195" y="1092"/>
                      </a:lnTo>
                      <a:lnTo>
                        <a:pt x="194" y="1092"/>
                      </a:lnTo>
                      <a:lnTo>
                        <a:pt x="194" y="1091"/>
                      </a:lnTo>
                      <a:lnTo>
                        <a:pt x="193" y="1091"/>
                      </a:lnTo>
                      <a:lnTo>
                        <a:pt x="192" y="1091"/>
                      </a:lnTo>
                      <a:lnTo>
                        <a:pt x="192" y="1090"/>
                      </a:lnTo>
                      <a:lnTo>
                        <a:pt x="191" y="1089"/>
                      </a:lnTo>
                      <a:lnTo>
                        <a:pt x="191" y="1088"/>
                      </a:lnTo>
                      <a:lnTo>
                        <a:pt x="191" y="1088"/>
                      </a:lnTo>
                      <a:lnTo>
                        <a:pt x="191" y="1087"/>
                      </a:lnTo>
                      <a:lnTo>
                        <a:pt x="191" y="1087"/>
                      </a:lnTo>
                      <a:lnTo>
                        <a:pt x="191" y="1086"/>
                      </a:lnTo>
                      <a:lnTo>
                        <a:pt x="190" y="1086"/>
                      </a:lnTo>
                      <a:lnTo>
                        <a:pt x="190" y="1086"/>
                      </a:lnTo>
                      <a:lnTo>
                        <a:pt x="190" y="1085"/>
                      </a:lnTo>
                      <a:lnTo>
                        <a:pt x="190" y="1085"/>
                      </a:lnTo>
                      <a:lnTo>
                        <a:pt x="189" y="1084"/>
                      </a:lnTo>
                      <a:lnTo>
                        <a:pt x="189" y="1083"/>
                      </a:lnTo>
                      <a:lnTo>
                        <a:pt x="189" y="1083"/>
                      </a:lnTo>
                      <a:lnTo>
                        <a:pt x="189" y="1084"/>
                      </a:lnTo>
                      <a:lnTo>
                        <a:pt x="188" y="1084"/>
                      </a:lnTo>
                      <a:lnTo>
                        <a:pt x="189" y="1084"/>
                      </a:lnTo>
                      <a:lnTo>
                        <a:pt x="188" y="1085"/>
                      </a:lnTo>
                      <a:lnTo>
                        <a:pt x="188" y="1084"/>
                      </a:lnTo>
                      <a:lnTo>
                        <a:pt x="187" y="1083"/>
                      </a:lnTo>
                      <a:lnTo>
                        <a:pt x="187" y="1083"/>
                      </a:lnTo>
                      <a:lnTo>
                        <a:pt x="186" y="1083"/>
                      </a:lnTo>
                      <a:lnTo>
                        <a:pt x="186" y="1084"/>
                      </a:lnTo>
                      <a:lnTo>
                        <a:pt x="186" y="1084"/>
                      </a:lnTo>
                      <a:lnTo>
                        <a:pt x="186" y="1083"/>
                      </a:lnTo>
                      <a:lnTo>
                        <a:pt x="186" y="1082"/>
                      </a:lnTo>
                      <a:lnTo>
                        <a:pt x="186" y="1082"/>
                      </a:lnTo>
                      <a:lnTo>
                        <a:pt x="186" y="1082"/>
                      </a:lnTo>
                      <a:lnTo>
                        <a:pt x="185" y="1082"/>
                      </a:lnTo>
                      <a:lnTo>
                        <a:pt x="185" y="1081"/>
                      </a:lnTo>
                      <a:lnTo>
                        <a:pt x="185" y="1081"/>
                      </a:lnTo>
                      <a:lnTo>
                        <a:pt x="185" y="1081"/>
                      </a:lnTo>
                      <a:lnTo>
                        <a:pt x="185" y="1081"/>
                      </a:lnTo>
                      <a:lnTo>
                        <a:pt x="184" y="1080"/>
                      </a:lnTo>
                      <a:lnTo>
                        <a:pt x="184" y="1080"/>
                      </a:lnTo>
                      <a:lnTo>
                        <a:pt x="184" y="1079"/>
                      </a:lnTo>
                      <a:lnTo>
                        <a:pt x="184" y="1079"/>
                      </a:lnTo>
                      <a:lnTo>
                        <a:pt x="183" y="1078"/>
                      </a:lnTo>
                      <a:lnTo>
                        <a:pt x="183" y="1078"/>
                      </a:lnTo>
                      <a:lnTo>
                        <a:pt x="183" y="1077"/>
                      </a:lnTo>
                      <a:lnTo>
                        <a:pt x="182" y="1077"/>
                      </a:lnTo>
                      <a:lnTo>
                        <a:pt x="182" y="1076"/>
                      </a:lnTo>
                      <a:lnTo>
                        <a:pt x="182" y="1075"/>
                      </a:lnTo>
                      <a:lnTo>
                        <a:pt x="182" y="1073"/>
                      </a:lnTo>
                      <a:lnTo>
                        <a:pt x="182" y="1073"/>
                      </a:lnTo>
                      <a:lnTo>
                        <a:pt x="182" y="1072"/>
                      </a:lnTo>
                      <a:lnTo>
                        <a:pt x="181" y="1072"/>
                      </a:lnTo>
                      <a:lnTo>
                        <a:pt x="181" y="1071"/>
                      </a:lnTo>
                      <a:lnTo>
                        <a:pt x="181" y="1071"/>
                      </a:lnTo>
                      <a:lnTo>
                        <a:pt x="181" y="1071"/>
                      </a:lnTo>
                      <a:lnTo>
                        <a:pt x="181" y="1071"/>
                      </a:lnTo>
                      <a:lnTo>
                        <a:pt x="181" y="1070"/>
                      </a:lnTo>
                      <a:lnTo>
                        <a:pt x="181" y="1070"/>
                      </a:lnTo>
                      <a:lnTo>
                        <a:pt x="180" y="1069"/>
                      </a:lnTo>
                      <a:lnTo>
                        <a:pt x="180" y="1069"/>
                      </a:lnTo>
                      <a:lnTo>
                        <a:pt x="180" y="1068"/>
                      </a:lnTo>
                      <a:lnTo>
                        <a:pt x="180" y="1068"/>
                      </a:lnTo>
                      <a:lnTo>
                        <a:pt x="180" y="1067"/>
                      </a:lnTo>
                      <a:lnTo>
                        <a:pt x="182" y="1068"/>
                      </a:lnTo>
                      <a:lnTo>
                        <a:pt x="182" y="1067"/>
                      </a:lnTo>
                      <a:lnTo>
                        <a:pt x="182" y="1068"/>
                      </a:lnTo>
                      <a:lnTo>
                        <a:pt x="183" y="1067"/>
                      </a:lnTo>
                      <a:lnTo>
                        <a:pt x="183" y="1067"/>
                      </a:lnTo>
                      <a:lnTo>
                        <a:pt x="184" y="1067"/>
                      </a:lnTo>
                      <a:lnTo>
                        <a:pt x="184" y="1067"/>
                      </a:lnTo>
                      <a:lnTo>
                        <a:pt x="184" y="1067"/>
                      </a:lnTo>
                      <a:lnTo>
                        <a:pt x="185" y="1067"/>
                      </a:lnTo>
                      <a:lnTo>
                        <a:pt x="186" y="1067"/>
                      </a:lnTo>
                      <a:lnTo>
                        <a:pt x="186" y="1066"/>
                      </a:lnTo>
                      <a:lnTo>
                        <a:pt x="186" y="1066"/>
                      </a:lnTo>
                      <a:lnTo>
                        <a:pt x="186" y="1066"/>
                      </a:lnTo>
                      <a:lnTo>
                        <a:pt x="185" y="1066"/>
                      </a:lnTo>
                      <a:lnTo>
                        <a:pt x="185" y="1066"/>
                      </a:lnTo>
                      <a:lnTo>
                        <a:pt x="184" y="1066"/>
                      </a:lnTo>
                      <a:lnTo>
                        <a:pt x="184" y="1066"/>
                      </a:lnTo>
                      <a:lnTo>
                        <a:pt x="183" y="1065"/>
                      </a:lnTo>
                      <a:lnTo>
                        <a:pt x="183" y="1065"/>
                      </a:lnTo>
                      <a:lnTo>
                        <a:pt x="182" y="1066"/>
                      </a:lnTo>
                      <a:lnTo>
                        <a:pt x="180" y="1066"/>
                      </a:lnTo>
                      <a:lnTo>
                        <a:pt x="179" y="1065"/>
                      </a:lnTo>
                      <a:lnTo>
                        <a:pt x="178" y="1065"/>
                      </a:lnTo>
                      <a:lnTo>
                        <a:pt x="178" y="1064"/>
                      </a:lnTo>
                      <a:lnTo>
                        <a:pt x="178" y="1064"/>
                      </a:lnTo>
                      <a:lnTo>
                        <a:pt x="178" y="1064"/>
                      </a:lnTo>
                      <a:lnTo>
                        <a:pt x="178" y="1063"/>
                      </a:lnTo>
                      <a:lnTo>
                        <a:pt x="179" y="1063"/>
                      </a:lnTo>
                      <a:lnTo>
                        <a:pt x="179" y="1063"/>
                      </a:lnTo>
                      <a:lnTo>
                        <a:pt x="179" y="1063"/>
                      </a:lnTo>
                      <a:lnTo>
                        <a:pt x="179" y="1062"/>
                      </a:lnTo>
                      <a:lnTo>
                        <a:pt x="180" y="1062"/>
                      </a:lnTo>
                      <a:lnTo>
                        <a:pt x="180" y="1062"/>
                      </a:lnTo>
                      <a:lnTo>
                        <a:pt x="180" y="1062"/>
                      </a:lnTo>
                      <a:lnTo>
                        <a:pt x="181" y="1061"/>
                      </a:lnTo>
                      <a:lnTo>
                        <a:pt x="181" y="1061"/>
                      </a:lnTo>
                      <a:lnTo>
                        <a:pt x="181" y="1061"/>
                      </a:lnTo>
                      <a:lnTo>
                        <a:pt x="182" y="1061"/>
                      </a:lnTo>
                      <a:lnTo>
                        <a:pt x="182" y="1061"/>
                      </a:lnTo>
                      <a:lnTo>
                        <a:pt x="183" y="1060"/>
                      </a:lnTo>
                      <a:lnTo>
                        <a:pt x="182" y="1060"/>
                      </a:lnTo>
                      <a:lnTo>
                        <a:pt x="183" y="1060"/>
                      </a:lnTo>
                      <a:lnTo>
                        <a:pt x="183" y="1059"/>
                      </a:lnTo>
                      <a:lnTo>
                        <a:pt x="182" y="1059"/>
                      </a:lnTo>
                      <a:lnTo>
                        <a:pt x="182" y="1058"/>
                      </a:lnTo>
                      <a:lnTo>
                        <a:pt x="183" y="1058"/>
                      </a:lnTo>
                      <a:lnTo>
                        <a:pt x="184" y="1058"/>
                      </a:lnTo>
                      <a:lnTo>
                        <a:pt x="184" y="1058"/>
                      </a:lnTo>
                      <a:lnTo>
                        <a:pt x="184" y="1058"/>
                      </a:lnTo>
                      <a:lnTo>
                        <a:pt x="183" y="1058"/>
                      </a:lnTo>
                      <a:lnTo>
                        <a:pt x="183" y="1057"/>
                      </a:lnTo>
                      <a:lnTo>
                        <a:pt x="183" y="1057"/>
                      </a:lnTo>
                      <a:lnTo>
                        <a:pt x="182" y="1056"/>
                      </a:lnTo>
                      <a:lnTo>
                        <a:pt x="183" y="1056"/>
                      </a:lnTo>
                      <a:lnTo>
                        <a:pt x="183" y="1056"/>
                      </a:lnTo>
                      <a:lnTo>
                        <a:pt x="184" y="1055"/>
                      </a:lnTo>
                      <a:lnTo>
                        <a:pt x="185" y="1055"/>
                      </a:lnTo>
                      <a:lnTo>
                        <a:pt x="185" y="1055"/>
                      </a:lnTo>
                      <a:lnTo>
                        <a:pt x="186" y="1055"/>
                      </a:lnTo>
                      <a:lnTo>
                        <a:pt x="186" y="1055"/>
                      </a:lnTo>
                      <a:lnTo>
                        <a:pt x="187" y="1054"/>
                      </a:lnTo>
                      <a:lnTo>
                        <a:pt x="187" y="1054"/>
                      </a:lnTo>
                      <a:lnTo>
                        <a:pt x="188" y="1054"/>
                      </a:lnTo>
                      <a:lnTo>
                        <a:pt x="188" y="1054"/>
                      </a:lnTo>
                      <a:lnTo>
                        <a:pt x="189" y="1054"/>
                      </a:lnTo>
                      <a:lnTo>
                        <a:pt x="190" y="1054"/>
                      </a:lnTo>
                      <a:lnTo>
                        <a:pt x="190" y="1055"/>
                      </a:lnTo>
                      <a:lnTo>
                        <a:pt x="190" y="1055"/>
                      </a:lnTo>
                      <a:lnTo>
                        <a:pt x="191" y="1054"/>
                      </a:lnTo>
                      <a:lnTo>
                        <a:pt x="191" y="1054"/>
                      </a:lnTo>
                      <a:lnTo>
                        <a:pt x="191" y="1054"/>
                      </a:lnTo>
                      <a:lnTo>
                        <a:pt x="192" y="1054"/>
                      </a:lnTo>
                      <a:lnTo>
                        <a:pt x="191" y="1055"/>
                      </a:lnTo>
                      <a:lnTo>
                        <a:pt x="192" y="1055"/>
                      </a:lnTo>
                      <a:lnTo>
                        <a:pt x="193" y="1055"/>
                      </a:lnTo>
                      <a:lnTo>
                        <a:pt x="193" y="1055"/>
                      </a:lnTo>
                      <a:lnTo>
                        <a:pt x="193" y="1054"/>
                      </a:lnTo>
                      <a:lnTo>
                        <a:pt x="193" y="1053"/>
                      </a:lnTo>
                      <a:lnTo>
                        <a:pt x="193" y="1053"/>
                      </a:lnTo>
                      <a:lnTo>
                        <a:pt x="193" y="1053"/>
                      </a:lnTo>
                      <a:lnTo>
                        <a:pt x="193" y="1052"/>
                      </a:lnTo>
                      <a:lnTo>
                        <a:pt x="195" y="1052"/>
                      </a:lnTo>
                      <a:lnTo>
                        <a:pt x="196" y="1052"/>
                      </a:lnTo>
                      <a:lnTo>
                        <a:pt x="196" y="1052"/>
                      </a:lnTo>
                      <a:lnTo>
                        <a:pt x="196" y="1052"/>
                      </a:lnTo>
                      <a:lnTo>
                        <a:pt x="196" y="1052"/>
                      </a:lnTo>
                      <a:lnTo>
                        <a:pt x="196" y="1052"/>
                      </a:lnTo>
                      <a:lnTo>
                        <a:pt x="196" y="1051"/>
                      </a:lnTo>
                      <a:lnTo>
                        <a:pt x="196" y="1051"/>
                      </a:lnTo>
                      <a:lnTo>
                        <a:pt x="195" y="1050"/>
                      </a:lnTo>
                      <a:lnTo>
                        <a:pt x="196" y="1050"/>
                      </a:lnTo>
                      <a:lnTo>
                        <a:pt x="196" y="1050"/>
                      </a:lnTo>
                      <a:lnTo>
                        <a:pt x="196" y="1049"/>
                      </a:lnTo>
                      <a:lnTo>
                        <a:pt x="197" y="1050"/>
                      </a:lnTo>
                      <a:lnTo>
                        <a:pt x="198" y="1049"/>
                      </a:lnTo>
                      <a:lnTo>
                        <a:pt x="198" y="1048"/>
                      </a:lnTo>
                      <a:lnTo>
                        <a:pt x="199" y="1047"/>
                      </a:lnTo>
                      <a:lnTo>
                        <a:pt x="199" y="1046"/>
                      </a:lnTo>
                      <a:lnTo>
                        <a:pt x="201" y="1046"/>
                      </a:lnTo>
                      <a:lnTo>
                        <a:pt x="201" y="1045"/>
                      </a:lnTo>
                      <a:lnTo>
                        <a:pt x="202" y="1045"/>
                      </a:lnTo>
                      <a:lnTo>
                        <a:pt x="202" y="1044"/>
                      </a:lnTo>
                      <a:lnTo>
                        <a:pt x="202" y="1044"/>
                      </a:lnTo>
                      <a:lnTo>
                        <a:pt x="202" y="1044"/>
                      </a:lnTo>
                      <a:lnTo>
                        <a:pt x="203" y="1043"/>
                      </a:lnTo>
                      <a:lnTo>
                        <a:pt x="203" y="1043"/>
                      </a:lnTo>
                      <a:lnTo>
                        <a:pt x="203" y="1043"/>
                      </a:lnTo>
                      <a:lnTo>
                        <a:pt x="203" y="1043"/>
                      </a:lnTo>
                      <a:lnTo>
                        <a:pt x="204" y="1043"/>
                      </a:lnTo>
                      <a:lnTo>
                        <a:pt x="204" y="1043"/>
                      </a:lnTo>
                      <a:lnTo>
                        <a:pt x="204" y="1043"/>
                      </a:lnTo>
                      <a:lnTo>
                        <a:pt x="205" y="1043"/>
                      </a:lnTo>
                      <a:lnTo>
                        <a:pt x="205" y="1045"/>
                      </a:lnTo>
                      <a:lnTo>
                        <a:pt x="205" y="1045"/>
                      </a:lnTo>
                      <a:lnTo>
                        <a:pt x="206" y="1045"/>
                      </a:lnTo>
                      <a:lnTo>
                        <a:pt x="206" y="1045"/>
                      </a:lnTo>
                      <a:lnTo>
                        <a:pt x="207" y="1045"/>
                      </a:lnTo>
                      <a:lnTo>
                        <a:pt x="207" y="1044"/>
                      </a:lnTo>
                      <a:lnTo>
                        <a:pt x="206" y="1044"/>
                      </a:lnTo>
                      <a:lnTo>
                        <a:pt x="207" y="1043"/>
                      </a:lnTo>
                      <a:lnTo>
                        <a:pt x="209" y="1042"/>
                      </a:lnTo>
                      <a:lnTo>
                        <a:pt x="209" y="1041"/>
                      </a:lnTo>
                      <a:lnTo>
                        <a:pt x="210" y="1041"/>
                      </a:lnTo>
                      <a:lnTo>
                        <a:pt x="209" y="1040"/>
                      </a:lnTo>
                      <a:lnTo>
                        <a:pt x="210" y="1040"/>
                      </a:lnTo>
                      <a:lnTo>
                        <a:pt x="210" y="1039"/>
                      </a:lnTo>
                      <a:lnTo>
                        <a:pt x="210" y="1039"/>
                      </a:lnTo>
                      <a:lnTo>
                        <a:pt x="212" y="1038"/>
                      </a:lnTo>
                      <a:lnTo>
                        <a:pt x="212" y="1037"/>
                      </a:lnTo>
                      <a:lnTo>
                        <a:pt x="213" y="1038"/>
                      </a:lnTo>
                      <a:lnTo>
                        <a:pt x="214" y="1037"/>
                      </a:lnTo>
                      <a:lnTo>
                        <a:pt x="214" y="1037"/>
                      </a:lnTo>
                      <a:lnTo>
                        <a:pt x="214" y="1037"/>
                      </a:lnTo>
                      <a:lnTo>
                        <a:pt x="215" y="1037"/>
                      </a:lnTo>
                      <a:lnTo>
                        <a:pt x="215" y="1037"/>
                      </a:lnTo>
                      <a:lnTo>
                        <a:pt x="215" y="1035"/>
                      </a:lnTo>
                      <a:lnTo>
                        <a:pt x="216" y="1035"/>
                      </a:lnTo>
                      <a:lnTo>
                        <a:pt x="216" y="1037"/>
                      </a:lnTo>
                      <a:lnTo>
                        <a:pt x="217" y="1038"/>
                      </a:lnTo>
                      <a:lnTo>
                        <a:pt x="217" y="1039"/>
                      </a:lnTo>
                      <a:lnTo>
                        <a:pt x="217" y="1040"/>
                      </a:lnTo>
                      <a:lnTo>
                        <a:pt x="218" y="1040"/>
                      </a:lnTo>
                      <a:lnTo>
                        <a:pt x="218" y="1039"/>
                      </a:lnTo>
                      <a:lnTo>
                        <a:pt x="219" y="1038"/>
                      </a:lnTo>
                      <a:lnTo>
                        <a:pt x="219" y="1038"/>
                      </a:lnTo>
                      <a:lnTo>
                        <a:pt x="220" y="1038"/>
                      </a:lnTo>
                      <a:lnTo>
                        <a:pt x="220" y="1038"/>
                      </a:lnTo>
                      <a:lnTo>
                        <a:pt x="221" y="1038"/>
                      </a:lnTo>
                      <a:lnTo>
                        <a:pt x="221" y="1039"/>
                      </a:lnTo>
                      <a:lnTo>
                        <a:pt x="222" y="1039"/>
                      </a:lnTo>
                      <a:lnTo>
                        <a:pt x="222" y="1038"/>
                      </a:lnTo>
                      <a:lnTo>
                        <a:pt x="222" y="1038"/>
                      </a:lnTo>
                      <a:lnTo>
                        <a:pt x="221" y="1037"/>
                      </a:lnTo>
                      <a:lnTo>
                        <a:pt x="221" y="1037"/>
                      </a:lnTo>
                      <a:lnTo>
                        <a:pt x="223" y="1037"/>
                      </a:lnTo>
                      <a:lnTo>
                        <a:pt x="224" y="1037"/>
                      </a:lnTo>
                      <a:lnTo>
                        <a:pt x="224" y="1037"/>
                      </a:lnTo>
                      <a:lnTo>
                        <a:pt x="225" y="1035"/>
                      </a:lnTo>
                      <a:lnTo>
                        <a:pt x="226" y="1034"/>
                      </a:lnTo>
                      <a:lnTo>
                        <a:pt x="226" y="1034"/>
                      </a:lnTo>
                      <a:lnTo>
                        <a:pt x="228" y="1033"/>
                      </a:lnTo>
                      <a:lnTo>
                        <a:pt x="228" y="1032"/>
                      </a:lnTo>
                      <a:lnTo>
                        <a:pt x="228" y="1033"/>
                      </a:lnTo>
                      <a:lnTo>
                        <a:pt x="229" y="1033"/>
                      </a:lnTo>
                      <a:lnTo>
                        <a:pt x="229" y="1032"/>
                      </a:lnTo>
                      <a:lnTo>
                        <a:pt x="229" y="1032"/>
                      </a:lnTo>
                      <a:lnTo>
                        <a:pt x="229" y="1031"/>
                      </a:lnTo>
                      <a:lnTo>
                        <a:pt x="230" y="1031"/>
                      </a:lnTo>
                      <a:lnTo>
                        <a:pt x="233" y="1031"/>
                      </a:lnTo>
                      <a:lnTo>
                        <a:pt x="234" y="1031"/>
                      </a:lnTo>
                      <a:lnTo>
                        <a:pt x="234" y="1030"/>
                      </a:lnTo>
                      <a:lnTo>
                        <a:pt x="235" y="1030"/>
                      </a:lnTo>
                      <a:lnTo>
                        <a:pt x="236" y="1031"/>
                      </a:lnTo>
                      <a:lnTo>
                        <a:pt x="236" y="1031"/>
                      </a:lnTo>
                      <a:lnTo>
                        <a:pt x="236" y="1030"/>
                      </a:lnTo>
                      <a:lnTo>
                        <a:pt x="236" y="1029"/>
                      </a:lnTo>
                      <a:lnTo>
                        <a:pt x="236" y="1028"/>
                      </a:lnTo>
                      <a:lnTo>
                        <a:pt x="237" y="1027"/>
                      </a:lnTo>
                      <a:lnTo>
                        <a:pt x="237" y="1027"/>
                      </a:lnTo>
                      <a:lnTo>
                        <a:pt x="238" y="1027"/>
                      </a:lnTo>
                      <a:lnTo>
                        <a:pt x="238" y="1025"/>
                      </a:lnTo>
                      <a:lnTo>
                        <a:pt x="238" y="1025"/>
                      </a:lnTo>
                      <a:lnTo>
                        <a:pt x="239" y="1025"/>
                      </a:lnTo>
                      <a:lnTo>
                        <a:pt x="239" y="1023"/>
                      </a:lnTo>
                      <a:lnTo>
                        <a:pt x="240" y="1023"/>
                      </a:lnTo>
                      <a:lnTo>
                        <a:pt x="240" y="1023"/>
                      </a:lnTo>
                      <a:lnTo>
                        <a:pt x="240" y="1022"/>
                      </a:lnTo>
                      <a:lnTo>
                        <a:pt x="241" y="1021"/>
                      </a:lnTo>
                      <a:lnTo>
                        <a:pt x="241" y="1021"/>
                      </a:lnTo>
                      <a:lnTo>
                        <a:pt x="241" y="1020"/>
                      </a:lnTo>
                      <a:lnTo>
                        <a:pt x="241" y="1019"/>
                      </a:lnTo>
                      <a:lnTo>
                        <a:pt x="242" y="1019"/>
                      </a:lnTo>
                      <a:lnTo>
                        <a:pt x="242" y="1018"/>
                      </a:lnTo>
                      <a:lnTo>
                        <a:pt x="244" y="1018"/>
                      </a:lnTo>
                      <a:lnTo>
                        <a:pt x="244" y="1018"/>
                      </a:lnTo>
                      <a:lnTo>
                        <a:pt x="246" y="1018"/>
                      </a:lnTo>
                      <a:lnTo>
                        <a:pt x="247" y="1017"/>
                      </a:lnTo>
                      <a:lnTo>
                        <a:pt x="247" y="1016"/>
                      </a:lnTo>
                      <a:lnTo>
                        <a:pt x="249" y="1016"/>
                      </a:lnTo>
                      <a:lnTo>
                        <a:pt x="249" y="1014"/>
                      </a:lnTo>
                      <a:lnTo>
                        <a:pt x="249" y="1014"/>
                      </a:lnTo>
                      <a:lnTo>
                        <a:pt x="250" y="1013"/>
                      </a:lnTo>
                      <a:lnTo>
                        <a:pt x="252" y="1013"/>
                      </a:lnTo>
                      <a:lnTo>
                        <a:pt x="252" y="1012"/>
                      </a:lnTo>
                      <a:lnTo>
                        <a:pt x="254" y="1011"/>
                      </a:lnTo>
                      <a:lnTo>
                        <a:pt x="254" y="1011"/>
                      </a:lnTo>
                      <a:lnTo>
                        <a:pt x="255" y="1010"/>
                      </a:lnTo>
                      <a:lnTo>
                        <a:pt x="256" y="1010"/>
                      </a:lnTo>
                      <a:lnTo>
                        <a:pt x="256" y="1010"/>
                      </a:lnTo>
                      <a:lnTo>
                        <a:pt x="256" y="1009"/>
                      </a:lnTo>
                      <a:lnTo>
                        <a:pt x="256" y="1009"/>
                      </a:lnTo>
                      <a:lnTo>
                        <a:pt x="257" y="1008"/>
                      </a:lnTo>
                      <a:lnTo>
                        <a:pt x="257" y="1008"/>
                      </a:lnTo>
                      <a:lnTo>
                        <a:pt x="258" y="1007"/>
                      </a:lnTo>
                      <a:lnTo>
                        <a:pt x="258" y="1007"/>
                      </a:lnTo>
                      <a:lnTo>
                        <a:pt x="258" y="1007"/>
                      </a:lnTo>
                      <a:lnTo>
                        <a:pt x="258" y="1006"/>
                      </a:lnTo>
                      <a:lnTo>
                        <a:pt x="258" y="1006"/>
                      </a:lnTo>
                      <a:lnTo>
                        <a:pt x="258" y="1006"/>
                      </a:lnTo>
                      <a:lnTo>
                        <a:pt x="259" y="1005"/>
                      </a:lnTo>
                      <a:lnTo>
                        <a:pt x="259" y="1005"/>
                      </a:lnTo>
                      <a:lnTo>
                        <a:pt x="259" y="1005"/>
                      </a:lnTo>
                      <a:lnTo>
                        <a:pt x="260" y="1004"/>
                      </a:lnTo>
                      <a:lnTo>
                        <a:pt x="260" y="1004"/>
                      </a:lnTo>
                      <a:lnTo>
                        <a:pt x="260" y="1004"/>
                      </a:lnTo>
                      <a:lnTo>
                        <a:pt x="261" y="1003"/>
                      </a:lnTo>
                      <a:lnTo>
                        <a:pt x="262" y="1003"/>
                      </a:lnTo>
                      <a:lnTo>
                        <a:pt x="264" y="1001"/>
                      </a:lnTo>
                      <a:lnTo>
                        <a:pt x="265" y="1000"/>
                      </a:lnTo>
                      <a:lnTo>
                        <a:pt x="268" y="997"/>
                      </a:lnTo>
                      <a:lnTo>
                        <a:pt x="270" y="997"/>
                      </a:lnTo>
                      <a:lnTo>
                        <a:pt x="270" y="997"/>
                      </a:lnTo>
                      <a:lnTo>
                        <a:pt x="271" y="997"/>
                      </a:lnTo>
                      <a:lnTo>
                        <a:pt x="271" y="996"/>
                      </a:lnTo>
                      <a:lnTo>
                        <a:pt x="272" y="996"/>
                      </a:lnTo>
                      <a:lnTo>
                        <a:pt x="272" y="996"/>
                      </a:lnTo>
                      <a:lnTo>
                        <a:pt x="273" y="995"/>
                      </a:lnTo>
                      <a:lnTo>
                        <a:pt x="274" y="994"/>
                      </a:lnTo>
                      <a:lnTo>
                        <a:pt x="275" y="994"/>
                      </a:lnTo>
                      <a:lnTo>
                        <a:pt x="275" y="994"/>
                      </a:lnTo>
                      <a:lnTo>
                        <a:pt x="275" y="993"/>
                      </a:lnTo>
                      <a:lnTo>
                        <a:pt x="276" y="993"/>
                      </a:lnTo>
                      <a:lnTo>
                        <a:pt x="277" y="993"/>
                      </a:lnTo>
                      <a:lnTo>
                        <a:pt x="278" y="991"/>
                      </a:lnTo>
                      <a:lnTo>
                        <a:pt x="279" y="990"/>
                      </a:lnTo>
                      <a:lnTo>
                        <a:pt x="279" y="989"/>
                      </a:lnTo>
                      <a:lnTo>
                        <a:pt x="280" y="989"/>
                      </a:lnTo>
                      <a:lnTo>
                        <a:pt x="280" y="987"/>
                      </a:lnTo>
                      <a:lnTo>
                        <a:pt x="281" y="986"/>
                      </a:lnTo>
                      <a:lnTo>
                        <a:pt x="281" y="986"/>
                      </a:lnTo>
                      <a:lnTo>
                        <a:pt x="281" y="986"/>
                      </a:lnTo>
                      <a:lnTo>
                        <a:pt x="281" y="985"/>
                      </a:lnTo>
                      <a:lnTo>
                        <a:pt x="286" y="986"/>
                      </a:lnTo>
                      <a:lnTo>
                        <a:pt x="287" y="986"/>
                      </a:lnTo>
                      <a:lnTo>
                        <a:pt x="287" y="985"/>
                      </a:lnTo>
                      <a:lnTo>
                        <a:pt x="287" y="985"/>
                      </a:lnTo>
                      <a:lnTo>
                        <a:pt x="287" y="985"/>
                      </a:lnTo>
                      <a:lnTo>
                        <a:pt x="289" y="985"/>
                      </a:lnTo>
                      <a:lnTo>
                        <a:pt x="289" y="984"/>
                      </a:lnTo>
                      <a:lnTo>
                        <a:pt x="290" y="983"/>
                      </a:lnTo>
                      <a:lnTo>
                        <a:pt x="290" y="983"/>
                      </a:lnTo>
                      <a:lnTo>
                        <a:pt x="291" y="981"/>
                      </a:lnTo>
                      <a:lnTo>
                        <a:pt x="292" y="981"/>
                      </a:lnTo>
                      <a:lnTo>
                        <a:pt x="292" y="980"/>
                      </a:lnTo>
                      <a:lnTo>
                        <a:pt x="293" y="980"/>
                      </a:lnTo>
                      <a:lnTo>
                        <a:pt x="294" y="979"/>
                      </a:lnTo>
                      <a:lnTo>
                        <a:pt x="294" y="979"/>
                      </a:lnTo>
                      <a:lnTo>
                        <a:pt x="295" y="979"/>
                      </a:lnTo>
                      <a:lnTo>
                        <a:pt x="295" y="978"/>
                      </a:lnTo>
                      <a:lnTo>
                        <a:pt x="294" y="977"/>
                      </a:lnTo>
                      <a:lnTo>
                        <a:pt x="294" y="976"/>
                      </a:lnTo>
                      <a:lnTo>
                        <a:pt x="293" y="976"/>
                      </a:lnTo>
                      <a:lnTo>
                        <a:pt x="293" y="976"/>
                      </a:lnTo>
                      <a:lnTo>
                        <a:pt x="294" y="976"/>
                      </a:lnTo>
                      <a:lnTo>
                        <a:pt x="295" y="975"/>
                      </a:lnTo>
                      <a:lnTo>
                        <a:pt x="294" y="974"/>
                      </a:lnTo>
                      <a:lnTo>
                        <a:pt x="292" y="975"/>
                      </a:lnTo>
                      <a:lnTo>
                        <a:pt x="292" y="974"/>
                      </a:lnTo>
                      <a:lnTo>
                        <a:pt x="292" y="973"/>
                      </a:lnTo>
                      <a:lnTo>
                        <a:pt x="293" y="973"/>
                      </a:lnTo>
                      <a:lnTo>
                        <a:pt x="293" y="973"/>
                      </a:lnTo>
                      <a:lnTo>
                        <a:pt x="294" y="973"/>
                      </a:lnTo>
                      <a:lnTo>
                        <a:pt x="294" y="972"/>
                      </a:lnTo>
                      <a:lnTo>
                        <a:pt x="294" y="972"/>
                      </a:lnTo>
                      <a:lnTo>
                        <a:pt x="294" y="972"/>
                      </a:lnTo>
                      <a:lnTo>
                        <a:pt x="295" y="972"/>
                      </a:lnTo>
                      <a:lnTo>
                        <a:pt x="295" y="972"/>
                      </a:lnTo>
                      <a:lnTo>
                        <a:pt x="297" y="971"/>
                      </a:lnTo>
                      <a:lnTo>
                        <a:pt x="297" y="971"/>
                      </a:lnTo>
                      <a:lnTo>
                        <a:pt x="297" y="970"/>
                      </a:lnTo>
                      <a:lnTo>
                        <a:pt x="297" y="970"/>
                      </a:lnTo>
                      <a:lnTo>
                        <a:pt x="297" y="970"/>
                      </a:lnTo>
                      <a:lnTo>
                        <a:pt x="297" y="970"/>
                      </a:lnTo>
                      <a:lnTo>
                        <a:pt x="297" y="970"/>
                      </a:lnTo>
                      <a:close/>
                      <a:moveTo>
                        <a:pt x="587" y="2050"/>
                      </a:moveTo>
                      <a:lnTo>
                        <a:pt x="588" y="2050"/>
                      </a:lnTo>
                      <a:lnTo>
                        <a:pt x="589" y="2050"/>
                      </a:lnTo>
                      <a:lnTo>
                        <a:pt x="589" y="2049"/>
                      </a:lnTo>
                      <a:lnTo>
                        <a:pt x="589" y="2048"/>
                      </a:lnTo>
                      <a:lnTo>
                        <a:pt x="590" y="2046"/>
                      </a:lnTo>
                      <a:lnTo>
                        <a:pt x="590" y="2045"/>
                      </a:lnTo>
                      <a:lnTo>
                        <a:pt x="588" y="2042"/>
                      </a:lnTo>
                      <a:lnTo>
                        <a:pt x="588" y="2042"/>
                      </a:lnTo>
                      <a:lnTo>
                        <a:pt x="589" y="2041"/>
                      </a:lnTo>
                      <a:lnTo>
                        <a:pt x="589" y="2040"/>
                      </a:lnTo>
                      <a:lnTo>
                        <a:pt x="589" y="2041"/>
                      </a:lnTo>
                      <a:lnTo>
                        <a:pt x="589" y="2041"/>
                      </a:lnTo>
                      <a:lnTo>
                        <a:pt x="589" y="2042"/>
                      </a:lnTo>
                      <a:lnTo>
                        <a:pt x="589" y="2042"/>
                      </a:lnTo>
                      <a:lnTo>
                        <a:pt x="590" y="2043"/>
                      </a:lnTo>
                      <a:lnTo>
                        <a:pt x="590" y="2043"/>
                      </a:lnTo>
                      <a:lnTo>
                        <a:pt x="591" y="2043"/>
                      </a:lnTo>
                      <a:lnTo>
                        <a:pt x="590" y="2044"/>
                      </a:lnTo>
                      <a:lnTo>
                        <a:pt x="591" y="2044"/>
                      </a:lnTo>
                      <a:lnTo>
                        <a:pt x="591" y="2044"/>
                      </a:lnTo>
                      <a:lnTo>
                        <a:pt x="591" y="2044"/>
                      </a:lnTo>
                      <a:lnTo>
                        <a:pt x="592" y="2044"/>
                      </a:lnTo>
                      <a:lnTo>
                        <a:pt x="591" y="2043"/>
                      </a:lnTo>
                      <a:lnTo>
                        <a:pt x="592" y="2043"/>
                      </a:lnTo>
                      <a:lnTo>
                        <a:pt x="592" y="2043"/>
                      </a:lnTo>
                      <a:lnTo>
                        <a:pt x="593" y="2043"/>
                      </a:lnTo>
                      <a:lnTo>
                        <a:pt x="593" y="2042"/>
                      </a:lnTo>
                      <a:lnTo>
                        <a:pt x="592" y="2042"/>
                      </a:lnTo>
                      <a:lnTo>
                        <a:pt x="592" y="2041"/>
                      </a:lnTo>
                      <a:lnTo>
                        <a:pt x="592" y="2041"/>
                      </a:lnTo>
                      <a:lnTo>
                        <a:pt x="593" y="2039"/>
                      </a:lnTo>
                      <a:lnTo>
                        <a:pt x="593" y="2038"/>
                      </a:lnTo>
                      <a:lnTo>
                        <a:pt x="592" y="2038"/>
                      </a:lnTo>
                      <a:lnTo>
                        <a:pt x="592" y="2037"/>
                      </a:lnTo>
                      <a:lnTo>
                        <a:pt x="593" y="2036"/>
                      </a:lnTo>
                      <a:lnTo>
                        <a:pt x="593" y="2036"/>
                      </a:lnTo>
                      <a:lnTo>
                        <a:pt x="593" y="2035"/>
                      </a:lnTo>
                      <a:lnTo>
                        <a:pt x="593" y="2035"/>
                      </a:lnTo>
                      <a:lnTo>
                        <a:pt x="592" y="2035"/>
                      </a:lnTo>
                      <a:lnTo>
                        <a:pt x="592" y="2034"/>
                      </a:lnTo>
                      <a:lnTo>
                        <a:pt x="592" y="2033"/>
                      </a:lnTo>
                      <a:lnTo>
                        <a:pt x="593" y="2032"/>
                      </a:lnTo>
                      <a:lnTo>
                        <a:pt x="592" y="2031"/>
                      </a:lnTo>
                      <a:lnTo>
                        <a:pt x="592" y="2031"/>
                      </a:lnTo>
                      <a:lnTo>
                        <a:pt x="591" y="2029"/>
                      </a:lnTo>
                      <a:lnTo>
                        <a:pt x="591" y="2029"/>
                      </a:lnTo>
                      <a:lnTo>
                        <a:pt x="591" y="2028"/>
                      </a:lnTo>
                      <a:lnTo>
                        <a:pt x="590" y="2028"/>
                      </a:lnTo>
                      <a:lnTo>
                        <a:pt x="590" y="2027"/>
                      </a:lnTo>
                      <a:lnTo>
                        <a:pt x="590" y="2026"/>
                      </a:lnTo>
                      <a:lnTo>
                        <a:pt x="590" y="2025"/>
                      </a:lnTo>
                      <a:lnTo>
                        <a:pt x="590" y="2025"/>
                      </a:lnTo>
                      <a:lnTo>
                        <a:pt x="590" y="2024"/>
                      </a:lnTo>
                      <a:lnTo>
                        <a:pt x="590" y="2024"/>
                      </a:lnTo>
                      <a:lnTo>
                        <a:pt x="589" y="2024"/>
                      </a:lnTo>
                      <a:lnTo>
                        <a:pt x="589" y="2023"/>
                      </a:lnTo>
                      <a:lnTo>
                        <a:pt x="588" y="2020"/>
                      </a:lnTo>
                      <a:lnTo>
                        <a:pt x="587" y="2020"/>
                      </a:lnTo>
                      <a:lnTo>
                        <a:pt x="587" y="2018"/>
                      </a:lnTo>
                      <a:lnTo>
                        <a:pt x="586" y="2017"/>
                      </a:lnTo>
                      <a:lnTo>
                        <a:pt x="587" y="2017"/>
                      </a:lnTo>
                      <a:lnTo>
                        <a:pt x="586" y="2015"/>
                      </a:lnTo>
                      <a:lnTo>
                        <a:pt x="586" y="2011"/>
                      </a:lnTo>
                      <a:lnTo>
                        <a:pt x="586" y="2009"/>
                      </a:lnTo>
                      <a:lnTo>
                        <a:pt x="586" y="2008"/>
                      </a:lnTo>
                      <a:lnTo>
                        <a:pt x="586" y="2006"/>
                      </a:lnTo>
                      <a:lnTo>
                        <a:pt x="586" y="2003"/>
                      </a:lnTo>
                      <a:lnTo>
                        <a:pt x="586" y="1998"/>
                      </a:lnTo>
                      <a:lnTo>
                        <a:pt x="586" y="1997"/>
                      </a:lnTo>
                      <a:lnTo>
                        <a:pt x="586" y="1994"/>
                      </a:lnTo>
                      <a:lnTo>
                        <a:pt x="586" y="1993"/>
                      </a:lnTo>
                      <a:lnTo>
                        <a:pt x="585" y="1992"/>
                      </a:lnTo>
                      <a:lnTo>
                        <a:pt x="583" y="1990"/>
                      </a:lnTo>
                      <a:lnTo>
                        <a:pt x="583" y="1990"/>
                      </a:lnTo>
                      <a:lnTo>
                        <a:pt x="585" y="1988"/>
                      </a:lnTo>
                      <a:lnTo>
                        <a:pt x="583" y="1988"/>
                      </a:lnTo>
                      <a:lnTo>
                        <a:pt x="585" y="1987"/>
                      </a:lnTo>
                      <a:lnTo>
                        <a:pt x="585" y="1988"/>
                      </a:lnTo>
                      <a:lnTo>
                        <a:pt x="585" y="1988"/>
                      </a:lnTo>
                      <a:lnTo>
                        <a:pt x="587" y="1986"/>
                      </a:lnTo>
                      <a:lnTo>
                        <a:pt x="587" y="1986"/>
                      </a:lnTo>
                      <a:lnTo>
                        <a:pt x="588" y="1985"/>
                      </a:lnTo>
                      <a:lnTo>
                        <a:pt x="588" y="1983"/>
                      </a:lnTo>
                      <a:lnTo>
                        <a:pt x="589" y="1982"/>
                      </a:lnTo>
                      <a:lnTo>
                        <a:pt x="588" y="1982"/>
                      </a:lnTo>
                      <a:lnTo>
                        <a:pt x="588" y="1981"/>
                      </a:lnTo>
                      <a:lnTo>
                        <a:pt x="587" y="1980"/>
                      </a:lnTo>
                      <a:lnTo>
                        <a:pt x="588" y="1978"/>
                      </a:lnTo>
                      <a:lnTo>
                        <a:pt x="589" y="1978"/>
                      </a:lnTo>
                      <a:lnTo>
                        <a:pt x="589" y="1975"/>
                      </a:lnTo>
                      <a:lnTo>
                        <a:pt x="589" y="1974"/>
                      </a:lnTo>
                      <a:lnTo>
                        <a:pt x="588" y="1974"/>
                      </a:lnTo>
                      <a:lnTo>
                        <a:pt x="588" y="1974"/>
                      </a:lnTo>
                      <a:lnTo>
                        <a:pt x="588" y="1972"/>
                      </a:lnTo>
                      <a:lnTo>
                        <a:pt x="588" y="1970"/>
                      </a:lnTo>
                      <a:lnTo>
                        <a:pt x="591" y="1969"/>
                      </a:lnTo>
                      <a:lnTo>
                        <a:pt x="591" y="1968"/>
                      </a:lnTo>
                      <a:lnTo>
                        <a:pt x="593" y="1967"/>
                      </a:lnTo>
                      <a:lnTo>
                        <a:pt x="593" y="1967"/>
                      </a:lnTo>
                      <a:lnTo>
                        <a:pt x="594" y="1967"/>
                      </a:lnTo>
                      <a:lnTo>
                        <a:pt x="598" y="1965"/>
                      </a:lnTo>
                      <a:lnTo>
                        <a:pt x="599" y="1964"/>
                      </a:lnTo>
                      <a:lnTo>
                        <a:pt x="600" y="1963"/>
                      </a:lnTo>
                      <a:lnTo>
                        <a:pt x="601" y="1962"/>
                      </a:lnTo>
                      <a:lnTo>
                        <a:pt x="602" y="1963"/>
                      </a:lnTo>
                      <a:lnTo>
                        <a:pt x="602" y="1964"/>
                      </a:lnTo>
                      <a:lnTo>
                        <a:pt x="604" y="1965"/>
                      </a:lnTo>
                      <a:lnTo>
                        <a:pt x="604" y="1963"/>
                      </a:lnTo>
                      <a:lnTo>
                        <a:pt x="606" y="1963"/>
                      </a:lnTo>
                      <a:lnTo>
                        <a:pt x="606" y="1962"/>
                      </a:lnTo>
                      <a:lnTo>
                        <a:pt x="609" y="1963"/>
                      </a:lnTo>
                      <a:lnTo>
                        <a:pt x="611" y="1964"/>
                      </a:lnTo>
                      <a:lnTo>
                        <a:pt x="612" y="1965"/>
                      </a:lnTo>
                      <a:lnTo>
                        <a:pt x="614" y="1967"/>
                      </a:lnTo>
                      <a:lnTo>
                        <a:pt x="615" y="1968"/>
                      </a:lnTo>
                      <a:lnTo>
                        <a:pt x="617" y="1969"/>
                      </a:lnTo>
                      <a:lnTo>
                        <a:pt x="617" y="1969"/>
                      </a:lnTo>
                      <a:lnTo>
                        <a:pt x="618" y="1969"/>
                      </a:lnTo>
                      <a:lnTo>
                        <a:pt x="618" y="1969"/>
                      </a:lnTo>
                      <a:lnTo>
                        <a:pt x="618" y="1968"/>
                      </a:lnTo>
                      <a:lnTo>
                        <a:pt x="620" y="1968"/>
                      </a:lnTo>
                      <a:lnTo>
                        <a:pt x="623" y="1969"/>
                      </a:lnTo>
                      <a:lnTo>
                        <a:pt x="623" y="1970"/>
                      </a:lnTo>
                      <a:lnTo>
                        <a:pt x="621" y="1970"/>
                      </a:lnTo>
                      <a:lnTo>
                        <a:pt x="621" y="1969"/>
                      </a:lnTo>
                      <a:lnTo>
                        <a:pt x="620" y="1969"/>
                      </a:lnTo>
                      <a:lnTo>
                        <a:pt x="620" y="1970"/>
                      </a:lnTo>
                      <a:lnTo>
                        <a:pt x="621" y="1970"/>
                      </a:lnTo>
                      <a:lnTo>
                        <a:pt x="621" y="1970"/>
                      </a:lnTo>
                      <a:lnTo>
                        <a:pt x="623" y="1970"/>
                      </a:lnTo>
                      <a:lnTo>
                        <a:pt x="628" y="1972"/>
                      </a:lnTo>
                      <a:lnTo>
                        <a:pt x="629" y="1972"/>
                      </a:lnTo>
                      <a:lnTo>
                        <a:pt x="629" y="1972"/>
                      </a:lnTo>
                      <a:lnTo>
                        <a:pt x="630" y="1972"/>
                      </a:lnTo>
                      <a:lnTo>
                        <a:pt x="632" y="1973"/>
                      </a:lnTo>
                      <a:lnTo>
                        <a:pt x="635" y="1973"/>
                      </a:lnTo>
                      <a:lnTo>
                        <a:pt x="636" y="1973"/>
                      </a:lnTo>
                      <a:lnTo>
                        <a:pt x="637" y="1974"/>
                      </a:lnTo>
                      <a:lnTo>
                        <a:pt x="638" y="1974"/>
                      </a:lnTo>
                      <a:lnTo>
                        <a:pt x="639" y="1974"/>
                      </a:lnTo>
                      <a:lnTo>
                        <a:pt x="641" y="1974"/>
                      </a:lnTo>
                      <a:lnTo>
                        <a:pt x="641" y="1973"/>
                      </a:lnTo>
                      <a:lnTo>
                        <a:pt x="642" y="1973"/>
                      </a:lnTo>
                      <a:lnTo>
                        <a:pt x="642" y="1974"/>
                      </a:lnTo>
                      <a:lnTo>
                        <a:pt x="644" y="1974"/>
                      </a:lnTo>
                      <a:lnTo>
                        <a:pt x="645" y="1975"/>
                      </a:lnTo>
                      <a:lnTo>
                        <a:pt x="648" y="1976"/>
                      </a:lnTo>
                      <a:lnTo>
                        <a:pt x="651" y="1977"/>
                      </a:lnTo>
                      <a:lnTo>
                        <a:pt x="653" y="1977"/>
                      </a:lnTo>
                      <a:lnTo>
                        <a:pt x="657" y="1977"/>
                      </a:lnTo>
                      <a:lnTo>
                        <a:pt x="662" y="1977"/>
                      </a:lnTo>
                      <a:lnTo>
                        <a:pt x="663" y="1977"/>
                      </a:lnTo>
                      <a:lnTo>
                        <a:pt x="665" y="1976"/>
                      </a:lnTo>
                      <a:lnTo>
                        <a:pt x="665" y="1974"/>
                      </a:lnTo>
                      <a:lnTo>
                        <a:pt x="664" y="1974"/>
                      </a:lnTo>
                      <a:lnTo>
                        <a:pt x="662" y="1973"/>
                      </a:lnTo>
                      <a:lnTo>
                        <a:pt x="660" y="1974"/>
                      </a:lnTo>
                      <a:lnTo>
                        <a:pt x="657" y="1973"/>
                      </a:lnTo>
                      <a:lnTo>
                        <a:pt x="656" y="1972"/>
                      </a:lnTo>
                      <a:lnTo>
                        <a:pt x="655" y="1973"/>
                      </a:lnTo>
                      <a:lnTo>
                        <a:pt x="654" y="1973"/>
                      </a:lnTo>
                      <a:lnTo>
                        <a:pt x="654" y="1972"/>
                      </a:lnTo>
                      <a:lnTo>
                        <a:pt x="654" y="1972"/>
                      </a:lnTo>
                      <a:lnTo>
                        <a:pt x="654" y="1971"/>
                      </a:lnTo>
                      <a:lnTo>
                        <a:pt x="654" y="1970"/>
                      </a:lnTo>
                      <a:lnTo>
                        <a:pt x="654" y="1971"/>
                      </a:lnTo>
                      <a:lnTo>
                        <a:pt x="651" y="1972"/>
                      </a:lnTo>
                      <a:lnTo>
                        <a:pt x="650" y="1972"/>
                      </a:lnTo>
                      <a:lnTo>
                        <a:pt x="649" y="1971"/>
                      </a:lnTo>
                      <a:lnTo>
                        <a:pt x="648" y="1970"/>
                      </a:lnTo>
                      <a:lnTo>
                        <a:pt x="645" y="1969"/>
                      </a:lnTo>
                      <a:lnTo>
                        <a:pt x="644" y="1969"/>
                      </a:lnTo>
                      <a:lnTo>
                        <a:pt x="642" y="1967"/>
                      </a:lnTo>
                      <a:lnTo>
                        <a:pt x="642" y="1967"/>
                      </a:lnTo>
                      <a:lnTo>
                        <a:pt x="639" y="1967"/>
                      </a:lnTo>
                      <a:lnTo>
                        <a:pt x="639" y="1966"/>
                      </a:lnTo>
                      <a:lnTo>
                        <a:pt x="637" y="1965"/>
                      </a:lnTo>
                      <a:lnTo>
                        <a:pt x="637" y="1965"/>
                      </a:lnTo>
                      <a:lnTo>
                        <a:pt x="636" y="1964"/>
                      </a:lnTo>
                      <a:lnTo>
                        <a:pt x="635" y="1964"/>
                      </a:lnTo>
                      <a:lnTo>
                        <a:pt x="634" y="1964"/>
                      </a:lnTo>
                      <a:lnTo>
                        <a:pt x="634" y="1964"/>
                      </a:lnTo>
                      <a:lnTo>
                        <a:pt x="634" y="1965"/>
                      </a:lnTo>
                      <a:lnTo>
                        <a:pt x="632" y="1964"/>
                      </a:lnTo>
                      <a:lnTo>
                        <a:pt x="632" y="1964"/>
                      </a:lnTo>
                      <a:lnTo>
                        <a:pt x="631" y="1963"/>
                      </a:lnTo>
                      <a:lnTo>
                        <a:pt x="631" y="1961"/>
                      </a:lnTo>
                      <a:lnTo>
                        <a:pt x="630" y="1960"/>
                      </a:lnTo>
                      <a:lnTo>
                        <a:pt x="629" y="1960"/>
                      </a:lnTo>
                      <a:lnTo>
                        <a:pt x="629" y="1961"/>
                      </a:lnTo>
                      <a:lnTo>
                        <a:pt x="628" y="1961"/>
                      </a:lnTo>
                      <a:lnTo>
                        <a:pt x="628" y="1961"/>
                      </a:lnTo>
                      <a:lnTo>
                        <a:pt x="626" y="1961"/>
                      </a:lnTo>
                      <a:lnTo>
                        <a:pt x="625" y="1960"/>
                      </a:lnTo>
                      <a:lnTo>
                        <a:pt x="625" y="1959"/>
                      </a:lnTo>
                      <a:lnTo>
                        <a:pt x="625" y="1958"/>
                      </a:lnTo>
                      <a:lnTo>
                        <a:pt x="626" y="1958"/>
                      </a:lnTo>
                      <a:lnTo>
                        <a:pt x="626" y="1958"/>
                      </a:lnTo>
                      <a:lnTo>
                        <a:pt x="628" y="1959"/>
                      </a:lnTo>
                      <a:lnTo>
                        <a:pt x="629" y="1958"/>
                      </a:lnTo>
                      <a:lnTo>
                        <a:pt x="629" y="1958"/>
                      </a:lnTo>
                      <a:lnTo>
                        <a:pt x="628" y="1957"/>
                      </a:lnTo>
                      <a:lnTo>
                        <a:pt x="627" y="1957"/>
                      </a:lnTo>
                      <a:lnTo>
                        <a:pt x="627" y="1956"/>
                      </a:lnTo>
                      <a:lnTo>
                        <a:pt x="627" y="1956"/>
                      </a:lnTo>
                      <a:lnTo>
                        <a:pt x="627" y="1954"/>
                      </a:lnTo>
                      <a:lnTo>
                        <a:pt x="627" y="1954"/>
                      </a:lnTo>
                      <a:lnTo>
                        <a:pt x="627" y="1953"/>
                      </a:lnTo>
                      <a:lnTo>
                        <a:pt x="626" y="1952"/>
                      </a:lnTo>
                      <a:lnTo>
                        <a:pt x="624" y="1952"/>
                      </a:lnTo>
                      <a:lnTo>
                        <a:pt x="624" y="1951"/>
                      </a:lnTo>
                      <a:lnTo>
                        <a:pt x="623" y="1951"/>
                      </a:lnTo>
                      <a:lnTo>
                        <a:pt x="621" y="1950"/>
                      </a:lnTo>
                      <a:lnTo>
                        <a:pt x="620" y="1949"/>
                      </a:lnTo>
                      <a:lnTo>
                        <a:pt x="617" y="1949"/>
                      </a:lnTo>
                      <a:lnTo>
                        <a:pt x="617" y="1948"/>
                      </a:lnTo>
                      <a:lnTo>
                        <a:pt x="614" y="1947"/>
                      </a:lnTo>
                      <a:lnTo>
                        <a:pt x="612" y="1947"/>
                      </a:lnTo>
                      <a:lnTo>
                        <a:pt x="612" y="1945"/>
                      </a:lnTo>
                      <a:lnTo>
                        <a:pt x="612" y="1944"/>
                      </a:lnTo>
                      <a:lnTo>
                        <a:pt x="610" y="1943"/>
                      </a:lnTo>
                      <a:lnTo>
                        <a:pt x="610" y="1944"/>
                      </a:lnTo>
                      <a:lnTo>
                        <a:pt x="610" y="1944"/>
                      </a:lnTo>
                      <a:lnTo>
                        <a:pt x="609" y="1943"/>
                      </a:lnTo>
                      <a:lnTo>
                        <a:pt x="609" y="1943"/>
                      </a:lnTo>
                      <a:lnTo>
                        <a:pt x="608" y="1943"/>
                      </a:lnTo>
                      <a:lnTo>
                        <a:pt x="607" y="1943"/>
                      </a:lnTo>
                      <a:lnTo>
                        <a:pt x="607" y="1943"/>
                      </a:lnTo>
                      <a:lnTo>
                        <a:pt x="607" y="1942"/>
                      </a:lnTo>
                      <a:lnTo>
                        <a:pt x="607" y="1939"/>
                      </a:lnTo>
                      <a:lnTo>
                        <a:pt x="607" y="1939"/>
                      </a:lnTo>
                      <a:lnTo>
                        <a:pt x="606" y="1938"/>
                      </a:lnTo>
                      <a:lnTo>
                        <a:pt x="606" y="1938"/>
                      </a:lnTo>
                      <a:lnTo>
                        <a:pt x="605" y="1937"/>
                      </a:lnTo>
                      <a:lnTo>
                        <a:pt x="605" y="1937"/>
                      </a:lnTo>
                      <a:lnTo>
                        <a:pt x="605" y="1936"/>
                      </a:lnTo>
                      <a:lnTo>
                        <a:pt x="603" y="1932"/>
                      </a:lnTo>
                      <a:lnTo>
                        <a:pt x="602" y="1931"/>
                      </a:lnTo>
                      <a:lnTo>
                        <a:pt x="602" y="1931"/>
                      </a:lnTo>
                      <a:lnTo>
                        <a:pt x="601" y="1929"/>
                      </a:lnTo>
                      <a:lnTo>
                        <a:pt x="600" y="1929"/>
                      </a:lnTo>
                      <a:lnTo>
                        <a:pt x="600" y="1928"/>
                      </a:lnTo>
                      <a:lnTo>
                        <a:pt x="600" y="1925"/>
                      </a:lnTo>
                      <a:lnTo>
                        <a:pt x="601" y="1925"/>
                      </a:lnTo>
                      <a:lnTo>
                        <a:pt x="601" y="1925"/>
                      </a:lnTo>
                      <a:lnTo>
                        <a:pt x="600" y="1924"/>
                      </a:lnTo>
                      <a:lnTo>
                        <a:pt x="599" y="1923"/>
                      </a:lnTo>
                      <a:lnTo>
                        <a:pt x="599" y="1921"/>
                      </a:lnTo>
                      <a:lnTo>
                        <a:pt x="599" y="1920"/>
                      </a:lnTo>
                      <a:lnTo>
                        <a:pt x="598" y="1919"/>
                      </a:lnTo>
                      <a:lnTo>
                        <a:pt x="597" y="1919"/>
                      </a:lnTo>
                      <a:lnTo>
                        <a:pt x="596" y="1927"/>
                      </a:lnTo>
                      <a:lnTo>
                        <a:pt x="597" y="1930"/>
                      </a:lnTo>
                      <a:lnTo>
                        <a:pt x="598" y="1931"/>
                      </a:lnTo>
                      <a:lnTo>
                        <a:pt x="600" y="1936"/>
                      </a:lnTo>
                      <a:lnTo>
                        <a:pt x="600" y="1937"/>
                      </a:lnTo>
                      <a:lnTo>
                        <a:pt x="600" y="1938"/>
                      </a:lnTo>
                      <a:lnTo>
                        <a:pt x="601" y="1939"/>
                      </a:lnTo>
                      <a:lnTo>
                        <a:pt x="601" y="1939"/>
                      </a:lnTo>
                      <a:lnTo>
                        <a:pt x="602" y="1940"/>
                      </a:lnTo>
                      <a:lnTo>
                        <a:pt x="602" y="1941"/>
                      </a:lnTo>
                      <a:lnTo>
                        <a:pt x="603" y="1943"/>
                      </a:lnTo>
                      <a:lnTo>
                        <a:pt x="603" y="1943"/>
                      </a:lnTo>
                      <a:lnTo>
                        <a:pt x="604" y="1943"/>
                      </a:lnTo>
                      <a:lnTo>
                        <a:pt x="604" y="1943"/>
                      </a:lnTo>
                      <a:lnTo>
                        <a:pt x="605" y="1943"/>
                      </a:lnTo>
                      <a:lnTo>
                        <a:pt x="606" y="1944"/>
                      </a:lnTo>
                      <a:lnTo>
                        <a:pt x="606" y="1945"/>
                      </a:lnTo>
                      <a:lnTo>
                        <a:pt x="606" y="1945"/>
                      </a:lnTo>
                      <a:lnTo>
                        <a:pt x="606" y="1947"/>
                      </a:lnTo>
                      <a:lnTo>
                        <a:pt x="607" y="1948"/>
                      </a:lnTo>
                      <a:lnTo>
                        <a:pt x="608" y="1949"/>
                      </a:lnTo>
                      <a:lnTo>
                        <a:pt x="610" y="1948"/>
                      </a:lnTo>
                      <a:lnTo>
                        <a:pt x="610" y="1948"/>
                      </a:lnTo>
                      <a:lnTo>
                        <a:pt x="611" y="1949"/>
                      </a:lnTo>
                      <a:lnTo>
                        <a:pt x="612" y="1950"/>
                      </a:lnTo>
                      <a:lnTo>
                        <a:pt x="612" y="1951"/>
                      </a:lnTo>
                      <a:lnTo>
                        <a:pt x="611" y="1951"/>
                      </a:lnTo>
                      <a:lnTo>
                        <a:pt x="611" y="1951"/>
                      </a:lnTo>
                      <a:lnTo>
                        <a:pt x="612" y="1953"/>
                      </a:lnTo>
                      <a:lnTo>
                        <a:pt x="611" y="1954"/>
                      </a:lnTo>
                      <a:lnTo>
                        <a:pt x="610" y="1954"/>
                      </a:lnTo>
                      <a:lnTo>
                        <a:pt x="610" y="1954"/>
                      </a:lnTo>
                      <a:lnTo>
                        <a:pt x="609" y="1954"/>
                      </a:lnTo>
                      <a:lnTo>
                        <a:pt x="607" y="1955"/>
                      </a:lnTo>
                      <a:lnTo>
                        <a:pt x="605" y="1955"/>
                      </a:lnTo>
                      <a:lnTo>
                        <a:pt x="604" y="1956"/>
                      </a:lnTo>
                      <a:lnTo>
                        <a:pt x="603" y="1956"/>
                      </a:lnTo>
                      <a:lnTo>
                        <a:pt x="602" y="1955"/>
                      </a:lnTo>
                      <a:lnTo>
                        <a:pt x="601" y="1955"/>
                      </a:lnTo>
                      <a:lnTo>
                        <a:pt x="599" y="1955"/>
                      </a:lnTo>
                      <a:lnTo>
                        <a:pt x="597" y="1955"/>
                      </a:lnTo>
                      <a:lnTo>
                        <a:pt x="595" y="1954"/>
                      </a:lnTo>
                      <a:lnTo>
                        <a:pt x="594" y="1953"/>
                      </a:lnTo>
                      <a:lnTo>
                        <a:pt x="593" y="1951"/>
                      </a:lnTo>
                      <a:lnTo>
                        <a:pt x="594" y="1949"/>
                      </a:lnTo>
                      <a:lnTo>
                        <a:pt x="593" y="1948"/>
                      </a:lnTo>
                      <a:lnTo>
                        <a:pt x="591" y="1944"/>
                      </a:lnTo>
                      <a:lnTo>
                        <a:pt x="591" y="1943"/>
                      </a:lnTo>
                      <a:lnTo>
                        <a:pt x="590" y="1940"/>
                      </a:lnTo>
                      <a:lnTo>
                        <a:pt x="591" y="1937"/>
                      </a:lnTo>
                      <a:lnTo>
                        <a:pt x="590" y="1935"/>
                      </a:lnTo>
                      <a:lnTo>
                        <a:pt x="590" y="1934"/>
                      </a:lnTo>
                      <a:lnTo>
                        <a:pt x="590" y="1933"/>
                      </a:lnTo>
                      <a:lnTo>
                        <a:pt x="589" y="1932"/>
                      </a:lnTo>
                      <a:lnTo>
                        <a:pt x="588" y="1930"/>
                      </a:lnTo>
                      <a:lnTo>
                        <a:pt x="588" y="1929"/>
                      </a:lnTo>
                      <a:lnTo>
                        <a:pt x="588" y="1927"/>
                      </a:lnTo>
                      <a:lnTo>
                        <a:pt x="588" y="1926"/>
                      </a:lnTo>
                      <a:lnTo>
                        <a:pt x="589" y="1925"/>
                      </a:lnTo>
                      <a:lnTo>
                        <a:pt x="589" y="1924"/>
                      </a:lnTo>
                      <a:lnTo>
                        <a:pt x="590" y="1923"/>
                      </a:lnTo>
                      <a:lnTo>
                        <a:pt x="590" y="1923"/>
                      </a:lnTo>
                      <a:lnTo>
                        <a:pt x="592" y="1917"/>
                      </a:lnTo>
                      <a:lnTo>
                        <a:pt x="593" y="1914"/>
                      </a:lnTo>
                      <a:lnTo>
                        <a:pt x="594" y="1912"/>
                      </a:lnTo>
                      <a:lnTo>
                        <a:pt x="594" y="1912"/>
                      </a:lnTo>
                      <a:lnTo>
                        <a:pt x="595" y="1911"/>
                      </a:lnTo>
                      <a:lnTo>
                        <a:pt x="596" y="1907"/>
                      </a:lnTo>
                      <a:lnTo>
                        <a:pt x="596" y="1906"/>
                      </a:lnTo>
                      <a:lnTo>
                        <a:pt x="596" y="1906"/>
                      </a:lnTo>
                      <a:lnTo>
                        <a:pt x="596" y="1906"/>
                      </a:lnTo>
                      <a:lnTo>
                        <a:pt x="597" y="1904"/>
                      </a:lnTo>
                      <a:lnTo>
                        <a:pt x="598" y="1904"/>
                      </a:lnTo>
                      <a:lnTo>
                        <a:pt x="600" y="1902"/>
                      </a:lnTo>
                      <a:lnTo>
                        <a:pt x="601" y="1900"/>
                      </a:lnTo>
                      <a:lnTo>
                        <a:pt x="601" y="1899"/>
                      </a:lnTo>
                      <a:lnTo>
                        <a:pt x="602" y="1895"/>
                      </a:lnTo>
                      <a:lnTo>
                        <a:pt x="603" y="1894"/>
                      </a:lnTo>
                      <a:lnTo>
                        <a:pt x="603" y="1892"/>
                      </a:lnTo>
                      <a:lnTo>
                        <a:pt x="604" y="1891"/>
                      </a:lnTo>
                      <a:lnTo>
                        <a:pt x="605" y="1889"/>
                      </a:lnTo>
                      <a:lnTo>
                        <a:pt x="608" y="1885"/>
                      </a:lnTo>
                      <a:lnTo>
                        <a:pt x="608" y="1884"/>
                      </a:lnTo>
                      <a:lnTo>
                        <a:pt x="608" y="1883"/>
                      </a:lnTo>
                      <a:lnTo>
                        <a:pt x="609" y="1881"/>
                      </a:lnTo>
                      <a:lnTo>
                        <a:pt x="611" y="1879"/>
                      </a:lnTo>
                      <a:lnTo>
                        <a:pt x="613" y="1878"/>
                      </a:lnTo>
                      <a:lnTo>
                        <a:pt x="614" y="1876"/>
                      </a:lnTo>
                      <a:lnTo>
                        <a:pt x="615" y="1875"/>
                      </a:lnTo>
                      <a:lnTo>
                        <a:pt x="615" y="1874"/>
                      </a:lnTo>
                      <a:lnTo>
                        <a:pt x="615" y="1873"/>
                      </a:lnTo>
                      <a:lnTo>
                        <a:pt x="616" y="1873"/>
                      </a:lnTo>
                      <a:lnTo>
                        <a:pt x="614" y="1872"/>
                      </a:lnTo>
                      <a:lnTo>
                        <a:pt x="614" y="1873"/>
                      </a:lnTo>
                      <a:lnTo>
                        <a:pt x="613" y="1875"/>
                      </a:lnTo>
                      <a:lnTo>
                        <a:pt x="611" y="1875"/>
                      </a:lnTo>
                      <a:lnTo>
                        <a:pt x="610" y="1876"/>
                      </a:lnTo>
                      <a:lnTo>
                        <a:pt x="609" y="1877"/>
                      </a:lnTo>
                      <a:lnTo>
                        <a:pt x="609" y="1878"/>
                      </a:lnTo>
                      <a:lnTo>
                        <a:pt x="609" y="1879"/>
                      </a:lnTo>
                      <a:lnTo>
                        <a:pt x="608" y="1879"/>
                      </a:lnTo>
                      <a:lnTo>
                        <a:pt x="607" y="1881"/>
                      </a:lnTo>
                      <a:lnTo>
                        <a:pt x="606" y="1883"/>
                      </a:lnTo>
                      <a:lnTo>
                        <a:pt x="605" y="1884"/>
                      </a:lnTo>
                      <a:lnTo>
                        <a:pt x="605" y="1886"/>
                      </a:lnTo>
                      <a:lnTo>
                        <a:pt x="604" y="1887"/>
                      </a:lnTo>
                      <a:lnTo>
                        <a:pt x="604" y="1888"/>
                      </a:lnTo>
                      <a:lnTo>
                        <a:pt x="603" y="1888"/>
                      </a:lnTo>
                      <a:lnTo>
                        <a:pt x="603" y="1889"/>
                      </a:lnTo>
                      <a:lnTo>
                        <a:pt x="601" y="1891"/>
                      </a:lnTo>
                      <a:lnTo>
                        <a:pt x="601" y="1892"/>
                      </a:lnTo>
                      <a:lnTo>
                        <a:pt x="601" y="1893"/>
                      </a:lnTo>
                      <a:lnTo>
                        <a:pt x="600" y="1894"/>
                      </a:lnTo>
                      <a:lnTo>
                        <a:pt x="600" y="1895"/>
                      </a:lnTo>
                      <a:lnTo>
                        <a:pt x="599" y="1898"/>
                      </a:lnTo>
                      <a:lnTo>
                        <a:pt x="599" y="1901"/>
                      </a:lnTo>
                      <a:lnTo>
                        <a:pt x="598" y="1901"/>
                      </a:lnTo>
                      <a:lnTo>
                        <a:pt x="598" y="1902"/>
                      </a:lnTo>
                      <a:lnTo>
                        <a:pt x="598" y="1902"/>
                      </a:lnTo>
                      <a:lnTo>
                        <a:pt x="597" y="1902"/>
                      </a:lnTo>
                      <a:lnTo>
                        <a:pt x="597" y="1902"/>
                      </a:lnTo>
                      <a:lnTo>
                        <a:pt x="596" y="1902"/>
                      </a:lnTo>
                      <a:lnTo>
                        <a:pt x="596" y="1903"/>
                      </a:lnTo>
                      <a:lnTo>
                        <a:pt x="595" y="1904"/>
                      </a:lnTo>
                      <a:lnTo>
                        <a:pt x="594" y="1905"/>
                      </a:lnTo>
                      <a:lnTo>
                        <a:pt x="594" y="1906"/>
                      </a:lnTo>
                      <a:lnTo>
                        <a:pt x="593" y="1909"/>
                      </a:lnTo>
                      <a:lnTo>
                        <a:pt x="593" y="1910"/>
                      </a:lnTo>
                      <a:lnTo>
                        <a:pt x="592" y="1912"/>
                      </a:lnTo>
                      <a:lnTo>
                        <a:pt x="591" y="1912"/>
                      </a:lnTo>
                      <a:lnTo>
                        <a:pt x="590" y="1910"/>
                      </a:lnTo>
                      <a:lnTo>
                        <a:pt x="589" y="1910"/>
                      </a:lnTo>
                      <a:lnTo>
                        <a:pt x="588" y="1910"/>
                      </a:lnTo>
                      <a:lnTo>
                        <a:pt x="587" y="1910"/>
                      </a:lnTo>
                      <a:lnTo>
                        <a:pt x="586" y="1904"/>
                      </a:lnTo>
                      <a:lnTo>
                        <a:pt x="585" y="1901"/>
                      </a:lnTo>
                      <a:lnTo>
                        <a:pt x="586" y="1900"/>
                      </a:lnTo>
                      <a:lnTo>
                        <a:pt x="587" y="1897"/>
                      </a:lnTo>
                      <a:lnTo>
                        <a:pt x="587" y="1895"/>
                      </a:lnTo>
                      <a:lnTo>
                        <a:pt x="587" y="1893"/>
                      </a:lnTo>
                      <a:lnTo>
                        <a:pt x="587" y="1892"/>
                      </a:lnTo>
                      <a:lnTo>
                        <a:pt x="586" y="1892"/>
                      </a:lnTo>
                      <a:lnTo>
                        <a:pt x="586" y="1891"/>
                      </a:lnTo>
                      <a:lnTo>
                        <a:pt x="586" y="1891"/>
                      </a:lnTo>
                      <a:lnTo>
                        <a:pt x="585" y="1890"/>
                      </a:lnTo>
                      <a:lnTo>
                        <a:pt x="585" y="1889"/>
                      </a:lnTo>
                      <a:lnTo>
                        <a:pt x="583" y="1888"/>
                      </a:lnTo>
                      <a:lnTo>
                        <a:pt x="583" y="1887"/>
                      </a:lnTo>
                      <a:lnTo>
                        <a:pt x="583" y="1885"/>
                      </a:lnTo>
                      <a:lnTo>
                        <a:pt x="582" y="1885"/>
                      </a:lnTo>
                      <a:lnTo>
                        <a:pt x="581" y="1885"/>
                      </a:lnTo>
                      <a:lnTo>
                        <a:pt x="580" y="1886"/>
                      </a:lnTo>
                      <a:lnTo>
                        <a:pt x="580" y="1887"/>
                      </a:lnTo>
                      <a:lnTo>
                        <a:pt x="580" y="1888"/>
                      </a:lnTo>
                      <a:lnTo>
                        <a:pt x="581" y="1890"/>
                      </a:lnTo>
                      <a:lnTo>
                        <a:pt x="583" y="1893"/>
                      </a:lnTo>
                      <a:lnTo>
                        <a:pt x="583" y="1894"/>
                      </a:lnTo>
                      <a:lnTo>
                        <a:pt x="583" y="1899"/>
                      </a:lnTo>
                      <a:lnTo>
                        <a:pt x="582" y="1899"/>
                      </a:lnTo>
                      <a:lnTo>
                        <a:pt x="581" y="1901"/>
                      </a:lnTo>
                      <a:lnTo>
                        <a:pt x="582" y="1902"/>
                      </a:lnTo>
                      <a:lnTo>
                        <a:pt x="581" y="1902"/>
                      </a:lnTo>
                      <a:lnTo>
                        <a:pt x="581" y="1904"/>
                      </a:lnTo>
                      <a:lnTo>
                        <a:pt x="581" y="1904"/>
                      </a:lnTo>
                      <a:lnTo>
                        <a:pt x="581" y="1905"/>
                      </a:lnTo>
                      <a:lnTo>
                        <a:pt x="581" y="1906"/>
                      </a:lnTo>
                      <a:lnTo>
                        <a:pt x="583" y="1909"/>
                      </a:lnTo>
                      <a:lnTo>
                        <a:pt x="583" y="1910"/>
                      </a:lnTo>
                      <a:lnTo>
                        <a:pt x="583" y="1910"/>
                      </a:lnTo>
                      <a:lnTo>
                        <a:pt x="585" y="1910"/>
                      </a:lnTo>
                      <a:lnTo>
                        <a:pt x="586" y="1911"/>
                      </a:lnTo>
                      <a:lnTo>
                        <a:pt x="586" y="1912"/>
                      </a:lnTo>
                      <a:lnTo>
                        <a:pt x="587" y="1913"/>
                      </a:lnTo>
                      <a:lnTo>
                        <a:pt x="587" y="1913"/>
                      </a:lnTo>
                      <a:lnTo>
                        <a:pt x="589" y="1914"/>
                      </a:lnTo>
                      <a:lnTo>
                        <a:pt x="589" y="1916"/>
                      </a:lnTo>
                      <a:lnTo>
                        <a:pt x="589" y="1918"/>
                      </a:lnTo>
                      <a:lnTo>
                        <a:pt x="589" y="1918"/>
                      </a:lnTo>
                      <a:lnTo>
                        <a:pt x="588" y="1919"/>
                      </a:lnTo>
                      <a:lnTo>
                        <a:pt x="588" y="1921"/>
                      </a:lnTo>
                      <a:lnTo>
                        <a:pt x="587" y="1921"/>
                      </a:lnTo>
                      <a:lnTo>
                        <a:pt x="587" y="1921"/>
                      </a:lnTo>
                      <a:lnTo>
                        <a:pt x="586" y="1924"/>
                      </a:lnTo>
                      <a:lnTo>
                        <a:pt x="585" y="1926"/>
                      </a:lnTo>
                      <a:lnTo>
                        <a:pt x="583" y="1927"/>
                      </a:lnTo>
                      <a:lnTo>
                        <a:pt x="582" y="1928"/>
                      </a:lnTo>
                      <a:lnTo>
                        <a:pt x="582" y="1928"/>
                      </a:lnTo>
                      <a:lnTo>
                        <a:pt x="582" y="1929"/>
                      </a:lnTo>
                      <a:lnTo>
                        <a:pt x="581" y="1930"/>
                      </a:lnTo>
                      <a:lnTo>
                        <a:pt x="581" y="1931"/>
                      </a:lnTo>
                      <a:lnTo>
                        <a:pt x="581" y="1931"/>
                      </a:lnTo>
                      <a:lnTo>
                        <a:pt x="582" y="1932"/>
                      </a:lnTo>
                      <a:lnTo>
                        <a:pt x="582" y="1935"/>
                      </a:lnTo>
                      <a:lnTo>
                        <a:pt x="582" y="1936"/>
                      </a:lnTo>
                      <a:lnTo>
                        <a:pt x="582" y="1936"/>
                      </a:lnTo>
                      <a:lnTo>
                        <a:pt x="582" y="1937"/>
                      </a:lnTo>
                      <a:lnTo>
                        <a:pt x="582" y="1939"/>
                      </a:lnTo>
                      <a:lnTo>
                        <a:pt x="583" y="1940"/>
                      </a:lnTo>
                      <a:lnTo>
                        <a:pt x="583" y="1940"/>
                      </a:lnTo>
                      <a:lnTo>
                        <a:pt x="583" y="1941"/>
                      </a:lnTo>
                      <a:lnTo>
                        <a:pt x="583" y="1942"/>
                      </a:lnTo>
                      <a:lnTo>
                        <a:pt x="582" y="1944"/>
                      </a:lnTo>
                      <a:lnTo>
                        <a:pt x="583" y="1948"/>
                      </a:lnTo>
                      <a:lnTo>
                        <a:pt x="585" y="1950"/>
                      </a:lnTo>
                      <a:lnTo>
                        <a:pt x="585" y="1953"/>
                      </a:lnTo>
                      <a:lnTo>
                        <a:pt x="585" y="1954"/>
                      </a:lnTo>
                      <a:lnTo>
                        <a:pt x="585" y="1955"/>
                      </a:lnTo>
                      <a:lnTo>
                        <a:pt x="582" y="1955"/>
                      </a:lnTo>
                      <a:lnTo>
                        <a:pt x="579" y="1954"/>
                      </a:lnTo>
                      <a:lnTo>
                        <a:pt x="577" y="1953"/>
                      </a:lnTo>
                      <a:lnTo>
                        <a:pt x="577" y="1953"/>
                      </a:lnTo>
                      <a:lnTo>
                        <a:pt x="577" y="1953"/>
                      </a:lnTo>
                      <a:lnTo>
                        <a:pt x="577" y="1952"/>
                      </a:lnTo>
                      <a:lnTo>
                        <a:pt x="575" y="1951"/>
                      </a:lnTo>
                      <a:lnTo>
                        <a:pt x="575" y="1951"/>
                      </a:lnTo>
                      <a:lnTo>
                        <a:pt x="573" y="1952"/>
                      </a:lnTo>
                      <a:lnTo>
                        <a:pt x="573" y="1951"/>
                      </a:lnTo>
                      <a:lnTo>
                        <a:pt x="572" y="1950"/>
                      </a:lnTo>
                      <a:lnTo>
                        <a:pt x="572" y="1950"/>
                      </a:lnTo>
                      <a:lnTo>
                        <a:pt x="572" y="1949"/>
                      </a:lnTo>
                      <a:lnTo>
                        <a:pt x="571" y="1950"/>
                      </a:lnTo>
                      <a:lnTo>
                        <a:pt x="572" y="1952"/>
                      </a:lnTo>
                      <a:lnTo>
                        <a:pt x="572" y="1952"/>
                      </a:lnTo>
                      <a:lnTo>
                        <a:pt x="571" y="1952"/>
                      </a:lnTo>
                      <a:lnTo>
                        <a:pt x="571" y="1953"/>
                      </a:lnTo>
                      <a:lnTo>
                        <a:pt x="571" y="1953"/>
                      </a:lnTo>
                      <a:lnTo>
                        <a:pt x="570" y="1953"/>
                      </a:lnTo>
                      <a:lnTo>
                        <a:pt x="571" y="1953"/>
                      </a:lnTo>
                      <a:lnTo>
                        <a:pt x="572" y="1954"/>
                      </a:lnTo>
                      <a:lnTo>
                        <a:pt x="572" y="1955"/>
                      </a:lnTo>
                      <a:lnTo>
                        <a:pt x="573" y="1955"/>
                      </a:lnTo>
                      <a:lnTo>
                        <a:pt x="574" y="1956"/>
                      </a:lnTo>
                      <a:lnTo>
                        <a:pt x="575" y="1956"/>
                      </a:lnTo>
                      <a:lnTo>
                        <a:pt x="576" y="1956"/>
                      </a:lnTo>
                      <a:lnTo>
                        <a:pt x="577" y="1956"/>
                      </a:lnTo>
                      <a:lnTo>
                        <a:pt x="577" y="1956"/>
                      </a:lnTo>
                      <a:lnTo>
                        <a:pt x="578" y="1957"/>
                      </a:lnTo>
                      <a:lnTo>
                        <a:pt x="580" y="1958"/>
                      </a:lnTo>
                      <a:lnTo>
                        <a:pt x="581" y="1960"/>
                      </a:lnTo>
                      <a:lnTo>
                        <a:pt x="581" y="1962"/>
                      </a:lnTo>
                      <a:lnTo>
                        <a:pt x="581" y="1964"/>
                      </a:lnTo>
                      <a:lnTo>
                        <a:pt x="581" y="1964"/>
                      </a:lnTo>
                      <a:lnTo>
                        <a:pt x="580" y="1965"/>
                      </a:lnTo>
                      <a:lnTo>
                        <a:pt x="580" y="1966"/>
                      </a:lnTo>
                      <a:lnTo>
                        <a:pt x="579" y="1966"/>
                      </a:lnTo>
                      <a:lnTo>
                        <a:pt x="579" y="1967"/>
                      </a:lnTo>
                      <a:lnTo>
                        <a:pt x="579" y="1967"/>
                      </a:lnTo>
                      <a:lnTo>
                        <a:pt x="578" y="1967"/>
                      </a:lnTo>
                      <a:lnTo>
                        <a:pt x="578" y="1968"/>
                      </a:lnTo>
                      <a:lnTo>
                        <a:pt x="579" y="1968"/>
                      </a:lnTo>
                      <a:lnTo>
                        <a:pt x="579" y="1969"/>
                      </a:lnTo>
                      <a:lnTo>
                        <a:pt x="578" y="1969"/>
                      </a:lnTo>
                      <a:lnTo>
                        <a:pt x="577" y="1970"/>
                      </a:lnTo>
                      <a:lnTo>
                        <a:pt x="575" y="1975"/>
                      </a:lnTo>
                      <a:lnTo>
                        <a:pt x="576" y="1975"/>
                      </a:lnTo>
                      <a:lnTo>
                        <a:pt x="575" y="1976"/>
                      </a:lnTo>
                      <a:lnTo>
                        <a:pt x="575" y="1977"/>
                      </a:lnTo>
                      <a:lnTo>
                        <a:pt x="573" y="1981"/>
                      </a:lnTo>
                      <a:lnTo>
                        <a:pt x="574" y="1981"/>
                      </a:lnTo>
                      <a:lnTo>
                        <a:pt x="573" y="1981"/>
                      </a:lnTo>
                      <a:lnTo>
                        <a:pt x="573" y="1985"/>
                      </a:lnTo>
                      <a:lnTo>
                        <a:pt x="573" y="1985"/>
                      </a:lnTo>
                      <a:lnTo>
                        <a:pt x="573" y="1986"/>
                      </a:lnTo>
                      <a:lnTo>
                        <a:pt x="573" y="1988"/>
                      </a:lnTo>
                      <a:lnTo>
                        <a:pt x="572" y="1990"/>
                      </a:lnTo>
                      <a:lnTo>
                        <a:pt x="571" y="1990"/>
                      </a:lnTo>
                      <a:lnTo>
                        <a:pt x="571" y="1991"/>
                      </a:lnTo>
                      <a:lnTo>
                        <a:pt x="570" y="1992"/>
                      </a:lnTo>
                      <a:lnTo>
                        <a:pt x="570" y="1993"/>
                      </a:lnTo>
                      <a:lnTo>
                        <a:pt x="569" y="1993"/>
                      </a:lnTo>
                      <a:lnTo>
                        <a:pt x="569" y="1994"/>
                      </a:lnTo>
                      <a:lnTo>
                        <a:pt x="568" y="1994"/>
                      </a:lnTo>
                      <a:lnTo>
                        <a:pt x="568" y="1996"/>
                      </a:lnTo>
                      <a:lnTo>
                        <a:pt x="568" y="1998"/>
                      </a:lnTo>
                      <a:lnTo>
                        <a:pt x="567" y="1998"/>
                      </a:lnTo>
                      <a:lnTo>
                        <a:pt x="567" y="2000"/>
                      </a:lnTo>
                      <a:lnTo>
                        <a:pt x="567" y="2001"/>
                      </a:lnTo>
                      <a:lnTo>
                        <a:pt x="567" y="2001"/>
                      </a:lnTo>
                      <a:lnTo>
                        <a:pt x="566" y="2001"/>
                      </a:lnTo>
                      <a:lnTo>
                        <a:pt x="566" y="2001"/>
                      </a:lnTo>
                      <a:lnTo>
                        <a:pt x="565" y="2001"/>
                      </a:lnTo>
                      <a:lnTo>
                        <a:pt x="565" y="2000"/>
                      </a:lnTo>
                      <a:lnTo>
                        <a:pt x="562" y="2000"/>
                      </a:lnTo>
                      <a:lnTo>
                        <a:pt x="562" y="2000"/>
                      </a:lnTo>
                      <a:lnTo>
                        <a:pt x="559" y="1999"/>
                      </a:lnTo>
                      <a:lnTo>
                        <a:pt x="558" y="2000"/>
                      </a:lnTo>
                      <a:lnTo>
                        <a:pt x="558" y="1999"/>
                      </a:lnTo>
                      <a:lnTo>
                        <a:pt x="558" y="1999"/>
                      </a:lnTo>
                      <a:lnTo>
                        <a:pt x="557" y="1998"/>
                      </a:lnTo>
                      <a:lnTo>
                        <a:pt x="555" y="1999"/>
                      </a:lnTo>
                      <a:lnTo>
                        <a:pt x="554" y="1998"/>
                      </a:lnTo>
                      <a:lnTo>
                        <a:pt x="555" y="1998"/>
                      </a:lnTo>
                      <a:lnTo>
                        <a:pt x="554" y="1998"/>
                      </a:lnTo>
                      <a:lnTo>
                        <a:pt x="554" y="1998"/>
                      </a:lnTo>
                      <a:lnTo>
                        <a:pt x="554" y="1997"/>
                      </a:lnTo>
                      <a:lnTo>
                        <a:pt x="553" y="1998"/>
                      </a:lnTo>
                      <a:lnTo>
                        <a:pt x="553" y="1997"/>
                      </a:lnTo>
                      <a:lnTo>
                        <a:pt x="554" y="1995"/>
                      </a:lnTo>
                      <a:lnTo>
                        <a:pt x="554" y="1993"/>
                      </a:lnTo>
                      <a:lnTo>
                        <a:pt x="553" y="1991"/>
                      </a:lnTo>
                      <a:lnTo>
                        <a:pt x="553" y="1989"/>
                      </a:lnTo>
                      <a:lnTo>
                        <a:pt x="552" y="1989"/>
                      </a:lnTo>
                      <a:lnTo>
                        <a:pt x="553" y="1988"/>
                      </a:lnTo>
                      <a:lnTo>
                        <a:pt x="552" y="1985"/>
                      </a:lnTo>
                      <a:lnTo>
                        <a:pt x="551" y="1978"/>
                      </a:lnTo>
                      <a:lnTo>
                        <a:pt x="551" y="1976"/>
                      </a:lnTo>
                      <a:lnTo>
                        <a:pt x="550" y="1975"/>
                      </a:lnTo>
                      <a:lnTo>
                        <a:pt x="550" y="1974"/>
                      </a:lnTo>
                      <a:lnTo>
                        <a:pt x="550" y="1974"/>
                      </a:lnTo>
                      <a:lnTo>
                        <a:pt x="550" y="1973"/>
                      </a:lnTo>
                      <a:lnTo>
                        <a:pt x="549" y="1969"/>
                      </a:lnTo>
                      <a:lnTo>
                        <a:pt x="548" y="1967"/>
                      </a:lnTo>
                      <a:lnTo>
                        <a:pt x="546" y="1966"/>
                      </a:lnTo>
                      <a:lnTo>
                        <a:pt x="545" y="1964"/>
                      </a:lnTo>
                      <a:lnTo>
                        <a:pt x="543" y="1963"/>
                      </a:lnTo>
                      <a:lnTo>
                        <a:pt x="542" y="1962"/>
                      </a:lnTo>
                      <a:lnTo>
                        <a:pt x="540" y="1960"/>
                      </a:lnTo>
                      <a:lnTo>
                        <a:pt x="540" y="1959"/>
                      </a:lnTo>
                      <a:lnTo>
                        <a:pt x="539" y="1954"/>
                      </a:lnTo>
                      <a:lnTo>
                        <a:pt x="538" y="1953"/>
                      </a:lnTo>
                      <a:lnTo>
                        <a:pt x="538" y="1953"/>
                      </a:lnTo>
                      <a:lnTo>
                        <a:pt x="538" y="1951"/>
                      </a:lnTo>
                      <a:lnTo>
                        <a:pt x="537" y="1951"/>
                      </a:lnTo>
                      <a:lnTo>
                        <a:pt x="537" y="1950"/>
                      </a:lnTo>
                      <a:lnTo>
                        <a:pt x="536" y="1949"/>
                      </a:lnTo>
                      <a:lnTo>
                        <a:pt x="537" y="1949"/>
                      </a:lnTo>
                      <a:lnTo>
                        <a:pt x="537" y="1949"/>
                      </a:lnTo>
                      <a:lnTo>
                        <a:pt x="537" y="1949"/>
                      </a:lnTo>
                      <a:lnTo>
                        <a:pt x="536" y="1947"/>
                      </a:lnTo>
                      <a:lnTo>
                        <a:pt x="536" y="1947"/>
                      </a:lnTo>
                      <a:lnTo>
                        <a:pt x="535" y="1947"/>
                      </a:lnTo>
                      <a:lnTo>
                        <a:pt x="536" y="1948"/>
                      </a:lnTo>
                      <a:lnTo>
                        <a:pt x="535" y="1951"/>
                      </a:lnTo>
                      <a:lnTo>
                        <a:pt x="535" y="1951"/>
                      </a:lnTo>
                      <a:lnTo>
                        <a:pt x="537" y="1956"/>
                      </a:lnTo>
                      <a:lnTo>
                        <a:pt x="537" y="1960"/>
                      </a:lnTo>
                      <a:lnTo>
                        <a:pt x="538" y="1960"/>
                      </a:lnTo>
                      <a:lnTo>
                        <a:pt x="538" y="1961"/>
                      </a:lnTo>
                      <a:lnTo>
                        <a:pt x="539" y="1962"/>
                      </a:lnTo>
                      <a:lnTo>
                        <a:pt x="540" y="1962"/>
                      </a:lnTo>
                      <a:lnTo>
                        <a:pt x="540" y="1964"/>
                      </a:lnTo>
                      <a:lnTo>
                        <a:pt x="541" y="1965"/>
                      </a:lnTo>
                      <a:lnTo>
                        <a:pt x="542" y="1966"/>
                      </a:lnTo>
                      <a:lnTo>
                        <a:pt x="543" y="1968"/>
                      </a:lnTo>
                      <a:lnTo>
                        <a:pt x="545" y="1972"/>
                      </a:lnTo>
                      <a:lnTo>
                        <a:pt x="545" y="1976"/>
                      </a:lnTo>
                      <a:lnTo>
                        <a:pt x="546" y="1978"/>
                      </a:lnTo>
                      <a:lnTo>
                        <a:pt x="546" y="1986"/>
                      </a:lnTo>
                      <a:lnTo>
                        <a:pt x="546" y="1987"/>
                      </a:lnTo>
                      <a:lnTo>
                        <a:pt x="545" y="1988"/>
                      </a:lnTo>
                      <a:lnTo>
                        <a:pt x="543" y="1988"/>
                      </a:lnTo>
                      <a:lnTo>
                        <a:pt x="543" y="1987"/>
                      </a:lnTo>
                      <a:lnTo>
                        <a:pt x="541" y="1987"/>
                      </a:lnTo>
                      <a:lnTo>
                        <a:pt x="541" y="1987"/>
                      </a:lnTo>
                      <a:lnTo>
                        <a:pt x="541" y="1987"/>
                      </a:lnTo>
                      <a:lnTo>
                        <a:pt x="539" y="1987"/>
                      </a:lnTo>
                      <a:lnTo>
                        <a:pt x="538" y="1986"/>
                      </a:lnTo>
                      <a:lnTo>
                        <a:pt x="537" y="1985"/>
                      </a:lnTo>
                      <a:lnTo>
                        <a:pt x="536" y="1982"/>
                      </a:lnTo>
                      <a:lnTo>
                        <a:pt x="534" y="1981"/>
                      </a:lnTo>
                      <a:lnTo>
                        <a:pt x="533" y="1980"/>
                      </a:lnTo>
                      <a:lnTo>
                        <a:pt x="533" y="1979"/>
                      </a:lnTo>
                      <a:lnTo>
                        <a:pt x="532" y="1978"/>
                      </a:lnTo>
                      <a:lnTo>
                        <a:pt x="530" y="1978"/>
                      </a:lnTo>
                      <a:lnTo>
                        <a:pt x="530" y="1977"/>
                      </a:lnTo>
                      <a:lnTo>
                        <a:pt x="530" y="1976"/>
                      </a:lnTo>
                      <a:lnTo>
                        <a:pt x="529" y="1976"/>
                      </a:lnTo>
                      <a:lnTo>
                        <a:pt x="528" y="1975"/>
                      </a:lnTo>
                      <a:lnTo>
                        <a:pt x="528" y="1975"/>
                      </a:lnTo>
                      <a:lnTo>
                        <a:pt x="526" y="1974"/>
                      </a:lnTo>
                      <a:lnTo>
                        <a:pt x="526" y="1974"/>
                      </a:lnTo>
                      <a:lnTo>
                        <a:pt x="525" y="1974"/>
                      </a:lnTo>
                      <a:lnTo>
                        <a:pt x="525" y="1974"/>
                      </a:lnTo>
                      <a:lnTo>
                        <a:pt x="525" y="1972"/>
                      </a:lnTo>
                      <a:lnTo>
                        <a:pt x="524" y="1971"/>
                      </a:lnTo>
                      <a:lnTo>
                        <a:pt x="524" y="1971"/>
                      </a:lnTo>
                      <a:lnTo>
                        <a:pt x="524" y="1972"/>
                      </a:lnTo>
                      <a:lnTo>
                        <a:pt x="524" y="1972"/>
                      </a:lnTo>
                      <a:lnTo>
                        <a:pt x="523" y="1970"/>
                      </a:lnTo>
                      <a:lnTo>
                        <a:pt x="523" y="1969"/>
                      </a:lnTo>
                      <a:lnTo>
                        <a:pt x="523" y="1968"/>
                      </a:lnTo>
                      <a:lnTo>
                        <a:pt x="523" y="1966"/>
                      </a:lnTo>
                      <a:lnTo>
                        <a:pt x="523" y="1966"/>
                      </a:lnTo>
                      <a:lnTo>
                        <a:pt x="523" y="1963"/>
                      </a:lnTo>
                      <a:lnTo>
                        <a:pt x="523" y="1962"/>
                      </a:lnTo>
                      <a:lnTo>
                        <a:pt x="523" y="1961"/>
                      </a:lnTo>
                      <a:lnTo>
                        <a:pt x="523" y="1961"/>
                      </a:lnTo>
                      <a:lnTo>
                        <a:pt x="524" y="1959"/>
                      </a:lnTo>
                      <a:lnTo>
                        <a:pt x="523" y="1959"/>
                      </a:lnTo>
                      <a:lnTo>
                        <a:pt x="523" y="1958"/>
                      </a:lnTo>
                      <a:lnTo>
                        <a:pt x="523" y="1957"/>
                      </a:lnTo>
                      <a:lnTo>
                        <a:pt x="523" y="1957"/>
                      </a:lnTo>
                      <a:lnTo>
                        <a:pt x="522" y="1957"/>
                      </a:lnTo>
                      <a:lnTo>
                        <a:pt x="521" y="1959"/>
                      </a:lnTo>
                      <a:lnTo>
                        <a:pt x="521" y="1960"/>
                      </a:lnTo>
                      <a:lnTo>
                        <a:pt x="521" y="1961"/>
                      </a:lnTo>
                      <a:lnTo>
                        <a:pt x="521" y="1962"/>
                      </a:lnTo>
                      <a:lnTo>
                        <a:pt x="521" y="1965"/>
                      </a:lnTo>
                      <a:lnTo>
                        <a:pt x="521" y="1965"/>
                      </a:lnTo>
                      <a:lnTo>
                        <a:pt x="521" y="1966"/>
                      </a:lnTo>
                      <a:lnTo>
                        <a:pt x="521" y="1967"/>
                      </a:lnTo>
                      <a:lnTo>
                        <a:pt x="520" y="1968"/>
                      </a:lnTo>
                      <a:lnTo>
                        <a:pt x="520" y="1971"/>
                      </a:lnTo>
                      <a:lnTo>
                        <a:pt x="522" y="1972"/>
                      </a:lnTo>
                      <a:lnTo>
                        <a:pt x="522" y="1973"/>
                      </a:lnTo>
                      <a:lnTo>
                        <a:pt x="521" y="1973"/>
                      </a:lnTo>
                      <a:lnTo>
                        <a:pt x="521" y="1974"/>
                      </a:lnTo>
                      <a:lnTo>
                        <a:pt x="521" y="1974"/>
                      </a:lnTo>
                      <a:lnTo>
                        <a:pt x="521" y="1974"/>
                      </a:lnTo>
                      <a:lnTo>
                        <a:pt x="520" y="1975"/>
                      </a:lnTo>
                      <a:lnTo>
                        <a:pt x="519" y="1978"/>
                      </a:lnTo>
                      <a:lnTo>
                        <a:pt x="519" y="1980"/>
                      </a:lnTo>
                      <a:lnTo>
                        <a:pt x="517" y="1980"/>
                      </a:lnTo>
                      <a:lnTo>
                        <a:pt x="515" y="1983"/>
                      </a:lnTo>
                      <a:lnTo>
                        <a:pt x="514" y="1983"/>
                      </a:lnTo>
                      <a:lnTo>
                        <a:pt x="514" y="1985"/>
                      </a:lnTo>
                      <a:lnTo>
                        <a:pt x="513" y="1985"/>
                      </a:lnTo>
                      <a:lnTo>
                        <a:pt x="512" y="1986"/>
                      </a:lnTo>
                      <a:lnTo>
                        <a:pt x="512" y="1989"/>
                      </a:lnTo>
                      <a:lnTo>
                        <a:pt x="512" y="1991"/>
                      </a:lnTo>
                      <a:lnTo>
                        <a:pt x="514" y="1993"/>
                      </a:lnTo>
                      <a:lnTo>
                        <a:pt x="515" y="1995"/>
                      </a:lnTo>
                      <a:lnTo>
                        <a:pt x="516" y="1999"/>
                      </a:lnTo>
                      <a:lnTo>
                        <a:pt x="517" y="1999"/>
                      </a:lnTo>
                      <a:lnTo>
                        <a:pt x="517" y="1999"/>
                      </a:lnTo>
                      <a:lnTo>
                        <a:pt x="517" y="2000"/>
                      </a:lnTo>
                      <a:lnTo>
                        <a:pt x="518" y="2002"/>
                      </a:lnTo>
                      <a:lnTo>
                        <a:pt x="518" y="2002"/>
                      </a:lnTo>
                      <a:lnTo>
                        <a:pt x="519" y="2002"/>
                      </a:lnTo>
                      <a:lnTo>
                        <a:pt x="519" y="2003"/>
                      </a:lnTo>
                      <a:lnTo>
                        <a:pt x="519" y="2003"/>
                      </a:lnTo>
                      <a:lnTo>
                        <a:pt x="519" y="2004"/>
                      </a:lnTo>
                      <a:lnTo>
                        <a:pt x="519" y="2007"/>
                      </a:lnTo>
                      <a:lnTo>
                        <a:pt x="519" y="2008"/>
                      </a:lnTo>
                      <a:lnTo>
                        <a:pt x="519" y="2008"/>
                      </a:lnTo>
                      <a:lnTo>
                        <a:pt x="520" y="2008"/>
                      </a:lnTo>
                      <a:lnTo>
                        <a:pt x="520" y="2012"/>
                      </a:lnTo>
                      <a:lnTo>
                        <a:pt x="520" y="2012"/>
                      </a:lnTo>
                      <a:lnTo>
                        <a:pt x="520" y="2013"/>
                      </a:lnTo>
                      <a:lnTo>
                        <a:pt x="520" y="2014"/>
                      </a:lnTo>
                      <a:lnTo>
                        <a:pt x="519" y="2014"/>
                      </a:lnTo>
                      <a:lnTo>
                        <a:pt x="518" y="2013"/>
                      </a:lnTo>
                      <a:lnTo>
                        <a:pt x="518" y="2013"/>
                      </a:lnTo>
                      <a:lnTo>
                        <a:pt x="518" y="2014"/>
                      </a:lnTo>
                      <a:lnTo>
                        <a:pt x="517" y="2014"/>
                      </a:lnTo>
                      <a:lnTo>
                        <a:pt x="516" y="2012"/>
                      </a:lnTo>
                      <a:lnTo>
                        <a:pt x="515" y="2011"/>
                      </a:lnTo>
                      <a:lnTo>
                        <a:pt x="515" y="2010"/>
                      </a:lnTo>
                      <a:lnTo>
                        <a:pt x="514" y="2009"/>
                      </a:lnTo>
                      <a:lnTo>
                        <a:pt x="513" y="2009"/>
                      </a:lnTo>
                      <a:lnTo>
                        <a:pt x="509" y="2009"/>
                      </a:lnTo>
                      <a:lnTo>
                        <a:pt x="509" y="2008"/>
                      </a:lnTo>
                      <a:lnTo>
                        <a:pt x="509" y="2006"/>
                      </a:lnTo>
                      <a:lnTo>
                        <a:pt x="508" y="2005"/>
                      </a:lnTo>
                      <a:lnTo>
                        <a:pt x="508" y="2005"/>
                      </a:lnTo>
                      <a:lnTo>
                        <a:pt x="507" y="2004"/>
                      </a:lnTo>
                      <a:lnTo>
                        <a:pt x="506" y="2004"/>
                      </a:lnTo>
                      <a:lnTo>
                        <a:pt x="506" y="2005"/>
                      </a:lnTo>
                      <a:lnTo>
                        <a:pt x="506" y="2006"/>
                      </a:lnTo>
                      <a:lnTo>
                        <a:pt x="505" y="2006"/>
                      </a:lnTo>
                      <a:lnTo>
                        <a:pt x="505" y="2006"/>
                      </a:lnTo>
                      <a:lnTo>
                        <a:pt x="504" y="2006"/>
                      </a:lnTo>
                      <a:lnTo>
                        <a:pt x="504" y="2006"/>
                      </a:lnTo>
                      <a:lnTo>
                        <a:pt x="504" y="2006"/>
                      </a:lnTo>
                      <a:lnTo>
                        <a:pt x="503" y="2006"/>
                      </a:lnTo>
                      <a:lnTo>
                        <a:pt x="503" y="2006"/>
                      </a:lnTo>
                      <a:lnTo>
                        <a:pt x="502" y="2005"/>
                      </a:lnTo>
                      <a:lnTo>
                        <a:pt x="502" y="2006"/>
                      </a:lnTo>
                      <a:lnTo>
                        <a:pt x="501" y="2005"/>
                      </a:lnTo>
                      <a:lnTo>
                        <a:pt x="501" y="2003"/>
                      </a:lnTo>
                      <a:lnTo>
                        <a:pt x="501" y="2003"/>
                      </a:lnTo>
                      <a:lnTo>
                        <a:pt x="500" y="2002"/>
                      </a:lnTo>
                      <a:lnTo>
                        <a:pt x="500" y="2003"/>
                      </a:lnTo>
                      <a:lnTo>
                        <a:pt x="499" y="2003"/>
                      </a:lnTo>
                      <a:lnTo>
                        <a:pt x="499" y="2004"/>
                      </a:lnTo>
                      <a:lnTo>
                        <a:pt x="499" y="2004"/>
                      </a:lnTo>
                      <a:lnTo>
                        <a:pt x="498" y="2004"/>
                      </a:lnTo>
                      <a:lnTo>
                        <a:pt x="498" y="2005"/>
                      </a:lnTo>
                      <a:lnTo>
                        <a:pt x="496" y="2004"/>
                      </a:lnTo>
                      <a:lnTo>
                        <a:pt x="496" y="2004"/>
                      </a:lnTo>
                      <a:lnTo>
                        <a:pt x="498" y="2003"/>
                      </a:lnTo>
                      <a:lnTo>
                        <a:pt x="495" y="2003"/>
                      </a:lnTo>
                      <a:lnTo>
                        <a:pt x="496" y="2000"/>
                      </a:lnTo>
                      <a:lnTo>
                        <a:pt x="497" y="1998"/>
                      </a:lnTo>
                      <a:lnTo>
                        <a:pt x="496" y="1998"/>
                      </a:lnTo>
                      <a:lnTo>
                        <a:pt x="496" y="1998"/>
                      </a:lnTo>
                      <a:lnTo>
                        <a:pt x="495" y="1996"/>
                      </a:lnTo>
                      <a:lnTo>
                        <a:pt x="495" y="1996"/>
                      </a:lnTo>
                      <a:lnTo>
                        <a:pt x="496" y="1995"/>
                      </a:lnTo>
                      <a:lnTo>
                        <a:pt x="495" y="1995"/>
                      </a:lnTo>
                      <a:lnTo>
                        <a:pt x="494" y="1994"/>
                      </a:lnTo>
                      <a:lnTo>
                        <a:pt x="494" y="1995"/>
                      </a:lnTo>
                      <a:lnTo>
                        <a:pt x="493" y="1995"/>
                      </a:lnTo>
                      <a:lnTo>
                        <a:pt x="493" y="1995"/>
                      </a:lnTo>
                      <a:lnTo>
                        <a:pt x="494" y="1994"/>
                      </a:lnTo>
                      <a:lnTo>
                        <a:pt x="494" y="1994"/>
                      </a:lnTo>
                      <a:lnTo>
                        <a:pt x="494" y="1993"/>
                      </a:lnTo>
                      <a:lnTo>
                        <a:pt x="494" y="1993"/>
                      </a:lnTo>
                      <a:lnTo>
                        <a:pt x="493" y="1993"/>
                      </a:lnTo>
                      <a:lnTo>
                        <a:pt x="493" y="1992"/>
                      </a:lnTo>
                      <a:lnTo>
                        <a:pt x="493" y="1992"/>
                      </a:lnTo>
                      <a:lnTo>
                        <a:pt x="493" y="1992"/>
                      </a:lnTo>
                      <a:lnTo>
                        <a:pt x="493" y="1992"/>
                      </a:lnTo>
                      <a:lnTo>
                        <a:pt x="492" y="1992"/>
                      </a:lnTo>
                      <a:lnTo>
                        <a:pt x="492" y="1993"/>
                      </a:lnTo>
                      <a:lnTo>
                        <a:pt x="491" y="1992"/>
                      </a:lnTo>
                      <a:lnTo>
                        <a:pt x="492" y="1992"/>
                      </a:lnTo>
                      <a:lnTo>
                        <a:pt x="491" y="1991"/>
                      </a:lnTo>
                      <a:lnTo>
                        <a:pt x="490" y="1992"/>
                      </a:lnTo>
                      <a:lnTo>
                        <a:pt x="489" y="1992"/>
                      </a:lnTo>
                      <a:lnTo>
                        <a:pt x="489" y="1991"/>
                      </a:lnTo>
                      <a:lnTo>
                        <a:pt x="490" y="1989"/>
                      </a:lnTo>
                      <a:lnTo>
                        <a:pt x="489" y="1988"/>
                      </a:lnTo>
                      <a:lnTo>
                        <a:pt x="489" y="1988"/>
                      </a:lnTo>
                      <a:lnTo>
                        <a:pt x="488" y="1989"/>
                      </a:lnTo>
                      <a:lnTo>
                        <a:pt x="488" y="1989"/>
                      </a:lnTo>
                      <a:lnTo>
                        <a:pt x="488" y="1988"/>
                      </a:lnTo>
                      <a:lnTo>
                        <a:pt x="488" y="1987"/>
                      </a:lnTo>
                      <a:lnTo>
                        <a:pt x="488" y="1986"/>
                      </a:lnTo>
                      <a:lnTo>
                        <a:pt x="489" y="1986"/>
                      </a:lnTo>
                      <a:lnTo>
                        <a:pt x="489" y="1986"/>
                      </a:lnTo>
                      <a:lnTo>
                        <a:pt x="490" y="1986"/>
                      </a:lnTo>
                      <a:lnTo>
                        <a:pt x="490" y="1986"/>
                      </a:lnTo>
                      <a:lnTo>
                        <a:pt x="489" y="1985"/>
                      </a:lnTo>
                      <a:lnTo>
                        <a:pt x="489" y="1985"/>
                      </a:lnTo>
                      <a:lnTo>
                        <a:pt x="488" y="1983"/>
                      </a:lnTo>
                      <a:lnTo>
                        <a:pt x="489" y="1980"/>
                      </a:lnTo>
                      <a:lnTo>
                        <a:pt x="489" y="1980"/>
                      </a:lnTo>
                      <a:lnTo>
                        <a:pt x="490" y="1980"/>
                      </a:lnTo>
                      <a:lnTo>
                        <a:pt x="490" y="1979"/>
                      </a:lnTo>
                      <a:lnTo>
                        <a:pt x="489" y="1978"/>
                      </a:lnTo>
                      <a:lnTo>
                        <a:pt x="489" y="1976"/>
                      </a:lnTo>
                      <a:lnTo>
                        <a:pt x="489" y="1975"/>
                      </a:lnTo>
                      <a:lnTo>
                        <a:pt x="490" y="1974"/>
                      </a:lnTo>
                      <a:lnTo>
                        <a:pt x="490" y="1971"/>
                      </a:lnTo>
                      <a:lnTo>
                        <a:pt x="492" y="1968"/>
                      </a:lnTo>
                      <a:lnTo>
                        <a:pt x="493" y="1964"/>
                      </a:lnTo>
                      <a:lnTo>
                        <a:pt x="492" y="1964"/>
                      </a:lnTo>
                      <a:lnTo>
                        <a:pt x="492" y="1963"/>
                      </a:lnTo>
                      <a:lnTo>
                        <a:pt x="491" y="1963"/>
                      </a:lnTo>
                      <a:lnTo>
                        <a:pt x="491" y="1963"/>
                      </a:lnTo>
                      <a:lnTo>
                        <a:pt x="491" y="1963"/>
                      </a:lnTo>
                      <a:lnTo>
                        <a:pt x="490" y="1963"/>
                      </a:lnTo>
                      <a:lnTo>
                        <a:pt x="490" y="1962"/>
                      </a:lnTo>
                      <a:lnTo>
                        <a:pt x="490" y="1962"/>
                      </a:lnTo>
                      <a:lnTo>
                        <a:pt x="489" y="1961"/>
                      </a:lnTo>
                      <a:lnTo>
                        <a:pt x="490" y="1961"/>
                      </a:lnTo>
                      <a:lnTo>
                        <a:pt x="489" y="1959"/>
                      </a:lnTo>
                      <a:lnTo>
                        <a:pt x="490" y="1958"/>
                      </a:lnTo>
                      <a:lnTo>
                        <a:pt x="490" y="1957"/>
                      </a:lnTo>
                      <a:lnTo>
                        <a:pt x="491" y="1957"/>
                      </a:lnTo>
                      <a:lnTo>
                        <a:pt x="491" y="1955"/>
                      </a:lnTo>
                      <a:lnTo>
                        <a:pt x="491" y="1954"/>
                      </a:lnTo>
                      <a:lnTo>
                        <a:pt x="490" y="1952"/>
                      </a:lnTo>
                      <a:lnTo>
                        <a:pt x="490" y="1951"/>
                      </a:lnTo>
                      <a:lnTo>
                        <a:pt x="491" y="1950"/>
                      </a:lnTo>
                      <a:lnTo>
                        <a:pt x="491" y="1950"/>
                      </a:lnTo>
                      <a:lnTo>
                        <a:pt x="492" y="1949"/>
                      </a:lnTo>
                      <a:lnTo>
                        <a:pt x="492" y="1949"/>
                      </a:lnTo>
                      <a:lnTo>
                        <a:pt x="492" y="1948"/>
                      </a:lnTo>
                      <a:lnTo>
                        <a:pt x="493" y="1947"/>
                      </a:lnTo>
                      <a:lnTo>
                        <a:pt x="493" y="1947"/>
                      </a:lnTo>
                      <a:lnTo>
                        <a:pt x="493" y="1945"/>
                      </a:lnTo>
                      <a:lnTo>
                        <a:pt x="494" y="1945"/>
                      </a:lnTo>
                      <a:lnTo>
                        <a:pt x="495" y="1945"/>
                      </a:lnTo>
                      <a:lnTo>
                        <a:pt x="495" y="1944"/>
                      </a:lnTo>
                      <a:lnTo>
                        <a:pt x="496" y="1944"/>
                      </a:lnTo>
                      <a:lnTo>
                        <a:pt x="497" y="1941"/>
                      </a:lnTo>
                      <a:lnTo>
                        <a:pt x="498" y="1940"/>
                      </a:lnTo>
                      <a:lnTo>
                        <a:pt x="498" y="1940"/>
                      </a:lnTo>
                      <a:lnTo>
                        <a:pt x="498" y="1940"/>
                      </a:lnTo>
                      <a:lnTo>
                        <a:pt x="499" y="1939"/>
                      </a:lnTo>
                      <a:lnTo>
                        <a:pt x="499" y="1938"/>
                      </a:lnTo>
                      <a:lnTo>
                        <a:pt x="499" y="1936"/>
                      </a:lnTo>
                      <a:lnTo>
                        <a:pt x="500" y="1936"/>
                      </a:lnTo>
                      <a:lnTo>
                        <a:pt x="500" y="1934"/>
                      </a:lnTo>
                      <a:lnTo>
                        <a:pt x="500" y="1933"/>
                      </a:lnTo>
                      <a:lnTo>
                        <a:pt x="500" y="1932"/>
                      </a:lnTo>
                      <a:lnTo>
                        <a:pt x="501" y="1931"/>
                      </a:lnTo>
                      <a:lnTo>
                        <a:pt x="503" y="1928"/>
                      </a:lnTo>
                      <a:lnTo>
                        <a:pt x="504" y="1927"/>
                      </a:lnTo>
                      <a:lnTo>
                        <a:pt x="504" y="1926"/>
                      </a:lnTo>
                      <a:lnTo>
                        <a:pt x="505" y="1925"/>
                      </a:lnTo>
                      <a:lnTo>
                        <a:pt x="505" y="1925"/>
                      </a:lnTo>
                      <a:lnTo>
                        <a:pt x="505" y="1924"/>
                      </a:lnTo>
                      <a:lnTo>
                        <a:pt x="506" y="1924"/>
                      </a:lnTo>
                      <a:lnTo>
                        <a:pt x="506" y="1923"/>
                      </a:lnTo>
                      <a:lnTo>
                        <a:pt x="506" y="1922"/>
                      </a:lnTo>
                      <a:lnTo>
                        <a:pt x="508" y="1920"/>
                      </a:lnTo>
                      <a:lnTo>
                        <a:pt x="511" y="1919"/>
                      </a:lnTo>
                      <a:lnTo>
                        <a:pt x="511" y="1919"/>
                      </a:lnTo>
                      <a:lnTo>
                        <a:pt x="511" y="1918"/>
                      </a:lnTo>
                      <a:lnTo>
                        <a:pt x="512" y="1917"/>
                      </a:lnTo>
                      <a:lnTo>
                        <a:pt x="514" y="1915"/>
                      </a:lnTo>
                      <a:lnTo>
                        <a:pt x="514" y="1915"/>
                      </a:lnTo>
                      <a:lnTo>
                        <a:pt x="516" y="1913"/>
                      </a:lnTo>
                      <a:lnTo>
                        <a:pt x="517" y="1913"/>
                      </a:lnTo>
                      <a:lnTo>
                        <a:pt x="517" y="1911"/>
                      </a:lnTo>
                      <a:lnTo>
                        <a:pt x="519" y="1909"/>
                      </a:lnTo>
                      <a:lnTo>
                        <a:pt x="519" y="1907"/>
                      </a:lnTo>
                      <a:lnTo>
                        <a:pt x="519" y="1906"/>
                      </a:lnTo>
                      <a:lnTo>
                        <a:pt x="519" y="1905"/>
                      </a:lnTo>
                      <a:lnTo>
                        <a:pt x="518" y="1905"/>
                      </a:lnTo>
                      <a:lnTo>
                        <a:pt x="518" y="1904"/>
                      </a:lnTo>
                      <a:lnTo>
                        <a:pt x="519" y="1904"/>
                      </a:lnTo>
                      <a:lnTo>
                        <a:pt x="519" y="1903"/>
                      </a:lnTo>
                      <a:lnTo>
                        <a:pt x="519" y="1902"/>
                      </a:lnTo>
                      <a:lnTo>
                        <a:pt x="520" y="1901"/>
                      </a:lnTo>
                      <a:lnTo>
                        <a:pt x="520" y="1900"/>
                      </a:lnTo>
                      <a:lnTo>
                        <a:pt x="524" y="1897"/>
                      </a:lnTo>
                      <a:lnTo>
                        <a:pt x="525" y="1897"/>
                      </a:lnTo>
                      <a:lnTo>
                        <a:pt x="526" y="1897"/>
                      </a:lnTo>
                      <a:lnTo>
                        <a:pt x="527" y="1896"/>
                      </a:lnTo>
                      <a:lnTo>
                        <a:pt x="527" y="1896"/>
                      </a:lnTo>
                      <a:lnTo>
                        <a:pt x="528" y="1896"/>
                      </a:lnTo>
                      <a:lnTo>
                        <a:pt x="528" y="1896"/>
                      </a:lnTo>
                      <a:lnTo>
                        <a:pt x="531" y="1896"/>
                      </a:lnTo>
                      <a:lnTo>
                        <a:pt x="532" y="1896"/>
                      </a:lnTo>
                      <a:lnTo>
                        <a:pt x="534" y="1895"/>
                      </a:lnTo>
                      <a:lnTo>
                        <a:pt x="536" y="1893"/>
                      </a:lnTo>
                      <a:lnTo>
                        <a:pt x="538" y="1892"/>
                      </a:lnTo>
                      <a:lnTo>
                        <a:pt x="538" y="1891"/>
                      </a:lnTo>
                      <a:lnTo>
                        <a:pt x="541" y="1890"/>
                      </a:lnTo>
                      <a:lnTo>
                        <a:pt x="542" y="1889"/>
                      </a:lnTo>
                      <a:lnTo>
                        <a:pt x="542" y="1888"/>
                      </a:lnTo>
                      <a:lnTo>
                        <a:pt x="542" y="1888"/>
                      </a:lnTo>
                      <a:lnTo>
                        <a:pt x="543" y="1888"/>
                      </a:lnTo>
                      <a:lnTo>
                        <a:pt x="543" y="1888"/>
                      </a:lnTo>
                      <a:lnTo>
                        <a:pt x="544" y="1886"/>
                      </a:lnTo>
                      <a:lnTo>
                        <a:pt x="545" y="1886"/>
                      </a:lnTo>
                      <a:lnTo>
                        <a:pt x="545" y="1885"/>
                      </a:lnTo>
                      <a:lnTo>
                        <a:pt x="544" y="1883"/>
                      </a:lnTo>
                      <a:lnTo>
                        <a:pt x="545" y="1879"/>
                      </a:lnTo>
                      <a:lnTo>
                        <a:pt x="546" y="1877"/>
                      </a:lnTo>
                      <a:lnTo>
                        <a:pt x="546" y="1876"/>
                      </a:lnTo>
                      <a:lnTo>
                        <a:pt x="548" y="1876"/>
                      </a:lnTo>
                      <a:lnTo>
                        <a:pt x="548" y="1875"/>
                      </a:lnTo>
                      <a:lnTo>
                        <a:pt x="549" y="1873"/>
                      </a:lnTo>
                      <a:lnTo>
                        <a:pt x="550" y="1873"/>
                      </a:lnTo>
                      <a:lnTo>
                        <a:pt x="550" y="1871"/>
                      </a:lnTo>
                      <a:lnTo>
                        <a:pt x="551" y="1871"/>
                      </a:lnTo>
                      <a:lnTo>
                        <a:pt x="552" y="1868"/>
                      </a:lnTo>
                      <a:lnTo>
                        <a:pt x="553" y="1867"/>
                      </a:lnTo>
                      <a:lnTo>
                        <a:pt x="554" y="1866"/>
                      </a:lnTo>
                      <a:lnTo>
                        <a:pt x="555" y="1866"/>
                      </a:lnTo>
                      <a:lnTo>
                        <a:pt x="555" y="1865"/>
                      </a:lnTo>
                      <a:lnTo>
                        <a:pt x="556" y="1865"/>
                      </a:lnTo>
                      <a:lnTo>
                        <a:pt x="556" y="1864"/>
                      </a:lnTo>
                      <a:lnTo>
                        <a:pt x="561" y="1862"/>
                      </a:lnTo>
                      <a:lnTo>
                        <a:pt x="561" y="1861"/>
                      </a:lnTo>
                      <a:lnTo>
                        <a:pt x="563" y="1861"/>
                      </a:lnTo>
                      <a:lnTo>
                        <a:pt x="564" y="1860"/>
                      </a:lnTo>
                      <a:lnTo>
                        <a:pt x="564" y="1860"/>
                      </a:lnTo>
                      <a:lnTo>
                        <a:pt x="566" y="1860"/>
                      </a:lnTo>
                      <a:lnTo>
                        <a:pt x="567" y="1859"/>
                      </a:lnTo>
                      <a:lnTo>
                        <a:pt x="569" y="1856"/>
                      </a:lnTo>
                      <a:lnTo>
                        <a:pt x="570" y="1856"/>
                      </a:lnTo>
                      <a:lnTo>
                        <a:pt x="571" y="1855"/>
                      </a:lnTo>
                      <a:lnTo>
                        <a:pt x="572" y="1855"/>
                      </a:lnTo>
                      <a:lnTo>
                        <a:pt x="573" y="1853"/>
                      </a:lnTo>
                      <a:lnTo>
                        <a:pt x="574" y="1852"/>
                      </a:lnTo>
                      <a:lnTo>
                        <a:pt x="575" y="1851"/>
                      </a:lnTo>
                      <a:lnTo>
                        <a:pt x="576" y="1851"/>
                      </a:lnTo>
                      <a:lnTo>
                        <a:pt x="576" y="1850"/>
                      </a:lnTo>
                      <a:lnTo>
                        <a:pt x="578" y="1848"/>
                      </a:lnTo>
                      <a:lnTo>
                        <a:pt x="576" y="1847"/>
                      </a:lnTo>
                      <a:lnTo>
                        <a:pt x="573" y="1851"/>
                      </a:lnTo>
                      <a:lnTo>
                        <a:pt x="571" y="1852"/>
                      </a:lnTo>
                      <a:lnTo>
                        <a:pt x="568" y="1853"/>
                      </a:lnTo>
                      <a:lnTo>
                        <a:pt x="565" y="1856"/>
                      </a:lnTo>
                      <a:lnTo>
                        <a:pt x="563" y="1857"/>
                      </a:lnTo>
                      <a:lnTo>
                        <a:pt x="561" y="1857"/>
                      </a:lnTo>
                      <a:lnTo>
                        <a:pt x="558" y="1858"/>
                      </a:lnTo>
                      <a:lnTo>
                        <a:pt x="554" y="1860"/>
                      </a:lnTo>
                      <a:lnTo>
                        <a:pt x="553" y="1860"/>
                      </a:lnTo>
                      <a:lnTo>
                        <a:pt x="553" y="1860"/>
                      </a:lnTo>
                      <a:lnTo>
                        <a:pt x="553" y="1856"/>
                      </a:lnTo>
                      <a:lnTo>
                        <a:pt x="552" y="1856"/>
                      </a:lnTo>
                      <a:lnTo>
                        <a:pt x="551" y="1856"/>
                      </a:lnTo>
                      <a:lnTo>
                        <a:pt x="549" y="1859"/>
                      </a:lnTo>
                      <a:lnTo>
                        <a:pt x="548" y="1860"/>
                      </a:lnTo>
                      <a:lnTo>
                        <a:pt x="546" y="1861"/>
                      </a:lnTo>
                      <a:lnTo>
                        <a:pt x="548" y="1861"/>
                      </a:lnTo>
                      <a:lnTo>
                        <a:pt x="548" y="1862"/>
                      </a:lnTo>
                      <a:lnTo>
                        <a:pt x="546" y="1862"/>
                      </a:lnTo>
                      <a:lnTo>
                        <a:pt x="545" y="1865"/>
                      </a:lnTo>
                      <a:lnTo>
                        <a:pt x="545" y="1865"/>
                      </a:lnTo>
                      <a:lnTo>
                        <a:pt x="544" y="1866"/>
                      </a:lnTo>
                      <a:lnTo>
                        <a:pt x="543" y="1866"/>
                      </a:lnTo>
                      <a:lnTo>
                        <a:pt x="543" y="1866"/>
                      </a:lnTo>
                      <a:lnTo>
                        <a:pt x="542" y="1869"/>
                      </a:lnTo>
                      <a:lnTo>
                        <a:pt x="542" y="1872"/>
                      </a:lnTo>
                      <a:lnTo>
                        <a:pt x="541" y="1872"/>
                      </a:lnTo>
                      <a:lnTo>
                        <a:pt x="541" y="1872"/>
                      </a:lnTo>
                      <a:lnTo>
                        <a:pt x="540" y="1873"/>
                      </a:lnTo>
                      <a:lnTo>
                        <a:pt x="540" y="1875"/>
                      </a:lnTo>
                      <a:lnTo>
                        <a:pt x="539" y="1875"/>
                      </a:lnTo>
                      <a:lnTo>
                        <a:pt x="539" y="1876"/>
                      </a:lnTo>
                      <a:lnTo>
                        <a:pt x="540" y="1876"/>
                      </a:lnTo>
                      <a:lnTo>
                        <a:pt x="540" y="1877"/>
                      </a:lnTo>
                      <a:lnTo>
                        <a:pt x="540" y="1880"/>
                      </a:lnTo>
                      <a:lnTo>
                        <a:pt x="539" y="1881"/>
                      </a:lnTo>
                      <a:lnTo>
                        <a:pt x="538" y="1882"/>
                      </a:lnTo>
                      <a:lnTo>
                        <a:pt x="538" y="1883"/>
                      </a:lnTo>
                      <a:lnTo>
                        <a:pt x="537" y="1884"/>
                      </a:lnTo>
                      <a:lnTo>
                        <a:pt x="537" y="1885"/>
                      </a:lnTo>
                      <a:lnTo>
                        <a:pt x="537" y="1886"/>
                      </a:lnTo>
                      <a:lnTo>
                        <a:pt x="536" y="1886"/>
                      </a:lnTo>
                      <a:lnTo>
                        <a:pt x="535" y="1888"/>
                      </a:lnTo>
                      <a:lnTo>
                        <a:pt x="533" y="1889"/>
                      </a:lnTo>
                      <a:lnTo>
                        <a:pt x="531" y="1890"/>
                      </a:lnTo>
                      <a:lnTo>
                        <a:pt x="530" y="1889"/>
                      </a:lnTo>
                      <a:lnTo>
                        <a:pt x="528" y="1890"/>
                      </a:lnTo>
                      <a:lnTo>
                        <a:pt x="528" y="1890"/>
                      </a:lnTo>
                      <a:lnTo>
                        <a:pt x="527" y="1890"/>
                      </a:lnTo>
                      <a:lnTo>
                        <a:pt x="527" y="1891"/>
                      </a:lnTo>
                      <a:lnTo>
                        <a:pt x="526" y="1892"/>
                      </a:lnTo>
                      <a:lnTo>
                        <a:pt x="524" y="1892"/>
                      </a:lnTo>
                      <a:lnTo>
                        <a:pt x="522" y="1892"/>
                      </a:lnTo>
                      <a:lnTo>
                        <a:pt x="520" y="1894"/>
                      </a:lnTo>
                      <a:lnTo>
                        <a:pt x="520" y="1894"/>
                      </a:lnTo>
                      <a:lnTo>
                        <a:pt x="519" y="1895"/>
                      </a:lnTo>
                      <a:lnTo>
                        <a:pt x="519" y="1896"/>
                      </a:lnTo>
                      <a:lnTo>
                        <a:pt x="517" y="1897"/>
                      </a:lnTo>
                      <a:lnTo>
                        <a:pt x="516" y="1898"/>
                      </a:lnTo>
                      <a:lnTo>
                        <a:pt x="514" y="1899"/>
                      </a:lnTo>
                      <a:lnTo>
                        <a:pt x="514" y="1899"/>
                      </a:lnTo>
                      <a:lnTo>
                        <a:pt x="513" y="1900"/>
                      </a:lnTo>
                      <a:lnTo>
                        <a:pt x="513" y="1902"/>
                      </a:lnTo>
                      <a:lnTo>
                        <a:pt x="511" y="1902"/>
                      </a:lnTo>
                      <a:lnTo>
                        <a:pt x="511" y="1903"/>
                      </a:lnTo>
                      <a:lnTo>
                        <a:pt x="509" y="1904"/>
                      </a:lnTo>
                      <a:lnTo>
                        <a:pt x="509" y="1905"/>
                      </a:lnTo>
                      <a:lnTo>
                        <a:pt x="508" y="1906"/>
                      </a:lnTo>
                      <a:lnTo>
                        <a:pt x="508" y="1909"/>
                      </a:lnTo>
                      <a:lnTo>
                        <a:pt x="508" y="1909"/>
                      </a:lnTo>
                      <a:lnTo>
                        <a:pt x="508" y="1910"/>
                      </a:lnTo>
                      <a:lnTo>
                        <a:pt x="507" y="1911"/>
                      </a:lnTo>
                      <a:lnTo>
                        <a:pt x="507" y="1911"/>
                      </a:lnTo>
                      <a:lnTo>
                        <a:pt x="508" y="1913"/>
                      </a:lnTo>
                      <a:lnTo>
                        <a:pt x="507" y="1913"/>
                      </a:lnTo>
                      <a:lnTo>
                        <a:pt x="507" y="1913"/>
                      </a:lnTo>
                      <a:lnTo>
                        <a:pt x="505" y="1914"/>
                      </a:lnTo>
                      <a:lnTo>
                        <a:pt x="505" y="1914"/>
                      </a:lnTo>
                      <a:lnTo>
                        <a:pt x="502" y="1916"/>
                      </a:lnTo>
                      <a:lnTo>
                        <a:pt x="501" y="1917"/>
                      </a:lnTo>
                      <a:lnTo>
                        <a:pt x="501" y="1917"/>
                      </a:lnTo>
                      <a:lnTo>
                        <a:pt x="501" y="1918"/>
                      </a:lnTo>
                      <a:lnTo>
                        <a:pt x="501" y="1919"/>
                      </a:lnTo>
                      <a:lnTo>
                        <a:pt x="500" y="1921"/>
                      </a:lnTo>
                      <a:lnTo>
                        <a:pt x="500" y="1923"/>
                      </a:lnTo>
                      <a:lnTo>
                        <a:pt x="500" y="1923"/>
                      </a:lnTo>
                      <a:lnTo>
                        <a:pt x="499" y="1924"/>
                      </a:lnTo>
                      <a:lnTo>
                        <a:pt x="498" y="1925"/>
                      </a:lnTo>
                      <a:lnTo>
                        <a:pt x="498" y="1925"/>
                      </a:lnTo>
                      <a:lnTo>
                        <a:pt x="497" y="1926"/>
                      </a:lnTo>
                      <a:lnTo>
                        <a:pt x="497" y="1926"/>
                      </a:lnTo>
                      <a:lnTo>
                        <a:pt x="496" y="1927"/>
                      </a:lnTo>
                      <a:lnTo>
                        <a:pt x="496" y="1927"/>
                      </a:lnTo>
                      <a:lnTo>
                        <a:pt x="496" y="1927"/>
                      </a:lnTo>
                      <a:lnTo>
                        <a:pt x="495" y="1927"/>
                      </a:lnTo>
                      <a:lnTo>
                        <a:pt x="495" y="1927"/>
                      </a:lnTo>
                      <a:lnTo>
                        <a:pt x="494" y="1926"/>
                      </a:lnTo>
                      <a:lnTo>
                        <a:pt x="494" y="1926"/>
                      </a:lnTo>
                      <a:lnTo>
                        <a:pt x="494" y="1925"/>
                      </a:lnTo>
                      <a:lnTo>
                        <a:pt x="494" y="1925"/>
                      </a:lnTo>
                      <a:lnTo>
                        <a:pt x="494" y="1924"/>
                      </a:lnTo>
                      <a:lnTo>
                        <a:pt x="494" y="1923"/>
                      </a:lnTo>
                      <a:lnTo>
                        <a:pt x="493" y="1923"/>
                      </a:lnTo>
                      <a:lnTo>
                        <a:pt x="492" y="1923"/>
                      </a:lnTo>
                      <a:lnTo>
                        <a:pt x="492" y="1924"/>
                      </a:lnTo>
                      <a:lnTo>
                        <a:pt x="491" y="1925"/>
                      </a:lnTo>
                      <a:lnTo>
                        <a:pt x="492" y="1926"/>
                      </a:lnTo>
                      <a:lnTo>
                        <a:pt x="493" y="1927"/>
                      </a:lnTo>
                      <a:lnTo>
                        <a:pt x="494" y="1927"/>
                      </a:lnTo>
                      <a:lnTo>
                        <a:pt x="493" y="1928"/>
                      </a:lnTo>
                      <a:lnTo>
                        <a:pt x="492" y="1928"/>
                      </a:lnTo>
                      <a:lnTo>
                        <a:pt x="492" y="1929"/>
                      </a:lnTo>
                      <a:lnTo>
                        <a:pt x="491" y="1929"/>
                      </a:lnTo>
                      <a:lnTo>
                        <a:pt x="491" y="1930"/>
                      </a:lnTo>
                      <a:lnTo>
                        <a:pt x="490" y="1931"/>
                      </a:lnTo>
                      <a:lnTo>
                        <a:pt x="491" y="1931"/>
                      </a:lnTo>
                      <a:lnTo>
                        <a:pt x="491" y="1933"/>
                      </a:lnTo>
                      <a:lnTo>
                        <a:pt x="491" y="1934"/>
                      </a:lnTo>
                      <a:lnTo>
                        <a:pt x="491" y="1934"/>
                      </a:lnTo>
                      <a:lnTo>
                        <a:pt x="491" y="1937"/>
                      </a:lnTo>
                      <a:lnTo>
                        <a:pt x="490" y="1939"/>
                      </a:lnTo>
                      <a:lnTo>
                        <a:pt x="490" y="1940"/>
                      </a:lnTo>
                      <a:lnTo>
                        <a:pt x="489" y="1941"/>
                      </a:lnTo>
                      <a:lnTo>
                        <a:pt x="488" y="1940"/>
                      </a:lnTo>
                      <a:lnTo>
                        <a:pt x="488" y="1940"/>
                      </a:lnTo>
                      <a:lnTo>
                        <a:pt x="487" y="1939"/>
                      </a:lnTo>
                      <a:lnTo>
                        <a:pt x="487" y="1940"/>
                      </a:lnTo>
                      <a:lnTo>
                        <a:pt x="486" y="1940"/>
                      </a:lnTo>
                      <a:lnTo>
                        <a:pt x="486" y="1940"/>
                      </a:lnTo>
                      <a:lnTo>
                        <a:pt x="485" y="1943"/>
                      </a:lnTo>
                      <a:lnTo>
                        <a:pt x="484" y="1943"/>
                      </a:lnTo>
                      <a:lnTo>
                        <a:pt x="482" y="1948"/>
                      </a:lnTo>
                      <a:lnTo>
                        <a:pt x="481" y="1948"/>
                      </a:lnTo>
                      <a:lnTo>
                        <a:pt x="481" y="1947"/>
                      </a:lnTo>
                      <a:lnTo>
                        <a:pt x="481" y="1947"/>
                      </a:lnTo>
                      <a:lnTo>
                        <a:pt x="481" y="1947"/>
                      </a:lnTo>
                      <a:lnTo>
                        <a:pt x="481" y="1947"/>
                      </a:lnTo>
                      <a:lnTo>
                        <a:pt x="481" y="1948"/>
                      </a:lnTo>
                      <a:lnTo>
                        <a:pt x="480" y="1948"/>
                      </a:lnTo>
                      <a:lnTo>
                        <a:pt x="480" y="1947"/>
                      </a:lnTo>
                      <a:lnTo>
                        <a:pt x="479" y="1947"/>
                      </a:lnTo>
                      <a:lnTo>
                        <a:pt x="478" y="1948"/>
                      </a:lnTo>
                      <a:lnTo>
                        <a:pt x="477" y="1949"/>
                      </a:lnTo>
                      <a:lnTo>
                        <a:pt x="477" y="1947"/>
                      </a:lnTo>
                      <a:lnTo>
                        <a:pt x="476" y="1947"/>
                      </a:lnTo>
                      <a:lnTo>
                        <a:pt x="476" y="1947"/>
                      </a:lnTo>
                      <a:lnTo>
                        <a:pt x="476" y="1947"/>
                      </a:lnTo>
                      <a:lnTo>
                        <a:pt x="475" y="1945"/>
                      </a:lnTo>
                      <a:lnTo>
                        <a:pt x="475" y="1947"/>
                      </a:lnTo>
                      <a:lnTo>
                        <a:pt x="474" y="1945"/>
                      </a:lnTo>
                      <a:lnTo>
                        <a:pt x="473" y="1944"/>
                      </a:lnTo>
                      <a:lnTo>
                        <a:pt x="473" y="1944"/>
                      </a:lnTo>
                      <a:lnTo>
                        <a:pt x="473" y="1944"/>
                      </a:lnTo>
                      <a:lnTo>
                        <a:pt x="471" y="1942"/>
                      </a:lnTo>
                      <a:lnTo>
                        <a:pt x="473" y="1940"/>
                      </a:lnTo>
                      <a:lnTo>
                        <a:pt x="471" y="1939"/>
                      </a:lnTo>
                      <a:lnTo>
                        <a:pt x="471" y="1938"/>
                      </a:lnTo>
                      <a:lnTo>
                        <a:pt x="471" y="1936"/>
                      </a:lnTo>
                      <a:lnTo>
                        <a:pt x="470" y="1935"/>
                      </a:lnTo>
                      <a:lnTo>
                        <a:pt x="469" y="1935"/>
                      </a:lnTo>
                      <a:lnTo>
                        <a:pt x="469" y="1936"/>
                      </a:lnTo>
                      <a:lnTo>
                        <a:pt x="469" y="1937"/>
                      </a:lnTo>
                      <a:lnTo>
                        <a:pt x="469" y="1938"/>
                      </a:lnTo>
                      <a:lnTo>
                        <a:pt x="469" y="1938"/>
                      </a:lnTo>
                      <a:lnTo>
                        <a:pt x="468" y="1940"/>
                      </a:lnTo>
                      <a:lnTo>
                        <a:pt x="468" y="1942"/>
                      </a:lnTo>
                      <a:lnTo>
                        <a:pt x="468" y="1943"/>
                      </a:lnTo>
                      <a:lnTo>
                        <a:pt x="468" y="1943"/>
                      </a:lnTo>
                      <a:lnTo>
                        <a:pt x="469" y="1944"/>
                      </a:lnTo>
                      <a:lnTo>
                        <a:pt x="467" y="1945"/>
                      </a:lnTo>
                      <a:lnTo>
                        <a:pt x="467" y="1947"/>
                      </a:lnTo>
                      <a:lnTo>
                        <a:pt x="468" y="1949"/>
                      </a:lnTo>
                      <a:lnTo>
                        <a:pt x="468" y="1950"/>
                      </a:lnTo>
                      <a:lnTo>
                        <a:pt x="468" y="1952"/>
                      </a:lnTo>
                      <a:lnTo>
                        <a:pt x="468" y="1952"/>
                      </a:lnTo>
                      <a:lnTo>
                        <a:pt x="468" y="1953"/>
                      </a:lnTo>
                      <a:lnTo>
                        <a:pt x="468" y="1955"/>
                      </a:lnTo>
                      <a:lnTo>
                        <a:pt x="468" y="1956"/>
                      </a:lnTo>
                      <a:lnTo>
                        <a:pt x="468" y="1958"/>
                      </a:lnTo>
                      <a:lnTo>
                        <a:pt x="468" y="1958"/>
                      </a:lnTo>
                      <a:lnTo>
                        <a:pt x="469" y="1959"/>
                      </a:lnTo>
                      <a:lnTo>
                        <a:pt x="469" y="1959"/>
                      </a:lnTo>
                      <a:lnTo>
                        <a:pt x="468" y="1959"/>
                      </a:lnTo>
                      <a:lnTo>
                        <a:pt x="467" y="1959"/>
                      </a:lnTo>
                      <a:lnTo>
                        <a:pt x="467" y="1960"/>
                      </a:lnTo>
                      <a:lnTo>
                        <a:pt x="468" y="1962"/>
                      </a:lnTo>
                      <a:lnTo>
                        <a:pt x="468" y="1962"/>
                      </a:lnTo>
                      <a:lnTo>
                        <a:pt x="468" y="1964"/>
                      </a:lnTo>
                      <a:lnTo>
                        <a:pt x="469" y="1965"/>
                      </a:lnTo>
                      <a:lnTo>
                        <a:pt x="471" y="1966"/>
                      </a:lnTo>
                      <a:lnTo>
                        <a:pt x="473" y="1969"/>
                      </a:lnTo>
                      <a:lnTo>
                        <a:pt x="473" y="1973"/>
                      </a:lnTo>
                      <a:lnTo>
                        <a:pt x="473" y="1974"/>
                      </a:lnTo>
                      <a:lnTo>
                        <a:pt x="474" y="1980"/>
                      </a:lnTo>
                      <a:lnTo>
                        <a:pt x="474" y="1981"/>
                      </a:lnTo>
                      <a:lnTo>
                        <a:pt x="474" y="1983"/>
                      </a:lnTo>
                      <a:lnTo>
                        <a:pt x="475" y="1983"/>
                      </a:lnTo>
                      <a:lnTo>
                        <a:pt x="475" y="1985"/>
                      </a:lnTo>
                      <a:lnTo>
                        <a:pt x="475" y="1985"/>
                      </a:lnTo>
                      <a:lnTo>
                        <a:pt x="475" y="1988"/>
                      </a:lnTo>
                      <a:lnTo>
                        <a:pt x="475" y="1989"/>
                      </a:lnTo>
                      <a:lnTo>
                        <a:pt x="475" y="1990"/>
                      </a:lnTo>
                      <a:lnTo>
                        <a:pt x="476" y="1990"/>
                      </a:lnTo>
                      <a:lnTo>
                        <a:pt x="476" y="1990"/>
                      </a:lnTo>
                      <a:lnTo>
                        <a:pt x="477" y="1989"/>
                      </a:lnTo>
                      <a:lnTo>
                        <a:pt x="478" y="1991"/>
                      </a:lnTo>
                      <a:lnTo>
                        <a:pt x="478" y="1992"/>
                      </a:lnTo>
                      <a:lnTo>
                        <a:pt x="477" y="1992"/>
                      </a:lnTo>
                      <a:lnTo>
                        <a:pt x="476" y="1991"/>
                      </a:lnTo>
                      <a:lnTo>
                        <a:pt x="477" y="1994"/>
                      </a:lnTo>
                      <a:lnTo>
                        <a:pt x="478" y="1996"/>
                      </a:lnTo>
                      <a:lnTo>
                        <a:pt x="479" y="1998"/>
                      </a:lnTo>
                      <a:lnTo>
                        <a:pt x="479" y="1998"/>
                      </a:lnTo>
                      <a:lnTo>
                        <a:pt x="479" y="1998"/>
                      </a:lnTo>
                      <a:lnTo>
                        <a:pt x="478" y="1999"/>
                      </a:lnTo>
                      <a:lnTo>
                        <a:pt x="477" y="1999"/>
                      </a:lnTo>
                      <a:lnTo>
                        <a:pt x="477" y="1998"/>
                      </a:lnTo>
                      <a:lnTo>
                        <a:pt x="476" y="2000"/>
                      </a:lnTo>
                      <a:lnTo>
                        <a:pt x="478" y="1999"/>
                      </a:lnTo>
                      <a:lnTo>
                        <a:pt x="479" y="1999"/>
                      </a:lnTo>
                      <a:lnTo>
                        <a:pt x="480" y="2000"/>
                      </a:lnTo>
                      <a:lnTo>
                        <a:pt x="482" y="2000"/>
                      </a:lnTo>
                      <a:lnTo>
                        <a:pt x="482" y="2002"/>
                      </a:lnTo>
                      <a:lnTo>
                        <a:pt x="483" y="2004"/>
                      </a:lnTo>
                      <a:lnTo>
                        <a:pt x="485" y="2005"/>
                      </a:lnTo>
                      <a:lnTo>
                        <a:pt x="485" y="2006"/>
                      </a:lnTo>
                      <a:lnTo>
                        <a:pt x="486" y="2008"/>
                      </a:lnTo>
                      <a:lnTo>
                        <a:pt x="487" y="2011"/>
                      </a:lnTo>
                      <a:lnTo>
                        <a:pt x="490" y="2012"/>
                      </a:lnTo>
                      <a:lnTo>
                        <a:pt x="491" y="2013"/>
                      </a:lnTo>
                      <a:lnTo>
                        <a:pt x="491" y="2015"/>
                      </a:lnTo>
                      <a:lnTo>
                        <a:pt x="492" y="2016"/>
                      </a:lnTo>
                      <a:lnTo>
                        <a:pt x="492" y="2018"/>
                      </a:lnTo>
                      <a:lnTo>
                        <a:pt x="493" y="2020"/>
                      </a:lnTo>
                      <a:lnTo>
                        <a:pt x="494" y="2020"/>
                      </a:lnTo>
                      <a:lnTo>
                        <a:pt x="494" y="2023"/>
                      </a:lnTo>
                      <a:lnTo>
                        <a:pt x="494" y="2024"/>
                      </a:lnTo>
                      <a:lnTo>
                        <a:pt x="495" y="2025"/>
                      </a:lnTo>
                      <a:lnTo>
                        <a:pt x="495" y="2026"/>
                      </a:lnTo>
                      <a:lnTo>
                        <a:pt x="495" y="2027"/>
                      </a:lnTo>
                      <a:lnTo>
                        <a:pt x="495" y="2028"/>
                      </a:lnTo>
                      <a:lnTo>
                        <a:pt x="496" y="2029"/>
                      </a:lnTo>
                      <a:lnTo>
                        <a:pt x="496" y="2030"/>
                      </a:lnTo>
                      <a:lnTo>
                        <a:pt x="495" y="2032"/>
                      </a:lnTo>
                      <a:lnTo>
                        <a:pt x="496" y="2033"/>
                      </a:lnTo>
                      <a:lnTo>
                        <a:pt x="495" y="2034"/>
                      </a:lnTo>
                      <a:lnTo>
                        <a:pt x="495" y="2035"/>
                      </a:lnTo>
                      <a:lnTo>
                        <a:pt x="495" y="2036"/>
                      </a:lnTo>
                      <a:lnTo>
                        <a:pt x="493" y="2037"/>
                      </a:lnTo>
                      <a:lnTo>
                        <a:pt x="493" y="2038"/>
                      </a:lnTo>
                      <a:lnTo>
                        <a:pt x="492" y="2037"/>
                      </a:lnTo>
                      <a:lnTo>
                        <a:pt x="488" y="2037"/>
                      </a:lnTo>
                      <a:lnTo>
                        <a:pt x="488" y="2038"/>
                      </a:lnTo>
                      <a:lnTo>
                        <a:pt x="486" y="2040"/>
                      </a:lnTo>
                      <a:lnTo>
                        <a:pt x="484" y="2041"/>
                      </a:lnTo>
                      <a:lnTo>
                        <a:pt x="483" y="2041"/>
                      </a:lnTo>
                      <a:lnTo>
                        <a:pt x="483" y="2041"/>
                      </a:lnTo>
                      <a:lnTo>
                        <a:pt x="481" y="2042"/>
                      </a:lnTo>
                      <a:lnTo>
                        <a:pt x="479" y="2042"/>
                      </a:lnTo>
                      <a:lnTo>
                        <a:pt x="479" y="2043"/>
                      </a:lnTo>
                      <a:lnTo>
                        <a:pt x="478" y="2044"/>
                      </a:lnTo>
                      <a:lnTo>
                        <a:pt x="477" y="2046"/>
                      </a:lnTo>
                      <a:lnTo>
                        <a:pt x="476" y="2047"/>
                      </a:lnTo>
                      <a:lnTo>
                        <a:pt x="476" y="2048"/>
                      </a:lnTo>
                      <a:lnTo>
                        <a:pt x="475" y="2048"/>
                      </a:lnTo>
                      <a:lnTo>
                        <a:pt x="474" y="2049"/>
                      </a:lnTo>
                      <a:lnTo>
                        <a:pt x="473" y="2050"/>
                      </a:lnTo>
                      <a:lnTo>
                        <a:pt x="473" y="2051"/>
                      </a:lnTo>
                      <a:lnTo>
                        <a:pt x="471" y="2052"/>
                      </a:lnTo>
                      <a:lnTo>
                        <a:pt x="470" y="2053"/>
                      </a:lnTo>
                      <a:lnTo>
                        <a:pt x="470" y="2054"/>
                      </a:lnTo>
                      <a:lnTo>
                        <a:pt x="469" y="2055"/>
                      </a:lnTo>
                      <a:lnTo>
                        <a:pt x="469" y="2056"/>
                      </a:lnTo>
                      <a:lnTo>
                        <a:pt x="468" y="2056"/>
                      </a:lnTo>
                      <a:lnTo>
                        <a:pt x="468" y="2057"/>
                      </a:lnTo>
                      <a:lnTo>
                        <a:pt x="468" y="2057"/>
                      </a:lnTo>
                      <a:lnTo>
                        <a:pt x="467" y="2059"/>
                      </a:lnTo>
                      <a:lnTo>
                        <a:pt x="468" y="2059"/>
                      </a:lnTo>
                      <a:lnTo>
                        <a:pt x="468" y="2061"/>
                      </a:lnTo>
                      <a:lnTo>
                        <a:pt x="468" y="2061"/>
                      </a:lnTo>
                      <a:lnTo>
                        <a:pt x="468" y="2062"/>
                      </a:lnTo>
                      <a:lnTo>
                        <a:pt x="468" y="2062"/>
                      </a:lnTo>
                      <a:lnTo>
                        <a:pt x="468" y="2065"/>
                      </a:lnTo>
                      <a:lnTo>
                        <a:pt x="467" y="2067"/>
                      </a:lnTo>
                      <a:lnTo>
                        <a:pt x="466" y="2067"/>
                      </a:lnTo>
                      <a:lnTo>
                        <a:pt x="465" y="2068"/>
                      </a:lnTo>
                      <a:lnTo>
                        <a:pt x="465" y="2068"/>
                      </a:lnTo>
                      <a:lnTo>
                        <a:pt x="466" y="2068"/>
                      </a:lnTo>
                      <a:lnTo>
                        <a:pt x="466" y="2070"/>
                      </a:lnTo>
                      <a:lnTo>
                        <a:pt x="465" y="2071"/>
                      </a:lnTo>
                      <a:lnTo>
                        <a:pt x="465" y="2074"/>
                      </a:lnTo>
                      <a:lnTo>
                        <a:pt x="464" y="2078"/>
                      </a:lnTo>
                      <a:lnTo>
                        <a:pt x="463" y="2079"/>
                      </a:lnTo>
                      <a:lnTo>
                        <a:pt x="463" y="2080"/>
                      </a:lnTo>
                      <a:lnTo>
                        <a:pt x="461" y="2081"/>
                      </a:lnTo>
                      <a:lnTo>
                        <a:pt x="461" y="2081"/>
                      </a:lnTo>
                      <a:lnTo>
                        <a:pt x="460" y="2082"/>
                      </a:lnTo>
                      <a:lnTo>
                        <a:pt x="461" y="2083"/>
                      </a:lnTo>
                      <a:lnTo>
                        <a:pt x="461" y="2084"/>
                      </a:lnTo>
                      <a:lnTo>
                        <a:pt x="461" y="2085"/>
                      </a:lnTo>
                      <a:lnTo>
                        <a:pt x="462" y="2086"/>
                      </a:lnTo>
                      <a:lnTo>
                        <a:pt x="462" y="2088"/>
                      </a:lnTo>
                      <a:lnTo>
                        <a:pt x="462" y="2090"/>
                      </a:lnTo>
                      <a:lnTo>
                        <a:pt x="461" y="2091"/>
                      </a:lnTo>
                      <a:lnTo>
                        <a:pt x="462" y="2094"/>
                      </a:lnTo>
                      <a:lnTo>
                        <a:pt x="462" y="2096"/>
                      </a:lnTo>
                      <a:lnTo>
                        <a:pt x="463" y="2101"/>
                      </a:lnTo>
                      <a:lnTo>
                        <a:pt x="465" y="2101"/>
                      </a:lnTo>
                      <a:lnTo>
                        <a:pt x="465" y="2102"/>
                      </a:lnTo>
                      <a:lnTo>
                        <a:pt x="465" y="2103"/>
                      </a:lnTo>
                      <a:lnTo>
                        <a:pt x="465" y="2104"/>
                      </a:lnTo>
                      <a:lnTo>
                        <a:pt x="464" y="2104"/>
                      </a:lnTo>
                      <a:lnTo>
                        <a:pt x="465" y="2105"/>
                      </a:lnTo>
                      <a:lnTo>
                        <a:pt x="465" y="2107"/>
                      </a:lnTo>
                      <a:lnTo>
                        <a:pt x="465" y="2107"/>
                      </a:lnTo>
                      <a:lnTo>
                        <a:pt x="465" y="2108"/>
                      </a:lnTo>
                      <a:lnTo>
                        <a:pt x="465" y="2108"/>
                      </a:lnTo>
                      <a:lnTo>
                        <a:pt x="464" y="2108"/>
                      </a:lnTo>
                      <a:lnTo>
                        <a:pt x="464" y="2110"/>
                      </a:lnTo>
                      <a:lnTo>
                        <a:pt x="464" y="2110"/>
                      </a:lnTo>
                      <a:lnTo>
                        <a:pt x="463" y="2109"/>
                      </a:lnTo>
                      <a:lnTo>
                        <a:pt x="463" y="2108"/>
                      </a:lnTo>
                      <a:lnTo>
                        <a:pt x="463" y="2106"/>
                      </a:lnTo>
                      <a:lnTo>
                        <a:pt x="463" y="2106"/>
                      </a:lnTo>
                      <a:lnTo>
                        <a:pt x="463" y="2106"/>
                      </a:lnTo>
                      <a:lnTo>
                        <a:pt x="461" y="2106"/>
                      </a:lnTo>
                      <a:lnTo>
                        <a:pt x="460" y="2107"/>
                      </a:lnTo>
                      <a:lnTo>
                        <a:pt x="459" y="2107"/>
                      </a:lnTo>
                      <a:lnTo>
                        <a:pt x="460" y="2108"/>
                      </a:lnTo>
                      <a:lnTo>
                        <a:pt x="460" y="2109"/>
                      </a:lnTo>
                      <a:lnTo>
                        <a:pt x="459" y="2109"/>
                      </a:lnTo>
                      <a:lnTo>
                        <a:pt x="459" y="2110"/>
                      </a:lnTo>
                      <a:lnTo>
                        <a:pt x="458" y="2111"/>
                      </a:lnTo>
                      <a:lnTo>
                        <a:pt x="459" y="2112"/>
                      </a:lnTo>
                      <a:lnTo>
                        <a:pt x="459" y="2112"/>
                      </a:lnTo>
                      <a:lnTo>
                        <a:pt x="459" y="2114"/>
                      </a:lnTo>
                      <a:lnTo>
                        <a:pt x="458" y="2116"/>
                      </a:lnTo>
                      <a:lnTo>
                        <a:pt x="459" y="2116"/>
                      </a:lnTo>
                      <a:lnTo>
                        <a:pt x="459" y="2117"/>
                      </a:lnTo>
                      <a:lnTo>
                        <a:pt x="459" y="2117"/>
                      </a:lnTo>
                      <a:lnTo>
                        <a:pt x="459" y="2118"/>
                      </a:lnTo>
                      <a:lnTo>
                        <a:pt x="459" y="2118"/>
                      </a:lnTo>
                      <a:lnTo>
                        <a:pt x="458" y="2120"/>
                      </a:lnTo>
                      <a:lnTo>
                        <a:pt x="459" y="2121"/>
                      </a:lnTo>
                      <a:lnTo>
                        <a:pt x="459" y="2121"/>
                      </a:lnTo>
                      <a:lnTo>
                        <a:pt x="460" y="2122"/>
                      </a:lnTo>
                      <a:lnTo>
                        <a:pt x="459" y="2122"/>
                      </a:lnTo>
                      <a:lnTo>
                        <a:pt x="459" y="2124"/>
                      </a:lnTo>
                      <a:lnTo>
                        <a:pt x="459" y="2124"/>
                      </a:lnTo>
                      <a:lnTo>
                        <a:pt x="459" y="2125"/>
                      </a:lnTo>
                      <a:lnTo>
                        <a:pt x="459" y="2125"/>
                      </a:lnTo>
                      <a:lnTo>
                        <a:pt x="459" y="2125"/>
                      </a:lnTo>
                      <a:lnTo>
                        <a:pt x="458" y="2125"/>
                      </a:lnTo>
                      <a:lnTo>
                        <a:pt x="457" y="2125"/>
                      </a:lnTo>
                      <a:lnTo>
                        <a:pt x="456" y="2130"/>
                      </a:lnTo>
                      <a:lnTo>
                        <a:pt x="456" y="2130"/>
                      </a:lnTo>
                      <a:lnTo>
                        <a:pt x="456" y="2131"/>
                      </a:lnTo>
                      <a:lnTo>
                        <a:pt x="455" y="2133"/>
                      </a:lnTo>
                      <a:lnTo>
                        <a:pt x="455" y="2134"/>
                      </a:lnTo>
                      <a:lnTo>
                        <a:pt x="455" y="2134"/>
                      </a:lnTo>
                      <a:lnTo>
                        <a:pt x="455" y="2135"/>
                      </a:lnTo>
                      <a:lnTo>
                        <a:pt x="455" y="2137"/>
                      </a:lnTo>
                      <a:lnTo>
                        <a:pt x="455" y="2137"/>
                      </a:lnTo>
                      <a:lnTo>
                        <a:pt x="454" y="2137"/>
                      </a:lnTo>
                      <a:lnTo>
                        <a:pt x="454" y="2137"/>
                      </a:lnTo>
                      <a:lnTo>
                        <a:pt x="454" y="2139"/>
                      </a:lnTo>
                      <a:lnTo>
                        <a:pt x="454" y="2140"/>
                      </a:lnTo>
                      <a:lnTo>
                        <a:pt x="455" y="2140"/>
                      </a:lnTo>
                      <a:lnTo>
                        <a:pt x="455" y="2140"/>
                      </a:lnTo>
                      <a:lnTo>
                        <a:pt x="455" y="2141"/>
                      </a:lnTo>
                      <a:lnTo>
                        <a:pt x="455" y="2141"/>
                      </a:lnTo>
                      <a:lnTo>
                        <a:pt x="454" y="2141"/>
                      </a:lnTo>
                      <a:lnTo>
                        <a:pt x="453" y="2142"/>
                      </a:lnTo>
                      <a:lnTo>
                        <a:pt x="452" y="2142"/>
                      </a:lnTo>
                      <a:lnTo>
                        <a:pt x="453" y="2143"/>
                      </a:lnTo>
                      <a:lnTo>
                        <a:pt x="452" y="2144"/>
                      </a:lnTo>
                      <a:lnTo>
                        <a:pt x="451" y="2144"/>
                      </a:lnTo>
                      <a:lnTo>
                        <a:pt x="451" y="2145"/>
                      </a:lnTo>
                      <a:lnTo>
                        <a:pt x="450" y="2146"/>
                      </a:lnTo>
                      <a:lnTo>
                        <a:pt x="451" y="2146"/>
                      </a:lnTo>
                      <a:lnTo>
                        <a:pt x="449" y="2146"/>
                      </a:lnTo>
                      <a:lnTo>
                        <a:pt x="448" y="2147"/>
                      </a:lnTo>
                      <a:lnTo>
                        <a:pt x="448" y="2147"/>
                      </a:lnTo>
                      <a:lnTo>
                        <a:pt x="448" y="2148"/>
                      </a:lnTo>
                      <a:lnTo>
                        <a:pt x="449" y="2150"/>
                      </a:lnTo>
                      <a:lnTo>
                        <a:pt x="448" y="2150"/>
                      </a:lnTo>
                      <a:lnTo>
                        <a:pt x="448" y="2152"/>
                      </a:lnTo>
                      <a:lnTo>
                        <a:pt x="448" y="2153"/>
                      </a:lnTo>
                      <a:lnTo>
                        <a:pt x="448" y="2154"/>
                      </a:lnTo>
                      <a:lnTo>
                        <a:pt x="447" y="2156"/>
                      </a:lnTo>
                      <a:lnTo>
                        <a:pt x="447" y="2157"/>
                      </a:lnTo>
                      <a:lnTo>
                        <a:pt x="447" y="2157"/>
                      </a:lnTo>
                      <a:lnTo>
                        <a:pt x="446" y="2157"/>
                      </a:lnTo>
                      <a:lnTo>
                        <a:pt x="446" y="2158"/>
                      </a:lnTo>
                      <a:lnTo>
                        <a:pt x="446" y="2159"/>
                      </a:lnTo>
                      <a:lnTo>
                        <a:pt x="447" y="2160"/>
                      </a:lnTo>
                      <a:lnTo>
                        <a:pt x="446" y="2160"/>
                      </a:lnTo>
                      <a:lnTo>
                        <a:pt x="446" y="2160"/>
                      </a:lnTo>
                      <a:lnTo>
                        <a:pt x="444" y="2160"/>
                      </a:lnTo>
                      <a:lnTo>
                        <a:pt x="443" y="2162"/>
                      </a:lnTo>
                      <a:lnTo>
                        <a:pt x="443" y="2163"/>
                      </a:lnTo>
                      <a:lnTo>
                        <a:pt x="442" y="2163"/>
                      </a:lnTo>
                      <a:lnTo>
                        <a:pt x="441" y="2163"/>
                      </a:lnTo>
                      <a:lnTo>
                        <a:pt x="441" y="2163"/>
                      </a:lnTo>
                      <a:lnTo>
                        <a:pt x="440" y="2164"/>
                      </a:lnTo>
                      <a:lnTo>
                        <a:pt x="440" y="2163"/>
                      </a:lnTo>
                      <a:lnTo>
                        <a:pt x="439" y="2162"/>
                      </a:lnTo>
                      <a:lnTo>
                        <a:pt x="437" y="2162"/>
                      </a:lnTo>
                      <a:lnTo>
                        <a:pt x="436" y="2162"/>
                      </a:lnTo>
                      <a:lnTo>
                        <a:pt x="436" y="2163"/>
                      </a:lnTo>
                      <a:lnTo>
                        <a:pt x="437" y="2163"/>
                      </a:lnTo>
                      <a:lnTo>
                        <a:pt x="437" y="2164"/>
                      </a:lnTo>
                      <a:lnTo>
                        <a:pt x="437" y="2164"/>
                      </a:lnTo>
                      <a:lnTo>
                        <a:pt x="437" y="2165"/>
                      </a:lnTo>
                      <a:lnTo>
                        <a:pt x="439" y="2166"/>
                      </a:lnTo>
                      <a:lnTo>
                        <a:pt x="439" y="2167"/>
                      </a:lnTo>
                      <a:lnTo>
                        <a:pt x="440" y="2167"/>
                      </a:lnTo>
                      <a:lnTo>
                        <a:pt x="441" y="2167"/>
                      </a:lnTo>
                      <a:lnTo>
                        <a:pt x="442" y="2167"/>
                      </a:lnTo>
                      <a:lnTo>
                        <a:pt x="443" y="2167"/>
                      </a:lnTo>
                      <a:lnTo>
                        <a:pt x="443" y="2167"/>
                      </a:lnTo>
                      <a:lnTo>
                        <a:pt x="444" y="2167"/>
                      </a:lnTo>
                      <a:lnTo>
                        <a:pt x="444" y="2165"/>
                      </a:lnTo>
                      <a:lnTo>
                        <a:pt x="444" y="2164"/>
                      </a:lnTo>
                      <a:lnTo>
                        <a:pt x="444" y="2164"/>
                      </a:lnTo>
                      <a:lnTo>
                        <a:pt x="444" y="2166"/>
                      </a:lnTo>
                      <a:lnTo>
                        <a:pt x="447" y="2166"/>
                      </a:lnTo>
                      <a:lnTo>
                        <a:pt x="448" y="2170"/>
                      </a:lnTo>
                      <a:lnTo>
                        <a:pt x="449" y="2170"/>
                      </a:lnTo>
                      <a:lnTo>
                        <a:pt x="449" y="2171"/>
                      </a:lnTo>
                      <a:lnTo>
                        <a:pt x="451" y="2173"/>
                      </a:lnTo>
                      <a:lnTo>
                        <a:pt x="451" y="2176"/>
                      </a:lnTo>
                      <a:lnTo>
                        <a:pt x="452" y="2176"/>
                      </a:lnTo>
                      <a:lnTo>
                        <a:pt x="453" y="2180"/>
                      </a:lnTo>
                      <a:lnTo>
                        <a:pt x="454" y="2184"/>
                      </a:lnTo>
                      <a:lnTo>
                        <a:pt x="453" y="2187"/>
                      </a:lnTo>
                      <a:lnTo>
                        <a:pt x="452" y="2188"/>
                      </a:lnTo>
                      <a:lnTo>
                        <a:pt x="450" y="2192"/>
                      </a:lnTo>
                      <a:lnTo>
                        <a:pt x="449" y="2193"/>
                      </a:lnTo>
                      <a:lnTo>
                        <a:pt x="449" y="2193"/>
                      </a:lnTo>
                      <a:lnTo>
                        <a:pt x="448" y="2194"/>
                      </a:lnTo>
                      <a:lnTo>
                        <a:pt x="447" y="2197"/>
                      </a:lnTo>
                      <a:lnTo>
                        <a:pt x="445" y="2198"/>
                      </a:lnTo>
                      <a:lnTo>
                        <a:pt x="444" y="2199"/>
                      </a:lnTo>
                      <a:lnTo>
                        <a:pt x="444" y="2201"/>
                      </a:lnTo>
                      <a:lnTo>
                        <a:pt x="444" y="2201"/>
                      </a:lnTo>
                      <a:lnTo>
                        <a:pt x="443" y="2202"/>
                      </a:lnTo>
                      <a:lnTo>
                        <a:pt x="441" y="2202"/>
                      </a:lnTo>
                      <a:lnTo>
                        <a:pt x="440" y="2203"/>
                      </a:lnTo>
                      <a:lnTo>
                        <a:pt x="438" y="2205"/>
                      </a:lnTo>
                      <a:lnTo>
                        <a:pt x="436" y="2206"/>
                      </a:lnTo>
                      <a:lnTo>
                        <a:pt x="431" y="2207"/>
                      </a:lnTo>
                      <a:lnTo>
                        <a:pt x="429" y="2206"/>
                      </a:lnTo>
                      <a:lnTo>
                        <a:pt x="428" y="2206"/>
                      </a:lnTo>
                      <a:lnTo>
                        <a:pt x="427" y="2207"/>
                      </a:lnTo>
                      <a:lnTo>
                        <a:pt x="426" y="2207"/>
                      </a:lnTo>
                      <a:lnTo>
                        <a:pt x="426" y="2206"/>
                      </a:lnTo>
                      <a:lnTo>
                        <a:pt x="426" y="2206"/>
                      </a:lnTo>
                      <a:lnTo>
                        <a:pt x="425" y="2206"/>
                      </a:lnTo>
                      <a:lnTo>
                        <a:pt x="424" y="2206"/>
                      </a:lnTo>
                      <a:lnTo>
                        <a:pt x="423" y="2206"/>
                      </a:lnTo>
                      <a:lnTo>
                        <a:pt x="421" y="2207"/>
                      </a:lnTo>
                      <a:lnTo>
                        <a:pt x="421" y="2207"/>
                      </a:lnTo>
                      <a:lnTo>
                        <a:pt x="421" y="2206"/>
                      </a:lnTo>
                      <a:lnTo>
                        <a:pt x="418" y="2206"/>
                      </a:lnTo>
                      <a:lnTo>
                        <a:pt x="418" y="2207"/>
                      </a:lnTo>
                      <a:lnTo>
                        <a:pt x="417" y="2207"/>
                      </a:lnTo>
                      <a:lnTo>
                        <a:pt x="417" y="2208"/>
                      </a:lnTo>
                      <a:lnTo>
                        <a:pt x="417" y="2208"/>
                      </a:lnTo>
                      <a:lnTo>
                        <a:pt x="416" y="2208"/>
                      </a:lnTo>
                      <a:lnTo>
                        <a:pt x="415" y="2208"/>
                      </a:lnTo>
                      <a:lnTo>
                        <a:pt x="414" y="2209"/>
                      </a:lnTo>
                      <a:lnTo>
                        <a:pt x="414" y="2209"/>
                      </a:lnTo>
                      <a:lnTo>
                        <a:pt x="413" y="2210"/>
                      </a:lnTo>
                      <a:lnTo>
                        <a:pt x="412" y="2211"/>
                      </a:lnTo>
                      <a:lnTo>
                        <a:pt x="411" y="2213"/>
                      </a:lnTo>
                      <a:lnTo>
                        <a:pt x="405" y="2214"/>
                      </a:lnTo>
                      <a:lnTo>
                        <a:pt x="402" y="2214"/>
                      </a:lnTo>
                      <a:lnTo>
                        <a:pt x="394" y="2210"/>
                      </a:lnTo>
                      <a:lnTo>
                        <a:pt x="393" y="2207"/>
                      </a:lnTo>
                      <a:lnTo>
                        <a:pt x="393" y="2205"/>
                      </a:lnTo>
                      <a:lnTo>
                        <a:pt x="394" y="2202"/>
                      </a:lnTo>
                      <a:lnTo>
                        <a:pt x="393" y="2199"/>
                      </a:lnTo>
                      <a:lnTo>
                        <a:pt x="394" y="2198"/>
                      </a:lnTo>
                      <a:lnTo>
                        <a:pt x="394" y="2196"/>
                      </a:lnTo>
                      <a:lnTo>
                        <a:pt x="394" y="2194"/>
                      </a:lnTo>
                      <a:lnTo>
                        <a:pt x="393" y="2192"/>
                      </a:lnTo>
                      <a:lnTo>
                        <a:pt x="393" y="2189"/>
                      </a:lnTo>
                      <a:lnTo>
                        <a:pt x="393" y="2188"/>
                      </a:lnTo>
                      <a:lnTo>
                        <a:pt x="393" y="2187"/>
                      </a:lnTo>
                      <a:lnTo>
                        <a:pt x="393" y="2186"/>
                      </a:lnTo>
                      <a:lnTo>
                        <a:pt x="393" y="2186"/>
                      </a:lnTo>
                      <a:lnTo>
                        <a:pt x="393" y="2185"/>
                      </a:lnTo>
                      <a:lnTo>
                        <a:pt x="394" y="2185"/>
                      </a:lnTo>
                      <a:lnTo>
                        <a:pt x="394" y="2183"/>
                      </a:lnTo>
                      <a:lnTo>
                        <a:pt x="394" y="2182"/>
                      </a:lnTo>
                      <a:lnTo>
                        <a:pt x="395" y="2180"/>
                      </a:lnTo>
                      <a:lnTo>
                        <a:pt x="394" y="2176"/>
                      </a:lnTo>
                      <a:lnTo>
                        <a:pt x="395" y="2175"/>
                      </a:lnTo>
                      <a:lnTo>
                        <a:pt x="395" y="2175"/>
                      </a:lnTo>
                      <a:lnTo>
                        <a:pt x="395" y="2175"/>
                      </a:lnTo>
                      <a:lnTo>
                        <a:pt x="397" y="2173"/>
                      </a:lnTo>
                      <a:lnTo>
                        <a:pt x="399" y="2172"/>
                      </a:lnTo>
                      <a:lnTo>
                        <a:pt x="399" y="2171"/>
                      </a:lnTo>
                      <a:lnTo>
                        <a:pt x="400" y="2171"/>
                      </a:lnTo>
                      <a:lnTo>
                        <a:pt x="400" y="2169"/>
                      </a:lnTo>
                      <a:lnTo>
                        <a:pt x="401" y="2169"/>
                      </a:lnTo>
                      <a:lnTo>
                        <a:pt x="402" y="2168"/>
                      </a:lnTo>
                      <a:lnTo>
                        <a:pt x="404" y="2167"/>
                      </a:lnTo>
                      <a:lnTo>
                        <a:pt x="404" y="2166"/>
                      </a:lnTo>
                      <a:lnTo>
                        <a:pt x="404" y="2165"/>
                      </a:lnTo>
                      <a:lnTo>
                        <a:pt x="403" y="2164"/>
                      </a:lnTo>
                      <a:lnTo>
                        <a:pt x="404" y="2164"/>
                      </a:lnTo>
                      <a:lnTo>
                        <a:pt x="405" y="2164"/>
                      </a:lnTo>
                      <a:lnTo>
                        <a:pt x="405" y="2163"/>
                      </a:lnTo>
                      <a:lnTo>
                        <a:pt x="404" y="2163"/>
                      </a:lnTo>
                      <a:lnTo>
                        <a:pt x="404" y="2163"/>
                      </a:lnTo>
                      <a:lnTo>
                        <a:pt x="405" y="2163"/>
                      </a:lnTo>
                      <a:lnTo>
                        <a:pt x="406" y="2164"/>
                      </a:lnTo>
                      <a:lnTo>
                        <a:pt x="406" y="2164"/>
                      </a:lnTo>
                      <a:lnTo>
                        <a:pt x="407" y="2163"/>
                      </a:lnTo>
                      <a:lnTo>
                        <a:pt x="407" y="2164"/>
                      </a:lnTo>
                      <a:lnTo>
                        <a:pt x="408" y="2164"/>
                      </a:lnTo>
                      <a:lnTo>
                        <a:pt x="408" y="2163"/>
                      </a:lnTo>
                      <a:lnTo>
                        <a:pt x="409" y="2163"/>
                      </a:lnTo>
                      <a:lnTo>
                        <a:pt x="411" y="2161"/>
                      </a:lnTo>
                      <a:lnTo>
                        <a:pt x="411" y="2160"/>
                      </a:lnTo>
                      <a:lnTo>
                        <a:pt x="412" y="2154"/>
                      </a:lnTo>
                      <a:lnTo>
                        <a:pt x="412" y="2146"/>
                      </a:lnTo>
                      <a:lnTo>
                        <a:pt x="412" y="2140"/>
                      </a:lnTo>
                      <a:lnTo>
                        <a:pt x="413" y="2137"/>
                      </a:lnTo>
                      <a:lnTo>
                        <a:pt x="413" y="2133"/>
                      </a:lnTo>
                      <a:lnTo>
                        <a:pt x="412" y="2131"/>
                      </a:lnTo>
                      <a:lnTo>
                        <a:pt x="412" y="2128"/>
                      </a:lnTo>
                      <a:lnTo>
                        <a:pt x="412" y="2127"/>
                      </a:lnTo>
                      <a:lnTo>
                        <a:pt x="413" y="2125"/>
                      </a:lnTo>
                      <a:lnTo>
                        <a:pt x="414" y="2125"/>
                      </a:lnTo>
                      <a:lnTo>
                        <a:pt x="414" y="2119"/>
                      </a:lnTo>
                      <a:lnTo>
                        <a:pt x="414" y="2116"/>
                      </a:lnTo>
                      <a:lnTo>
                        <a:pt x="413" y="2114"/>
                      </a:lnTo>
                      <a:lnTo>
                        <a:pt x="412" y="2111"/>
                      </a:lnTo>
                      <a:lnTo>
                        <a:pt x="412" y="2111"/>
                      </a:lnTo>
                      <a:lnTo>
                        <a:pt x="412" y="2107"/>
                      </a:lnTo>
                      <a:lnTo>
                        <a:pt x="412" y="2106"/>
                      </a:lnTo>
                      <a:lnTo>
                        <a:pt x="416" y="2104"/>
                      </a:lnTo>
                      <a:lnTo>
                        <a:pt x="416" y="2104"/>
                      </a:lnTo>
                      <a:lnTo>
                        <a:pt x="417" y="2101"/>
                      </a:lnTo>
                      <a:lnTo>
                        <a:pt x="418" y="2100"/>
                      </a:lnTo>
                      <a:lnTo>
                        <a:pt x="418" y="2099"/>
                      </a:lnTo>
                      <a:lnTo>
                        <a:pt x="419" y="2093"/>
                      </a:lnTo>
                      <a:lnTo>
                        <a:pt x="418" y="2093"/>
                      </a:lnTo>
                      <a:lnTo>
                        <a:pt x="419" y="2092"/>
                      </a:lnTo>
                      <a:lnTo>
                        <a:pt x="419" y="2092"/>
                      </a:lnTo>
                      <a:lnTo>
                        <a:pt x="420" y="2088"/>
                      </a:lnTo>
                      <a:lnTo>
                        <a:pt x="420" y="2087"/>
                      </a:lnTo>
                      <a:lnTo>
                        <a:pt x="420" y="2087"/>
                      </a:lnTo>
                      <a:lnTo>
                        <a:pt x="421" y="2085"/>
                      </a:lnTo>
                      <a:lnTo>
                        <a:pt x="420" y="2084"/>
                      </a:lnTo>
                      <a:lnTo>
                        <a:pt x="421" y="2081"/>
                      </a:lnTo>
                      <a:lnTo>
                        <a:pt x="420" y="2081"/>
                      </a:lnTo>
                      <a:lnTo>
                        <a:pt x="421" y="2080"/>
                      </a:lnTo>
                      <a:lnTo>
                        <a:pt x="421" y="2079"/>
                      </a:lnTo>
                      <a:lnTo>
                        <a:pt x="421" y="2078"/>
                      </a:lnTo>
                      <a:lnTo>
                        <a:pt x="422" y="2076"/>
                      </a:lnTo>
                      <a:lnTo>
                        <a:pt x="421" y="2075"/>
                      </a:lnTo>
                      <a:lnTo>
                        <a:pt x="422" y="2074"/>
                      </a:lnTo>
                      <a:lnTo>
                        <a:pt x="423" y="2073"/>
                      </a:lnTo>
                      <a:lnTo>
                        <a:pt x="422" y="2071"/>
                      </a:lnTo>
                      <a:lnTo>
                        <a:pt x="420" y="2069"/>
                      </a:lnTo>
                      <a:lnTo>
                        <a:pt x="420" y="2068"/>
                      </a:lnTo>
                      <a:lnTo>
                        <a:pt x="421" y="2067"/>
                      </a:lnTo>
                      <a:lnTo>
                        <a:pt x="422" y="2067"/>
                      </a:lnTo>
                      <a:lnTo>
                        <a:pt x="428" y="2063"/>
                      </a:lnTo>
                      <a:lnTo>
                        <a:pt x="429" y="2062"/>
                      </a:lnTo>
                      <a:lnTo>
                        <a:pt x="430" y="2058"/>
                      </a:lnTo>
                      <a:lnTo>
                        <a:pt x="431" y="2057"/>
                      </a:lnTo>
                      <a:lnTo>
                        <a:pt x="432" y="2055"/>
                      </a:lnTo>
                      <a:lnTo>
                        <a:pt x="434" y="2051"/>
                      </a:lnTo>
                      <a:lnTo>
                        <a:pt x="436" y="2050"/>
                      </a:lnTo>
                      <a:lnTo>
                        <a:pt x="437" y="2048"/>
                      </a:lnTo>
                      <a:lnTo>
                        <a:pt x="437" y="2047"/>
                      </a:lnTo>
                      <a:lnTo>
                        <a:pt x="437" y="2047"/>
                      </a:lnTo>
                      <a:lnTo>
                        <a:pt x="437" y="2046"/>
                      </a:lnTo>
                      <a:lnTo>
                        <a:pt x="437" y="2046"/>
                      </a:lnTo>
                      <a:lnTo>
                        <a:pt x="438" y="2046"/>
                      </a:lnTo>
                      <a:lnTo>
                        <a:pt x="438" y="2045"/>
                      </a:lnTo>
                      <a:lnTo>
                        <a:pt x="438" y="2045"/>
                      </a:lnTo>
                      <a:lnTo>
                        <a:pt x="439" y="2044"/>
                      </a:lnTo>
                      <a:lnTo>
                        <a:pt x="439" y="2044"/>
                      </a:lnTo>
                      <a:lnTo>
                        <a:pt x="439" y="2043"/>
                      </a:lnTo>
                      <a:lnTo>
                        <a:pt x="440" y="2043"/>
                      </a:lnTo>
                      <a:lnTo>
                        <a:pt x="440" y="2042"/>
                      </a:lnTo>
                      <a:lnTo>
                        <a:pt x="440" y="2041"/>
                      </a:lnTo>
                      <a:lnTo>
                        <a:pt x="440" y="2040"/>
                      </a:lnTo>
                      <a:lnTo>
                        <a:pt x="440" y="2040"/>
                      </a:lnTo>
                      <a:lnTo>
                        <a:pt x="441" y="2038"/>
                      </a:lnTo>
                      <a:lnTo>
                        <a:pt x="442" y="2037"/>
                      </a:lnTo>
                      <a:lnTo>
                        <a:pt x="442" y="2036"/>
                      </a:lnTo>
                      <a:lnTo>
                        <a:pt x="444" y="2036"/>
                      </a:lnTo>
                      <a:lnTo>
                        <a:pt x="444" y="2036"/>
                      </a:lnTo>
                      <a:lnTo>
                        <a:pt x="445" y="2036"/>
                      </a:lnTo>
                      <a:lnTo>
                        <a:pt x="446" y="2036"/>
                      </a:lnTo>
                      <a:lnTo>
                        <a:pt x="447" y="2035"/>
                      </a:lnTo>
                      <a:lnTo>
                        <a:pt x="448" y="2034"/>
                      </a:lnTo>
                      <a:lnTo>
                        <a:pt x="450" y="2033"/>
                      </a:lnTo>
                      <a:lnTo>
                        <a:pt x="451" y="2031"/>
                      </a:lnTo>
                      <a:lnTo>
                        <a:pt x="452" y="2030"/>
                      </a:lnTo>
                      <a:lnTo>
                        <a:pt x="453" y="2030"/>
                      </a:lnTo>
                      <a:lnTo>
                        <a:pt x="454" y="2029"/>
                      </a:lnTo>
                      <a:lnTo>
                        <a:pt x="454" y="2028"/>
                      </a:lnTo>
                      <a:lnTo>
                        <a:pt x="455" y="2027"/>
                      </a:lnTo>
                      <a:lnTo>
                        <a:pt x="455" y="2026"/>
                      </a:lnTo>
                      <a:lnTo>
                        <a:pt x="457" y="2026"/>
                      </a:lnTo>
                      <a:lnTo>
                        <a:pt x="457" y="2025"/>
                      </a:lnTo>
                      <a:lnTo>
                        <a:pt x="459" y="2025"/>
                      </a:lnTo>
                      <a:lnTo>
                        <a:pt x="459" y="2024"/>
                      </a:lnTo>
                      <a:lnTo>
                        <a:pt x="459" y="2023"/>
                      </a:lnTo>
                      <a:lnTo>
                        <a:pt x="460" y="2024"/>
                      </a:lnTo>
                      <a:lnTo>
                        <a:pt x="460" y="2024"/>
                      </a:lnTo>
                      <a:lnTo>
                        <a:pt x="461" y="2023"/>
                      </a:lnTo>
                      <a:lnTo>
                        <a:pt x="461" y="2023"/>
                      </a:lnTo>
                      <a:lnTo>
                        <a:pt x="461" y="2020"/>
                      </a:lnTo>
                      <a:lnTo>
                        <a:pt x="461" y="2020"/>
                      </a:lnTo>
                      <a:lnTo>
                        <a:pt x="462" y="2019"/>
                      </a:lnTo>
                      <a:lnTo>
                        <a:pt x="463" y="2019"/>
                      </a:lnTo>
                      <a:lnTo>
                        <a:pt x="463" y="2018"/>
                      </a:lnTo>
                      <a:lnTo>
                        <a:pt x="463" y="2017"/>
                      </a:lnTo>
                      <a:lnTo>
                        <a:pt x="463" y="2017"/>
                      </a:lnTo>
                      <a:lnTo>
                        <a:pt x="464" y="2017"/>
                      </a:lnTo>
                      <a:lnTo>
                        <a:pt x="463" y="2017"/>
                      </a:lnTo>
                      <a:lnTo>
                        <a:pt x="463" y="2016"/>
                      </a:lnTo>
                      <a:lnTo>
                        <a:pt x="464" y="2014"/>
                      </a:lnTo>
                      <a:lnTo>
                        <a:pt x="464" y="2013"/>
                      </a:lnTo>
                      <a:lnTo>
                        <a:pt x="465" y="2012"/>
                      </a:lnTo>
                      <a:lnTo>
                        <a:pt x="465" y="2012"/>
                      </a:lnTo>
                      <a:lnTo>
                        <a:pt x="466" y="2011"/>
                      </a:lnTo>
                      <a:lnTo>
                        <a:pt x="466" y="2011"/>
                      </a:lnTo>
                      <a:lnTo>
                        <a:pt x="466" y="2010"/>
                      </a:lnTo>
                      <a:lnTo>
                        <a:pt x="467" y="2010"/>
                      </a:lnTo>
                      <a:lnTo>
                        <a:pt x="467" y="2010"/>
                      </a:lnTo>
                      <a:lnTo>
                        <a:pt x="468" y="2008"/>
                      </a:lnTo>
                      <a:lnTo>
                        <a:pt x="468" y="2008"/>
                      </a:lnTo>
                      <a:lnTo>
                        <a:pt x="468" y="2007"/>
                      </a:lnTo>
                      <a:lnTo>
                        <a:pt x="467" y="2008"/>
                      </a:lnTo>
                      <a:lnTo>
                        <a:pt x="467" y="2007"/>
                      </a:lnTo>
                      <a:lnTo>
                        <a:pt x="467" y="2006"/>
                      </a:lnTo>
                      <a:lnTo>
                        <a:pt x="469" y="2003"/>
                      </a:lnTo>
                      <a:lnTo>
                        <a:pt x="469" y="2003"/>
                      </a:lnTo>
                      <a:lnTo>
                        <a:pt x="470" y="2002"/>
                      </a:lnTo>
                      <a:lnTo>
                        <a:pt x="469" y="2001"/>
                      </a:lnTo>
                      <a:lnTo>
                        <a:pt x="469" y="2002"/>
                      </a:lnTo>
                      <a:lnTo>
                        <a:pt x="468" y="2002"/>
                      </a:lnTo>
                      <a:lnTo>
                        <a:pt x="467" y="2003"/>
                      </a:lnTo>
                      <a:lnTo>
                        <a:pt x="467" y="2005"/>
                      </a:lnTo>
                      <a:lnTo>
                        <a:pt x="466" y="2006"/>
                      </a:lnTo>
                      <a:lnTo>
                        <a:pt x="466" y="2008"/>
                      </a:lnTo>
                      <a:lnTo>
                        <a:pt x="465" y="2009"/>
                      </a:lnTo>
                      <a:lnTo>
                        <a:pt x="465" y="2010"/>
                      </a:lnTo>
                      <a:lnTo>
                        <a:pt x="464" y="2011"/>
                      </a:lnTo>
                      <a:lnTo>
                        <a:pt x="464" y="2010"/>
                      </a:lnTo>
                      <a:lnTo>
                        <a:pt x="463" y="2010"/>
                      </a:lnTo>
                      <a:lnTo>
                        <a:pt x="462" y="2011"/>
                      </a:lnTo>
                      <a:lnTo>
                        <a:pt x="462" y="2012"/>
                      </a:lnTo>
                      <a:lnTo>
                        <a:pt x="462" y="2014"/>
                      </a:lnTo>
                      <a:lnTo>
                        <a:pt x="461" y="2015"/>
                      </a:lnTo>
                      <a:lnTo>
                        <a:pt x="460" y="2016"/>
                      </a:lnTo>
                      <a:lnTo>
                        <a:pt x="459" y="2017"/>
                      </a:lnTo>
                      <a:lnTo>
                        <a:pt x="458" y="2017"/>
                      </a:lnTo>
                      <a:lnTo>
                        <a:pt x="456" y="2019"/>
                      </a:lnTo>
                      <a:lnTo>
                        <a:pt x="455" y="2021"/>
                      </a:lnTo>
                      <a:lnTo>
                        <a:pt x="454" y="2023"/>
                      </a:lnTo>
                      <a:lnTo>
                        <a:pt x="453" y="2025"/>
                      </a:lnTo>
                      <a:lnTo>
                        <a:pt x="452" y="2026"/>
                      </a:lnTo>
                      <a:lnTo>
                        <a:pt x="451" y="2027"/>
                      </a:lnTo>
                      <a:lnTo>
                        <a:pt x="449" y="2029"/>
                      </a:lnTo>
                      <a:lnTo>
                        <a:pt x="449" y="2029"/>
                      </a:lnTo>
                      <a:lnTo>
                        <a:pt x="447" y="2030"/>
                      </a:lnTo>
                      <a:lnTo>
                        <a:pt x="446" y="2030"/>
                      </a:lnTo>
                      <a:lnTo>
                        <a:pt x="446" y="2032"/>
                      </a:lnTo>
                      <a:lnTo>
                        <a:pt x="443" y="2033"/>
                      </a:lnTo>
                      <a:lnTo>
                        <a:pt x="442" y="2034"/>
                      </a:lnTo>
                      <a:lnTo>
                        <a:pt x="441" y="2033"/>
                      </a:lnTo>
                      <a:lnTo>
                        <a:pt x="442" y="2032"/>
                      </a:lnTo>
                      <a:lnTo>
                        <a:pt x="442" y="2032"/>
                      </a:lnTo>
                      <a:lnTo>
                        <a:pt x="441" y="2032"/>
                      </a:lnTo>
                      <a:lnTo>
                        <a:pt x="441" y="2032"/>
                      </a:lnTo>
                      <a:lnTo>
                        <a:pt x="440" y="2034"/>
                      </a:lnTo>
                      <a:lnTo>
                        <a:pt x="440" y="2035"/>
                      </a:lnTo>
                      <a:lnTo>
                        <a:pt x="438" y="2036"/>
                      </a:lnTo>
                      <a:lnTo>
                        <a:pt x="437" y="2037"/>
                      </a:lnTo>
                      <a:lnTo>
                        <a:pt x="437" y="2037"/>
                      </a:lnTo>
                      <a:lnTo>
                        <a:pt x="437" y="2037"/>
                      </a:lnTo>
                      <a:lnTo>
                        <a:pt x="436" y="2038"/>
                      </a:lnTo>
                      <a:lnTo>
                        <a:pt x="434" y="2038"/>
                      </a:lnTo>
                      <a:lnTo>
                        <a:pt x="432" y="2039"/>
                      </a:lnTo>
                      <a:lnTo>
                        <a:pt x="432" y="2039"/>
                      </a:lnTo>
                      <a:lnTo>
                        <a:pt x="432" y="2038"/>
                      </a:lnTo>
                      <a:lnTo>
                        <a:pt x="432" y="2037"/>
                      </a:lnTo>
                      <a:lnTo>
                        <a:pt x="432" y="2036"/>
                      </a:lnTo>
                      <a:lnTo>
                        <a:pt x="432" y="2035"/>
                      </a:lnTo>
                      <a:lnTo>
                        <a:pt x="432" y="2035"/>
                      </a:lnTo>
                      <a:lnTo>
                        <a:pt x="432" y="2034"/>
                      </a:lnTo>
                      <a:lnTo>
                        <a:pt x="433" y="2034"/>
                      </a:lnTo>
                      <a:lnTo>
                        <a:pt x="433" y="2033"/>
                      </a:lnTo>
                      <a:lnTo>
                        <a:pt x="436" y="2033"/>
                      </a:lnTo>
                      <a:lnTo>
                        <a:pt x="433" y="2033"/>
                      </a:lnTo>
                      <a:lnTo>
                        <a:pt x="433" y="2033"/>
                      </a:lnTo>
                      <a:lnTo>
                        <a:pt x="432" y="2032"/>
                      </a:lnTo>
                      <a:lnTo>
                        <a:pt x="432" y="2032"/>
                      </a:lnTo>
                      <a:lnTo>
                        <a:pt x="432" y="2031"/>
                      </a:lnTo>
                      <a:lnTo>
                        <a:pt x="431" y="2031"/>
                      </a:lnTo>
                      <a:lnTo>
                        <a:pt x="431" y="2030"/>
                      </a:lnTo>
                      <a:lnTo>
                        <a:pt x="433" y="2028"/>
                      </a:lnTo>
                      <a:lnTo>
                        <a:pt x="434" y="2028"/>
                      </a:lnTo>
                      <a:lnTo>
                        <a:pt x="434" y="2027"/>
                      </a:lnTo>
                      <a:lnTo>
                        <a:pt x="433" y="2026"/>
                      </a:lnTo>
                      <a:lnTo>
                        <a:pt x="432" y="2027"/>
                      </a:lnTo>
                      <a:lnTo>
                        <a:pt x="432" y="2027"/>
                      </a:lnTo>
                      <a:lnTo>
                        <a:pt x="431" y="2028"/>
                      </a:lnTo>
                      <a:lnTo>
                        <a:pt x="430" y="2028"/>
                      </a:lnTo>
                      <a:lnTo>
                        <a:pt x="430" y="2029"/>
                      </a:lnTo>
                      <a:lnTo>
                        <a:pt x="427" y="2029"/>
                      </a:lnTo>
                      <a:lnTo>
                        <a:pt x="426" y="2028"/>
                      </a:lnTo>
                      <a:lnTo>
                        <a:pt x="425" y="2027"/>
                      </a:lnTo>
                      <a:lnTo>
                        <a:pt x="424" y="2027"/>
                      </a:lnTo>
                      <a:lnTo>
                        <a:pt x="424" y="2026"/>
                      </a:lnTo>
                      <a:lnTo>
                        <a:pt x="423" y="2025"/>
                      </a:lnTo>
                      <a:lnTo>
                        <a:pt x="423" y="2025"/>
                      </a:lnTo>
                      <a:lnTo>
                        <a:pt x="422" y="2025"/>
                      </a:lnTo>
                      <a:lnTo>
                        <a:pt x="422" y="2024"/>
                      </a:lnTo>
                      <a:lnTo>
                        <a:pt x="422" y="2023"/>
                      </a:lnTo>
                      <a:lnTo>
                        <a:pt x="421" y="2020"/>
                      </a:lnTo>
                      <a:lnTo>
                        <a:pt x="422" y="2020"/>
                      </a:lnTo>
                      <a:lnTo>
                        <a:pt x="422" y="2019"/>
                      </a:lnTo>
                      <a:lnTo>
                        <a:pt x="422" y="2019"/>
                      </a:lnTo>
                      <a:lnTo>
                        <a:pt x="421" y="2019"/>
                      </a:lnTo>
                      <a:lnTo>
                        <a:pt x="421" y="2018"/>
                      </a:lnTo>
                      <a:lnTo>
                        <a:pt x="422" y="2014"/>
                      </a:lnTo>
                      <a:lnTo>
                        <a:pt x="422" y="2012"/>
                      </a:lnTo>
                      <a:lnTo>
                        <a:pt x="423" y="2010"/>
                      </a:lnTo>
                      <a:lnTo>
                        <a:pt x="422" y="2008"/>
                      </a:lnTo>
                      <a:lnTo>
                        <a:pt x="422" y="2007"/>
                      </a:lnTo>
                      <a:lnTo>
                        <a:pt x="422" y="2006"/>
                      </a:lnTo>
                      <a:lnTo>
                        <a:pt x="423" y="2004"/>
                      </a:lnTo>
                      <a:lnTo>
                        <a:pt x="424" y="2004"/>
                      </a:lnTo>
                      <a:lnTo>
                        <a:pt x="424" y="2003"/>
                      </a:lnTo>
                      <a:lnTo>
                        <a:pt x="424" y="2003"/>
                      </a:lnTo>
                      <a:lnTo>
                        <a:pt x="425" y="2000"/>
                      </a:lnTo>
                      <a:lnTo>
                        <a:pt x="425" y="1999"/>
                      </a:lnTo>
                      <a:lnTo>
                        <a:pt x="426" y="1998"/>
                      </a:lnTo>
                      <a:lnTo>
                        <a:pt x="430" y="1993"/>
                      </a:lnTo>
                      <a:lnTo>
                        <a:pt x="430" y="1992"/>
                      </a:lnTo>
                      <a:lnTo>
                        <a:pt x="430" y="1992"/>
                      </a:lnTo>
                      <a:lnTo>
                        <a:pt x="430" y="1992"/>
                      </a:lnTo>
                      <a:lnTo>
                        <a:pt x="430" y="1991"/>
                      </a:lnTo>
                      <a:lnTo>
                        <a:pt x="430" y="1991"/>
                      </a:lnTo>
                      <a:lnTo>
                        <a:pt x="430" y="1991"/>
                      </a:lnTo>
                      <a:lnTo>
                        <a:pt x="429" y="1992"/>
                      </a:lnTo>
                      <a:lnTo>
                        <a:pt x="429" y="1991"/>
                      </a:lnTo>
                      <a:lnTo>
                        <a:pt x="430" y="1990"/>
                      </a:lnTo>
                      <a:lnTo>
                        <a:pt x="430" y="1990"/>
                      </a:lnTo>
                      <a:lnTo>
                        <a:pt x="431" y="1989"/>
                      </a:lnTo>
                      <a:lnTo>
                        <a:pt x="431" y="1989"/>
                      </a:lnTo>
                      <a:lnTo>
                        <a:pt x="431" y="1989"/>
                      </a:lnTo>
                      <a:lnTo>
                        <a:pt x="431" y="1988"/>
                      </a:lnTo>
                      <a:lnTo>
                        <a:pt x="431" y="1987"/>
                      </a:lnTo>
                      <a:lnTo>
                        <a:pt x="432" y="1985"/>
                      </a:lnTo>
                      <a:lnTo>
                        <a:pt x="433" y="1983"/>
                      </a:lnTo>
                      <a:lnTo>
                        <a:pt x="434" y="1981"/>
                      </a:lnTo>
                      <a:lnTo>
                        <a:pt x="434" y="1980"/>
                      </a:lnTo>
                      <a:lnTo>
                        <a:pt x="437" y="1979"/>
                      </a:lnTo>
                      <a:lnTo>
                        <a:pt x="438" y="1979"/>
                      </a:lnTo>
                      <a:lnTo>
                        <a:pt x="439" y="1979"/>
                      </a:lnTo>
                      <a:lnTo>
                        <a:pt x="440" y="1977"/>
                      </a:lnTo>
                      <a:lnTo>
                        <a:pt x="440" y="1976"/>
                      </a:lnTo>
                      <a:lnTo>
                        <a:pt x="440" y="1975"/>
                      </a:lnTo>
                      <a:lnTo>
                        <a:pt x="441" y="1974"/>
                      </a:lnTo>
                      <a:lnTo>
                        <a:pt x="442" y="1973"/>
                      </a:lnTo>
                      <a:lnTo>
                        <a:pt x="441" y="1972"/>
                      </a:lnTo>
                      <a:lnTo>
                        <a:pt x="441" y="1972"/>
                      </a:lnTo>
                      <a:lnTo>
                        <a:pt x="440" y="1972"/>
                      </a:lnTo>
                      <a:lnTo>
                        <a:pt x="440" y="1972"/>
                      </a:lnTo>
                      <a:lnTo>
                        <a:pt x="437" y="1975"/>
                      </a:lnTo>
                      <a:lnTo>
                        <a:pt x="436" y="1975"/>
                      </a:lnTo>
                      <a:lnTo>
                        <a:pt x="436" y="1975"/>
                      </a:lnTo>
                      <a:lnTo>
                        <a:pt x="434" y="1975"/>
                      </a:lnTo>
                      <a:lnTo>
                        <a:pt x="434" y="1975"/>
                      </a:lnTo>
                      <a:lnTo>
                        <a:pt x="432" y="1977"/>
                      </a:lnTo>
                      <a:lnTo>
                        <a:pt x="431" y="1977"/>
                      </a:lnTo>
                      <a:lnTo>
                        <a:pt x="431" y="1979"/>
                      </a:lnTo>
                      <a:lnTo>
                        <a:pt x="429" y="1980"/>
                      </a:lnTo>
                      <a:lnTo>
                        <a:pt x="429" y="1981"/>
                      </a:lnTo>
                      <a:lnTo>
                        <a:pt x="428" y="1982"/>
                      </a:lnTo>
                      <a:lnTo>
                        <a:pt x="427" y="1982"/>
                      </a:lnTo>
                      <a:lnTo>
                        <a:pt x="427" y="1983"/>
                      </a:lnTo>
                      <a:lnTo>
                        <a:pt x="426" y="1986"/>
                      </a:lnTo>
                      <a:lnTo>
                        <a:pt x="425" y="1987"/>
                      </a:lnTo>
                      <a:lnTo>
                        <a:pt x="425" y="1986"/>
                      </a:lnTo>
                      <a:lnTo>
                        <a:pt x="426" y="1986"/>
                      </a:lnTo>
                      <a:lnTo>
                        <a:pt x="425" y="1985"/>
                      </a:lnTo>
                      <a:lnTo>
                        <a:pt x="424" y="1986"/>
                      </a:lnTo>
                      <a:lnTo>
                        <a:pt x="424" y="1986"/>
                      </a:lnTo>
                      <a:lnTo>
                        <a:pt x="423" y="1986"/>
                      </a:lnTo>
                      <a:lnTo>
                        <a:pt x="421" y="1990"/>
                      </a:lnTo>
                      <a:lnTo>
                        <a:pt x="420" y="1991"/>
                      </a:lnTo>
                      <a:lnTo>
                        <a:pt x="420" y="1991"/>
                      </a:lnTo>
                      <a:lnTo>
                        <a:pt x="418" y="1992"/>
                      </a:lnTo>
                      <a:lnTo>
                        <a:pt x="418" y="1992"/>
                      </a:lnTo>
                      <a:lnTo>
                        <a:pt x="418" y="1991"/>
                      </a:lnTo>
                      <a:lnTo>
                        <a:pt x="418" y="1989"/>
                      </a:lnTo>
                      <a:lnTo>
                        <a:pt x="418" y="1989"/>
                      </a:lnTo>
                      <a:lnTo>
                        <a:pt x="417" y="1989"/>
                      </a:lnTo>
                      <a:lnTo>
                        <a:pt x="417" y="1987"/>
                      </a:lnTo>
                      <a:lnTo>
                        <a:pt x="418" y="1986"/>
                      </a:lnTo>
                      <a:lnTo>
                        <a:pt x="419" y="1983"/>
                      </a:lnTo>
                      <a:lnTo>
                        <a:pt x="418" y="1982"/>
                      </a:lnTo>
                      <a:lnTo>
                        <a:pt x="418" y="1982"/>
                      </a:lnTo>
                      <a:lnTo>
                        <a:pt x="418" y="1982"/>
                      </a:lnTo>
                      <a:lnTo>
                        <a:pt x="417" y="1983"/>
                      </a:lnTo>
                      <a:lnTo>
                        <a:pt x="417" y="1982"/>
                      </a:lnTo>
                      <a:lnTo>
                        <a:pt x="417" y="1982"/>
                      </a:lnTo>
                      <a:lnTo>
                        <a:pt x="417" y="1982"/>
                      </a:lnTo>
                      <a:lnTo>
                        <a:pt x="418" y="1979"/>
                      </a:lnTo>
                      <a:lnTo>
                        <a:pt x="419" y="1977"/>
                      </a:lnTo>
                      <a:lnTo>
                        <a:pt x="419" y="1977"/>
                      </a:lnTo>
                      <a:lnTo>
                        <a:pt x="418" y="1976"/>
                      </a:lnTo>
                      <a:lnTo>
                        <a:pt x="420" y="1973"/>
                      </a:lnTo>
                      <a:lnTo>
                        <a:pt x="421" y="1971"/>
                      </a:lnTo>
                      <a:lnTo>
                        <a:pt x="422" y="1969"/>
                      </a:lnTo>
                      <a:lnTo>
                        <a:pt x="422" y="1968"/>
                      </a:lnTo>
                      <a:lnTo>
                        <a:pt x="422" y="1967"/>
                      </a:lnTo>
                      <a:lnTo>
                        <a:pt x="423" y="1967"/>
                      </a:lnTo>
                      <a:lnTo>
                        <a:pt x="423" y="1966"/>
                      </a:lnTo>
                      <a:lnTo>
                        <a:pt x="424" y="1965"/>
                      </a:lnTo>
                      <a:lnTo>
                        <a:pt x="427" y="1961"/>
                      </a:lnTo>
                      <a:lnTo>
                        <a:pt x="428" y="1959"/>
                      </a:lnTo>
                      <a:lnTo>
                        <a:pt x="429" y="1958"/>
                      </a:lnTo>
                      <a:lnTo>
                        <a:pt x="430" y="1957"/>
                      </a:lnTo>
                      <a:lnTo>
                        <a:pt x="431" y="1956"/>
                      </a:lnTo>
                      <a:lnTo>
                        <a:pt x="431" y="1954"/>
                      </a:lnTo>
                      <a:lnTo>
                        <a:pt x="432" y="1952"/>
                      </a:lnTo>
                      <a:lnTo>
                        <a:pt x="433" y="1950"/>
                      </a:lnTo>
                      <a:lnTo>
                        <a:pt x="434" y="1949"/>
                      </a:lnTo>
                      <a:lnTo>
                        <a:pt x="436" y="1947"/>
                      </a:lnTo>
                      <a:lnTo>
                        <a:pt x="437" y="1945"/>
                      </a:lnTo>
                      <a:lnTo>
                        <a:pt x="438" y="1945"/>
                      </a:lnTo>
                      <a:lnTo>
                        <a:pt x="439" y="1944"/>
                      </a:lnTo>
                      <a:lnTo>
                        <a:pt x="441" y="1944"/>
                      </a:lnTo>
                      <a:lnTo>
                        <a:pt x="441" y="1943"/>
                      </a:lnTo>
                      <a:lnTo>
                        <a:pt x="442" y="1942"/>
                      </a:lnTo>
                      <a:lnTo>
                        <a:pt x="442" y="1941"/>
                      </a:lnTo>
                      <a:lnTo>
                        <a:pt x="443" y="1940"/>
                      </a:lnTo>
                      <a:lnTo>
                        <a:pt x="443" y="1939"/>
                      </a:lnTo>
                      <a:lnTo>
                        <a:pt x="443" y="1939"/>
                      </a:lnTo>
                      <a:lnTo>
                        <a:pt x="444" y="1938"/>
                      </a:lnTo>
                      <a:lnTo>
                        <a:pt x="444" y="1937"/>
                      </a:lnTo>
                      <a:lnTo>
                        <a:pt x="444" y="1937"/>
                      </a:lnTo>
                      <a:lnTo>
                        <a:pt x="443" y="1937"/>
                      </a:lnTo>
                      <a:lnTo>
                        <a:pt x="443" y="1939"/>
                      </a:lnTo>
                      <a:lnTo>
                        <a:pt x="442" y="1939"/>
                      </a:lnTo>
                      <a:lnTo>
                        <a:pt x="441" y="1941"/>
                      </a:lnTo>
                      <a:lnTo>
                        <a:pt x="441" y="1941"/>
                      </a:lnTo>
                      <a:lnTo>
                        <a:pt x="441" y="1940"/>
                      </a:lnTo>
                      <a:lnTo>
                        <a:pt x="440" y="1941"/>
                      </a:lnTo>
                      <a:lnTo>
                        <a:pt x="439" y="1942"/>
                      </a:lnTo>
                      <a:lnTo>
                        <a:pt x="438" y="1943"/>
                      </a:lnTo>
                      <a:lnTo>
                        <a:pt x="437" y="1942"/>
                      </a:lnTo>
                      <a:lnTo>
                        <a:pt x="438" y="1942"/>
                      </a:lnTo>
                      <a:lnTo>
                        <a:pt x="437" y="1942"/>
                      </a:lnTo>
                      <a:lnTo>
                        <a:pt x="437" y="1942"/>
                      </a:lnTo>
                      <a:lnTo>
                        <a:pt x="437" y="1942"/>
                      </a:lnTo>
                      <a:lnTo>
                        <a:pt x="438" y="1940"/>
                      </a:lnTo>
                      <a:lnTo>
                        <a:pt x="440" y="1938"/>
                      </a:lnTo>
                      <a:lnTo>
                        <a:pt x="441" y="1937"/>
                      </a:lnTo>
                      <a:lnTo>
                        <a:pt x="441" y="1936"/>
                      </a:lnTo>
                      <a:lnTo>
                        <a:pt x="442" y="1936"/>
                      </a:lnTo>
                      <a:lnTo>
                        <a:pt x="443" y="1933"/>
                      </a:lnTo>
                      <a:lnTo>
                        <a:pt x="443" y="1933"/>
                      </a:lnTo>
                      <a:lnTo>
                        <a:pt x="442" y="1934"/>
                      </a:lnTo>
                      <a:lnTo>
                        <a:pt x="441" y="1935"/>
                      </a:lnTo>
                      <a:lnTo>
                        <a:pt x="440" y="1936"/>
                      </a:lnTo>
                      <a:lnTo>
                        <a:pt x="439" y="1937"/>
                      </a:lnTo>
                      <a:lnTo>
                        <a:pt x="438" y="1937"/>
                      </a:lnTo>
                      <a:lnTo>
                        <a:pt x="438" y="1936"/>
                      </a:lnTo>
                      <a:lnTo>
                        <a:pt x="440" y="1934"/>
                      </a:lnTo>
                      <a:lnTo>
                        <a:pt x="440" y="1934"/>
                      </a:lnTo>
                      <a:lnTo>
                        <a:pt x="439" y="1934"/>
                      </a:lnTo>
                      <a:lnTo>
                        <a:pt x="439" y="1934"/>
                      </a:lnTo>
                      <a:lnTo>
                        <a:pt x="439" y="1934"/>
                      </a:lnTo>
                      <a:lnTo>
                        <a:pt x="438" y="1936"/>
                      </a:lnTo>
                      <a:lnTo>
                        <a:pt x="438" y="1937"/>
                      </a:lnTo>
                      <a:lnTo>
                        <a:pt x="437" y="1937"/>
                      </a:lnTo>
                      <a:lnTo>
                        <a:pt x="437" y="1939"/>
                      </a:lnTo>
                      <a:lnTo>
                        <a:pt x="437" y="1939"/>
                      </a:lnTo>
                      <a:lnTo>
                        <a:pt x="434" y="1939"/>
                      </a:lnTo>
                      <a:lnTo>
                        <a:pt x="434" y="1939"/>
                      </a:lnTo>
                      <a:lnTo>
                        <a:pt x="434" y="1939"/>
                      </a:lnTo>
                      <a:lnTo>
                        <a:pt x="433" y="1939"/>
                      </a:lnTo>
                      <a:lnTo>
                        <a:pt x="434" y="1938"/>
                      </a:lnTo>
                      <a:lnTo>
                        <a:pt x="434" y="1937"/>
                      </a:lnTo>
                      <a:lnTo>
                        <a:pt x="433" y="1939"/>
                      </a:lnTo>
                      <a:lnTo>
                        <a:pt x="432" y="1939"/>
                      </a:lnTo>
                      <a:lnTo>
                        <a:pt x="432" y="1940"/>
                      </a:lnTo>
                      <a:lnTo>
                        <a:pt x="431" y="1939"/>
                      </a:lnTo>
                      <a:lnTo>
                        <a:pt x="430" y="1939"/>
                      </a:lnTo>
                      <a:lnTo>
                        <a:pt x="430" y="1940"/>
                      </a:lnTo>
                      <a:lnTo>
                        <a:pt x="430" y="1940"/>
                      </a:lnTo>
                      <a:lnTo>
                        <a:pt x="430" y="1941"/>
                      </a:lnTo>
                      <a:lnTo>
                        <a:pt x="431" y="1941"/>
                      </a:lnTo>
                      <a:lnTo>
                        <a:pt x="432" y="1941"/>
                      </a:lnTo>
                      <a:lnTo>
                        <a:pt x="433" y="1942"/>
                      </a:lnTo>
                      <a:lnTo>
                        <a:pt x="430" y="1947"/>
                      </a:lnTo>
                      <a:lnTo>
                        <a:pt x="430" y="1947"/>
                      </a:lnTo>
                      <a:lnTo>
                        <a:pt x="430" y="1948"/>
                      </a:lnTo>
                      <a:lnTo>
                        <a:pt x="429" y="1948"/>
                      </a:lnTo>
                      <a:lnTo>
                        <a:pt x="428" y="1953"/>
                      </a:lnTo>
                      <a:lnTo>
                        <a:pt x="426" y="1955"/>
                      </a:lnTo>
                      <a:lnTo>
                        <a:pt x="425" y="1956"/>
                      </a:lnTo>
                      <a:lnTo>
                        <a:pt x="423" y="1955"/>
                      </a:lnTo>
                      <a:lnTo>
                        <a:pt x="425" y="1953"/>
                      </a:lnTo>
                      <a:lnTo>
                        <a:pt x="425" y="1952"/>
                      </a:lnTo>
                      <a:lnTo>
                        <a:pt x="425" y="1951"/>
                      </a:lnTo>
                      <a:lnTo>
                        <a:pt x="426" y="1949"/>
                      </a:lnTo>
                      <a:lnTo>
                        <a:pt x="427" y="1948"/>
                      </a:lnTo>
                      <a:lnTo>
                        <a:pt x="427" y="1945"/>
                      </a:lnTo>
                      <a:lnTo>
                        <a:pt x="428" y="1943"/>
                      </a:lnTo>
                      <a:lnTo>
                        <a:pt x="427" y="1944"/>
                      </a:lnTo>
                      <a:lnTo>
                        <a:pt x="426" y="1947"/>
                      </a:lnTo>
                      <a:lnTo>
                        <a:pt x="426" y="1947"/>
                      </a:lnTo>
                      <a:lnTo>
                        <a:pt x="426" y="1947"/>
                      </a:lnTo>
                      <a:lnTo>
                        <a:pt x="426" y="1948"/>
                      </a:lnTo>
                      <a:lnTo>
                        <a:pt x="426" y="1948"/>
                      </a:lnTo>
                      <a:lnTo>
                        <a:pt x="425" y="1949"/>
                      </a:lnTo>
                      <a:lnTo>
                        <a:pt x="425" y="1948"/>
                      </a:lnTo>
                      <a:lnTo>
                        <a:pt x="425" y="1949"/>
                      </a:lnTo>
                      <a:lnTo>
                        <a:pt x="424" y="1951"/>
                      </a:lnTo>
                      <a:lnTo>
                        <a:pt x="424" y="1951"/>
                      </a:lnTo>
                      <a:lnTo>
                        <a:pt x="424" y="1951"/>
                      </a:lnTo>
                      <a:lnTo>
                        <a:pt x="424" y="1952"/>
                      </a:lnTo>
                      <a:lnTo>
                        <a:pt x="424" y="1953"/>
                      </a:lnTo>
                      <a:lnTo>
                        <a:pt x="423" y="1953"/>
                      </a:lnTo>
                      <a:lnTo>
                        <a:pt x="423" y="1954"/>
                      </a:lnTo>
                      <a:lnTo>
                        <a:pt x="423" y="1954"/>
                      </a:lnTo>
                      <a:lnTo>
                        <a:pt x="422" y="1955"/>
                      </a:lnTo>
                      <a:lnTo>
                        <a:pt x="422" y="1956"/>
                      </a:lnTo>
                      <a:lnTo>
                        <a:pt x="422" y="1957"/>
                      </a:lnTo>
                      <a:lnTo>
                        <a:pt x="422" y="1957"/>
                      </a:lnTo>
                      <a:lnTo>
                        <a:pt x="421" y="1958"/>
                      </a:lnTo>
                      <a:lnTo>
                        <a:pt x="421" y="1957"/>
                      </a:lnTo>
                      <a:lnTo>
                        <a:pt x="421" y="1957"/>
                      </a:lnTo>
                      <a:lnTo>
                        <a:pt x="420" y="1957"/>
                      </a:lnTo>
                      <a:lnTo>
                        <a:pt x="420" y="1957"/>
                      </a:lnTo>
                      <a:lnTo>
                        <a:pt x="421" y="1958"/>
                      </a:lnTo>
                      <a:lnTo>
                        <a:pt x="421" y="1959"/>
                      </a:lnTo>
                      <a:lnTo>
                        <a:pt x="421" y="1959"/>
                      </a:lnTo>
                      <a:lnTo>
                        <a:pt x="421" y="1959"/>
                      </a:lnTo>
                      <a:lnTo>
                        <a:pt x="422" y="1958"/>
                      </a:lnTo>
                      <a:lnTo>
                        <a:pt x="423" y="1957"/>
                      </a:lnTo>
                      <a:lnTo>
                        <a:pt x="424" y="1956"/>
                      </a:lnTo>
                      <a:lnTo>
                        <a:pt x="424" y="1956"/>
                      </a:lnTo>
                      <a:lnTo>
                        <a:pt x="424" y="1956"/>
                      </a:lnTo>
                      <a:lnTo>
                        <a:pt x="425" y="1956"/>
                      </a:lnTo>
                      <a:lnTo>
                        <a:pt x="425" y="1956"/>
                      </a:lnTo>
                      <a:lnTo>
                        <a:pt x="425" y="1957"/>
                      </a:lnTo>
                      <a:lnTo>
                        <a:pt x="424" y="1958"/>
                      </a:lnTo>
                      <a:lnTo>
                        <a:pt x="424" y="1958"/>
                      </a:lnTo>
                      <a:lnTo>
                        <a:pt x="424" y="1958"/>
                      </a:lnTo>
                      <a:lnTo>
                        <a:pt x="422" y="1962"/>
                      </a:lnTo>
                      <a:lnTo>
                        <a:pt x="421" y="1962"/>
                      </a:lnTo>
                      <a:lnTo>
                        <a:pt x="421" y="1962"/>
                      </a:lnTo>
                      <a:lnTo>
                        <a:pt x="421" y="1963"/>
                      </a:lnTo>
                      <a:lnTo>
                        <a:pt x="421" y="1963"/>
                      </a:lnTo>
                      <a:lnTo>
                        <a:pt x="420" y="1963"/>
                      </a:lnTo>
                      <a:lnTo>
                        <a:pt x="420" y="1964"/>
                      </a:lnTo>
                      <a:lnTo>
                        <a:pt x="420" y="1965"/>
                      </a:lnTo>
                      <a:lnTo>
                        <a:pt x="419" y="1965"/>
                      </a:lnTo>
                      <a:lnTo>
                        <a:pt x="419" y="1966"/>
                      </a:lnTo>
                      <a:lnTo>
                        <a:pt x="418" y="1966"/>
                      </a:lnTo>
                      <a:lnTo>
                        <a:pt x="419" y="1967"/>
                      </a:lnTo>
                      <a:lnTo>
                        <a:pt x="421" y="1964"/>
                      </a:lnTo>
                      <a:lnTo>
                        <a:pt x="422" y="1963"/>
                      </a:lnTo>
                      <a:lnTo>
                        <a:pt x="422" y="1963"/>
                      </a:lnTo>
                      <a:lnTo>
                        <a:pt x="420" y="1966"/>
                      </a:lnTo>
                      <a:lnTo>
                        <a:pt x="420" y="1967"/>
                      </a:lnTo>
                      <a:lnTo>
                        <a:pt x="420" y="1969"/>
                      </a:lnTo>
                      <a:lnTo>
                        <a:pt x="418" y="1971"/>
                      </a:lnTo>
                      <a:lnTo>
                        <a:pt x="417" y="1973"/>
                      </a:lnTo>
                      <a:lnTo>
                        <a:pt x="416" y="1975"/>
                      </a:lnTo>
                      <a:lnTo>
                        <a:pt x="416" y="1974"/>
                      </a:lnTo>
                      <a:lnTo>
                        <a:pt x="415" y="1974"/>
                      </a:lnTo>
                      <a:lnTo>
                        <a:pt x="415" y="1974"/>
                      </a:lnTo>
                      <a:lnTo>
                        <a:pt x="414" y="1974"/>
                      </a:lnTo>
                      <a:lnTo>
                        <a:pt x="414" y="1974"/>
                      </a:lnTo>
                      <a:lnTo>
                        <a:pt x="415" y="1974"/>
                      </a:lnTo>
                      <a:lnTo>
                        <a:pt x="415" y="1973"/>
                      </a:lnTo>
                      <a:lnTo>
                        <a:pt x="414" y="1972"/>
                      </a:lnTo>
                      <a:lnTo>
                        <a:pt x="414" y="1972"/>
                      </a:lnTo>
                      <a:lnTo>
                        <a:pt x="413" y="1973"/>
                      </a:lnTo>
                      <a:lnTo>
                        <a:pt x="413" y="1973"/>
                      </a:lnTo>
                      <a:lnTo>
                        <a:pt x="414" y="1971"/>
                      </a:lnTo>
                      <a:lnTo>
                        <a:pt x="414" y="1970"/>
                      </a:lnTo>
                      <a:lnTo>
                        <a:pt x="414" y="1969"/>
                      </a:lnTo>
                      <a:lnTo>
                        <a:pt x="414" y="1967"/>
                      </a:lnTo>
                      <a:lnTo>
                        <a:pt x="415" y="1967"/>
                      </a:lnTo>
                      <a:lnTo>
                        <a:pt x="415" y="1966"/>
                      </a:lnTo>
                      <a:lnTo>
                        <a:pt x="415" y="1966"/>
                      </a:lnTo>
                      <a:lnTo>
                        <a:pt x="416" y="1966"/>
                      </a:lnTo>
                      <a:lnTo>
                        <a:pt x="416" y="1965"/>
                      </a:lnTo>
                      <a:lnTo>
                        <a:pt x="417" y="1965"/>
                      </a:lnTo>
                      <a:lnTo>
                        <a:pt x="418" y="1962"/>
                      </a:lnTo>
                      <a:lnTo>
                        <a:pt x="418" y="1962"/>
                      </a:lnTo>
                      <a:lnTo>
                        <a:pt x="417" y="1962"/>
                      </a:lnTo>
                      <a:lnTo>
                        <a:pt x="417" y="1963"/>
                      </a:lnTo>
                      <a:lnTo>
                        <a:pt x="416" y="1963"/>
                      </a:lnTo>
                      <a:lnTo>
                        <a:pt x="416" y="1964"/>
                      </a:lnTo>
                      <a:lnTo>
                        <a:pt x="415" y="1964"/>
                      </a:lnTo>
                      <a:lnTo>
                        <a:pt x="414" y="1964"/>
                      </a:lnTo>
                      <a:lnTo>
                        <a:pt x="414" y="1965"/>
                      </a:lnTo>
                      <a:lnTo>
                        <a:pt x="413" y="1966"/>
                      </a:lnTo>
                      <a:lnTo>
                        <a:pt x="412" y="1968"/>
                      </a:lnTo>
                      <a:lnTo>
                        <a:pt x="412" y="1968"/>
                      </a:lnTo>
                      <a:lnTo>
                        <a:pt x="412" y="1967"/>
                      </a:lnTo>
                      <a:lnTo>
                        <a:pt x="413" y="1966"/>
                      </a:lnTo>
                      <a:lnTo>
                        <a:pt x="414" y="1963"/>
                      </a:lnTo>
                      <a:lnTo>
                        <a:pt x="413" y="1962"/>
                      </a:lnTo>
                      <a:lnTo>
                        <a:pt x="414" y="1961"/>
                      </a:lnTo>
                      <a:lnTo>
                        <a:pt x="414" y="1960"/>
                      </a:lnTo>
                      <a:lnTo>
                        <a:pt x="415" y="1959"/>
                      </a:lnTo>
                      <a:lnTo>
                        <a:pt x="415" y="1958"/>
                      </a:lnTo>
                      <a:lnTo>
                        <a:pt x="418" y="1955"/>
                      </a:lnTo>
                      <a:lnTo>
                        <a:pt x="419" y="1953"/>
                      </a:lnTo>
                      <a:lnTo>
                        <a:pt x="417" y="1955"/>
                      </a:lnTo>
                      <a:lnTo>
                        <a:pt x="418" y="1953"/>
                      </a:lnTo>
                      <a:lnTo>
                        <a:pt x="420" y="1950"/>
                      </a:lnTo>
                      <a:lnTo>
                        <a:pt x="422" y="1944"/>
                      </a:lnTo>
                      <a:lnTo>
                        <a:pt x="423" y="1943"/>
                      </a:lnTo>
                      <a:lnTo>
                        <a:pt x="423" y="1943"/>
                      </a:lnTo>
                      <a:lnTo>
                        <a:pt x="423" y="1943"/>
                      </a:lnTo>
                      <a:lnTo>
                        <a:pt x="424" y="1941"/>
                      </a:lnTo>
                      <a:lnTo>
                        <a:pt x="423" y="1940"/>
                      </a:lnTo>
                      <a:lnTo>
                        <a:pt x="423" y="1941"/>
                      </a:lnTo>
                      <a:lnTo>
                        <a:pt x="422" y="1941"/>
                      </a:lnTo>
                      <a:lnTo>
                        <a:pt x="422" y="1940"/>
                      </a:lnTo>
                      <a:lnTo>
                        <a:pt x="422" y="1939"/>
                      </a:lnTo>
                      <a:lnTo>
                        <a:pt x="423" y="1938"/>
                      </a:lnTo>
                      <a:lnTo>
                        <a:pt x="423" y="1939"/>
                      </a:lnTo>
                      <a:lnTo>
                        <a:pt x="424" y="1939"/>
                      </a:lnTo>
                      <a:lnTo>
                        <a:pt x="424" y="1939"/>
                      </a:lnTo>
                      <a:lnTo>
                        <a:pt x="425" y="1937"/>
                      </a:lnTo>
                      <a:lnTo>
                        <a:pt x="425" y="1938"/>
                      </a:lnTo>
                      <a:lnTo>
                        <a:pt x="425" y="1938"/>
                      </a:lnTo>
                      <a:lnTo>
                        <a:pt x="426" y="1937"/>
                      </a:lnTo>
                      <a:lnTo>
                        <a:pt x="428" y="1938"/>
                      </a:lnTo>
                      <a:lnTo>
                        <a:pt x="428" y="1937"/>
                      </a:lnTo>
                      <a:lnTo>
                        <a:pt x="428" y="1936"/>
                      </a:lnTo>
                      <a:lnTo>
                        <a:pt x="427" y="1936"/>
                      </a:lnTo>
                      <a:lnTo>
                        <a:pt x="427" y="1935"/>
                      </a:lnTo>
                      <a:lnTo>
                        <a:pt x="428" y="1934"/>
                      </a:lnTo>
                      <a:lnTo>
                        <a:pt x="428" y="1933"/>
                      </a:lnTo>
                      <a:lnTo>
                        <a:pt x="427" y="1933"/>
                      </a:lnTo>
                      <a:lnTo>
                        <a:pt x="427" y="1934"/>
                      </a:lnTo>
                      <a:lnTo>
                        <a:pt x="426" y="1935"/>
                      </a:lnTo>
                      <a:lnTo>
                        <a:pt x="426" y="1934"/>
                      </a:lnTo>
                      <a:lnTo>
                        <a:pt x="426" y="1933"/>
                      </a:lnTo>
                      <a:lnTo>
                        <a:pt x="427" y="1933"/>
                      </a:lnTo>
                      <a:lnTo>
                        <a:pt x="427" y="1932"/>
                      </a:lnTo>
                      <a:lnTo>
                        <a:pt x="428" y="1932"/>
                      </a:lnTo>
                      <a:lnTo>
                        <a:pt x="428" y="1932"/>
                      </a:lnTo>
                      <a:lnTo>
                        <a:pt x="428" y="1931"/>
                      </a:lnTo>
                      <a:lnTo>
                        <a:pt x="429" y="1929"/>
                      </a:lnTo>
                      <a:lnTo>
                        <a:pt x="431" y="1927"/>
                      </a:lnTo>
                      <a:lnTo>
                        <a:pt x="431" y="1926"/>
                      </a:lnTo>
                      <a:lnTo>
                        <a:pt x="432" y="1925"/>
                      </a:lnTo>
                      <a:lnTo>
                        <a:pt x="432" y="1926"/>
                      </a:lnTo>
                      <a:lnTo>
                        <a:pt x="432" y="1926"/>
                      </a:lnTo>
                      <a:lnTo>
                        <a:pt x="433" y="1924"/>
                      </a:lnTo>
                      <a:lnTo>
                        <a:pt x="434" y="1923"/>
                      </a:lnTo>
                      <a:lnTo>
                        <a:pt x="434" y="1922"/>
                      </a:lnTo>
                      <a:lnTo>
                        <a:pt x="436" y="1920"/>
                      </a:lnTo>
                      <a:lnTo>
                        <a:pt x="436" y="1920"/>
                      </a:lnTo>
                      <a:lnTo>
                        <a:pt x="436" y="1919"/>
                      </a:lnTo>
                      <a:lnTo>
                        <a:pt x="437" y="1919"/>
                      </a:lnTo>
                      <a:lnTo>
                        <a:pt x="437" y="1918"/>
                      </a:lnTo>
                      <a:lnTo>
                        <a:pt x="438" y="1917"/>
                      </a:lnTo>
                      <a:lnTo>
                        <a:pt x="439" y="1917"/>
                      </a:lnTo>
                      <a:lnTo>
                        <a:pt x="439" y="1915"/>
                      </a:lnTo>
                      <a:lnTo>
                        <a:pt x="439" y="1915"/>
                      </a:lnTo>
                      <a:lnTo>
                        <a:pt x="439" y="1914"/>
                      </a:lnTo>
                      <a:lnTo>
                        <a:pt x="440" y="1914"/>
                      </a:lnTo>
                      <a:lnTo>
                        <a:pt x="441" y="1914"/>
                      </a:lnTo>
                      <a:lnTo>
                        <a:pt x="443" y="1916"/>
                      </a:lnTo>
                      <a:lnTo>
                        <a:pt x="443" y="1916"/>
                      </a:lnTo>
                      <a:lnTo>
                        <a:pt x="445" y="1914"/>
                      </a:lnTo>
                      <a:lnTo>
                        <a:pt x="446" y="1915"/>
                      </a:lnTo>
                      <a:lnTo>
                        <a:pt x="447" y="1916"/>
                      </a:lnTo>
                      <a:lnTo>
                        <a:pt x="447" y="1917"/>
                      </a:lnTo>
                      <a:lnTo>
                        <a:pt x="447" y="1917"/>
                      </a:lnTo>
                      <a:lnTo>
                        <a:pt x="446" y="1919"/>
                      </a:lnTo>
                      <a:lnTo>
                        <a:pt x="448" y="1920"/>
                      </a:lnTo>
                      <a:lnTo>
                        <a:pt x="448" y="1920"/>
                      </a:lnTo>
                      <a:lnTo>
                        <a:pt x="449" y="1920"/>
                      </a:lnTo>
                      <a:lnTo>
                        <a:pt x="451" y="1921"/>
                      </a:lnTo>
                      <a:lnTo>
                        <a:pt x="450" y="1920"/>
                      </a:lnTo>
                      <a:lnTo>
                        <a:pt x="450" y="1919"/>
                      </a:lnTo>
                      <a:lnTo>
                        <a:pt x="450" y="1918"/>
                      </a:lnTo>
                      <a:lnTo>
                        <a:pt x="450" y="1918"/>
                      </a:lnTo>
                      <a:lnTo>
                        <a:pt x="450" y="1918"/>
                      </a:lnTo>
                      <a:lnTo>
                        <a:pt x="451" y="1917"/>
                      </a:lnTo>
                      <a:lnTo>
                        <a:pt x="449" y="1917"/>
                      </a:lnTo>
                      <a:lnTo>
                        <a:pt x="448" y="1917"/>
                      </a:lnTo>
                      <a:lnTo>
                        <a:pt x="448" y="1917"/>
                      </a:lnTo>
                      <a:lnTo>
                        <a:pt x="448" y="1917"/>
                      </a:lnTo>
                      <a:lnTo>
                        <a:pt x="448" y="1916"/>
                      </a:lnTo>
                      <a:lnTo>
                        <a:pt x="448" y="1916"/>
                      </a:lnTo>
                      <a:lnTo>
                        <a:pt x="450" y="1914"/>
                      </a:lnTo>
                      <a:lnTo>
                        <a:pt x="450" y="1913"/>
                      </a:lnTo>
                      <a:lnTo>
                        <a:pt x="451" y="1913"/>
                      </a:lnTo>
                      <a:lnTo>
                        <a:pt x="451" y="1912"/>
                      </a:lnTo>
                      <a:lnTo>
                        <a:pt x="450" y="1911"/>
                      </a:lnTo>
                      <a:lnTo>
                        <a:pt x="450" y="1911"/>
                      </a:lnTo>
                      <a:lnTo>
                        <a:pt x="449" y="1911"/>
                      </a:lnTo>
                      <a:lnTo>
                        <a:pt x="449" y="1911"/>
                      </a:lnTo>
                      <a:lnTo>
                        <a:pt x="449" y="1910"/>
                      </a:lnTo>
                      <a:lnTo>
                        <a:pt x="449" y="1910"/>
                      </a:lnTo>
                      <a:lnTo>
                        <a:pt x="448" y="1910"/>
                      </a:lnTo>
                      <a:lnTo>
                        <a:pt x="447" y="1911"/>
                      </a:lnTo>
                      <a:lnTo>
                        <a:pt x="446" y="1911"/>
                      </a:lnTo>
                      <a:lnTo>
                        <a:pt x="446" y="1911"/>
                      </a:lnTo>
                      <a:lnTo>
                        <a:pt x="445" y="1911"/>
                      </a:lnTo>
                      <a:lnTo>
                        <a:pt x="446" y="1909"/>
                      </a:lnTo>
                      <a:lnTo>
                        <a:pt x="446" y="1909"/>
                      </a:lnTo>
                      <a:lnTo>
                        <a:pt x="447" y="1907"/>
                      </a:lnTo>
                      <a:lnTo>
                        <a:pt x="446" y="1907"/>
                      </a:lnTo>
                      <a:lnTo>
                        <a:pt x="446" y="1907"/>
                      </a:lnTo>
                      <a:lnTo>
                        <a:pt x="446" y="1906"/>
                      </a:lnTo>
                      <a:lnTo>
                        <a:pt x="446" y="1907"/>
                      </a:lnTo>
                      <a:lnTo>
                        <a:pt x="445" y="1907"/>
                      </a:lnTo>
                      <a:lnTo>
                        <a:pt x="444" y="1909"/>
                      </a:lnTo>
                      <a:lnTo>
                        <a:pt x="444" y="1909"/>
                      </a:lnTo>
                      <a:lnTo>
                        <a:pt x="444" y="1907"/>
                      </a:lnTo>
                      <a:lnTo>
                        <a:pt x="443" y="1907"/>
                      </a:lnTo>
                      <a:lnTo>
                        <a:pt x="443" y="1905"/>
                      </a:lnTo>
                      <a:lnTo>
                        <a:pt x="444" y="1903"/>
                      </a:lnTo>
                      <a:lnTo>
                        <a:pt x="444" y="1902"/>
                      </a:lnTo>
                      <a:lnTo>
                        <a:pt x="445" y="1901"/>
                      </a:lnTo>
                      <a:lnTo>
                        <a:pt x="445" y="1899"/>
                      </a:lnTo>
                      <a:lnTo>
                        <a:pt x="446" y="1898"/>
                      </a:lnTo>
                      <a:lnTo>
                        <a:pt x="446" y="1897"/>
                      </a:lnTo>
                      <a:lnTo>
                        <a:pt x="447" y="1897"/>
                      </a:lnTo>
                      <a:lnTo>
                        <a:pt x="447" y="1895"/>
                      </a:lnTo>
                      <a:lnTo>
                        <a:pt x="448" y="1894"/>
                      </a:lnTo>
                      <a:lnTo>
                        <a:pt x="448" y="1893"/>
                      </a:lnTo>
                      <a:lnTo>
                        <a:pt x="449" y="1892"/>
                      </a:lnTo>
                      <a:lnTo>
                        <a:pt x="449" y="1891"/>
                      </a:lnTo>
                      <a:lnTo>
                        <a:pt x="450" y="1890"/>
                      </a:lnTo>
                      <a:lnTo>
                        <a:pt x="450" y="1889"/>
                      </a:lnTo>
                      <a:lnTo>
                        <a:pt x="452" y="1888"/>
                      </a:lnTo>
                      <a:lnTo>
                        <a:pt x="452" y="1888"/>
                      </a:lnTo>
                      <a:lnTo>
                        <a:pt x="452" y="1887"/>
                      </a:lnTo>
                      <a:lnTo>
                        <a:pt x="453" y="1885"/>
                      </a:lnTo>
                      <a:lnTo>
                        <a:pt x="453" y="1883"/>
                      </a:lnTo>
                      <a:lnTo>
                        <a:pt x="454" y="1882"/>
                      </a:lnTo>
                      <a:lnTo>
                        <a:pt x="454" y="1881"/>
                      </a:lnTo>
                      <a:lnTo>
                        <a:pt x="455" y="1881"/>
                      </a:lnTo>
                      <a:lnTo>
                        <a:pt x="456" y="1880"/>
                      </a:lnTo>
                      <a:lnTo>
                        <a:pt x="456" y="1879"/>
                      </a:lnTo>
                      <a:lnTo>
                        <a:pt x="457" y="1879"/>
                      </a:lnTo>
                      <a:lnTo>
                        <a:pt x="456" y="1878"/>
                      </a:lnTo>
                      <a:lnTo>
                        <a:pt x="454" y="1877"/>
                      </a:lnTo>
                      <a:lnTo>
                        <a:pt x="452" y="1878"/>
                      </a:lnTo>
                      <a:lnTo>
                        <a:pt x="451" y="1879"/>
                      </a:lnTo>
                      <a:lnTo>
                        <a:pt x="451" y="1880"/>
                      </a:lnTo>
                      <a:lnTo>
                        <a:pt x="451" y="1880"/>
                      </a:lnTo>
                      <a:lnTo>
                        <a:pt x="451" y="1881"/>
                      </a:lnTo>
                      <a:lnTo>
                        <a:pt x="450" y="1881"/>
                      </a:lnTo>
                      <a:lnTo>
                        <a:pt x="450" y="1881"/>
                      </a:lnTo>
                      <a:lnTo>
                        <a:pt x="448" y="1883"/>
                      </a:lnTo>
                      <a:lnTo>
                        <a:pt x="447" y="1884"/>
                      </a:lnTo>
                      <a:lnTo>
                        <a:pt x="447" y="1885"/>
                      </a:lnTo>
                      <a:lnTo>
                        <a:pt x="446" y="1885"/>
                      </a:lnTo>
                      <a:lnTo>
                        <a:pt x="445" y="1886"/>
                      </a:lnTo>
                      <a:lnTo>
                        <a:pt x="445" y="1887"/>
                      </a:lnTo>
                      <a:lnTo>
                        <a:pt x="444" y="1887"/>
                      </a:lnTo>
                      <a:lnTo>
                        <a:pt x="443" y="1889"/>
                      </a:lnTo>
                      <a:lnTo>
                        <a:pt x="441" y="1890"/>
                      </a:lnTo>
                      <a:lnTo>
                        <a:pt x="441" y="1891"/>
                      </a:lnTo>
                      <a:lnTo>
                        <a:pt x="441" y="1891"/>
                      </a:lnTo>
                      <a:lnTo>
                        <a:pt x="441" y="1892"/>
                      </a:lnTo>
                      <a:lnTo>
                        <a:pt x="440" y="1893"/>
                      </a:lnTo>
                      <a:lnTo>
                        <a:pt x="440" y="1894"/>
                      </a:lnTo>
                      <a:lnTo>
                        <a:pt x="438" y="1895"/>
                      </a:lnTo>
                      <a:lnTo>
                        <a:pt x="438" y="1896"/>
                      </a:lnTo>
                      <a:lnTo>
                        <a:pt x="438" y="1897"/>
                      </a:lnTo>
                      <a:lnTo>
                        <a:pt x="437" y="1898"/>
                      </a:lnTo>
                      <a:lnTo>
                        <a:pt x="434" y="1900"/>
                      </a:lnTo>
                      <a:lnTo>
                        <a:pt x="434" y="1899"/>
                      </a:lnTo>
                      <a:lnTo>
                        <a:pt x="432" y="1899"/>
                      </a:lnTo>
                      <a:lnTo>
                        <a:pt x="436" y="1895"/>
                      </a:lnTo>
                      <a:lnTo>
                        <a:pt x="437" y="1894"/>
                      </a:lnTo>
                      <a:lnTo>
                        <a:pt x="437" y="1893"/>
                      </a:lnTo>
                      <a:lnTo>
                        <a:pt x="438" y="1893"/>
                      </a:lnTo>
                      <a:lnTo>
                        <a:pt x="438" y="1892"/>
                      </a:lnTo>
                      <a:lnTo>
                        <a:pt x="439" y="1891"/>
                      </a:lnTo>
                      <a:lnTo>
                        <a:pt x="438" y="1891"/>
                      </a:lnTo>
                      <a:lnTo>
                        <a:pt x="436" y="1893"/>
                      </a:lnTo>
                      <a:lnTo>
                        <a:pt x="436" y="1893"/>
                      </a:lnTo>
                      <a:lnTo>
                        <a:pt x="436" y="1893"/>
                      </a:lnTo>
                      <a:lnTo>
                        <a:pt x="436" y="1891"/>
                      </a:lnTo>
                      <a:lnTo>
                        <a:pt x="436" y="1890"/>
                      </a:lnTo>
                      <a:lnTo>
                        <a:pt x="437" y="1889"/>
                      </a:lnTo>
                      <a:lnTo>
                        <a:pt x="437" y="1888"/>
                      </a:lnTo>
                      <a:lnTo>
                        <a:pt x="437" y="1888"/>
                      </a:lnTo>
                      <a:lnTo>
                        <a:pt x="436" y="1888"/>
                      </a:lnTo>
                      <a:lnTo>
                        <a:pt x="436" y="1888"/>
                      </a:lnTo>
                      <a:lnTo>
                        <a:pt x="436" y="1888"/>
                      </a:lnTo>
                      <a:lnTo>
                        <a:pt x="437" y="1888"/>
                      </a:lnTo>
                      <a:lnTo>
                        <a:pt x="437" y="1887"/>
                      </a:lnTo>
                      <a:lnTo>
                        <a:pt x="438" y="1886"/>
                      </a:lnTo>
                      <a:lnTo>
                        <a:pt x="438" y="1885"/>
                      </a:lnTo>
                      <a:lnTo>
                        <a:pt x="439" y="1886"/>
                      </a:lnTo>
                      <a:lnTo>
                        <a:pt x="439" y="1885"/>
                      </a:lnTo>
                      <a:lnTo>
                        <a:pt x="439" y="1884"/>
                      </a:lnTo>
                      <a:lnTo>
                        <a:pt x="439" y="1884"/>
                      </a:lnTo>
                      <a:lnTo>
                        <a:pt x="439" y="1884"/>
                      </a:lnTo>
                      <a:lnTo>
                        <a:pt x="439" y="1883"/>
                      </a:lnTo>
                      <a:lnTo>
                        <a:pt x="439" y="1882"/>
                      </a:lnTo>
                      <a:lnTo>
                        <a:pt x="440" y="1882"/>
                      </a:lnTo>
                      <a:lnTo>
                        <a:pt x="439" y="1882"/>
                      </a:lnTo>
                      <a:lnTo>
                        <a:pt x="440" y="1881"/>
                      </a:lnTo>
                      <a:lnTo>
                        <a:pt x="441" y="1881"/>
                      </a:lnTo>
                      <a:lnTo>
                        <a:pt x="441" y="1880"/>
                      </a:lnTo>
                      <a:lnTo>
                        <a:pt x="441" y="1879"/>
                      </a:lnTo>
                      <a:lnTo>
                        <a:pt x="441" y="1879"/>
                      </a:lnTo>
                      <a:lnTo>
                        <a:pt x="442" y="1878"/>
                      </a:lnTo>
                      <a:lnTo>
                        <a:pt x="442" y="1876"/>
                      </a:lnTo>
                      <a:lnTo>
                        <a:pt x="444" y="1874"/>
                      </a:lnTo>
                      <a:lnTo>
                        <a:pt x="444" y="1873"/>
                      </a:lnTo>
                      <a:lnTo>
                        <a:pt x="445" y="1873"/>
                      </a:lnTo>
                      <a:lnTo>
                        <a:pt x="445" y="1872"/>
                      </a:lnTo>
                      <a:lnTo>
                        <a:pt x="445" y="1871"/>
                      </a:lnTo>
                      <a:lnTo>
                        <a:pt x="445" y="1871"/>
                      </a:lnTo>
                      <a:lnTo>
                        <a:pt x="444" y="1869"/>
                      </a:lnTo>
                      <a:lnTo>
                        <a:pt x="445" y="1869"/>
                      </a:lnTo>
                      <a:lnTo>
                        <a:pt x="445" y="1869"/>
                      </a:lnTo>
                      <a:lnTo>
                        <a:pt x="445" y="1869"/>
                      </a:lnTo>
                      <a:lnTo>
                        <a:pt x="445" y="1868"/>
                      </a:lnTo>
                      <a:lnTo>
                        <a:pt x="446" y="1867"/>
                      </a:lnTo>
                      <a:lnTo>
                        <a:pt x="446" y="1868"/>
                      </a:lnTo>
                      <a:lnTo>
                        <a:pt x="446" y="1868"/>
                      </a:lnTo>
                      <a:lnTo>
                        <a:pt x="446" y="1868"/>
                      </a:lnTo>
                      <a:lnTo>
                        <a:pt x="447" y="1868"/>
                      </a:lnTo>
                      <a:lnTo>
                        <a:pt x="447" y="1867"/>
                      </a:lnTo>
                      <a:lnTo>
                        <a:pt x="448" y="1867"/>
                      </a:lnTo>
                      <a:lnTo>
                        <a:pt x="448" y="1866"/>
                      </a:lnTo>
                      <a:lnTo>
                        <a:pt x="447" y="1866"/>
                      </a:lnTo>
                      <a:lnTo>
                        <a:pt x="447" y="1864"/>
                      </a:lnTo>
                      <a:lnTo>
                        <a:pt x="447" y="1862"/>
                      </a:lnTo>
                      <a:lnTo>
                        <a:pt x="445" y="1861"/>
                      </a:lnTo>
                      <a:lnTo>
                        <a:pt x="444" y="1861"/>
                      </a:lnTo>
                      <a:lnTo>
                        <a:pt x="444" y="1861"/>
                      </a:lnTo>
                      <a:lnTo>
                        <a:pt x="443" y="1860"/>
                      </a:lnTo>
                      <a:lnTo>
                        <a:pt x="443" y="1859"/>
                      </a:lnTo>
                      <a:lnTo>
                        <a:pt x="443" y="1859"/>
                      </a:lnTo>
                      <a:lnTo>
                        <a:pt x="445" y="1859"/>
                      </a:lnTo>
                      <a:lnTo>
                        <a:pt x="445" y="1858"/>
                      </a:lnTo>
                      <a:lnTo>
                        <a:pt x="445" y="1858"/>
                      </a:lnTo>
                      <a:lnTo>
                        <a:pt x="447" y="1859"/>
                      </a:lnTo>
                      <a:lnTo>
                        <a:pt x="448" y="1859"/>
                      </a:lnTo>
                      <a:lnTo>
                        <a:pt x="449" y="1858"/>
                      </a:lnTo>
                      <a:lnTo>
                        <a:pt x="449" y="1857"/>
                      </a:lnTo>
                      <a:lnTo>
                        <a:pt x="449" y="1856"/>
                      </a:lnTo>
                      <a:lnTo>
                        <a:pt x="450" y="1857"/>
                      </a:lnTo>
                      <a:lnTo>
                        <a:pt x="451" y="1856"/>
                      </a:lnTo>
                      <a:lnTo>
                        <a:pt x="451" y="1856"/>
                      </a:lnTo>
                      <a:lnTo>
                        <a:pt x="451" y="1855"/>
                      </a:lnTo>
                      <a:lnTo>
                        <a:pt x="452" y="1855"/>
                      </a:lnTo>
                      <a:lnTo>
                        <a:pt x="452" y="1855"/>
                      </a:lnTo>
                      <a:lnTo>
                        <a:pt x="452" y="1855"/>
                      </a:lnTo>
                      <a:lnTo>
                        <a:pt x="452" y="1856"/>
                      </a:lnTo>
                      <a:lnTo>
                        <a:pt x="453" y="1856"/>
                      </a:lnTo>
                      <a:lnTo>
                        <a:pt x="453" y="1856"/>
                      </a:lnTo>
                      <a:lnTo>
                        <a:pt x="454" y="1856"/>
                      </a:lnTo>
                      <a:lnTo>
                        <a:pt x="454" y="1856"/>
                      </a:lnTo>
                      <a:lnTo>
                        <a:pt x="455" y="1856"/>
                      </a:lnTo>
                      <a:lnTo>
                        <a:pt x="455" y="1854"/>
                      </a:lnTo>
                      <a:lnTo>
                        <a:pt x="455" y="1853"/>
                      </a:lnTo>
                      <a:lnTo>
                        <a:pt x="457" y="1852"/>
                      </a:lnTo>
                      <a:lnTo>
                        <a:pt x="457" y="1852"/>
                      </a:lnTo>
                      <a:lnTo>
                        <a:pt x="457" y="1852"/>
                      </a:lnTo>
                      <a:lnTo>
                        <a:pt x="460" y="1853"/>
                      </a:lnTo>
                      <a:lnTo>
                        <a:pt x="460" y="1852"/>
                      </a:lnTo>
                      <a:lnTo>
                        <a:pt x="460" y="1852"/>
                      </a:lnTo>
                      <a:lnTo>
                        <a:pt x="459" y="1852"/>
                      </a:lnTo>
                      <a:lnTo>
                        <a:pt x="459" y="1851"/>
                      </a:lnTo>
                      <a:lnTo>
                        <a:pt x="458" y="1850"/>
                      </a:lnTo>
                      <a:lnTo>
                        <a:pt x="457" y="1849"/>
                      </a:lnTo>
                      <a:lnTo>
                        <a:pt x="458" y="1848"/>
                      </a:lnTo>
                      <a:lnTo>
                        <a:pt x="458" y="1847"/>
                      </a:lnTo>
                      <a:lnTo>
                        <a:pt x="456" y="1847"/>
                      </a:lnTo>
                      <a:lnTo>
                        <a:pt x="455" y="1848"/>
                      </a:lnTo>
                      <a:lnTo>
                        <a:pt x="455" y="1849"/>
                      </a:lnTo>
                      <a:lnTo>
                        <a:pt x="455" y="1849"/>
                      </a:lnTo>
                      <a:lnTo>
                        <a:pt x="454" y="1850"/>
                      </a:lnTo>
                      <a:lnTo>
                        <a:pt x="453" y="1851"/>
                      </a:lnTo>
                      <a:lnTo>
                        <a:pt x="453" y="1850"/>
                      </a:lnTo>
                      <a:lnTo>
                        <a:pt x="452" y="1850"/>
                      </a:lnTo>
                      <a:lnTo>
                        <a:pt x="450" y="1851"/>
                      </a:lnTo>
                      <a:lnTo>
                        <a:pt x="450" y="1851"/>
                      </a:lnTo>
                      <a:lnTo>
                        <a:pt x="450" y="1852"/>
                      </a:lnTo>
                      <a:lnTo>
                        <a:pt x="448" y="1851"/>
                      </a:lnTo>
                      <a:lnTo>
                        <a:pt x="447" y="1851"/>
                      </a:lnTo>
                      <a:lnTo>
                        <a:pt x="444" y="1851"/>
                      </a:lnTo>
                      <a:lnTo>
                        <a:pt x="441" y="1853"/>
                      </a:lnTo>
                      <a:lnTo>
                        <a:pt x="441" y="1854"/>
                      </a:lnTo>
                      <a:lnTo>
                        <a:pt x="440" y="1855"/>
                      </a:lnTo>
                      <a:lnTo>
                        <a:pt x="440" y="1855"/>
                      </a:lnTo>
                      <a:lnTo>
                        <a:pt x="438" y="1854"/>
                      </a:lnTo>
                      <a:lnTo>
                        <a:pt x="437" y="1855"/>
                      </a:lnTo>
                      <a:lnTo>
                        <a:pt x="437" y="1854"/>
                      </a:lnTo>
                      <a:lnTo>
                        <a:pt x="437" y="1852"/>
                      </a:lnTo>
                      <a:lnTo>
                        <a:pt x="438" y="1850"/>
                      </a:lnTo>
                      <a:lnTo>
                        <a:pt x="438" y="1850"/>
                      </a:lnTo>
                      <a:lnTo>
                        <a:pt x="438" y="1849"/>
                      </a:lnTo>
                      <a:lnTo>
                        <a:pt x="439" y="1845"/>
                      </a:lnTo>
                      <a:lnTo>
                        <a:pt x="440" y="1844"/>
                      </a:lnTo>
                      <a:lnTo>
                        <a:pt x="440" y="1843"/>
                      </a:lnTo>
                      <a:lnTo>
                        <a:pt x="440" y="1843"/>
                      </a:lnTo>
                      <a:lnTo>
                        <a:pt x="441" y="1842"/>
                      </a:lnTo>
                      <a:lnTo>
                        <a:pt x="439" y="1841"/>
                      </a:lnTo>
                      <a:lnTo>
                        <a:pt x="439" y="1842"/>
                      </a:lnTo>
                      <a:lnTo>
                        <a:pt x="438" y="1843"/>
                      </a:lnTo>
                      <a:lnTo>
                        <a:pt x="438" y="1842"/>
                      </a:lnTo>
                      <a:lnTo>
                        <a:pt x="439" y="1836"/>
                      </a:lnTo>
                      <a:lnTo>
                        <a:pt x="439" y="1834"/>
                      </a:lnTo>
                      <a:lnTo>
                        <a:pt x="439" y="1834"/>
                      </a:lnTo>
                      <a:lnTo>
                        <a:pt x="440" y="1830"/>
                      </a:lnTo>
                      <a:lnTo>
                        <a:pt x="440" y="1830"/>
                      </a:lnTo>
                      <a:lnTo>
                        <a:pt x="440" y="1830"/>
                      </a:lnTo>
                      <a:lnTo>
                        <a:pt x="440" y="1829"/>
                      </a:lnTo>
                      <a:lnTo>
                        <a:pt x="440" y="1829"/>
                      </a:lnTo>
                      <a:lnTo>
                        <a:pt x="440" y="1829"/>
                      </a:lnTo>
                      <a:lnTo>
                        <a:pt x="439" y="1830"/>
                      </a:lnTo>
                      <a:lnTo>
                        <a:pt x="439" y="1830"/>
                      </a:lnTo>
                      <a:lnTo>
                        <a:pt x="438" y="1834"/>
                      </a:lnTo>
                      <a:lnTo>
                        <a:pt x="438" y="1835"/>
                      </a:lnTo>
                      <a:lnTo>
                        <a:pt x="437" y="1836"/>
                      </a:lnTo>
                      <a:lnTo>
                        <a:pt x="436" y="1836"/>
                      </a:lnTo>
                      <a:lnTo>
                        <a:pt x="434" y="1837"/>
                      </a:lnTo>
                      <a:lnTo>
                        <a:pt x="434" y="1839"/>
                      </a:lnTo>
                      <a:lnTo>
                        <a:pt x="436" y="1839"/>
                      </a:lnTo>
                      <a:lnTo>
                        <a:pt x="436" y="1840"/>
                      </a:lnTo>
                      <a:lnTo>
                        <a:pt x="436" y="1841"/>
                      </a:lnTo>
                      <a:lnTo>
                        <a:pt x="437" y="1843"/>
                      </a:lnTo>
                      <a:lnTo>
                        <a:pt x="436" y="1844"/>
                      </a:lnTo>
                      <a:lnTo>
                        <a:pt x="436" y="1844"/>
                      </a:lnTo>
                      <a:lnTo>
                        <a:pt x="434" y="1844"/>
                      </a:lnTo>
                      <a:lnTo>
                        <a:pt x="434" y="1844"/>
                      </a:lnTo>
                      <a:lnTo>
                        <a:pt x="434" y="1844"/>
                      </a:lnTo>
                      <a:lnTo>
                        <a:pt x="433" y="1845"/>
                      </a:lnTo>
                      <a:lnTo>
                        <a:pt x="433" y="1846"/>
                      </a:lnTo>
                      <a:lnTo>
                        <a:pt x="432" y="1847"/>
                      </a:lnTo>
                      <a:lnTo>
                        <a:pt x="432" y="1848"/>
                      </a:lnTo>
                      <a:lnTo>
                        <a:pt x="432" y="1848"/>
                      </a:lnTo>
                      <a:lnTo>
                        <a:pt x="431" y="1849"/>
                      </a:lnTo>
                      <a:lnTo>
                        <a:pt x="431" y="1849"/>
                      </a:lnTo>
                      <a:lnTo>
                        <a:pt x="430" y="1849"/>
                      </a:lnTo>
                      <a:lnTo>
                        <a:pt x="429" y="1848"/>
                      </a:lnTo>
                      <a:lnTo>
                        <a:pt x="429" y="1847"/>
                      </a:lnTo>
                      <a:lnTo>
                        <a:pt x="429" y="1847"/>
                      </a:lnTo>
                      <a:lnTo>
                        <a:pt x="428" y="1846"/>
                      </a:lnTo>
                      <a:lnTo>
                        <a:pt x="428" y="1845"/>
                      </a:lnTo>
                      <a:lnTo>
                        <a:pt x="428" y="1845"/>
                      </a:lnTo>
                      <a:lnTo>
                        <a:pt x="428" y="1844"/>
                      </a:lnTo>
                      <a:lnTo>
                        <a:pt x="428" y="1843"/>
                      </a:lnTo>
                      <a:lnTo>
                        <a:pt x="428" y="1842"/>
                      </a:lnTo>
                      <a:lnTo>
                        <a:pt x="428" y="1841"/>
                      </a:lnTo>
                      <a:lnTo>
                        <a:pt x="429" y="1840"/>
                      </a:lnTo>
                      <a:lnTo>
                        <a:pt x="429" y="1840"/>
                      </a:lnTo>
                      <a:lnTo>
                        <a:pt x="426" y="1838"/>
                      </a:lnTo>
                      <a:lnTo>
                        <a:pt x="425" y="1839"/>
                      </a:lnTo>
                      <a:lnTo>
                        <a:pt x="425" y="1838"/>
                      </a:lnTo>
                      <a:lnTo>
                        <a:pt x="425" y="1838"/>
                      </a:lnTo>
                      <a:lnTo>
                        <a:pt x="424" y="1837"/>
                      </a:lnTo>
                      <a:lnTo>
                        <a:pt x="424" y="1837"/>
                      </a:lnTo>
                      <a:lnTo>
                        <a:pt x="425" y="1837"/>
                      </a:lnTo>
                      <a:lnTo>
                        <a:pt x="425" y="1837"/>
                      </a:lnTo>
                      <a:lnTo>
                        <a:pt x="425" y="1837"/>
                      </a:lnTo>
                      <a:lnTo>
                        <a:pt x="425" y="1836"/>
                      </a:lnTo>
                      <a:lnTo>
                        <a:pt x="425" y="1835"/>
                      </a:lnTo>
                      <a:lnTo>
                        <a:pt x="426" y="1835"/>
                      </a:lnTo>
                      <a:lnTo>
                        <a:pt x="426" y="1834"/>
                      </a:lnTo>
                      <a:lnTo>
                        <a:pt x="427" y="1831"/>
                      </a:lnTo>
                      <a:lnTo>
                        <a:pt x="427" y="1831"/>
                      </a:lnTo>
                      <a:lnTo>
                        <a:pt x="428" y="1830"/>
                      </a:lnTo>
                      <a:lnTo>
                        <a:pt x="429" y="1829"/>
                      </a:lnTo>
                      <a:lnTo>
                        <a:pt x="430" y="1829"/>
                      </a:lnTo>
                      <a:lnTo>
                        <a:pt x="430" y="1829"/>
                      </a:lnTo>
                      <a:lnTo>
                        <a:pt x="431" y="1828"/>
                      </a:lnTo>
                      <a:lnTo>
                        <a:pt x="431" y="1827"/>
                      </a:lnTo>
                      <a:lnTo>
                        <a:pt x="432" y="1827"/>
                      </a:lnTo>
                      <a:lnTo>
                        <a:pt x="432" y="1828"/>
                      </a:lnTo>
                      <a:lnTo>
                        <a:pt x="433" y="1828"/>
                      </a:lnTo>
                      <a:lnTo>
                        <a:pt x="434" y="1828"/>
                      </a:lnTo>
                      <a:lnTo>
                        <a:pt x="434" y="1828"/>
                      </a:lnTo>
                      <a:lnTo>
                        <a:pt x="434" y="1828"/>
                      </a:lnTo>
                      <a:lnTo>
                        <a:pt x="433" y="1829"/>
                      </a:lnTo>
                      <a:lnTo>
                        <a:pt x="433" y="1828"/>
                      </a:lnTo>
                      <a:lnTo>
                        <a:pt x="433" y="1829"/>
                      </a:lnTo>
                      <a:lnTo>
                        <a:pt x="434" y="1829"/>
                      </a:lnTo>
                      <a:lnTo>
                        <a:pt x="434" y="1829"/>
                      </a:lnTo>
                      <a:lnTo>
                        <a:pt x="436" y="1828"/>
                      </a:lnTo>
                      <a:lnTo>
                        <a:pt x="436" y="1829"/>
                      </a:lnTo>
                      <a:lnTo>
                        <a:pt x="433" y="1831"/>
                      </a:lnTo>
                      <a:lnTo>
                        <a:pt x="433" y="1831"/>
                      </a:lnTo>
                      <a:lnTo>
                        <a:pt x="432" y="1834"/>
                      </a:lnTo>
                      <a:lnTo>
                        <a:pt x="433" y="1835"/>
                      </a:lnTo>
                      <a:lnTo>
                        <a:pt x="433" y="1833"/>
                      </a:lnTo>
                      <a:lnTo>
                        <a:pt x="433" y="1833"/>
                      </a:lnTo>
                      <a:lnTo>
                        <a:pt x="434" y="1830"/>
                      </a:lnTo>
                      <a:lnTo>
                        <a:pt x="436" y="1830"/>
                      </a:lnTo>
                      <a:lnTo>
                        <a:pt x="436" y="1830"/>
                      </a:lnTo>
                      <a:lnTo>
                        <a:pt x="436" y="1829"/>
                      </a:lnTo>
                      <a:lnTo>
                        <a:pt x="437" y="1829"/>
                      </a:lnTo>
                      <a:lnTo>
                        <a:pt x="437" y="1828"/>
                      </a:lnTo>
                      <a:lnTo>
                        <a:pt x="437" y="1827"/>
                      </a:lnTo>
                      <a:lnTo>
                        <a:pt x="437" y="1826"/>
                      </a:lnTo>
                      <a:lnTo>
                        <a:pt x="438" y="1826"/>
                      </a:lnTo>
                      <a:lnTo>
                        <a:pt x="438" y="1826"/>
                      </a:lnTo>
                      <a:lnTo>
                        <a:pt x="438" y="1826"/>
                      </a:lnTo>
                      <a:lnTo>
                        <a:pt x="438" y="1825"/>
                      </a:lnTo>
                      <a:lnTo>
                        <a:pt x="439" y="1825"/>
                      </a:lnTo>
                      <a:lnTo>
                        <a:pt x="438" y="1825"/>
                      </a:lnTo>
                      <a:lnTo>
                        <a:pt x="439" y="1824"/>
                      </a:lnTo>
                      <a:lnTo>
                        <a:pt x="440" y="1824"/>
                      </a:lnTo>
                      <a:lnTo>
                        <a:pt x="439" y="1825"/>
                      </a:lnTo>
                      <a:lnTo>
                        <a:pt x="439" y="1826"/>
                      </a:lnTo>
                      <a:lnTo>
                        <a:pt x="438" y="1827"/>
                      </a:lnTo>
                      <a:lnTo>
                        <a:pt x="438" y="1827"/>
                      </a:lnTo>
                      <a:lnTo>
                        <a:pt x="438" y="1828"/>
                      </a:lnTo>
                      <a:lnTo>
                        <a:pt x="439" y="1826"/>
                      </a:lnTo>
                      <a:lnTo>
                        <a:pt x="440" y="1825"/>
                      </a:lnTo>
                      <a:lnTo>
                        <a:pt x="441" y="1824"/>
                      </a:lnTo>
                      <a:lnTo>
                        <a:pt x="441" y="1823"/>
                      </a:lnTo>
                      <a:lnTo>
                        <a:pt x="442" y="1822"/>
                      </a:lnTo>
                      <a:lnTo>
                        <a:pt x="443" y="1821"/>
                      </a:lnTo>
                      <a:lnTo>
                        <a:pt x="443" y="1820"/>
                      </a:lnTo>
                      <a:lnTo>
                        <a:pt x="444" y="1819"/>
                      </a:lnTo>
                      <a:lnTo>
                        <a:pt x="445" y="1818"/>
                      </a:lnTo>
                      <a:lnTo>
                        <a:pt x="446" y="1818"/>
                      </a:lnTo>
                      <a:lnTo>
                        <a:pt x="447" y="1817"/>
                      </a:lnTo>
                      <a:lnTo>
                        <a:pt x="447" y="1817"/>
                      </a:lnTo>
                      <a:lnTo>
                        <a:pt x="447" y="1818"/>
                      </a:lnTo>
                      <a:lnTo>
                        <a:pt x="448" y="1819"/>
                      </a:lnTo>
                      <a:lnTo>
                        <a:pt x="448" y="1817"/>
                      </a:lnTo>
                      <a:lnTo>
                        <a:pt x="449" y="1817"/>
                      </a:lnTo>
                      <a:lnTo>
                        <a:pt x="449" y="1817"/>
                      </a:lnTo>
                      <a:lnTo>
                        <a:pt x="450" y="1817"/>
                      </a:lnTo>
                      <a:lnTo>
                        <a:pt x="450" y="1817"/>
                      </a:lnTo>
                      <a:lnTo>
                        <a:pt x="450" y="1817"/>
                      </a:lnTo>
                      <a:lnTo>
                        <a:pt x="451" y="1818"/>
                      </a:lnTo>
                      <a:lnTo>
                        <a:pt x="451" y="1819"/>
                      </a:lnTo>
                      <a:lnTo>
                        <a:pt x="452" y="1819"/>
                      </a:lnTo>
                      <a:lnTo>
                        <a:pt x="453" y="1819"/>
                      </a:lnTo>
                      <a:lnTo>
                        <a:pt x="454" y="1819"/>
                      </a:lnTo>
                      <a:lnTo>
                        <a:pt x="455" y="1818"/>
                      </a:lnTo>
                      <a:lnTo>
                        <a:pt x="456" y="1817"/>
                      </a:lnTo>
                      <a:lnTo>
                        <a:pt x="457" y="1816"/>
                      </a:lnTo>
                      <a:lnTo>
                        <a:pt x="458" y="1816"/>
                      </a:lnTo>
                      <a:lnTo>
                        <a:pt x="460" y="1815"/>
                      </a:lnTo>
                      <a:lnTo>
                        <a:pt x="462" y="1816"/>
                      </a:lnTo>
                      <a:lnTo>
                        <a:pt x="463" y="1815"/>
                      </a:lnTo>
                      <a:lnTo>
                        <a:pt x="463" y="1815"/>
                      </a:lnTo>
                      <a:lnTo>
                        <a:pt x="465" y="1814"/>
                      </a:lnTo>
                      <a:lnTo>
                        <a:pt x="466" y="1813"/>
                      </a:lnTo>
                      <a:lnTo>
                        <a:pt x="468" y="1812"/>
                      </a:lnTo>
                      <a:lnTo>
                        <a:pt x="468" y="1812"/>
                      </a:lnTo>
                      <a:lnTo>
                        <a:pt x="468" y="1812"/>
                      </a:lnTo>
                      <a:lnTo>
                        <a:pt x="467" y="1810"/>
                      </a:lnTo>
                      <a:lnTo>
                        <a:pt x="467" y="1810"/>
                      </a:lnTo>
                      <a:lnTo>
                        <a:pt x="466" y="1810"/>
                      </a:lnTo>
                      <a:lnTo>
                        <a:pt x="464" y="1812"/>
                      </a:lnTo>
                      <a:lnTo>
                        <a:pt x="463" y="1813"/>
                      </a:lnTo>
                      <a:lnTo>
                        <a:pt x="462" y="1814"/>
                      </a:lnTo>
                      <a:lnTo>
                        <a:pt x="462" y="1814"/>
                      </a:lnTo>
                      <a:lnTo>
                        <a:pt x="461" y="1815"/>
                      </a:lnTo>
                      <a:lnTo>
                        <a:pt x="460" y="1815"/>
                      </a:lnTo>
                      <a:lnTo>
                        <a:pt x="460" y="1814"/>
                      </a:lnTo>
                      <a:lnTo>
                        <a:pt x="458" y="1814"/>
                      </a:lnTo>
                      <a:lnTo>
                        <a:pt x="458" y="1814"/>
                      </a:lnTo>
                      <a:lnTo>
                        <a:pt x="457" y="1814"/>
                      </a:lnTo>
                      <a:lnTo>
                        <a:pt x="456" y="1815"/>
                      </a:lnTo>
                      <a:lnTo>
                        <a:pt x="456" y="1815"/>
                      </a:lnTo>
                      <a:lnTo>
                        <a:pt x="455" y="1816"/>
                      </a:lnTo>
                      <a:lnTo>
                        <a:pt x="454" y="1818"/>
                      </a:lnTo>
                      <a:lnTo>
                        <a:pt x="452" y="1818"/>
                      </a:lnTo>
                      <a:lnTo>
                        <a:pt x="452" y="1818"/>
                      </a:lnTo>
                      <a:lnTo>
                        <a:pt x="452" y="1817"/>
                      </a:lnTo>
                      <a:lnTo>
                        <a:pt x="452" y="1816"/>
                      </a:lnTo>
                      <a:lnTo>
                        <a:pt x="451" y="1816"/>
                      </a:lnTo>
                      <a:lnTo>
                        <a:pt x="451" y="1816"/>
                      </a:lnTo>
                      <a:lnTo>
                        <a:pt x="451" y="1815"/>
                      </a:lnTo>
                      <a:lnTo>
                        <a:pt x="450" y="1815"/>
                      </a:lnTo>
                      <a:lnTo>
                        <a:pt x="449" y="1812"/>
                      </a:lnTo>
                      <a:lnTo>
                        <a:pt x="450" y="1810"/>
                      </a:lnTo>
                      <a:lnTo>
                        <a:pt x="451" y="1809"/>
                      </a:lnTo>
                      <a:lnTo>
                        <a:pt x="450" y="1809"/>
                      </a:lnTo>
                      <a:lnTo>
                        <a:pt x="450" y="1808"/>
                      </a:lnTo>
                      <a:lnTo>
                        <a:pt x="451" y="1807"/>
                      </a:lnTo>
                      <a:lnTo>
                        <a:pt x="451" y="1807"/>
                      </a:lnTo>
                      <a:lnTo>
                        <a:pt x="452" y="1807"/>
                      </a:lnTo>
                      <a:lnTo>
                        <a:pt x="452" y="1806"/>
                      </a:lnTo>
                      <a:lnTo>
                        <a:pt x="452" y="1806"/>
                      </a:lnTo>
                      <a:lnTo>
                        <a:pt x="451" y="1806"/>
                      </a:lnTo>
                      <a:lnTo>
                        <a:pt x="451" y="1806"/>
                      </a:lnTo>
                      <a:lnTo>
                        <a:pt x="452" y="1804"/>
                      </a:lnTo>
                      <a:lnTo>
                        <a:pt x="452" y="1803"/>
                      </a:lnTo>
                      <a:lnTo>
                        <a:pt x="453" y="1803"/>
                      </a:lnTo>
                      <a:lnTo>
                        <a:pt x="453" y="1802"/>
                      </a:lnTo>
                      <a:lnTo>
                        <a:pt x="453" y="1802"/>
                      </a:lnTo>
                      <a:lnTo>
                        <a:pt x="454" y="1801"/>
                      </a:lnTo>
                      <a:lnTo>
                        <a:pt x="454" y="1800"/>
                      </a:lnTo>
                      <a:lnTo>
                        <a:pt x="456" y="1799"/>
                      </a:lnTo>
                      <a:lnTo>
                        <a:pt x="456" y="1798"/>
                      </a:lnTo>
                      <a:lnTo>
                        <a:pt x="456" y="1797"/>
                      </a:lnTo>
                      <a:lnTo>
                        <a:pt x="458" y="1796"/>
                      </a:lnTo>
                      <a:lnTo>
                        <a:pt x="459" y="1794"/>
                      </a:lnTo>
                      <a:lnTo>
                        <a:pt x="459" y="1794"/>
                      </a:lnTo>
                      <a:lnTo>
                        <a:pt x="459" y="1793"/>
                      </a:lnTo>
                      <a:lnTo>
                        <a:pt x="461" y="1793"/>
                      </a:lnTo>
                      <a:lnTo>
                        <a:pt x="461" y="1792"/>
                      </a:lnTo>
                      <a:lnTo>
                        <a:pt x="461" y="1793"/>
                      </a:lnTo>
                      <a:lnTo>
                        <a:pt x="462" y="1792"/>
                      </a:lnTo>
                      <a:lnTo>
                        <a:pt x="462" y="1791"/>
                      </a:lnTo>
                      <a:lnTo>
                        <a:pt x="461" y="1790"/>
                      </a:lnTo>
                      <a:lnTo>
                        <a:pt x="460" y="1789"/>
                      </a:lnTo>
                      <a:lnTo>
                        <a:pt x="460" y="1788"/>
                      </a:lnTo>
                      <a:lnTo>
                        <a:pt x="460" y="1787"/>
                      </a:lnTo>
                      <a:lnTo>
                        <a:pt x="460" y="1786"/>
                      </a:lnTo>
                      <a:lnTo>
                        <a:pt x="460" y="1785"/>
                      </a:lnTo>
                      <a:lnTo>
                        <a:pt x="460" y="1785"/>
                      </a:lnTo>
                      <a:lnTo>
                        <a:pt x="460" y="1783"/>
                      </a:lnTo>
                      <a:lnTo>
                        <a:pt x="461" y="1783"/>
                      </a:lnTo>
                      <a:lnTo>
                        <a:pt x="461" y="1784"/>
                      </a:lnTo>
                      <a:lnTo>
                        <a:pt x="461" y="1784"/>
                      </a:lnTo>
                      <a:lnTo>
                        <a:pt x="463" y="1783"/>
                      </a:lnTo>
                      <a:lnTo>
                        <a:pt x="464" y="1781"/>
                      </a:lnTo>
                      <a:lnTo>
                        <a:pt x="464" y="1780"/>
                      </a:lnTo>
                      <a:lnTo>
                        <a:pt x="465" y="1780"/>
                      </a:lnTo>
                      <a:lnTo>
                        <a:pt x="466" y="1779"/>
                      </a:lnTo>
                      <a:lnTo>
                        <a:pt x="467" y="1779"/>
                      </a:lnTo>
                      <a:lnTo>
                        <a:pt x="467" y="1778"/>
                      </a:lnTo>
                      <a:lnTo>
                        <a:pt x="468" y="1778"/>
                      </a:lnTo>
                      <a:lnTo>
                        <a:pt x="468" y="1778"/>
                      </a:lnTo>
                      <a:lnTo>
                        <a:pt x="469" y="1778"/>
                      </a:lnTo>
                      <a:lnTo>
                        <a:pt x="468" y="1777"/>
                      </a:lnTo>
                      <a:lnTo>
                        <a:pt x="470" y="1776"/>
                      </a:lnTo>
                      <a:lnTo>
                        <a:pt x="470" y="1777"/>
                      </a:lnTo>
                      <a:lnTo>
                        <a:pt x="470" y="1778"/>
                      </a:lnTo>
                      <a:lnTo>
                        <a:pt x="470" y="1778"/>
                      </a:lnTo>
                      <a:lnTo>
                        <a:pt x="469" y="1779"/>
                      </a:lnTo>
                      <a:lnTo>
                        <a:pt x="469" y="1779"/>
                      </a:lnTo>
                      <a:lnTo>
                        <a:pt x="470" y="1780"/>
                      </a:lnTo>
                      <a:lnTo>
                        <a:pt x="471" y="1779"/>
                      </a:lnTo>
                      <a:lnTo>
                        <a:pt x="473" y="1779"/>
                      </a:lnTo>
                      <a:lnTo>
                        <a:pt x="475" y="1777"/>
                      </a:lnTo>
                      <a:lnTo>
                        <a:pt x="476" y="1777"/>
                      </a:lnTo>
                      <a:lnTo>
                        <a:pt x="475" y="1778"/>
                      </a:lnTo>
                      <a:lnTo>
                        <a:pt x="476" y="1779"/>
                      </a:lnTo>
                      <a:lnTo>
                        <a:pt x="477" y="1779"/>
                      </a:lnTo>
                      <a:lnTo>
                        <a:pt x="477" y="1778"/>
                      </a:lnTo>
                      <a:lnTo>
                        <a:pt x="477" y="1778"/>
                      </a:lnTo>
                      <a:lnTo>
                        <a:pt x="478" y="1778"/>
                      </a:lnTo>
                      <a:lnTo>
                        <a:pt x="479" y="1778"/>
                      </a:lnTo>
                      <a:lnTo>
                        <a:pt x="480" y="1777"/>
                      </a:lnTo>
                      <a:lnTo>
                        <a:pt x="481" y="1777"/>
                      </a:lnTo>
                      <a:lnTo>
                        <a:pt x="484" y="1777"/>
                      </a:lnTo>
                      <a:lnTo>
                        <a:pt x="485" y="1777"/>
                      </a:lnTo>
                      <a:lnTo>
                        <a:pt x="486" y="1777"/>
                      </a:lnTo>
                      <a:lnTo>
                        <a:pt x="486" y="1777"/>
                      </a:lnTo>
                      <a:lnTo>
                        <a:pt x="488" y="1776"/>
                      </a:lnTo>
                      <a:lnTo>
                        <a:pt x="488" y="1775"/>
                      </a:lnTo>
                      <a:lnTo>
                        <a:pt x="489" y="1775"/>
                      </a:lnTo>
                      <a:lnTo>
                        <a:pt x="490" y="1776"/>
                      </a:lnTo>
                      <a:lnTo>
                        <a:pt x="491" y="1777"/>
                      </a:lnTo>
                      <a:lnTo>
                        <a:pt x="491" y="1778"/>
                      </a:lnTo>
                      <a:lnTo>
                        <a:pt x="491" y="1778"/>
                      </a:lnTo>
                      <a:lnTo>
                        <a:pt x="492" y="1777"/>
                      </a:lnTo>
                      <a:lnTo>
                        <a:pt x="493" y="1779"/>
                      </a:lnTo>
                      <a:lnTo>
                        <a:pt x="494" y="1778"/>
                      </a:lnTo>
                      <a:lnTo>
                        <a:pt x="495" y="1777"/>
                      </a:lnTo>
                      <a:lnTo>
                        <a:pt x="495" y="1776"/>
                      </a:lnTo>
                      <a:lnTo>
                        <a:pt x="495" y="1776"/>
                      </a:lnTo>
                      <a:lnTo>
                        <a:pt x="496" y="1776"/>
                      </a:lnTo>
                      <a:lnTo>
                        <a:pt x="496" y="1777"/>
                      </a:lnTo>
                      <a:lnTo>
                        <a:pt x="497" y="1777"/>
                      </a:lnTo>
                      <a:lnTo>
                        <a:pt x="498" y="1777"/>
                      </a:lnTo>
                      <a:lnTo>
                        <a:pt x="499" y="1777"/>
                      </a:lnTo>
                      <a:lnTo>
                        <a:pt x="500" y="1777"/>
                      </a:lnTo>
                      <a:lnTo>
                        <a:pt x="500" y="1777"/>
                      </a:lnTo>
                      <a:lnTo>
                        <a:pt x="500" y="1778"/>
                      </a:lnTo>
                      <a:lnTo>
                        <a:pt x="501" y="1778"/>
                      </a:lnTo>
                      <a:lnTo>
                        <a:pt x="502" y="1778"/>
                      </a:lnTo>
                      <a:lnTo>
                        <a:pt x="502" y="1779"/>
                      </a:lnTo>
                      <a:lnTo>
                        <a:pt x="503" y="1778"/>
                      </a:lnTo>
                      <a:lnTo>
                        <a:pt x="504" y="1778"/>
                      </a:lnTo>
                      <a:lnTo>
                        <a:pt x="504" y="1777"/>
                      </a:lnTo>
                      <a:lnTo>
                        <a:pt x="505" y="1778"/>
                      </a:lnTo>
                      <a:lnTo>
                        <a:pt x="505" y="1776"/>
                      </a:lnTo>
                      <a:lnTo>
                        <a:pt x="505" y="1776"/>
                      </a:lnTo>
                      <a:lnTo>
                        <a:pt x="506" y="1776"/>
                      </a:lnTo>
                      <a:lnTo>
                        <a:pt x="507" y="1778"/>
                      </a:lnTo>
                      <a:lnTo>
                        <a:pt x="508" y="1779"/>
                      </a:lnTo>
                      <a:lnTo>
                        <a:pt x="508" y="1780"/>
                      </a:lnTo>
                      <a:lnTo>
                        <a:pt x="509" y="1781"/>
                      </a:lnTo>
                      <a:lnTo>
                        <a:pt x="509" y="1782"/>
                      </a:lnTo>
                      <a:lnTo>
                        <a:pt x="511" y="1783"/>
                      </a:lnTo>
                      <a:lnTo>
                        <a:pt x="512" y="1784"/>
                      </a:lnTo>
                      <a:lnTo>
                        <a:pt x="514" y="1782"/>
                      </a:lnTo>
                      <a:lnTo>
                        <a:pt x="514" y="1781"/>
                      </a:lnTo>
                      <a:lnTo>
                        <a:pt x="514" y="1781"/>
                      </a:lnTo>
                      <a:lnTo>
                        <a:pt x="515" y="1781"/>
                      </a:lnTo>
                      <a:lnTo>
                        <a:pt x="517" y="1781"/>
                      </a:lnTo>
                      <a:lnTo>
                        <a:pt x="518" y="1781"/>
                      </a:lnTo>
                      <a:lnTo>
                        <a:pt x="518" y="1780"/>
                      </a:lnTo>
                      <a:lnTo>
                        <a:pt x="520" y="1779"/>
                      </a:lnTo>
                      <a:lnTo>
                        <a:pt x="521" y="1780"/>
                      </a:lnTo>
                      <a:lnTo>
                        <a:pt x="523" y="1779"/>
                      </a:lnTo>
                      <a:lnTo>
                        <a:pt x="524" y="1778"/>
                      </a:lnTo>
                      <a:lnTo>
                        <a:pt x="525" y="1777"/>
                      </a:lnTo>
                      <a:lnTo>
                        <a:pt x="525" y="1777"/>
                      </a:lnTo>
                      <a:lnTo>
                        <a:pt x="526" y="1776"/>
                      </a:lnTo>
                      <a:lnTo>
                        <a:pt x="527" y="1775"/>
                      </a:lnTo>
                      <a:lnTo>
                        <a:pt x="528" y="1774"/>
                      </a:lnTo>
                      <a:lnTo>
                        <a:pt x="528" y="1774"/>
                      </a:lnTo>
                      <a:lnTo>
                        <a:pt x="528" y="1773"/>
                      </a:lnTo>
                      <a:lnTo>
                        <a:pt x="528" y="1773"/>
                      </a:lnTo>
                      <a:lnTo>
                        <a:pt x="528" y="1773"/>
                      </a:lnTo>
                      <a:lnTo>
                        <a:pt x="528" y="1772"/>
                      </a:lnTo>
                      <a:lnTo>
                        <a:pt x="529" y="1771"/>
                      </a:lnTo>
                      <a:lnTo>
                        <a:pt x="529" y="1771"/>
                      </a:lnTo>
                      <a:lnTo>
                        <a:pt x="531" y="1770"/>
                      </a:lnTo>
                      <a:lnTo>
                        <a:pt x="533" y="1769"/>
                      </a:lnTo>
                      <a:lnTo>
                        <a:pt x="534" y="1769"/>
                      </a:lnTo>
                      <a:lnTo>
                        <a:pt x="532" y="1768"/>
                      </a:lnTo>
                      <a:lnTo>
                        <a:pt x="532" y="1767"/>
                      </a:lnTo>
                      <a:lnTo>
                        <a:pt x="532" y="1767"/>
                      </a:lnTo>
                      <a:lnTo>
                        <a:pt x="532" y="1767"/>
                      </a:lnTo>
                      <a:lnTo>
                        <a:pt x="533" y="1765"/>
                      </a:lnTo>
                      <a:lnTo>
                        <a:pt x="533" y="1764"/>
                      </a:lnTo>
                      <a:lnTo>
                        <a:pt x="535" y="1764"/>
                      </a:lnTo>
                      <a:lnTo>
                        <a:pt x="535" y="1764"/>
                      </a:lnTo>
                      <a:lnTo>
                        <a:pt x="536" y="1763"/>
                      </a:lnTo>
                      <a:lnTo>
                        <a:pt x="536" y="1762"/>
                      </a:lnTo>
                      <a:lnTo>
                        <a:pt x="536" y="1762"/>
                      </a:lnTo>
                      <a:lnTo>
                        <a:pt x="537" y="1761"/>
                      </a:lnTo>
                      <a:lnTo>
                        <a:pt x="537" y="1760"/>
                      </a:lnTo>
                      <a:lnTo>
                        <a:pt x="537" y="1759"/>
                      </a:lnTo>
                      <a:lnTo>
                        <a:pt x="538" y="1758"/>
                      </a:lnTo>
                      <a:lnTo>
                        <a:pt x="539" y="1758"/>
                      </a:lnTo>
                      <a:lnTo>
                        <a:pt x="540" y="1755"/>
                      </a:lnTo>
                      <a:lnTo>
                        <a:pt x="540" y="1754"/>
                      </a:lnTo>
                      <a:lnTo>
                        <a:pt x="541" y="1753"/>
                      </a:lnTo>
                      <a:lnTo>
                        <a:pt x="541" y="1752"/>
                      </a:lnTo>
                      <a:lnTo>
                        <a:pt x="542" y="1748"/>
                      </a:lnTo>
                      <a:lnTo>
                        <a:pt x="542" y="1747"/>
                      </a:lnTo>
                      <a:lnTo>
                        <a:pt x="543" y="1747"/>
                      </a:lnTo>
                      <a:lnTo>
                        <a:pt x="544" y="1746"/>
                      </a:lnTo>
                      <a:lnTo>
                        <a:pt x="544" y="1745"/>
                      </a:lnTo>
                      <a:lnTo>
                        <a:pt x="544" y="1745"/>
                      </a:lnTo>
                      <a:lnTo>
                        <a:pt x="545" y="1743"/>
                      </a:lnTo>
                      <a:lnTo>
                        <a:pt x="545" y="1742"/>
                      </a:lnTo>
                      <a:lnTo>
                        <a:pt x="546" y="1742"/>
                      </a:lnTo>
                      <a:lnTo>
                        <a:pt x="546" y="1740"/>
                      </a:lnTo>
                      <a:lnTo>
                        <a:pt x="548" y="1739"/>
                      </a:lnTo>
                      <a:lnTo>
                        <a:pt x="549" y="1738"/>
                      </a:lnTo>
                      <a:lnTo>
                        <a:pt x="549" y="1738"/>
                      </a:lnTo>
                      <a:lnTo>
                        <a:pt x="548" y="1737"/>
                      </a:lnTo>
                      <a:lnTo>
                        <a:pt x="546" y="1737"/>
                      </a:lnTo>
                      <a:lnTo>
                        <a:pt x="546" y="1737"/>
                      </a:lnTo>
                      <a:lnTo>
                        <a:pt x="545" y="1738"/>
                      </a:lnTo>
                      <a:lnTo>
                        <a:pt x="545" y="1740"/>
                      </a:lnTo>
                      <a:lnTo>
                        <a:pt x="543" y="1743"/>
                      </a:lnTo>
                      <a:lnTo>
                        <a:pt x="543" y="1744"/>
                      </a:lnTo>
                      <a:lnTo>
                        <a:pt x="542" y="1745"/>
                      </a:lnTo>
                      <a:lnTo>
                        <a:pt x="542" y="1746"/>
                      </a:lnTo>
                      <a:lnTo>
                        <a:pt x="540" y="1748"/>
                      </a:lnTo>
                      <a:lnTo>
                        <a:pt x="540" y="1751"/>
                      </a:lnTo>
                      <a:lnTo>
                        <a:pt x="539" y="1752"/>
                      </a:lnTo>
                      <a:lnTo>
                        <a:pt x="538" y="1753"/>
                      </a:lnTo>
                      <a:lnTo>
                        <a:pt x="537" y="1754"/>
                      </a:lnTo>
                      <a:lnTo>
                        <a:pt x="537" y="1755"/>
                      </a:lnTo>
                      <a:lnTo>
                        <a:pt x="536" y="1755"/>
                      </a:lnTo>
                      <a:lnTo>
                        <a:pt x="535" y="1756"/>
                      </a:lnTo>
                      <a:lnTo>
                        <a:pt x="534" y="1759"/>
                      </a:lnTo>
                      <a:lnTo>
                        <a:pt x="534" y="1759"/>
                      </a:lnTo>
                      <a:lnTo>
                        <a:pt x="533" y="1759"/>
                      </a:lnTo>
                      <a:lnTo>
                        <a:pt x="533" y="1759"/>
                      </a:lnTo>
                      <a:lnTo>
                        <a:pt x="533" y="1759"/>
                      </a:lnTo>
                      <a:lnTo>
                        <a:pt x="532" y="1759"/>
                      </a:lnTo>
                      <a:lnTo>
                        <a:pt x="531" y="1759"/>
                      </a:lnTo>
                      <a:lnTo>
                        <a:pt x="531" y="1759"/>
                      </a:lnTo>
                      <a:lnTo>
                        <a:pt x="530" y="1760"/>
                      </a:lnTo>
                      <a:lnTo>
                        <a:pt x="529" y="1763"/>
                      </a:lnTo>
                      <a:lnTo>
                        <a:pt x="529" y="1764"/>
                      </a:lnTo>
                      <a:lnTo>
                        <a:pt x="528" y="1766"/>
                      </a:lnTo>
                      <a:lnTo>
                        <a:pt x="527" y="1766"/>
                      </a:lnTo>
                      <a:lnTo>
                        <a:pt x="527" y="1767"/>
                      </a:lnTo>
                      <a:lnTo>
                        <a:pt x="526" y="1767"/>
                      </a:lnTo>
                      <a:lnTo>
                        <a:pt x="526" y="1767"/>
                      </a:lnTo>
                      <a:lnTo>
                        <a:pt x="526" y="1769"/>
                      </a:lnTo>
                      <a:lnTo>
                        <a:pt x="526" y="1771"/>
                      </a:lnTo>
                      <a:lnTo>
                        <a:pt x="525" y="1771"/>
                      </a:lnTo>
                      <a:lnTo>
                        <a:pt x="525" y="1772"/>
                      </a:lnTo>
                      <a:lnTo>
                        <a:pt x="524" y="1772"/>
                      </a:lnTo>
                      <a:lnTo>
                        <a:pt x="524" y="1774"/>
                      </a:lnTo>
                      <a:lnTo>
                        <a:pt x="524" y="1775"/>
                      </a:lnTo>
                      <a:lnTo>
                        <a:pt x="524" y="1775"/>
                      </a:lnTo>
                      <a:lnTo>
                        <a:pt x="522" y="1776"/>
                      </a:lnTo>
                      <a:lnTo>
                        <a:pt x="522" y="1776"/>
                      </a:lnTo>
                      <a:lnTo>
                        <a:pt x="520" y="1777"/>
                      </a:lnTo>
                      <a:lnTo>
                        <a:pt x="520" y="1777"/>
                      </a:lnTo>
                      <a:lnTo>
                        <a:pt x="520" y="1777"/>
                      </a:lnTo>
                      <a:lnTo>
                        <a:pt x="520" y="1777"/>
                      </a:lnTo>
                      <a:lnTo>
                        <a:pt x="519" y="1778"/>
                      </a:lnTo>
                      <a:lnTo>
                        <a:pt x="518" y="1778"/>
                      </a:lnTo>
                      <a:lnTo>
                        <a:pt x="518" y="1778"/>
                      </a:lnTo>
                      <a:lnTo>
                        <a:pt x="517" y="1778"/>
                      </a:lnTo>
                      <a:lnTo>
                        <a:pt x="517" y="1778"/>
                      </a:lnTo>
                      <a:lnTo>
                        <a:pt x="516" y="1779"/>
                      </a:lnTo>
                      <a:lnTo>
                        <a:pt x="515" y="1780"/>
                      </a:lnTo>
                      <a:lnTo>
                        <a:pt x="514" y="1780"/>
                      </a:lnTo>
                      <a:lnTo>
                        <a:pt x="514" y="1780"/>
                      </a:lnTo>
                      <a:lnTo>
                        <a:pt x="514" y="1779"/>
                      </a:lnTo>
                      <a:lnTo>
                        <a:pt x="513" y="1778"/>
                      </a:lnTo>
                      <a:lnTo>
                        <a:pt x="512" y="1777"/>
                      </a:lnTo>
                      <a:lnTo>
                        <a:pt x="512" y="1777"/>
                      </a:lnTo>
                      <a:lnTo>
                        <a:pt x="509" y="1776"/>
                      </a:lnTo>
                      <a:lnTo>
                        <a:pt x="509" y="1775"/>
                      </a:lnTo>
                      <a:lnTo>
                        <a:pt x="508" y="1774"/>
                      </a:lnTo>
                      <a:lnTo>
                        <a:pt x="508" y="1774"/>
                      </a:lnTo>
                      <a:lnTo>
                        <a:pt x="507" y="1774"/>
                      </a:lnTo>
                      <a:lnTo>
                        <a:pt x="506" y="1774"/>
                      </a:lnTo>
                      <a:lnTo>
                        <a:pt x="504" y="1774"/>
                      </a:lnTo>
                      <a:lnTo>
                        <a:pt x="503" y="1774"/>
                      </a:lnTo>
                      <a:lnTo>
                        <a:pt x="503" y="1775"/>
                      </a:lnTo>
                      <a:lnTo>
                        <a:pt x="501" y="1775"/>
                      </a:lnTo>
                      <a:lnTo>
                        <a:pt x="501" y="1774"/>
                      </a:lnTo>
                      <a:lnTo>
                        <a:pt x="500" y="1774"/>
                      </a:lnTo>
                      <a:lnTo>
                        <a:pt x="500" y="1774"/>
                      </a:lnTo>
                      <a:lnTo>
                        <a:pt x="498" y="1774"/>
                      </a:lnTo>
                      <a:lnTo>
                        <a:pt x="497" y="1774"/>
                      </a:lnTo>
                      <a:lnTo>
                        <a:pt x="497" y="1774"/>
                      </a:lnTo>
                      <a:lnTo>
                        <a:pt x="495" y="1774"/>
                      </a:lnTo>
                      <a:lnTo>
                        <a:pt x="494" y="1773"/>
                      </a:lnTo>
                      <a:lnTo>
                        <a:pt x="494" y="1773"/>
                      </a:lnTo>
                      <a:lnTo>
                        <a:pt x="494" y="1773"/>
                      </a:lnTo>
                      <a:lnTo>
                        <a:pt x="493" y="1773"/>
                      </a:lnTo>
                      <a:lnTo>
                        <a:pt x="493" y="1773"/>
                      </a:lnTo>
                      <a:lnTo>
                        <a:pt x="492" y="1772"/>
                      </a:lnTo>
                      <a:lnTo>
                        <a:pt x="491" y="1771"/>
                      </a:lnTo>
                      <a:lnTo>
                        <a:pt x="489" y="1771"/>
                      </a:lnTo>
                      <a:lnTo>
                        <a:pt x="489" y="1771"/>
                      </a:lnTo>
                      <a:lnTo>
                        <a:pt x="488" y="1771"/>
                      </a:lnTo>
                      <a:lnTo>
                        <a:pt x="487" y="1771"/>
                      </a:lnTo>
                      <a:lnTo>
                        <a:pt x="486" y="1771"/>
                      </a:lnTo>
                      <a:lnTo>
                        <a:pt x="486" y="1772"/>
                      </a:lnTo>
                      <a:lnTo>
                        <a:pt x="486" y="1774"/>
                      </a:lnTo>
                      <a:lnTo>
                        <a:pt x="486" y="1775"/>
                      </a:lnTo>
                      <a:lnTo>
                        <a:pt x="486" y="1775"/>
                      </a:lnTo>
                      <a:lnTo>
                        <a:pt x="483" y="1776"/>
                      </a:lnTo>
                      <a:lnTo>
                        <a:pt x="481" y="1775"/>
                      </a:lnTo>
                      <a:lnTo>
                        <a:pt x="480" y="1776"/>
                      </a:lnTo>
                      <a:lnTo>
                        <a:pt x="478" y="1776"/>
                      </a:lnTo>
                      <a:lnTo>
                        <a:pt x="476" y="1776"/>
                      </a:lnTo>
                      <a:lnTo>
                        <a:pt x="477" y="1775"/>
                      </a:lnTo>
                      <a:lnTo>
                        <a:pt x="478" y="1774"/>
                      </a:lnTo>
                      <a:lnTo>
                        <a:pt x="478" y="1771"/>
                      </a:lnTo>
                      <a:lnTo>
                        <a:pt x="478" y="1770"/>
                      </a:lnTo>
                      <a:lnTo>
                        <a:pt x="478" y="1770"/>
                      </a:lnTo>
                      <a:lnTo>
                        <a:pt x="477" y="1766"/>
                      </a:lnTo>
                      <a:lnTo>
                        <a:pt x="476" y="1765"/>
                      </a:lnTo>
                      <a:lnTo>
                        <a:pt x="476" y="1764"/>
                      </a:lnTo>
                      <a:lnTo>
                        <a:pt x="476" y="1763"/>
                      </a:lnTo>
                      <a:lnTo>
                        <a:pt x="475" y="1762"/>
                      </a:lnTo>
                      <a:lnTo>
                        <a:pt x="474" y="1762"/>
                      </a:lnTo>
                      <a:lnTo>
                        <a:pt x="473" y="1762"/>
                      </a:lnTo>
                      <a:lnTo>
                        <a:pt x="473" y="1762"/>
                      </a:lnTo>
                      <a:lnTo>
                        <a:pt x="473" y="1762"/>
                      </a:lnTo>
                      <a:lnTo>
                        <a:pt x="474" y="1760"/>
                      </a:lnTo>
                      <a:lnTo>
                        <a:pt x="473" y="1760"/>
                      </a:lnTo>
                      <a:lnTo>
                        <a:pt x="473" y="1760"/>
                      </a:lnTo>
                      <a:lnTo>
                        <a:pt x="474" y="1760"/>
                      </a:lnTo>
                      <a:lnTo>
                        <a:pt x="473" y="1761"/>
                      </a:lnTo>
                      <a:lnTo>
                        <a:pt x="471" y="1762"/>
                      </a:lnTo>
                      <a:lnTo>
                        <a:pt x="470" y="1763"/>
                      </a:lnTo>
                      <a:lnTo>
                        <a:pt x="470" y="1764"/>
                      </a:lnTo>
                      <a:lnTo>
                        <a:pt x="469" y="1765"/>
                      </a:lnTo>
                      <a:lnTo>
                        <a:pt x="469" y="1766"/>
                      </a:lnTo>
                      <a:lnTo>
                        <a:pt x="468" y="1768"/>
                      </a:lnTo>
                      <a:lnTo>
                        <a:pt x="467" y="1768"/>
                      </a:lnTo>
                      <a:lnTo>
                        <a:pt x="466" y="1769"/>
                      </a:lnTo>
                      <a:lnTo>
                        <a:pt x="465" y="1770"/>
                      </a:lnTo>
                      <a:lnTo>
                        <a:pt x="465" y="1769"/>
                      </a:lnTo>
                      <a:lnTo>
                        <a:pt x="466" y="1768"/>
                      </a:lnTo>
                      <a:lnTo>
                        <a:pt x="467" y="1767"/>
                      </a:lnTo>
                      <a:lnTo>
                        <a:pt x="467" y="1765"/>
                      </a:lnTo>
                      <a:lnTo>
                        <a:pt x="467" y="1765"/>
                      </a:lnTo>
                      <a:lnTo>
                        <a:pt x="466" y="1765"/>
                      </a:lnTo>
                      <a:lnTo>
                        <a:pt x="465" y="1766"/>
                      </a:lnTo>
                      <a:lnTo>
                        <a:pt x="464" y="1767"/>
                      </a:lnTo>
                      <a:lnTo>
                        <a:pt x="463" y="1768"/>
                      </a:lnTo>
                      <a:lnTo>
                        <a:pt x="462" y="1767"/>
                      </a:lnTo>
                      <a:lnTo>
                        <a:pt x="462" y="1767"/>
                      </a:lnTo>
                      <a:lnTo>
                        <a:pt x="464" y="1764"/>
                      </a:lnTo>
                      <a:lnTo>
                        <a:pt x="464" y="1764"/>
                      </a:lnTo>
                      <a:lnTo>
                        <a:pt x="465" y="1763"/>
                      </a:lnTo>
                      <a:lnTo>
                        <a:pt x="466" y="1763"/>
                      </a:lnTo>
                      <a:lnTo>
                        <a:pt x="466" y="1762"/>
                      </a:lnTo>
                      <a:lnTo>
                        <a:pt x="467" y="1762"/>
                      </a:lnTo>
                      <a:lnTo>
                        <a:pt x="466" y="1761"/>
                      </a:lnTo>
                      <a:lnTo>
                        <a:pt x="466" y="1761"/>
                      </a:lnTo>
                      <a:lnTo>
                        <a:pt x="466" y="1761"/>
                      </a:lnTo>
                      <a:lnTo>
                        <a:pt x="468" y="1760"/>
                      </a:lnTo>
                      <a:lnTo>
                        <a:pt x="468" y="1759"/>
                      </a:lnTo>
                      <a:lnTo>
                        <a:pt x="467" y="1759"/>
                      </a:lnTo>
                      <a:lnTo>
                        <a:pt x="467" y="1760"/>
                      </a:lnTo>
                      <a:lnTo>
                        <a:pt x="467" y="1758"/>
                      </a:lnTo>
                      <a:lnTo>
                        <a:pt x="469" y="1755"/>
                      </a:lnTo>
                      <a:lnTo>
                        <a:pt x="469" y="1754"/>
                      </a:lnTo>
                      <a:lnTo>
                        <a:pt x="469" y="1753"/>
                      </a:lnTo>
                      <a:lnTo>
                        <a:pt x="469" y="1752"/>
                      </a:lnTo>
                      <a:lnTo>
                        <a:pt x="470" y="1752"/>
                      </a:lnTo>
                      <a:lnTo>
                        <a:pt x="471" y="1751"/>
                      </a:lnTo>
                      <a:lnTo>
                        <a:pt x="471" y="1752"/>
                      </a:lnTo>
                      <a:lnTo>
                        <a:pt x="473" y="1753"/>
                      </a:lnTo>
                      <a:lnTo>
                        <a:pt x="473" y="1752"/>
                      </a:lnTo>
                      <a:lnTo>
                        <a:pt x="474" y="1752"/>
                      </a:lnTo>
                      <a:lnTo>
                        <a:pt x="474" y="1750"/>
                      </a:lnTo>
                      <a:lnTo>
                        <a:pt x="475" y="1750"/>
                      </a:lnTo>
                      <a:lnTo>
                        <a:pt x="476" y="1750"/>
                      </a:lnTo>
                      <a:lnTo>
                        <a:pt x="476" y="1751"/>
                      </a:lnTo>
                      <a:lnTo>
                        <a:pt x="477" y="1751"/>
                      </a:lnTo>
                      <a:lnTo>
                        <a:pt x="478" y="1750"/>
                      </a:lnTo>
                      <a:lnTo>
                        <a:pt x="478" y="1750"/>
                      </a:lnTo>
                      <a:lnTo>
                        <a:pt x="479" y="1751"/>
                      </a:lnTo>
                      <a:lnTo>
                        <a:pt x="478" y="1752"/>
                      </a:lnTo>
                      <a:lnTo>
                        <a:pt x="478" y="1753"/>
                      </a:lnTo>
                      <a:lnTo>
                        <a:pt x="480" y="1754"/>
                      </a:lnTo>
                      <a:lnTo>
                        <a:pt x="481" y="1755"/>
                      </a:lnTo>
                      <a:lnTo>
                        <a:pt x="482" y="1756"/>
                      </a:lnTo>
                      <a:lnTo>
                        <a:pt x="484" y="1755"/>
                      </a:lnTo>
                      <a:lnTo>
                        <a:pt x="485" y="1754"/>
                      </a:lnTo>
                      <a:lnTo>
                        <a:pt x="485" y="1753"/>
                      </a:lnTo>
                      <a:lnTo>
                        <a:pt x="486" y="1753"/>
                      </a:lnTo>
                      <a:lnTo>
                        <a:pt x="486" y="1754"/>
                      </a:lnTo>
                      <a:lnTo>
                        <a:pt x="487" y="1754"/>
                      </a:lnTo>
                      <a:lnTo>
                        <a:pt x="487" y="1754"/>
                      </a:lnTo>
                      <a:lnTo>
                        <a:pt x="488" y="1753"/>
                      </a:lnTo>
                      <a:lnTo>
                        <a:pt x="487" y="1753"/>
                      </a:lnTo>
                      <a:lnTo>
                        <a:pt x="487" y="1753"/>
                      </a:lnTo>
                      <a:lnTo>
                        <a:pt x="487" y="1753"/>
                      </a:lnTo>
                      <a:lnTo>
                        <a:pt x="488" y="1752"/>
                      </a:lnTo>
                      <a:lnTo>
                        <a:pt x="488" y="1752"/>
                      </a:lnTo>
                      <a:lnTo>
                        <a:pt x="489" y="1752"/>
                      </a:lnTo>
                      <a:lnTo>
                        <a:pt x="491" y="1752"/>
                      </a:lnTo>
                      <a:lnTo>
                        <a:pt x="492" y="1752"/>
                      </a:lnTo>
                      <a:lnTo>
                        <a:pt x="493" y="1750"/>
                      </a:lnTo>
                      <a:lnTo>
                        <a:pt x="494" y="1750"/>
                      </a:lnTo>
                      <a:lnTo>
                        <a:pt x="493" y="1749"/>
                      </a:lnTo>
                      <a:lnTo>
                        <a:pt x="496" y="1748"/>
                      </a:lnTo>
                      <a:lnTo>
                        <a:pt x="496" y="1748"/>
                      </a:lnTo>
                      <a:lnTo>
                        <a:pt x="497" y="1747"/>
                      </a:lnTo>
                      <a:lnTo>
                        <a:pt x="498" y="1745"/>
                      </a:lnTo>
                      <a:lnTo>
                        <a:pt x="498" y="1745"/>
                      </a:lnTo>
                      <a:lnTo>
                        <a:pt x="498" y="1744"/>
                      </a:lnTo>
                      <a:lnTo>
                        <a:pt x="499" y="1744"/>
                      </a:lnTo>
                      <a:lnTo>
                        <a:pt x="499" y="1743"/>
                      </a:lnTo>
                      <a:lnTo>
                        <a:pt x="500" y="1743"/>
                      </a:lnTo>
                      <a:lnTo>
                        <a:pt x="500" y="1743"/>
                      </a:lnTo>
                      <a:lnTo>
                        <a:pt x="500" y="1742"/>
                      </a:lnTo>
                      <a:lnTo>
                        <a:pt x="501" y="1742"/>
                      </a:lnTo>
                      <a:lnTo>
                        <a:pt x="502" y="1742"/>
                      </a:lnTo>
                      <a:lnTo>
                        <a:pt x="504" y="1743"/>
                      </a:lnTo>
                      <a:lnTo>
                        <a:pt x="506" y="1742"/>
                      </a:lnTo>
                      <a:lnTo>
                        <a:pt x="509" y="1742"/>
                      </a:lnTo>
                      <a:lnTo>
                        <a:pt x="509" y="1741"/>
                      </a:lnTo>
                      <a:lnTo>
                        <a:pt x="511" y="1740"/>
                      </a:lnTo>
                      <a:lnTo>
                        <a:pt x="509" y="1738"/>
                      </a:lnTo>
                      <a:lnTo>
                        <a:pt x="509" y="1738"/>
                      </a:lnTo>
                      <a:lnTo>
                        <a:pt x="507" y="1739"/>
                      </a:lnTo>
                      <a:lnTo>
                        <a:pt x="507" y="1739"/>
                      </a:lnTo>
                      <a:lnTo>
                        <a:pt x="501" y="1742"/>
                      </a:lnTo>
                      <a:lnTo>
                        <a:pt x="499" y="1741"/>
                      </a:lnTo>
                      <a:lnTo>
                        <a:pt x="499" y="1741"/>
                      </a:lnTo>
                      <a:lnTo>
                        <a:pt x="498" y="1741"/>
                      </a:lnTo>
                      <a:lnTo>
                        <a:pt x="497" y="1741"/>
                      </a:lnTo>
                      <a:lnTo>
                        <a:pt x="494" y="1742"/>
                      </a:lnTo>
                      <a:lnTo>
                        <a:pt x="494" y="1742"/>
                      </a:lnTo>
                      <a:lnTo>
                        <a:pt x="493" y="1744"/>
                      </a:lnTo>
                      <a:lnTo>
                        <a:pt x="493" y="1744"/>
                      </a:lnTo>
                      <a:lnTo>
                        <a:pt x="492" y="1745"/>
                      </a:lnTo>
                      <a:lnTo>
                        <a:pt x="492" y="1745"/>
                      </a:lnTo>
                      <a:lnTo>
                        <a:pt x="491" y="1746"/>
                      </a:lnTo>
                      <a:lnTo>
                        <a:pt x="490" y="1747"/>
                      </a:lnTo>
                      <a:lnTo>
                        <a:pt x="490" y="1747"/>
                      </a:lnTo>
                      <a:lnTo>
                        <a:pt x="487" y="1750"/>
                      </a:lnTo>
                      <a:lnTo>
                        <a:pt x="486" y="1750"/>
                      </a:lnTo>
                      <a:lnTo>
                        <a:pt x="486" y="1750"/>
                      </a:lnTo>
                      <a:lnTo>
                        <a:pt x="485" y="1751"/>
                      </a:lnTo>
                      <a:lnTo>
                        <a:pt x="485" y="1750"/>
                      </a:lnTo>
                      <a:lnTo>
                        <a:pt x="485" y="1750"/>
                      </a:lnTo>
                      <a:lnTo>
                        <a:pt x="484" y="1749"/>
                      </a:lnTo>
                      <a:lnTo>
                        <a:pt x="484" y="1749"/>
                      </a:lnTo>
                      <a:lnTo>
                        <a:pt x="483" y="1750"/>
                      </a:lnTo>
                      <a:lnTo>
                        <a:pt x="482" y="1751"/>
                      </a:lnTo>
                      <a:lnTo>
                        <a:pt x="482" y="1750"/>
                      </a:lnTo>
                      <a:lnTo>
                        <a:pt x="481" y="1749"/>
                      </a:lnTo>
                      <a:lnTo>
                        <a:pt x="481" y="1747"/>
                      </a:lnTo>
                      <a:lnTo>
                        <a:pt x="481" y="1747"/>
                      </a:lnTo>
                      <a:lnTo>
                        <a:pt x="480" y="1747"/>
                      </a:lnTo>
                      <a:lnTo>
                        <a:pt x="480" y="1747"/>
                      </a:lnTo>
                      <a:lnTo>
                        <a:pt x="479" y="1745"/>
                      </a:lnTo>
                      <a:lnTo>
                        <a:pt x="480" y="1744"/>
                      </a:lnTo>
                      <a:lnTo>
                        <a:pt x="479" y="1743"/>
                      </a:lnTo>
                      <a:lnTo>
                        <a:pt x="477" y="1744"/>
                      </a:lnTo>
                      <a:lnTo>
                        <a:pt x="475" y="1745"/>
                      </a:lnTo>
                      <a:lnTo>
                        <a:pt x="475" y="1744"/>
                      </a:lnTo>
                      <a:lnTo>
                        <a:pt x="476" y="1743"/>
                      </a:lnTo>
                      <a:lnTo>
                        <a:pt x="476" y="1743"/>
                      </a:lnTo>
                      <a:lnTo>
                        <a:pt x="477" y="1741"/>
                      </a:lnTo>
                      <a:lnTo>
                        <a:pt x="477" y="1741"/>
                      </a:lnTo>
                      <a:lnTo>
                        <a:pt x="476" y="1741"/>
                      </a:lnTo>
                      <a:lnTo>
                        <a:pt x="475" y="1742"/>
                      </a:lnTo>
                      <a:lnTo>
                        <a:pt x="474" y="1742"/>
                      </a:lnTo>
                      <a:lnTo>
                        <a:pt x="474" y="1742"/>
                      </a:lnTo>
                      <a:lnTo>
                        <a:pt x="475" y="1740"/>
                      </a:lnTo>
                      <a:lnTo>
                        <a:pt x="476" y="1739"/>
                      </a:lnTo>
                      <a:lnTo>
                        <a:pt x="476" y="1739"/>
                      </a:lnTo>
                      <a:lnTo>
                        <a:pt x="477" y="1739"/>
                      </a:lnTo>
                      <a:lnTo>
                        <a:pt x="477" y="1738"/>
                      </a:lnTo>
                      <a:lnTo>
                        <a:pt x="477" y="1737"/>
                      </a:lnTo>
                      <a:lnTo>
                        <a:pt x="477" y="1737"/>
                      </a:lnTo>
                      <a:lnTo>
                        <a:pt x="478" y="1736"/>
                      </a:lnTo>
                      <a:lnTo>
                        <a:pt x="479" y="1735"/>
                      </a:lnTo>
                      <a:lnTo>
                        <a:pt x="480" y="1734"/>
                      </a:lnTo>
                      <a:lnTo>
                        <a:pt x="481" y="1734"/>
                      </a:lnTo>
                      <a:lnTo>
                        <a:pt x="481" y="1734"/>
                      </a:lnTo>
                      <a:lnTo>
                        <a:pt x="481" y="1735"/>
                      </a:lnTo>
                      <a:lnTo>
                        <a:pt x="481" y="1736"/>
                      </a:lnTo>
                      <a:lnTo>
                        <a:pt x="481" y="1736"/>
                      </a:lnTo>
                      <a:lnTo>
                        <a:pt x="480" y="1737"/>
                      </a:lnTo>
                      <a:lnTo>
                        <a:pt x="480" y="1736"/>
                      </a:lnTo>
                      <a:lnTo>
                        <a:pt x="480" y="1737"/>
                      </a:lnTo>
                      <a:lnTo>
                        <a:pt x="481" y="1737"/>
                      </a:lnTo>
                      <a:lnTo>
                        <a:pt x="481" y="1737"/>
                      </a:lnTo>
                      <a:lnTo>
                        <a:pt x="481" y="1736"/>
                      </a:lnTo>
                      <a:lnTo>
                        <a:pt x="482" y="1736"/>
                      </a:lnTo>
                      <a:lnTo>
                        <a:pt x="483" y="1735"/>
                      </a:lnTo>
                      <a:lnTo>
                        <a:pt x="483" y="1734"/>
                      </a:lnTo>
                      <a:lnTo>
                        <a:pt x="483" y="1734"/>
                      </a:lnTo>
                      <a:lnTo>
                        <a:pt x="482" y="1734"/>
                      </a:lnTo>
                      <a:lnTo>
                        <a:pt x="482" y="1733"/>
                      </a:lnTo>
                      <a:lnTo>
                        <a:pt x="482" y="1731"/>
                      </a:lnTo>
                      <a:lnTo>
                        <a:pt x="481" y="1732"/>
                      </a:lnTo>
                      <a:lnTo>
                        <a:pt x="481" y="1731"/>
                      </a:lnTo>
                      <a:lnTo>
                        <a:pt x="481" y="1729"/>
                      </a:lnTo>
                      <a:lnTo>
                        <a:pt x="482" y="1729"/>
                      </a:lnTo>
                      <a:lnTo>
                        <a:pt x="482" y="1730"/>
                      </a:lnTo>
                      <a:lnTo>
                        <a:pt x="482" y="1730"/>
                      </a:lnTo>
                      <a:lnTo>
                        <a:pt x="483" y="1729"/>
                      </a:lnTo>
                      <a:lnTo>
                        <a:pt x="483" y="1728"/>
                      </a:lnTo>
                      <a:lnTo>
                        <a:pt x="484" y="1726"/>
                      </a:lnTo>
                      <a:lnTo>
                        <a:pt x="484" y="1725"/>
                      </a:lnTo>
                      <a:lnTo>
                        <a:pt x="485" y="1724"/>
                      </a:lnTo>
                      <a:lnTo>
                        <a:pt x="486" y="1723"/>
                      </a:lnTo>
                      <a:lnTo>
                        <a:pt x="486" y="1723"/>
                      </a:lnTo>
                      <a:lnTo>
                        <a:pt x="486" y="1721"/>
                      </a:lnTo>
                      <a:lnTo>
                        <a:pt x="486" y="1721"/>
                      </a:lnTo>
                      <a:lnTo>
                        <a:pt x="487" y="1720"/>
                      </a:lnTo>
                      <a:lnTo>
                        <a:pt x="488" y="1718"/>
                      </a:lnTo>
                      <a:lnTo>
                        <a:pt x="488" y="1718"/>
                      </a:lnTo>
                      <a:lnTo>
                        <a:pt x="489" y="1717"/>
                      </a:lnTo>
                      <a:lnTo>
                        <a:pt x="491" y="1715"/>
                      </a:lnTo>
                      <a:lnTo>
                        <a:pt x="493" y="1714"/>
                      </a:lnTo>
                      <a:lnTo>
                        <a:pt x="493" y="1714"/>
                      </a:lnTo>
                      <a:lnTo>
                        <a:pt x="495" y="1713"/>
                      </a:lnTo>
                      <a:lnTo>
                        <a:pt x="495" y="1712"/>
                      </a:lnTo>
                      <a:lnTo>
                        <a:pt x="495" y="1711"/>
                      </a:lnTo>
                      <a:lnTo>
                        <a:pt x="496" y="1710"/>
                      </a:lnTo>
                      <a:lnTo>
                        <a:pt x="497" y="1709"/>
                      </a:lnTo>
                      <a:lnTo>
                        <a:pt x="499" y="1708"/>
                      </a:lnTo>
                      <a:lnTo>
                        <a:pt x="499" y="1706"/>
                      </a:lnTo>
                      <a:lnTo>
                        <a:pt x="500" y="1705"/>
                      </a:lnTo>
                      <a:lnTo>
                        <a:pt x="499" y="1704"/>
                      </a:lnTo>
                      <a:lnTo>
                        <a:pt x="498" y="1704"/>
                      </a:lnTo>
                      <a:lnTo>
                        <a:pt x="497" y="1704"/>
                      </a:lnTo>
                      <a:lnTo>
                        <a:pt x="496" y="1704"/>
                      </a:lnTo>
                      <a:lnTo>
                        <a:pt x="496" y="1704"/>
                      </a:lnTo>
                      <a:lnTo>
                        <a:pt x="496" y="1703"/>
                      </a:lnTo>
                      <a:lnTo>
                        <a:pt x="495" y="1703"/>
                      </a:lnTo>
                      <a:lnTo>
                        <a:pt x="493" y="1704"/>
                      </a:lnTo>
                      <a:lnTo>
                        <a:pt x="495" y="1702"/>
                      </a:lnTo>
                      <a:lnTo>
                        <a:pt x="496" y="1700"/>
                      </a:lnTo>
                      <a:lnTo>
                        <a:pt x="497" y="1699"/>
                      </a:lnTo>
                      <a:lnTo>
                        <a:pt x="499" y="1698"/>
                      </a:lnTo>
                      <a:lnTo>
                        <a:pt x="500" y="1698"/>
                      </a:lnTo>
                      <a:lnTo>
                        <a:pt x="501" y="1698"/>
                      </a:lnTo>
                      <a:lnTo>
                        <a:pt x="501" y="1697"/>
                      </a:lnTo>
                      <a:lnTo>
                        <a:pt x="501" y="1697"/>
                      </a:lnTo>
                      <a:lnTo>
                        <a:pt x="502" y="1697"/>
                      </a:lnTo>
                      <a:lnTo>
                        <a:pt x="502" y="1696"/>
                      </a:lnTo>
                      <a:lnTo>
                        <a:pt x="502" y="1696"/>
                      </a:lnTo>
                      <a:lnTo>
                        <a:pt x="504" y="1695"/>
                      </a:lnTo>
                      <a:lnTo>
                        <a:pt x="505" y="1696"/>
                      </a:lnTo>
                      <a:lnTo>
                        <a:pt x="505" y="1695"/>
                      </a:lnTo>
                      <a:lnTo>
                        <a:pt x="506" y="1695"/>
                      </a:lnTo>
                      <a:lnTo>
                        <a:pt x="506" y="1694"/>
                      </a:lnTo>
                      <a:lnTo>
                        <a:pt x="506" y="1695"/>
                      </a:lnTo>
                      <a:lnTo>
                        <a:pt x="508" y="1695"/>
                      </a:lnTo>
                      <a:lnTo>
                        <a:pt x="508" y="1695"/>
                      </a:lnTo>
                      <a:lnTo>
                        <a:pt x="508" y="1696"/>
                      </a:lnTo>
                      <a:lnTo>
                        <a:pt x="509" y="1696"/>
                      </a:lnTo>
                      <a:lnTo>
                        <a:pt x="509" y="1694"/>
                      </a:lnTo>
                      <a:lnTo>
                        <a:pt x="511" y="1693"/>
                      </a:lnTo>
                      <a:lnTo>
                        <a:pt x="512" y="1692"/>
                      </a:lnTo>
                      <a:lnTo>
                        <a:pt x="514" y="1691"/>
                      </a:lnTo>
                      <a:lnTo>
                        <a:pt x="515" y="1690"/>
                      </a:lnTo>
                      <a:lnTo>
                        <a:pt x="516" y="1689"/>
                      </a:lnTo>
                      <a:lnTo>
                        <a:pt x="518" y="1689"/>
                      </a:lnTo>
                      <a:lnTo>
                        <a:pt x="521" y="1689"/>
                      </a:lnTo>
                      <a:lnTo>
                        <a:pt x="521" y="1689"/>
                      </a:lnTo>
                      <a:lnTo>
                        <a:pt x="522" y="1689"/>
                      </a:lnTo>
                      <a:lnTo>
                        <a:pt x="523" y="1688"/>
                      </a:lnTo>
                      <a:lnTo>
                        <a:pt x="527" y="1689"/>
                      </a:lnTo>
                      <a:lnTo>
                        <a:pt x="527" y="1690"/>
                      </a:lnTo>
                      <a:lnTo>
                        <a:pt x="529" y="1691"/>
                      </a:lnTo>
                      <a:lnTo>
                        <a:pt x="529" y="1692"/>
                      </a:lnTo>
                      <a:lnTo>
                        <a:pt x="530" y="1693"/>
                      </a:lnTo>
                      <a:lnTo>
                        <a:pt x="531" y="1693"/>
                      </a:lnTo>
                      <a:lnTo>
                        <a:pt x="533" y="1692"/>
                      </a:lnTo>
                      <a:lnTo>
                        <a:pt x="533" y="1692"/>
                      </a:lnTo>
                      <a:lnTo>
                        <a:pt x="534" y="1692"/>
                      </a:lnTo>
                      <a:lnTo>
                        <a:pt x="534" y="1691"/>
                      </a:lnTo>
                      <a:lnTo>
                        <a:pt x="534" y="1691"/>
                      </a:lnTo>
                      <a:lnTo>
                        <a:pt x="534" y="1691"/>
                      </a:lnTo>
                      <a:lnTo>
                        <a:pt x="535" y="1691"/>
                      </a:lnTo>
                      <a:lnTo>
                        <a:pt x="538" y="1691"/>
                      </a:lnTo>
                      <a:lnTo>
                        <a:pt x="538" y="1691"/>
                      </a:lnTo>
                      <a:lnTo>
                        <a:pt x="539" y="1690"/>
                      </a:lnTo>
                      <a:lnTo>
                        <a:pt x="539" y="1690"/>
                      </a:lnTo>
                      <a:lnTo>
                        <a:pt x="539" y="1689"/>
                      </a:lnTo>
                      <a:lnTo>
                        <a:pt x="539" y="1689"/>
                      </a:lnTo>
                      <a:lnTo>
                        <a:pt x="539" y="1687"/>
                      </a:lnTo>
                      <a:lnTo>
                        <a:pt x="541" y="1686"/>
                      </a:lnTo>
                      <a:lnTo>
                        <a:pt x="543" y="1686"/>
                      </a:lnTo>
                      <a:lnTo>
                        <a:pt x="543" y="1686"/>
                      </a:lnTo>
                      <a:lnTo>
                        <a:pt x="546" y="1685"/>
                      </a:lnTo>
                      <a:lnTo>
                        <a:pt x="546" y="1685"/>
                      </a:lnTo>
                      <a:lnTo>
                        <a:pt x="550" y="1684"/>
                      </a:lnTo>
                      <a:lnTo>
                        <a:pt x="551" y="1684"/>
                      </a:lnTo>
                      <a:lnTo>
                        <a:pt x="552" y="1683"/>
                      </a:lnTo>
                      <a:lnTo>
                        <a:pt x="552" y="1682"/>
                      </a:lnTo>
                      <a:lnTo>
                        <a:pt x="551" y="1682"/>
                      </a:lnTo>
                      <a:lnTo>
                        <a:pt x="550" y="1682"/>
                      </a:lnTo>
                      <a:lnTo>
                        <a:pt x="549" y="1683"/>
                      </a:lnTo>
                      <a:lnTo>
                        <a:pt x="549" y="1683"/>
                      </a:lnTo>
                      <a:lnTo>
                        <a:pt x="548" y="1683"/>
                      </a:lnTo>
                      <a:lnTo>
                        <a:pt x="548" y="1683"/>
                      </a:lnTo>
                      <a:lnTo>
                        <a:pt x="545" y="1683"/>
                      </a:lnTo>
                      <a:lnTo>
                        <a:pt x="544" y="1684"/>
                      </a:lnTo>
                      <a:lnTo>
                        <a:pt x="543" y="1684"/>
                      </a:lnTo>
                      <a:lnTo>
                        <a:pt x="541" y="1684"/>
                      </a:lnTo>
                      <a:lnTo>
                        <a:pt x="540" y="1685"/>
                      </a:lnTo>
                      <a:lnTo>
                        <a:pt x="539" y="1686"/>
                      </a:lnTo>
                      <a:lnTo>
                        <a:pt x="538" y="1686"/>
                      </a:lnTo>
                      <a:lnTo>
                        <a:pt x="536" y="1686"/>
                      </a:lnTo>
                      <a:lnTo>
                        <a:pt x="535" y="1686"/>
                      </a:lnTo>
                      <a:lnTo>
                        <a:pt x="535" y="1687"/>
                      </a:lnTo>
                      <a:lnTo>
                        <a:pt x="534" y="1687"/>
                      </a:lnTo>
                      <a:lnTo>
                        <a:pt x="534" y="1688"/>
                      </a:lnTo>
                      <a:lnTo>
                        <a:pt x="532" y="1688"/>
                      </a:lnTo>
                      <a:lnTo>
                        <a:pt x="532" y="1689"/>
                      </a:lnTo>
                      <a:lnTo>
                        <a:pt x="531" y="1689"/>
                      </a:lnTo>
                      <a:lnTo>
                        <a:pt x="531" y="1689"/>
                      </a:lnTo>
                      <a:lnTo>
                        <a:pt x="529" y="1689"/>
                      </a:lnTo>
                      <a:lnTo>
                        <a:pt x="529" y="1689"/>
                      </a:lnTo>
                      <a:lnTo>
                        <a:pt x="529" y="1690"/>
                      </a:lnTo>
                      <a:lnTo>
                        <a:pt x="528" y="1690"/>
                      </a:lnTo>
                      <a:lnTo>
                        <a:pt x="528" y="1688"/>
                      </a:lnTo>
                      <a:lnTo>
                        <a:pt x="527" y="1688"/>
                      </a:lnTo>
                      <a:lnTo>
                        <a:pt x="527" y="1687"/>
                      </a:lnTo>
                      <a:lnTo>
                        <a:pt x="527" y="1687"/>
                      </a:lnTo>
                      <a:lnTo>
                        <a:pt x="527" y="1688"/>
                      </a:lnTo>
                      <a:lnTo>
                        <a:pt x="527" y="1687"/>
                      </a:lnTo>
                      <a:lnTo>
                        <a:pt x="526" y="1687"/>
                      </a:lnTo>
                      <a:lnTo>
                        <a:pt x="526" y="1687"/>
                      </a:lnTo>
                      <a:lnTo>
                        <a:pt x="525" y="1688"/>
                      </a:lnTo>
                      <a:lnTo>
                        <a:pt x="525" y="1688"/>
                      </a:lnTo>
                      <a:lnTo>
                        <a:pt x="524" y="1688"/>
                      </a:lnTo>
                      <a:lnTo>
                        <a:pt x="523" y="1688"/>
                      </a:lnTo>
                      <a:lnTo>
                        <a:pt x="523" y="1686"/>
                      </a:lnTo>
                      <a:lnTo>
                        <a:pt x="524" y="1686"/>
                      </a:lnTo>
                      <a:lnTo>
                        <a:pt x="524" y="1685"/>
                      </a:lnTo>
                      <a:lnTo>
                        <a:pt x="523" y="1684"/>
                      </a:lnTo>
                      <a:lnTo>
                        <a:pt x="523" y="1684"/>
                      </a:lnTo>
                      <a:lnTo>
                        <a:pt x="521" y="1684"/>
                      </a:lnTo>
                      <a:lnTo>
                        <a:pt x="519" y="1683"/>
                      </a:lnTo>
                      <a:lnTo>
                        <a:pt x="517" y="1684"/>
                      </a:lnTo>
                      <a:lnTo>
                        <a:pt x="516" y="1683"/>
                      </a:lnTo>
                      <a:lnTo>
                        <a:pt x="516" y="1684"/>
                      </a:lnTo>
                      <a:lnTo>
                        <a:pt x="515" y="1684"/>
                      </a:lnTo>
                      <a:lnTo>
                        <a:pt x="513" y="1684"/>
                      </a:lnTo>
                      <a:lnTo>
                        <a:pt x="513" y="1683"/>
                      </a:lnTo>
                      <a:lnTo>
                        <a:pt x="512" y="1683"/>
                      </a:lnTo>
                      <a:lnTo>
                        <a:pt x="511" y="1683"/>
                      </a:lnTo>
                      <a:lnTo>
                        <a:pt x="511" y="1683"/>
                      </a:lnTo>
                      <a:lnTo>
                        <a:pt x="511" y="1682"/>
                      </a:lnTo>
                      <a:lnTo>
                        <a:pt x="512" y="1679"/>
                      </a:lnTo>
                      <a:lnTo>
                        <a:pt x="512" y="1678"/>
                      </a:lnTo>
                      <a:lnTo>
                        <a:pt x="512" y="1677"/>
                      </a:lnTo>
                      <a:lnTo>
                        <a:pt x="513" y="1675"/>
                      </a:lnTo>
                      <a:lnTo>
                        <a:pt x="513" y="1675"/>
                      </a:lnTo>
                      <a:lnTo>
                        <a:pt x="513" y="1675"/>
                      </a:lnTo>
                      <a:lnTo>
                        <a:pt x="514" y="1673"/>
                      </a:lnTo>
                      <a:lnTo>
                        <a:pt x="516" y="1671"/>
                      </a:lnTo>
                      <a:lnTo>
                        <a:pt x="517" y="1670"/>
                      </a:lnTo>
                      <a:lnTo>
                        <a:pt x="519" y="1668"/>
                      </a:lnTo>
                      <a:lnTo>
                        <a:pt x="519" y="1668"/>
                      </a:lnTo>
                      <a:lnTo>
                        <a:pt x="519" y="1667"/>
                      </a:lnTo>
                      <a:lnTo>
                        <a:pt x="520" y="1666"/>
                      </a:lnTo>
                      <a:lnTo>
                        <a:pt x="520" y="1666"/>
                      </a:lnTo>
                      <a:lnTo>
                        <a:pt x="521" y="1665"/>
                      </a:lnTo>
                      <a:lnTo>
                        <a:pt x="522" y="1664"/>
                      </a:lnTo>
                      <a:lnTo>
                        <a:pt x="522" y="1662"/>
                      </a:lnTo>
                      <a:lnTo>
                        <a:pt x="524" y="1660"/>
                      </a:lnTo>
                      <a:lnTo>
                        <a:pt x="524" y="1660"/>
                      </a:lnTo>
                      <a:lnTo>
                        <a:pt x="525" y="1659"/>
                      </a:lnTo>
                      <a:lnTo>
                        <a:pt x="525" y="1658"/>
                      </a:lnTo>
                      <a:lnTo>
                        <a:pt x="526" y="1657"/>
                      </a:lnTo>
                      <a:lnTo>
                        <a:pt x="528" y="1653"/>
                      </a:lnTo>
                      <a:lnTo>
                        <a:pt x="529" y="1652"/>
                      </a:lnTo>
                      <a:lnTo>
                        <a:pt x="530" y="1649"/>
                      </a:lnTo>
                      <a:lnTo>
                        <a:pt x="532" y="1648"/>
                      </a:lnTo>
                      <a:lnTo>
                        <a:pt x="533" y="1646"/>
                      </a:lnTo>
                      <a:lnTo>
                        <a:pt x="536" y="1641"/>
                      </a:lnTo>
                      <a:lnTo>
                        <a:pt x="537" y="1640"/>
                      </a:lnTo>
                      <a:lnTo>
                        <a:pt x="537" y="1640"/>
                      </a:lnTo>
                      <a:lnTo>
                        <a:pt x="537" y="1639"/>
                      </a:lnTo>
                      <a:lnTo>
                        <a:pt x="539" y="1638"/>
                      </a:lnTo>
                      <a:lnTo>
                        <a:pt x="539" y="1637"/>
                      </a:lnTo>
                      <a:lnTo>
                        <a:pt x="539" y="1637"/>
                      </a:lnTo>
                      <a:lnTo>
                        <a:pt x="538" y="1637"/>
                      </a:lnTo>
                      <a:lnTo>
                        <a:pt x="538" y="1638"/>
                      </a:lnTo>
                      <a:lnTo>
                        <a:pt x="538" y="1638"/>
                      </a:lnTo>
                      <a:lnTo>
                        <a:pt x="538" y="1637"/>
                      </a:lnTo>
                      <a:lnTo>
                        <a:pt x="538" y="1637"/>
                      </a:lnTo>
                      <a:lnTo>
                        <a:pt x="539" y="1636"/>
                      </a:lnTo>
                      <a:lnTo>
                        <a:pt x="540" y="1636"/>
                      </a:lnTo>
                      <a:lnTo>
                        <a:pt x="541" y="1635"/>
                      </a:lnTo>
                      <a:lnTo>
                        <a:pt x="541" y="1635"/>
                      </a:lnTo>
                      <a:lnTo>
                        <a:pt x="541" y="1635"/>
                      </a:lnTo>
                      <a:lnTo>
                        <a:pt x="540" y="1635"/>
                      </a:lnTo>
                      <a:lnTo>
                        <a:pt x="540" y="1635"/>
                      </a:lnTo>
                      <a:lnTo>
                        <a:pt x="540" y="1635"/>
                      </a:lnTo>
                      <a:lnTo>
                        <a:pt x="539" y="1634"/>
                      </a:lnTo>
                      <a:lnTo>
                        <a:pt x="539" y="1633"/>
                      </a:lnTo>
                      <a:lnTo>
                        <a:pt x="539" y="1633"/>
                      </a:lnTo>
                      <a:lnTo>
                        <a:pt x="540" y="1633"/>
                      </a:lnTo>
                      <a:lnTo>
                        <a:pt x="540" y="1632"/>
                      </a:lnTo>
                      <a:lnTo>
                        <a:pt x="538" y="1630"/>
                      </a:lnTo>
                      <a:lnTo>
                        <a:pt x="536" y="1630"/>
                      </a:lnTo>
                      <a:lnTo>
                        <a:pt x="536" y="1630"/>
                      </a:lnTo>
                      <a:lnTo>
                        <a:pt x="536" y="1629"/>
                      </a:lnTo>
                      <a:lnTo>
                        <a:pt x="534" y="1629"/>
                      </a:lnTo>
                      <a:lnTo>
                        <a:pt x="534" y="1630"/>
                      </a:lnTo>
                      <a:lnTo>
                        <a:pt x="533" y="1630"/>
                      </a:lnTo>
                      <a:lnTo>
                        <a:pt x="533" y="1630"/>
                      </a:lnTo>
                      <a:lnTo>
                        <a:pt x="531" y="1631"/>
                      </a:lnTo>
                      <a:lnTo>
                        <a:pt x="531" y="1631"/>
                      </a:lnTo>
                      <a:lnTo>
                        <a:pt x="527" y="1628"/>
                      </a:lnTo>
                      <a:lnTo>
                        <a:pt x="528" y="1627"/>
                      </a:lnTo>
                      <a:lnTo>
                        <a:pt x="527" y="1627"/>
                      </a:lnTo>
                      <a:lnTo>
                        <a:pt x="526" y="1626"/>
                      </a:lnTo>
                      <a:lnTo>
                        <a:pt x="526" y="1626"/>
                      </a:lnTo>
                      <a:lnTo>
                        <a:pt x="525" y="1625"/>
                      </a:lnTo>
                      <a:lnTo>
                        <a:pt x="522" y="1625"/>
                      </a:lnTo>
                      <a:lnTo>
                        <a:pt x="523" y="1625"/>
                      </a:lnTo>
                      <a:lnTo>
                        <a:pt x="519" y="1624"/>
                      </a:lnTo>
                      <a:lnTo>
                        <a:pt x="517" y="1624"/>
                      </a:lnTo>
                      <a:lnTo>
                        <a:pt x="512" y="1625"/>
                      </a:lnTo>
                      <a:lnTo>
                        <a:pt x="512" y="1625"/>
                      </a:lnTo>
                      <a:lnTo>
                        <a:pt x="511" y="1625"/>
                      </a:lnTo>
                      <a:lnTo>
                        <a:pt x="509" y="1625"/>
                      </a:lnTo>
                      <a:lnTo>
                        <a:pt x="509" y="1625"/>
                      </a:lnTo>
                      <a:lnTo>
                        <a:pt x="508" y="1625"/>
                      </a:lnTo>
                      <a:lnTo>
                        <a:pt x="508" y="1625"/>
                      </a:lnTo>
                      <a:lnTo>
                        <a:pt x="508" y="1625"/>
                      </a:lnTo>
                      <a:lnTo>
                        <a:pt x="507" y="1625"/>
                      </a:lnTo>
                      <a:lnTo>
                        <a:pt x="506" y="1625"/>
                      </a:lnTo>
                      <a:lnTo>
                        <a:pt x="506" y="1625"/>
                      </a:lnTo>
                      <a:lnTo>
                        <a:pt x="504" y="1625"/>
                      </a:lnTo>
                      <a:lnTo>
                        <a:pt x="504" y="1624"/>
                      </a:lnTo>
                      <a:lnTo>
                        <a:pt x="503" y="1625"/>
                      </a:lnTo>
                      <a:lnTo>
                        <a:pt x="503" y="1624"/>
                      </a:lnTo>
                      <a:lnTo>
                        <a:pt x="501" y="1624"/>
                      </a:lnTo>
                      <a:lnTo>
                        <a:pt x="500" y="1624"/>
                      </a:lnTo>
                      <a:lnTo>
                        <a:pt x="499" y="1624"/>
                      </a:lnTo>
                      <a:lnTo>
                        <a:pt x="498" y="1624"/>
                      </a:lnTo>
                      <a:lnTo>
                        <a:pt x="497" y="1624"/>
                      </a:lnTo>
                      <a:lnTo>
                        <a:pt x="495" y="1623"/>
                      </a:lnTo>
                      <a:lnTo>
                        <a:pt x="492" y="1623"/>
                      </a:lnTo>
                      <a:lnTo>
                        <a:pt x="492" y="1623"/>
                      </a:lnTo>
                      <a:lnTo>
                        <a:pt x="492" y="1624"/>
                      </a:lnTo>
                      <a:lnTo>
                        <a:pt x="493" y="1625"/>
                      </a:lnTo>
                      <a:lnTo>
                        <a:pt x="493" y="1626"/>
                      </a:lnTo>
                      <a:lnTo>
                        <a:pt x="495" y="1626"/>
                      </a:lnTo>
                      <a:lnTo>
                        <a:pt x="495" y="1626"/>
                      </a:lnTo>
                      <a:lnTo>
                        <a:pt x="498" y="1627"/>
                      </a:lnTo>
                      <a:lnTo>
                        <a:pt x="499" y="1627"/>
                      </a:lnTo>
                      <a:lnTo>
                        <a:pt x="499" y="1627"/>
                      </a:lnTo>
                      <a:lnTo>
                        <a:pt x="500" y="1627"/>
                      </a:lnTo>
                      <a:lnTo>
                        <a:pt x="500" y="1627"/>
                      </a:lnTo>
                      <a:lnTo>
                        <a:pt x="501" y="1627"/>
                      </a:lnTo>
                      <a:lnTo>
                        <a:pt x="502" y="1627"/>
                      </a:lnTo>
                      <a:lnTo>
                        <a:pt x="503" y="1628"/>
                      </a:lnTo>
                      <a:lnTo>
                        <a:pt x="504" y="1628"/>
                      </a:lnTo>
                      <a:lnTo>
                        <a:pt x="505" y="1628"/>
                      </a:lnTo>
                      <a:lnTo>
                        <a:pt x="507" y="1628"/>
                      </a:lnTo>
                      <a:lnTo>
                        <a:pt x="508" y="1628"/>
                      </a:lnTo>
                      <a:lnTo>
                        <a:pt x="508" y="1629"/>
                      </a:lnTo>
                      <a:lnTo>
                        <a:pt x="511" y="1629"/>
                      </a:lnTo>
                      <a:lnTo>
                        <a:pt x="514" y="1629"/>
                      </a:lnTo>
                      <a:lnTo>
                        <a:pt x="519" y="1628"/>
                      </a:lnTo>
                      <a:lnTo>
                        <a:pt x="520" y="1628"/>
                      </a:lnTo>
                      <a:lnTo>
                        <a:pt x="523" y="1628"/>
                      </a:lnTo>
                      <a:lnTo>
                        <a:pt x="524" y="1628"/>
                      </a:lnTo>
                      <a:lnTo>
                        <a:pt x="524" y="1628"/>
                      </a:lnTo>
                      <a:lnTo>
                        <a:pt x="526" y="1628"/>
                      </a:lnTo>
                      <a:lnTo>
                        <a:pt x="526" y="1628"/>
                      </a:lnTo>
                      <a:lnTo>
                        <a:pt x="527" y="1628"/>
                      </a:lnTo>
                      <a:lnTo>
                        <a:pt x="529" y="1631"/>
                      </a:lnTo>
                      <a:lnTo>
                        <a:pt x="530" y="1631"/>
                      </a:lnTo>
                      <a:lnTo>
                        <a:pt x="532" y="1631"/>
                      </a:lnTo>
                      <a:lnTo>
                        <a:pt x="536" y="1632"/>
                      </a:lnTo>
                      <a:lnTo>
                        <a:pt x="537" y="1632"/>
                      </a:lnTo>
                      <a:lnTo>
                        <a:pt x="537" y="1632"/>
                      </a:lnTo>
                      <a:lnTo>
                        <a:pt x="536" y="1633"/>
                      </a:lnTo>
                      <a:lnTo>
                        <a:pt x="536" y="1634"/>
                      </a:lnTo>
                      <a:lnTo>
                        <a:pt x="536" y="1635"/>
                      </a:lnTo>
                      <a:lnTo>
                        <a:pt x="536" y="1636"/>
                      </a:lnTo>
                      <a:lnTo>
                        <a:pt x="535" y="1637"/>
                      </a:lnTo>
                      <a:lnTo>
                        <a:pt x="534" y="1638"/>
                      </a:lnTo>
                      <a:lnTo>
                        <a:pt x="534" y="1638"/>
                      </a:lnTo>
                      <a:lnTo>
                        <a:pt x="533" y="1638"/>
                      </a:lnTo>
                      <a:lnTo>
                        <a:pt x="533" y="1640"/>
                      </a:lnTo>
                      <a:lnTo>
                        <a:pt x="530" y="1644"/>
                      </a:lnTo>
                      <a:lnTo>
                        <a:pt x="530" y="1645"/>
                      </a:lnTo>
                      <a:lnTo>
                        <a:pt x="530" y="1646"/>
                      </a:lnTo>
                      <a:lnTo>
                        <a:pt x="527" y="1647"/>
                      </a:lnTo>
                      <a:lnTo>
                        <a:pt x="527" y="1648"/>
                      </a:lnTo>
                      <a:lnTo>
                        <a:pt x="526" y="1648"/>
                      </a:lnTo>
                      <a:lnTo>
                        <a:pt x="526" y="1649"/>
                      </a:lnTo>
                      <a:lnTo>
                        <a:pt x="522" y="1652"/>
                      </a:lnTo>
                      <a:lnTo>
                        <a:pt x="520" y="1655"/>
                      </a:lnTo>
                      <a:lnTo>
                        <a:pt x="519" y="1656"/>
                      </a:lnTo>
                      <a:lnTo>
                        <a:pt x="518" y="1657"/>
                      </a:lnTo>
                      <a:lnTo>
                        <a:pt x="518" y="1658"/>
                      </a:lnTo>
                      <a:lnTo>
                        <a:pt x="517" y="1658"/>
                      </a:lnTo>
                      <a:lnTo>
                        <a:pt x="516" y="1659"/>
                      </a:lnTo>
                      <a:lnTo>
                        <a:pt x="516" y="1659"/>
                      </a:lnTo>
                      <a:lnTo>
                        <a:pt x="516" y="1658"/>
                      </a:lnTo>
                      <a:lnTo>
                        <a:pt x="515" y="1658"/>
                      </a:lnTo>
                      <a:lnTo>
                        <a:pt x="514" y="1658"/>
                      </a:lnTo>
                      <a:lnTo>
                        <a:pt x="514" y="1660"/>
                      </a:lnTo>
                      <a:lnTo>
                        <a:pt x="514" y="1660"/>
                      </a:lnTo>
                      <a:lnTo>
                        <a:pt x="514" y="1660"/>
                      </a:lnTo>
                      <a:lnTo>
                        <a:pt x="513" y="1660"/>
                      </a:lnTo>
                      <a:lnTo>
                        <a:pt x="513" y="1661"/>
                      </a:lnTo>
                      <a:lnTo>
                        <a:pt x="514" y="1662"/>
                      </a:lnTo>
                      <a:lnTo>
                        <a:pt x="514" y="1663"/>
                      </a:lnTo>
                      <a:lnTo>
                        <a:pt x="514" y="1663"/>
                      </a:lnTo>
                      <a:lnTo>
                        <a:pt x="514" y="1664"/>
                      </a:lnTo>
                      <a:lnTo>
                        <a:pt x="511" y="1667"/>
                      </a:lnTo>
                      <a:lnTo>
                        <a:pt x="509" y="1669"/>
                      </a:lnTo>
                      <a:lnTo>
                        <a:pt x="508" y="1669"/>
                      </a:lnTo>
                      <a:lnTo>
                        <a:pt x="508" y="1671"/>
                      </a:lnTo>
                      <a:lnTo>
                        <a:pt x="508" y="1671"/>
                      </a:lnTo>
                      <a:lnTo>
                        <a:pt x="508" y="1672"/>
                      </a:lnTo>
                      <a:lnTo>
                        <a:pt x="508" y="1673"/>
                      </a:lnTo>
                      <a:lnTo>
                        <a:pt x="508" y="1673"/>
                      </a:lnTo>
                      <a:lnTo>
                        <a:pt x="511" y="1675"/>
                      </a:lnTo>
                      <a:lnTo>
                        <a:pt x="511" y="1676"/>
                      </a:lnTo>
                      <a:lnTo>
                        <a:pt x="506" y="1677"/>
                      </a:lnTo>
                      <a:lnTo>
                        <a:pt x="504" y="1679"/>
                      </a:lnTo>
                      <a:lnTo>
                        <a:pt x="504" y="1679"/>
                      </a:lnTo>
                      <a:lnTo>
                        <a:pt x="503" y="1680"/>
                      </a:lnTo>
                      <a:lnTo>
                        <a:pt x="503" y="1682"/>
                      </a:lnTo>
                      <a:lnTo>
                        <a:pt x="503" y="1683"/>
                      </a:lnTo>
                      <a:lnTo>
                        <a:pt x="502" y="1683"/>
                      </a:lnTo>
                      <a:lnTo>
                        <a:pt x="502" y="1684"/>
                      </a:lnTo>
                      <a:lnTo>
                        <a:pt x="501" y="1684"/>
                      </a:lnTo>
                      <a:lnTo>
                        <a:pt x="501" y="1684"/>
                      </a:lnTo>
                      <a:lnTo>
                        <a:pt x="501" y="1683"/>
                      </a:lnTo>
                      <a:lnTo>
                        <a:pt x="501" y="1683"/>
                      </a:lnTo>
                      <a:lnTo>
                        <a:pt x="501" y="1682"/>
                      </a:lnTo>
                      <a:lnTo>
                        <a:pt x="501" y="1682"/>
                      </a:lnTo>
                      <a:lnTo>
                        <a:pt x="501" y="1680"/>
                      </a:lnTo>
                      <a:lnTo>
                        <a:pt x="501" y="1679"/>
                      </a:lnTo>
                      <a:lnTo>
                        <a:pt x="499" y="1679"/>
                      </a:lnTo>
                      <a:lnTo>
                        <a:pt x="498" y="1679"/>
                      </a:lnTo>
                      <a:lnTo>
                        <a:pt x="497" y="1682"/>
                      </a:lnTo>
                      <a:lnTo>
                        <a:pt x="496" y="1682"/>
                      </a:lnTo>
                      <a:lnTo>
                        <a:pt x="496" y="1683"/>
                      </a:lnTo>
                      <a:lnTo>
                        <a:pt x="495" y="1683"/>
                      </a:lnTo>
                      <a:lnTo>
                        <a:pt x="495" y="1685"/>
                      </a:lnTo>
                      <a:lnTo>
                        <a:pt x="491" y="1688"/>
                      </a:lnTo>
                      <a:lnTo>
                        <a:pt x="491" y="1688"/>
                      </a:lnTo>
                      <a:lnTo>
                        <a:pt x="491" y="1689"/>
                      </a:lnTo>
                      <a:lnTo>
                        <a:pt x="490" y="1689"/>
                      </a:lnTo>
                      <a:lnTo>
                        <a:pt x="488" y="1690"/>
                      </a:lnTo>
                      <a:lnTo>
                        <a:pt x="487" y="1692"/>
                      </a:lnTo>
                      <a:lnTo>
                        <a:pt x="488" y="1693"/>
                      </a:lnTo>
                      <a:lnTo>
                        <a:pt x="487" y="1694"/>
                      </a:lnTo>
                      <a:lnTo>
                        <a:pt x="486" y="1695"/>
                      </a:lnTo>
                      <a:lnTo>
                        <a:pt x="485" y="1696"/>
                      </a:lnTo>
                      <a:lnTo>
                        <a:pt x="485" y="1697"/>
                      </a:lnTo>
                      <a:lnTo>
                        <a:pt x="484" y="1698"/>
                      </a:lnTo>
                      <a:lnTo>
                        <a:pt x="482" y="1700"/>
                      </a:lnTo>
                      <a:lnTo>
                        <a:pt x="482" y="1700"/>
                      </a:lnTo>
                      <a:lnTo>
                        <a:pt x="481" y="1700"/>
                      </a:lnTo>
                      <a:lnTo>
                        <a:pt x="481" y="1701"/>
                      </a:lnTo>
                      <a:lnTo>
                        <a:pt x="481" y="1701"/>
                      </a:lnTo>
                      <a:lnTo>
                        <a:pt x="479" y="1704"/>
                      </a:lnTo>
                      <a:lnTo>
                        <a:pt x="477" y="1705"/>
                      </a:lnTo>
                      <a:lnTo>
                        <a:pt x="477" y="1706"/>
                      </a:lnTo>
                      <a:lnTo>
                        <a:pt x="476" y="1706"/>
                      </a:lnTo>
                      <a:lnTo>
                        <a:pt x="475" y="1704"/>
                      </a:lnTo>
                      <a:lnTo>
                        <a:pt x="474" y="1704"/>
                      </a:lnTo>
                      <a:lnTo>
                        <a:pt x="471" y="1706"/>
                      </a:lnTo>
                      <a:lnTo>
                        <a:pt x="470" y="1706"/>
                      </a:lnTo>
                      <a:lnTo>
                        <a:pt x="470" y="1707"/>
                      </a:lnTo>
                      <a:lnTo>
                        <a:pt x="469" y="1708"/>
                      </a:lnTo>
                      <a:lnTo>
                        <a:pt x="468" y="1710"/>
                      </a:lnTo>
                      <a:lnTo>
                        <a:pt x="467" y="1711"/>
                      </a:lnTo>
                      <a:lnTo>
                        <a:pt x="467" y="1712"/>
                      </a:lnTo>
                      <a:lnTo>
                        <a:pt x="465" y="1713"/>
                      </a:lnTo>
                      <a:lnTo>
                        <a:pt x="465" y="1714"/>
                      </a:lnTo>
                      <a:lnTo>
                        <a:pt x="464" y="1714"/>
                      </a:lnTo>
                      <a:lnTo>
                        <a:pt x="464" y="1715"/>
                      </a:lnTo>
                      <a:lnTo>
                        <a:pt x="463" y="1716"/>
                      </a:lnTo>
                      <a:lnTo>
                        <a:pt x="463" y="1716"/>
                      </a:lnTo>
                      <a:lnTo>
                        <a:pt x="462" y="1716"/>
                      </a:lnTo>
                      <a:lnTo>
                        <a:pt x="461" y="1716"/>
                      </a:lnTo>
                      <a:lnTo>
                        <a:pt x="459" y="1716"/>
                      </a:lnTo>
                      <a:lnTo>
                        <a:pt x="460" y="1717"/>
                      </a:lnTo>
                      <a:lnTo>
                        <a:pt x="459" y="1718"/>
                      </a:lnTo>
                      <a:lnTo>
                        <a:pt x="459" y="1718"/>
                      </a:lnTo>
                      <a:lnTo>
                        <a:pt x="458" y="1717"/>
                      </a:lnTo>
                      <a:lnTo>
                        <a:pt x="457" y="1716"/>
                      </a:lnTo>
                      <a:lnTo>
                        <a:pt x="455" y="1715"/>
                      </a:lnTo>
                      <a:lnTo>
                        <a:pt x="452" y="1715"/>
                      </a:lnTo>
                      <a:lnTo>
                        <a:pt x="452" y="1716"/>
                      </a:lnTo>
                      <a:lnTo>
                        <a:pt x="452" y="1717"/>
                      </a:lnTo>
                      <a:lnTo>
                        <a:pt x="453" y="1717"/>
                      </a:lnTo>
                      <a:lnTo>
                        <a:pt x="455" y="1718"/>
                      </a:lnTo>
                      <a:lnTo>
                        <a:pt x="457" y="1720"/>
                      </a:lnTo>
                      <a:lnTo>
                        <a:pt x="458" y="1720"/>
                      </a:lnTo>
                      <a:lnTo>
                        <a:pt x="458" y="1721"/>
                      </a:lnTo>
                      <a:lnTo>
                        <a:pt x="458" y="1722"/>
                      </a:lnTo>
                      <a:lnTo>
                        <a:pt x="457" y="1723"/>
                      </a:lnTo>
                      <a:lnTo>
                        <a:pt x="457" y="1724"/>
                      </a:lnTo>
                      <a:lnTo>
                        <a:pt x="455" y="1726"/>
                      </a:lnTo>
                      <a:lnTo>
                        <a:pt x="455" y="1727"/>
                      </a:lnTo>
                      <a:lnTo>
                        <a:pt x="454" y="1728"/>
                      </a:lnTo>
                      <a:lnTo>
                        <a:pt x="453" y="1728"/>
                      </a:lnTo>
                      <a:lnTo>
                        <a:pt x="453" y="1730"/>
                      </a:lnTo>
                      <a:lnTo>
                        <a:pt x="452" y="1732"/>
                      </a:lnTo>
                      <a:lnTo>
                        <a:pt x="451" y="1734"/>
                      </a:lnTo>
                      <a:lnTo>
                        <a:pt x="451" y="1734"/>
                      </a:lnTo>
                      <a:lnTo>
                        <a:pt x="449" y="1735"/>
                      </a:lnTo>
                      <a:lnTo>
                        <a:pt x="449" y="1736"/>
                      </a:lnTo>
                      <a:lnTo>
                        <a:pt x="448" y="1737"/>
                      </a:lnTo>
                      <a:lnTo>
                        <a:pt x="447" y="1738"/>
                      </a:lnTo>
                      <a:lnTo>
                        <a:pt x="447" y="1739"/>
                      </a:lnTo>
                      <a:lnTo>
                        <a:pt x="447" y="1740"/>
                      </a:lnTo>
                      <a:lnTo>
                        <a:pt x="447" y="1740"/>
                      </a:lnTo>
                      <a:lnTo>
                        <a:pt x="446" y="1741"/>
                      </a:lnTo>
                      <a:lnTo>
                        <a:pt x="445" y="1741"/>
                      </a:lnTo>
                      <a:lnTo>
                        <a:pt x="444" y="1742"/>
                      </a:lnTo>
                      <a:lnTo>
                        <a:pt x="445" y="1743"/>
                      </a:lnTo>
                      <a:lnTo>
                        <a:pt x="443" y="1744"/>
                      </a:lnTo>
                      <a:lnTo>
                        <a:pt x="443" y="1745"/>
                      </a:lnTo>
                      <a:lnTo>
                        <a:pt x="442" y="1745"/>
                      </a:lnTo>
                      <a:lnTo>
                        <a:pt x="441" y="1746"/>
                      </a:lnTo>
                      <a:lnTo>
                        <a:pt x="439" y="1747"/>
                      </a:lnTo>
                      <a:lnTo>
                        <a:pt x="438" y="1749"/>
                      </a:lnTo>
                      <a:lnTo>
                        <a:pt x="437" y="1750"/>
                      </a:lnTo>
                      <a:lnTo>
                        <a:pt x="436" y="1751"/>
                      </a:lnTo>
                      <a:lnTo>
                        <a:pt x="436" y="1751"/>
                      </a:lnTo>
                      <a:lnTo>
                        <a:pt x="433" y="1752"/>
                      </a:lnTo>
                      <a:lnTo>
                        <a:pt x="431" y="1753"/>
                      </a:lnTo>
                      <a:lnTo>
                        <a:pt x="430" y="1754"/>
                      </a:lnTo>
                      <a:lnTo>
                        <a:pt x="429" y="1754"/>
                      </a:lnTo>
                      <a:lnTo>
                        <a:pt x="428" y="1755"/>
                      </a:lnTo>
                      <a:lnTo>
                        <a:pt x="426" y="1758"/>
                      </a:lnTo>
                      <a:lnTo>
                        <a:pt x="425" y="1758"/>
                      </a:lnTo>
                      <a:lnTo>
                        <a:pt x="420" y="1760"/>
                      </a:lnTo>
                      <a:lnTo>
                        <a:pt x="419" y="1761"/>
                      </a:lnTo>
                      <a:lnTo>
                        <a:pt x="418" y="1762"/>
                      </a:lnTo>
                      <a:lnTo>
                        <a:pt x="418" y="1762"/>
                      </a:lnTo>
                      <a:lnTo>
                        <a:pt x="417" y="1761"/>
                      </a:lnTo>
                      <a:lnTo>
                        <a:pt x="416" y="1760"/>
                      </a:lnTo>
                      <a:lnTo>
                        <a:pt x="417" y="1759"/>
                      </a:lnTo>
                      <a:lnTo>
                        <a:pt x="416" y="1756"/>
                      </a:lnTo>
                      <a:lnTo>
                        <a:pt x="413" y="1754"/>
                      </a:lnTo>
                      <a:lnTo>
                        <a:pt x="408" y="1754"/>
                      </a:lnTo>
                      <a:lnTo>
                        <a:pt x="408" y="1753"/>
                      </a:lnTo>
                      <a:lnTo>
                        <a:pt x="407" y="1753"/>
                      </a:lnTo>
                      <a:lnTo>
                        <a:pt x="407" y="1752"/>
                      </a:lnTo>
                      <a:lnTo>
                        <a:pt x="407" y="1752"/>
                      </a:lnTo>
                      <a:lnTo>
                        <a:pt x="406" y="1751"/>
                      </a:lnTo>
                      <a:lnTo>
                        <a:pt x="405" y="1751"/>
                      </a:lnTo>
                      <a:lnTo>
                        <a:pt x="405" y="1751"/>
                      </a:lnTo>
                      <a:lnTo>
                        <a:pt x="404" y="1752"/>
                      </a:lnTo>
                      <a:lnTo>
                        <a:pt x="404" y="1753"/>
                      </a:lnTo>
                      <a:lnTo>
                        <a:pt x="403" y="1753"/>
                      </a:lnTo>
                      <a:lnTo>
                        <a:pt x="403" y="1753"/>
                      </a:lnTo>
                      <a:lnTo>
                        <a:pt x="403" y="1752"/>
                      </a:lnTo>
                      <a:lnTo>
                        <a:pt x="402" y="1751"/>
                      </a:lnTo>
                      <a:lnTo>
                        <a:pt x="402" y="1750"/>
                      </a:lnTo>
                      <a:lnTo>
                        <a:pt x="400" y="1748"/>
                      </a:lnTo>
                      <a:lnTo>
                        <a:pt x="400" y="1746"/>
                      </a:lnTo>
                      <a:lnTo>
                        <a:pt x="399" y="1746"/>
                      </a:lnTo>
                      <a:lnTo>
                        <a:pt x="399" y="1747"/>
                      </a:lnTo>
                      <a:lnTo>
                        <a:pt x="396" y="1748"/>
                      </a:lnTo>
                      <a:lnTo>
                        <a:pt x="395" y="1748"/>
                      </a:lnTo>
                      <a:lnTo>
                        <a:pt x="392" y="1748"/>
                      </a:lnTo>
                      <a:lnTo>
                        <a:pt x="389" y="1746"/>
                      </a:lnTo>
                      <a:lnTo>
                        <a:pt x="387" y="1746"/>
                      </a:lnTo>
                      <a:lnTo>
                        <a:pt x="384" y="1744"/>
                      </a:lnTo>
                      <a:lnTo>
                        <a:pt x="384" y="1744"/>
                      </a:lnTo>
                      <a:lnTo>
                        <a:pt x="383" y="1744"/>
                      </a:lnTo>
                      <a:lnTo>
                        <a:pt x="380" y="1744"/>
                      </a:lnTo>
                      <a:lnTo>
                        <a:pt x="380" y="1743"/>
                      </a:lnTo>
                      <a:lnTo>
                        <a:pt x="380" y="1742"/>
                      </a:lnTo>
                      <a:lnTo>
                        <a:pt x="378" y="1742"/>
                      </a:lnTo>
                      <a:lnTo>
                        <a:pt x="378" y="1742"/>
                      </a:lnTo>
                      <a:lnTo>
                        <a:pt x="378" y="1742"/>
                      </a:lnTo>
                      <a:lnTo>
                        <a:pt x="379" y="1742"/>
                      </a:lnTo>
                      <a:lnTo>
                        <a:pt x="379" y="1741"/>
                      </a:lnTo>
                      <a:lnTo>
                        <a:pt x="377" y="1741"/>
                      </a:lnTo>
                      <a:lnTo>
                        <a:pt x="377" y="1740"/>
                      </a:lnTo>
                      <a:lnTo>
                        <a:pt x="376" y="1740"/>
                      </a:lnTo>
                      <a:lnTo>
                        <a:pt x="375" y="1741"/>
                      </a:lnTo>
                      <a:lnTo>
                        <a:pt x="372" y="1740"/>
                      </a:lnTo>
                      <a:lnTo>
                        <a:pt x="372" y="1739"/>
                      </a:lnTo>
                      <a:lnTo>
                        <a:pt x="369" y="1737"/>
                      </a:lnTo>
                      <a:lnTo>
                        <a:pt x="368" y="1736"/>
                      </a:lnTo>
                      <a:lnTo>
                        <a:pt x="367" y="1734"/>
                      </a:lnTo>
                      <a:lnTo>
                        <a:pt x="366" y="1734"/>
                      </a:lnTo>
                      <a:lnTo>
                        <a:pt x="365" y="1733"/>
                      </a:lnTo>
                      <a:lnTo>
                        <a:pt x="364" y="1732"/>
                      </a:lnTo>
                      <a:lnTo>
                        <a:pt x="364" y="1730"/>
                      </a:lnTo>
                      <a:lnTo>
                        <a:pt x="363" y="1730"/>
                      </a:lnTo>
                      <a:lnTo>
                        <a:pt x="361" y="1729"/>
                      </a:lnTo>
                      <a:lnTo>
                        <a:pt x="361" y="1727"/>
                      </a:lnTo>
                      <a:lnTo>
                        <a:pt x="359" y="1726"/>
                      </a:lnTo>
                      <a:lnTo>
                        <a:pt x="358" y="1725"/>
                      </a:lnTo>
                      <a:lnTo>
                        <a:pt x="358" y="1724"/>
                      </a:lnTo>
                      <a:lnTo>
                        <a:pt x="357" y="1724"/>
                      </a:lnTo>
                      <a:lnTo>
                        <a:pt x="356" y="1717"/>
                      </a:lnTo>
                      <a:lnTo>
                        <a:pt x="355" y="1717"/>
                      </a:lnTo>
                      <a:lnTo>
                        <a:pt x="355" y="1717"/>
                      </a:lnTo>
                      <a:lnTo>
                        <a:pt x="354" y="1716"/>
                      </a:lnTo>
                      <a:lnTo>
                        <a:pt x="352" y="1714"/>
                      </a:lnTo>
                      <a:lnTo>
                        <a:pt x="351" y="1714"/>
                      </a:lnTo>
                      <a:lnTo>
                        <a:pt x="351" y="1713"/>
                      </a:lnTo>
                      <a:lnTo>
                        <a:pt x="350" y="1712"/>
                      </a:lnTo>
                      <a:lnTo>
                        <a:pt x="351" y="1711"/>
                      </a:lnTo>
                      <a:lnTo>
                        <a:pt x="350" y="1710"/>
                      </a:lnTo>
                      <a:lnTo>
                        <a:pt x="351" y="1710"/>
                      </a:lnTo>
                      <a:lnTo>
                        <a:pt x="351" y="1708"/>
                      </a:lnTo>
                      <a:lnTo>
                        <a:pt x="351" y="1707"/>
                      </a:lnTo>
                      <a:lnTo>
                        <a:pt x="350" y="1704"/>
                      </a:lnTo>
                      <a:lnTo>
                        <a:pt x="351" y="1704"/>
                      </a:lnTo>
                      <a:lnTo>
                        <a:pt x="351" y="1703"/>
                      </a:lnTo>
                      <a:lnTo>
                        <a:pt x="353" y="1702"/>
                      </a:lnTo>
                      <a:lnTo>
                        <a:pt x="354" y="1703"/>
                      </a:lnTo>
                      <a:lnTo>
                        <a:pt x="357" y="1703"/>
                      </a:lnTo>
                      <a:lnTo>
                        <a:pt x="358" y="1703"/>
                      </a:lnTo>
                      <a:lnTo>
                        <a:pt x="358" y="1702"/>
                      </a:lnTo>
                      <a:lnTo>
                        <a:pt x="359" y="1702"/>
                      </a:lnTo>
                      <a:lnTo>
                        <a:pt x="362" y="1701"/>
                      </a:lnTo>
                      <a:lnTo>
                        <a:pt x="362" y="1701"/>
                      </a:lnTo>
                      <a:lnTo>
                        <a:pt x="362" y="1701"/>
                      </a:lnTo>
                      <a:lnTo>
                        <a:pt x="363" y="1700"/>
                      </a:lnTo>
                      <a:lnTo>
                        <a:pt x="364" y="1700"/>
                      </a:lnTo>
                      <a:lnTo>
                        <a:pt x="365" y="1701"/>
                      </a:lnTo>
                      <a:lnTo>
                        <a:pt x="365" y="1702"/>
                      </a:lnTo>
                      <a:lnTo>
                        <a:pt x="367" y="1702"/>
                      </a:lnTo>
                      <a:lnTo>
                        <a:pt x="369" y="1702"/>
                      </a:lnTo>
                      <a:lnTo>
                        <a:pt x="369" y="1701"/>
                      </a:lnTo>
                      <a:lnTo>
                        <a:pt x="369" y="1701"/>
                      </a:lnTo>
                      <a:lnTo>
                        <a:pt x="370" y="1700"/>
                      </a:lnTo>
                      <a:lnTo>
                        <a:pt x="370" y="1700"/>
                      </a:lnTo>
                      <a:lnTo>
                        <a:pt x="369" y="1699"/>
                      </a:lnTo>
                      <a:lnTo>
                        <a:pt x="368" y="1700"/>
                      </a:lnTo>
                      <a:lnTo>
                        <a:pt x="368" y="1700"/>
                      </a:lnTo>
                      <a:lnTo>
                        <a:pt x="367" y="1699"/>
                      </a:lnTo>
                      <a:lnTo>
                        <a:pt x="366" y="1700"/>
                      </a:lnTo>
                      <a:lnTo>
                        <a:pt x="366" y="1700"/>
                      </a:lnTo>
                      <a:lnTo>
                        <a:pt x="364" y="1700"/>
                      </a:lnTo>
                      <a:lnTo>
                        <a:pt x="363" y="1700"/>
                      </a:lnTo>
                      <a:lnTo>
                        <a:pt x="363" y="1699"/>
                      </a:lnTo>
                      <a:lnTo>
                        <a:pt x="363" y="1699"/>
                      </a:lnTo>
                      <a:lnTo>
                        <a:pt x="363" y="1698"/>
                      </a:lnTo>
                      <a:lnTo>
                        <a:pt x="364" y="1698"/>
                      </a:lnTo>
                      <a:lnTo>
                        <a:pt x="364" y="1697"/>
                      </a:lnTo>
                      <a:lnTo>
                        <a:pt x="364" y="1695"/>
                      </a:lnTo>
                      <a:lnTo>
                        <a:pt x="365" y="1695"/>
                      </a:lnTo>
                      <a:lnTo>
                        <a:pt x="365" y="1696"/>
                      </a:lnTo>
                      <a:lnTo>
                        <a:pt x="366" y="1697"/>
                      </a:lnTo>
                      <a:lnTo>
                        <a:pt x="366" y="1696"/>
                      </a:lnTo>
                      <a:lnTo>
                        <a:pt x="366" y="1695"/>
                      </a:lnTo>
                      <a:lnTo>
                        <a:pt x="367" y="1696"/>
                      </a:lnTo>
                      <a:lnTo>
                        <a:pt x="367" y="1696"/>
                      </a:lnTo>
                      <a:lnTo>
                        <a:pt x="367" y="1696"/>
                      </a:lnTo>
                      <a:lnTo>
                        <a:pt x="367" y="1695"/>
                      </a:lnTo>
                      <a:lnTo>
                        <a:pt x="368" y="1695"/>
                      </a:lnTo>
                      <a:lnTo>
                        <a:pt x="368" y="1695"/>
                      </a:lnTo>
                      <a:lnTo>
                        <a:pt x="369" y="1697"/>
                      </a:lnTo>
                      <a:lnTo>
                        <a:pt x="369" y="1698"/>
                      </a:lnTo>
                      <a:lnTo>
                        <a:pt x="370" y="1697"/>
                      </a:lnTo>
                      <a:lnTo>
                        <a:pt x="372" y="1698"/>
                      </a:lnTo>
                      <a:lnTo>
                        <a:pt x="372" y="1699"/>
                      </a:lnTo>
                      <a:lnTo>
                        <a:pt x="372" y="1699"/>
                      </a:lnTo>
                      <a:lnTo>
                        <a:pt x="373" y="1700"/>
                      </a:lnTo>
                      <a:lnTo>
                        <a:pt x="374" y="1701"/>
                      </a:lnTo>
                      <a:lnTo>
                        <a:pt x="373" y="1701"/>
                      </a:lnTo>
                      <a:lnTo>
                        <a:pt x="374" y="1701"/>
                      </a:lnTo>
                      <a:lnTo>
                        <a:pt x="374" y="1700"/>
                      </a:lnTo>
                      <a:lnTo>
                        <a:pt x="374" y="1700"/>
                      </a:lnTo>
                      <a:lnTo>
                        <a:pt x="374" y="1700"/>
                      </a:lnTo>
                      <a:lnTo>
                        <a:pt x="374" y="1699"/>
                      </a:lnTo>
                      <a:lnTo>
                        <a:pt x="374" y="1698"/>
                      </a:lnTo>
                      <a:lnTo>
                        <a:pt x="376" y="1696"/>
                      </a:lnTo>
                      <a:lnTo>
                        <a:pt x="376" y="1695"/>
                      </a:lnTo>
                      <a:lnTo>
                        <a:pt x="377" y="1695"/>
                      </a:lnTo>
                      <a:lnTo>
                        <a:pt x="378" y="1695"/>
                      </a:lnTo>
                      <a:lnTo>
                        <a:pt x="378" y="1696"/>
                      </a:lnTo>
                      <a:lnTo>
                        <a:pt x="379" y="1696"/>
                      </a:lnTo>
                      <a:lnTo>
                        <a:pt x="379" y="1697"/>
                      </a:lnTo>
                      <a:lnTo>
                        <a:pt x="379" y="1698"/>
                      </a:lnTo>
                      <a:lnTo>
                        <a:pt x="379" y="1698"/>
                      </a:lnTo>
                      <a:lnTo>
                        <a:pt x="378" y="1699"/>
                      </a:lnTo>
                      <a:lnTo>
                        <a:pt x="377" y="1700"/>
                      </a:lnTo>
                      <a:lnTo>
                        <a:pt x="377" y="1701"/>
                      </a:lnTo>
                      <a:lnTo>
                        <a:pt x="376" y="1701"/>
                      </a:lnTo>
                      <a:lnTo>
                        <a:pt x="375" y="1702"/>
                      </a:lnTo>
                      <a:lnTo>
                        <a:pt x="374" y="1702"/>
                      </a:lnTo>
                      <a:lnTo>
                        <a:pt x="375" y="1703"/>
                      </a:lnTo>
                      <a:lnTo>
                        <a:pt x="375" y="1705"/>
                      </a:lnTo>
                      <a:lnTo>
                        <a:pt x="375" y="1706"/>
                      </a:lnTo>
                      <a:lnTo>
                        <a:pt x="375" y="1706"/>
                      </a:lnTo>
                      <a:lnTo>
                        <a:pt x="377" y="1705"/>
                      </a:lnTo>
                      <a:lnTo>
                        <a:pt x="378" y="1706"/>
                      </a:lnTo>
                      <a:lnTo>
                        <a:pt x="378" y="1706"/>
                      </a:lnTo>
                      <a:lnTo>
                        <a:pt x="379" y="1707"/>
                      </a:lnTo>
                      <a:lnTo>
                        <a:pt x="379" y="1706"/>
                      </a:lnTo>
                      <a:lnTo>
                        <a:pt x="380" y="1707"/>
                      </a:lnTo>
                      <a:lnTo>
                        <a:pt x="381" y="1707"/>
                      </a:lnTo>
                      <a:lnTo>
                        <a:pt x="382" y="1708"/>
                      </a:lnTo>
                      <a:lnTo>
                        <a:pt x="382" y="1709"/>
                      </a:lnTo>
                      <a:lnTo>
                        <a:pt x="382" y="1709"/>
                      </a:lnTo>
                      <a:lnTo>
                        <a:pt x="383" y="1710"/>
                      </a:lnTo>
                      <a:lnTo>
                        <a:pt x="385" y="1710"/>
                      </a:lnTo>
                      <a:lnTo>
                        <a:pt x="385" y="1711"/>
                      </a:lnTo>
                      <a:lnTo>
                        <a:pt x="386" y="1712"/>
                      </a:lnTo>
                      <a:lnTo>
                        <a:pt x="387" y="1713"/>
                      </a:lnTo>
                      <a:lnTo>
                        <a:pt x="388" y="1712"/>
                      </a:lnTo>
                      <a:lnTo>
                        <a:pt x="388" y="1711"/>
                      </a:lnTo>
                      <a:lnTo>
                        <a:pt x="386" y="1710"/>
                      </a:lnTo>
                      <a:lnTo>
                        <a:pt x="386" y="1709"/>
                      </a:lnTo>
                      <a:lnTo>
                        <a:pt x="384" y="1708"/>
                      </a:lnTo>
                      <a:lnTo>
                        <a:pt x="383" y="1707"/>
                      </a:lnTo>
                      <a:lnTo>
                        <a:pt x="381" y="1707"/>
                      </a:lnTo>
                      <a:lnTo>
                        <a:pt x="380" y="1707"/>
                      </a:lnTo>
                      <a:lnTo>
                        <a:pt x="380" y="1706"/>
                      </a:lnTo>
                      <a:lnTo>
                        <a:pt x="378" y="1705"/>
                      </a:lnTo>
                      <a:lnTo>
                        <a:pt x="378" y="1704"/>
                      </a:lnTo>
                      <a:lnTo>
                        <a:pt x="377" y="1702"/>
                      </a:lnTo>
                      <a:lnTo>
                        <a:pt x="377" y="1701"/>
                      </a:lnTo>
                      <a:lnTo>
                        <a:pt x="378" y="1701"/>
                      </a:lnTo>
                      <a:lnTo>
                        <a:pt x="378" y="1700"/>
                      </a:lnTo>
                      <a:lnTo>
                        <a:pt x="380" y="1699"/>
                      </a:lnTo>
                      <a:lnTo>
                        <a:pt x="380" y="1699"/>
                      </a:lnTo>
                      <a:lnTo>
                        <a:pt x="382" y="1699"/>
                      </a:lnTo>
                      <a:lnTo>
                        <a:pt x="382" y="1698"/>
                      </a:lnTo>
                      <a:lnTo>
                        <a:pt x="383" y="1698"/>
                      </a:lnTo>
                      <a:lnTo>
                        <a:pt x="385" y="1699"/>
                      </a:lnTo>
                      <a:lnTo>
                        <a:pt x="386" y="1698"/>
                      </a:lnTo>
                      <a:lnTo>
                        <a:pt x="386" y="1698"/>
                      </a:lnTo>
                      <a:lnTo>
                        <a:pt x="387" y="1697"/>
                      </a:lnTo>
                      <a:lnTo>
                        <a:pt x="389" y="1696"/>
                      </a:lnTo>
                      <a:lnTo>
                        <a:pt x="389" y="1696"/>
                      </a:lnTo>
                      <a:lnTo>
                        <a:pt x="389" y="1695"/>
                      </a:lnTo>
                      <a:lnTo>
                        <a:pt x="390" y="1695"/>
                      </a:lnTo>
                      <a:lnTo>
                        <a:pt x="391" y="1694"/>
                      </a:lnTo>
                      <a:lnTo>
                        <a:pt x="392" y="1693"/>
                      </a:lnTo>
                      <a:lnTo>
                        <a:pt x="392" y="1693"/>
                      </a:lnTo>
                      <a:lnTo>
                        <a:pt x="394" y="1693"/>
                      </a:lnTo>
                      <a:lnTo>
                        <a:pt x="394" y="1692"/>
                      </a:lnTo>
                      <a:lnTo>
                        <a:pt x="395" y="1692"/>
                      </a:lnTo>
                      <a:lnTo>
                        <a:pt x="396" y="1691"/>
                      </a:lnTo>
                      <a:lnTo>
                        <a:pt x="397" y="1688"/>
                      </a:lnTo>
                      <a:lnTo>
                        <a:pt x="399" y="1687"/>
                      </a:lnTo>
                      <a:lnTo>
                        <a:pt x="401" y="1687"/>
                      </a:lnTo>
                      <a:lnTo>
                        <a:pt x="402" y="1686"/>
                      </a:lnTo>
                      <a:lnTo>
                        <a:pt x="404" y="1685"/>
                      </a:lnTo>
                      <a:lnTo>
                        <a:pt x="404" y="1685"/>
                      </a:lnTo>
                      <a:lnTo>
                        <a:pt x="405" y="1684"/>
                      </a:lnTo>
                      <a:lnTo>
                        <a:pt x="405" y="1684"/>
                      </a:lnTo>
                      <a:lnTo>
                        <a:pt x="406" y="1683"/>
                      </a:lnTo>
                      <a:lnTo>
                        <a:pt x="407" y="1684"/>
                      </a:lnTo>
                      <a:lnTo>
                        <a:pt x="408" y="1684"/>
                      </a:lnTo>
                      <a:lnTo>
                        <a:pt x="409" y="1684"/>
                      </a:lnTo>
                      <a:lnTo>
                        <a:pt x="410" y="1685"/>
                      </a:lnTo>
                      <a:lnTo>
                        <a:pt x="411" y="1685"/>
                      </a:lnTo>
                      <a:lnTo>
                        <a:pt x="412" y="1686"/>
                      </a:lnTo>
                      <a:lnTo>
                        <a:pt x="414" y="1689"/>
                      </a:lnTo>
                      <a:lnTo>
                        <a:pt x="414" y="1689"/>
                      </a:lnTo>
                      <a:lnTo>
                        <a:pt x="414" y="1690"/>
                      </a:lnTo>
                      <a:lnTo>
                        <a:pt x="415" y="1690"/>
                      </a:lnTo>
                      <a:lnTo>
                        <a:pt x="416" y="1690"/>
                      </a:lnTo>
                      <a:lnTo>
                        <a:pt x="419" y="1690"/>
                      </a:lnTo>
                      <a:lnTo>
                        <a:pt x="419" y="1690"/>
                      </a:lnTo>
                      <a:lnTo>
                        <a:pt x="420" y="1691"/>
                      </a:lnTo>
                      <a:lnTo>
                        <a:pt x="421" y="1692"/>
                      </a:lnTo>
                      <a:lnTo>
                        <a:pt x="422" y="1692"/>
                      </a:lnTo>
                      <a:lnTo>
                        <a:pt x="424" y="1693"/>
                      </a:lnTo>
                      <a:lnTo>
                        <a:pt x="427" y="1692"/>
                      </a:lnTo>
                      <a:lnTo>
                        <a:pt x="427" y="1692"/>
                      </a:lnTo>
                      <a:lnTo>
                        <a:pt x="428" y="1692"/>
                      </a:lnTo>
                      <a:lnTo>
                        <a:pt x="430" y="1693"/>
                      </a:lnTo>
                      <a:lnTo>
                        <a:pt x="432" y="1692"/>
                      </a:lnTo>
                      <a:lnTo>
                        <a:pt x="434" y="1692"/>
                      </a:lnTo>
                      <a:lnTo>
                        <a:pt x="436" y="1691"/>
                      </a:lnTo>
                      <a:lnTo>
                        <a:pt x="436" y="1691"/>
                      </a:lnTo>
                      <a:lnTo>
                        <a:pt x="437" y="1690"/>
                      </a:lnTo>
                      <a:lnTo>
                        <a:pt x="439" y="1691"/>
                      </a:lnTo>
                      <a:lnTo>
                        <a:pt x="444" y="1690"/>
                      </a:lnTo>
                      <a:lnTo>
                        <a:pt x="447" y="1690"/>
                      </a:lnTo>
                      <a:lnTo>
                        <a:pt x="448" y="1690"/>
                      </a:lnTo>
                      <a:lnTo>
                        <a:pt x="449" y="1689"/>
                      </a:lnTo>
                      <a:lnTo>
                        <a:pt x="449" y="1689"/>
                      </a:lnTo>
                      <a:lnTo>
                        <a:pt x="449" y="1689"/>
                      </a:lnTo>
                      <a:lnTo>
                        <a:pt x="449" y="1689"/>
                      </a:lnTo>
                      <a:lnTo>
                        <a:pt x="447" y="1688"/>
                      </a:lnTo>
                      <a:lnTo>
                        <a:pt x="445" y="1689"/>
                      </a:lnTo>
                      <a:lnTo>
                        <a:pt x="443" y="1687"/>
                      </a:lnTo>
                      <a:lnTo>
                        <a:pt x="442" y="1687"/>
                      </a:lnTo>
                      <a:lnTo>
                        <a:pt x="442" y="1687"/>
                      </a:lnTo>
                      <a:lnTo>
                        <a:pt x="441" y="1687"/>
                      </a:lnTo>
                      <a:lnTo>
                        <a:pt x="440" y="1688"/>
                      </a:lnTo>
                      <a:lnTo>
                        <a:pt x="439" y="1688"/>
                      </a:lnTo>
                      <a:lnTo>
                        <a:pt x="438" y="1689"/>
                      </a:lnTo>
                      <a:lnTo>
                        <a:pt x="438" y="1688"/>
                      </a:lnTo>
                      <a:lnTo>
                        <a:pt x="437" y="1687"/>
                      </a:lnTo>
                      <a:lnTo>
                        <a:pt x="434" y="1688"/>
                      </a:lnTo>
                      <a:lnTo>
                        <a:pt x="432" y="1688"/>
                      </a:lnTo>
                      <a:lnTo>
                        <a:pt x="429" y="1690"/>
                      </a:lnTo>
                      <a:lnTo>
                        <a:pt x="427" y="1690"/>
                      </a:lnTo>
                      <a:lnTo>
                        <a:pt x="427" y="1690"/>
                      </a:lnTo>
                      <a:lnTo>
                        <a:pt x="426" y="1690"/>
                      </a:lnTo>
                      <a:lnTo>
                        <a:pt x="423" y="1691"/>
                      </a:lnTo>
                      <a:lnTo>
                        <a:pt x="422" y="1691"/>
                      </a:lnTo>
                      <a:lnTo>
                        <a:pt x="422" y="1690"/>
                      </a:lnTo>
                      <a:lnTo>
                        <a:pt x="423" y="1690"/>
                      </a:lnTo>
                      <a:lnTo>
                        <a:pt x="423" y="1689"/>
                      </a:lnTo>
                      <a:lnTo>
                        <a:pt x="422" y="1689"/>
                      </a:lnTo>
                      <a:lnTo>
                        <a:pt x="421" y="1688"/>
                      </a:lnTo>
                      <a:lnTo>
                        <a:pt x="420" y="1688"/>
                      </a:lnTo>
                      <a:lnTo>
                        <a:pt x="419" y="1688"/>
                      </a:lnTo>
                      <a:lnTo>
                        <a:pt x="418" y="1688"/>
                      </a:lnTo>
                      <a:lnTo>
                        <a:pt x="418" y="1687"/>
                      </a:lnTo>
                      <a:lnTo>
                        <a:pt x="419" y="1687"/>
                      </a:lnTo>
                      <a:lnTo>
                        <a:pt x="419" y="1687"/>
                      </a:lnTo>
                      <a:lnTo>
                        <a:pt x="418" y="1686"/>
                      </a:lnTo>
                      <a:lnTo>
                        <a:pt x="417" y="1686"/>
                      </a:lnTo>
                      <a:lnTo>
                        <a:pt x="417" y="1686"/>
                      </a:lnTo>
                      <a:lnTo>
                        <a:pt x="417" y="1686"/>
                      </a:lnTo>
                      <a:lnTo>
                        <a:pt x="417" y="1685"/>
                      </a:lnTo>
                      <a:lnTo>
                        <a:pt x="417" y="1685"/>
                      </a:lnTo>
                      <a:lnTo>
                        <a:pt x="417" y="1685"/>
                      </a:lnTo>
                      <a:lnTo>
                        <a:pt x="417" y="1684"/>
                      </a:lnTo>
                      <a:lnTo>
                        <a:pt x="415" y="1684"/>
                      </a:lnTo>
                      <a:lnTo>
                        <a:pt x="414" y="1683"/>
                      </a:lnTo>
                      <a:lnTo>
                        <a:pt x="413" y="1682"/>
                      </a:lnTo>
                      <a:lnTo>
                        <a:pt x="412" y="1680"/>
                      </a:lnTo>
                      <a:lnTo>
                        <a:pt x="412" y="1679"/>
                      </a:lnTo>
                      <a:lnTo>
                        <a:pt x="411" y="1679"/>
                      </a:lnTo>
                      <a:lnTo>
                        <a:pt x="410" y="1679"/>
                      </a:lnTo>
                      <a:lnTo>
                        <a:pt x="408" y="1679"/>
                      </a:lnTo>
                      <a:lnTo>
                        <a:pt x="406" y="1679"/>
                      </a:lnTo>
                      <a:lnTo>
                        <a:pt x="404" y="1680"/>
                      </a:lnTo>
                      <a:lnTo>
                        <a:pt x="404" y="1680"/>
                      </a:lnTo>
                      <a:lnTo>
                        <a:pt x="403" y="1680"/>
                      </a:lnTo>
                      <a:lnTo>
                        <a:pt x="403" y="1680"/>
                      </a:lnTo>
                      <a:lnTo>
                        <a:pt x="403" y="1679"/>
                      </a:lnTo>
                      <a:lnTo>
                        <a:pt x="402" y="1679"/>
                      </a:lnTo>
                      <a:lnTo>
                        <a:pt x="401" y="1680"/>
                      </a:lnTo>
                      <a:lnTo>
                        <a:pt x="400" y="1679"/>
                      </a:lnTo>
                      <a:lnTo>
                        <a:pt x="400" y="1677"/>
                      </a:lnTo>
                      <a:lnTo>
                        <a:pt x="399" y="1677"/>
                      </a:lnTo>
                      <a:lnTo>
                        <a:pt x="399" y="1677"/>
                      </a:lnTo>
                      <a:lnTo>
                        <a:pt x="400" y="1677"/>
                      </a:lnTo>
                      <a:lnTo>
                        <a:pt x="400" y="1678"/>
                      </a:lnTo>
                      <a:lnTo>
                        <a:pt x="399" y="1682"/>
                      </a:lnTo>
                      <a:lnTo>
                        <a:pt x="397" y="1682"/>
                      </a:lnTo>
                      <a:lnTo>
                        <a:pt x="397" y="1682"/>
                      </a:lnTo>
                      <a:lnTo>
                        <a:pt x="396" y="1683"/>
                      </a:lnTo>
                      <a:lnTo>
                        <a:pt x="395" y="1685"/>
                      </a:lnTo>
                      <a:lnTo>
                        <a:pt x="394" y="1686"/>
                      </a:lnTo>
                      <a:lnTo>
                        <a:pt x="394" y="1686"/>
                      </a:lnTo>
                      <a:lnTo>
                        <a:pt x="393" y="1686"/>
                      </a:lnTo>
                      <a:lnTo>
                        <a:pt x="392" y="1688"/>
                      </a:lnTo>
                      <a:lnTo>
                        <a:pt x="391" y="1689"/>
                      </a:lnTo>
                      <a:lnTo>
                        <a:pt x="391" y="1689"/>
                      </a:lnTo>
                      <a:lnTo>
                        <a:pt x="390" y="1689"/>
                      </a:lnTo>
                      <a:lnTo>
                        <a:pt x="390" y="1690"/>
                      </a:lnTo>
                      <a:lnTo>
                        <a:pt x="389" y="1690"/>
                      </a:lnTo>
                      <a:lnTo>
                        <a:pt x="387" y="1692"/>
                      </a:lnTo>
                      <a:lnTo>
                        <a:pt x="387" y="1693"/>
                      </a:lnTo>
                      <a:lnTo>
                        <a:pt x="386" y="1694"/>
                      </a:lnTo>
                      <a:lnTo>
                        <a:pt x="386" y="1694"/>
                      </a:lnTo>
                      <a:lnTo>
                        <a:pt x="385" y="1694"/>
                      </a:lnTo>
                      <a:lnTo>
                        <a:pt x="385" y="1694"/>
                      </a:lnTo>
                      <a:lnTo>
                        <a:pt x="385" y="1694"/>
                      </a:lnTo>
                      <a:lnTo>
                        <a:pt x="384" y="1694"/>
                      </a:lnTo>
                      <a:lnTo>
                        <a:pt x="384" y="1694"/>
                      </a:lnTo>
                      <a:lnTo>
                        <a:pt x="382" y="1692"/>
                      </a:lnTo>
                      <a:lnTo>
                        <a:pt x="382" y="1692"/>
                      </a:lnTo>
                      <a:lnTo>
                        <a:pt x="382" y="1691"/>
                      </a:lnTo>
                      <a:lnTo>
                        <a:pt x="381" y="1691"/>
                      </a:lnTo>
                      <a:lnTo>
                        <a:pt x="381" y="1691"/>
                      </a:lnTo>
                      <a:lnTo>
                        <a:pt x="380" y="1691"/>
                      </a:lnTo>
                      <a:lnTo>
                        <a:pt x="380" y="1691"/>
                      </a:lnTo>
                      <a:lnTo>
                        <a:pt x="379" y="1692"/>
                      </a:lnTo>
                      <a:lnTo>
                        <a:pt x="378" y="1692"/>
                      </a:lnTo>
                      <a:lnTo>
                        <a:pt x="376" y="1693"/>
                      </a:lnTo>
                      <a:lnTo>
                        <a:pt x="375" y="1693"/>
                      </a:lnTo>
                      <a:lnTo>
                        <a:pt x="375" y="1693"/>
                      </a:lnTo>
                      <a:lnTo>
                        <a:pt x="375" y="1693"/>
                      </a:lnTo>
                      <a:lnTo>
                        <a:pt x="375" y="1693"/>
                      </a:lnTo>
                      <a:lnTo>
                        <a:pt x="374" y="1694"/>
                      </a:lnTo>
                      <a:lnTo>
                        <a:pt x="374" y="1694"/>
                      </a:lnTo>
                      <a:lnTo>
                        <a:pt x="373" y="1693"/>
                      </a:lnTo>
                      <a:lnTo>
                        <a:pt x="373" y="1694"/>
                      </a:lnTo>
                      <a:lnTo>
                        <a:pt x="372" y="1693"/>
                      </a:lnTo>
                      <a:lnTo>
                        <a:pt x="372" y="1692"/>
                      </a:lnTo>
                      <a:lnTo>
                        <a:pt x="372" y="1692"/>
                      </a:lnTo>
                      <a:lnTo>
                        <a:pt x="372" y="1693"/>
                      </a:lnTo>
                      <a:lnTo>
                        <a:pt x="371" y="1693"/>
                      </a:lnTo>
                      <a:lnTo>
                        <a:pt x="371" y="1693"/>
                      </a:lnTo>
                      <a:lnTo>
                        <a:pt x="369" y="1692"/>
                      </a:lnTo>
                      <a:lnTo>
                        <a:pt x="369" y="1693"/>
                      </a:lnTo>
                      <a:lnTo>
                        <a:pt x="368" y="1693"/>
                      </a:lnTo>
                      <a:lnTo>
                        <a:pt x="367" y="1692"/>
                      </a:lnTo>
                      <a:lnTo>
                        <a:pt x="367" y="1690"/>
                      </a:lnTo>
                      <a:lnTo>
                        <a:pt x="367" y="1690"/>
                      </a:lnTo>
                      <a:lnTo>
                        <a:pt x="366" y="1689"/>
                      </a:lnTo>
                      <a:lnTo>
                        <a:pt x="366" y="1689"/>
                      </a:lnTo>
                      <a:lnTo>
                        <a:pt x="366" y="1689"/>
                      </a:lnTo>
                      <a:lnTo>
                        <a:pt x="365" y="1688"/>
                      </a:lnTo>
                      <a:lnTo>
                        <a:pt x="365" y="1690"/>
                      </a:lnTo>
                      <a:lnTo>
                        <a:pt x="365" y="1691"/>
                      </a:lnTo>
                      <a:lnTo>
                        <a:pt x="364" y="1692"/>
                      </a:lnTo>
                      <a:lnTo>
                        <a:pt x="363" y="1691"/>
                      </a:lnTo>
                      <a:lnTo>
                        <a:pt x="364" y="1690"/>
                      </a:lnTo>
                      <a:lnTo>
                        <a:pt x="364" y="1690"/>
                      </a:lnTo>
                      <a:lnTo>
                        <a:pt x="364" y="1689"/>
                      </a:lnTo>
                      <a:lnTo>
                        <a:pt x="363" y="1689"/>
                      </a:lnTo>
                      <a:lnTo>
                        <a:pt x="363" y="1689"/>
                      </a:lnTo>
                      <a:lnTo>
                        <a:pt x="363" y="1690"/>
                      </a:lnTo>
                      <a:lnTo>
                        <a:pt x="362" y="1690"/>
                      </a:lnTo>
                      <a:lnTo>
                        <a:pt x="361" y="1690"/>
                      </a:lnTo>
                      <a:lnTo>
                        <a:pt x="361" y="1689"/>
                      </a:lnTo>
                      <a:lnTo>
                        <a:pt x="361" y="1689"/>
                      </a:lnTo>
                      <a:lnTo>
                        <a:pt x="359" y="1691"/>
                      </a:lnTo>
                      <a:lnTo>
                        <a:pt x="359" y="1691"/>
                      </a:lnTo>
                      <a:lnTo>
                        <a:pt x="357" y="1691"/>
                      </a:lnTo>
                      <a:lnTo>
                        <a:pt x="358" y="1692"/>
                      </a:lnTo>
                      <a:lnTo>
                        <a:pt x="358" y="1694"/>
                      </a:lnTo>
                      <a:lnTo>
                        <a:pt x="357" y="1694"/>
                      </a:lnTo>
                      <a:lnTo>
                        <a:pt x="356" y="1694"/>
                      </a:lnTo>
                      <a:lnTo>
                        <a:pt x="354" y="1692"/>
                      </a:lnTo>
                      <a:lnTo>
                        <a:pt x="354" y="1691"/>
                      </a:lnTo>
                      <a:lnTo>
                        <a:pt x="355" y="1690"/>
                      </a:lnTo>
                      <a:lnTo>
                        <a:pt x="354" y="1690"/>
                      </a:lnTo>
                      <a:lnTo>
                        <a:pt x="354" y="1690"/>
                      </a:lnTo>
                      <a:lnTo>
                        <a:pt x="353" y="1691"/>
                      </a:lnTo>
                      <a:lnTo>
                        <a:pt x="352" y="1690"/>
                      </a:lnTo>
                      <a:lnTo>
                        <a:pt x="351" y="1690"/>
                      </a:lnTo>
                      <a:lnTo>
                        <a:pt x="349" y="1690"/>
                      </a:lnTo>
                      <a:lnTo>
                        <a:pt x="349" y="1690"/>
                      </a:lnTo>
                      <a:lnTo>
                        <a:pt x="345" y="1691"/>
                      </a:lnTo>
                      <a:lnTo>
                        <a:pt x="345" y="1691"/>
                      </a:lnTo>
                      <a:lnTo>
                        <a:pt x="343" y="1689"/>
                      </a:lnTo>
                      <a:lnTo>
                        <a:pt x="343" y="1688"/>
                      </a:lnTo>
                      <a:lnTo>
                        <a:pt x="343" y="1688"/>
                      </a:lnTo>
                      <a:lnTo>
                        <a:pt x="341" y="1687"/>
                      </a:lnTo>
                      <a:lnTo>
                        <a:pt x="341" y="1686"/>
                      </a:lnTo>
                      <a:lnTo>
                        <a:pt x="341" y="1686"/>
                      </a:lnTo>
                      <a:lnTo>
                        <a:pt x="338" y="1686"/>
                      </a:lnTo>
                      <a:lnTo>
                        <a:pt x="337" y="1686"/>
                      </a:lnTo>
                      <a:lnTo>
                        <a:pt x="337" y="1687"/>
                      </a:lnTo>
                      <a:lnTo>
                        <a:pt x="337" y="1687"/>
                      </a:lnTo>
                      <a:lnTo>
                        <a:pt x="336" y="1687"/>
                      </a:lnTo>
                      <a:lnTo>
                        <a:pt x="336" y="1687"/>
                      </a:lnTo>
                      <a:lnTo>
                        <a:pt x="336" y="1687"/>
                      </a:lnTo>
                      <a:lnTo>
                        <a:pt x="335" y="1687"/>
                      </a:lnTo>
                      <a:lnTo>
                        <a:pt x="334" y="1686"/>
                      </a:lnTo>
                      <a:lnTo>
                        <a:pt x="334" y="1687"/>
                      </a:lnTo>
                      <a:lnTo>
                        <a:pt x="332" y="1687"/>
                      </a:lnTo>
                      <a:lnTo>
                        <a:pt x="332" y="1688"/>
                      </a:lnTo>
                      <a:lnTo>
                        <a:pt x="332" y="1688"/>
                      </a:lnTo>
                      <a:lnTo>
                        <a:pt x="332" y="1688"/>
                      </a:lnTo>
                      <a:lnTo>
                        <a:pt x="332" y="1689"/>
                      </a:lnTo>
                      <a:lnTo>
                        <a:pt x="331" y="1688"/>
                      </a:lnTo>
                      <a:lnTo>
                        <a:pt x="331" y="1688"/>
                      </a:lnTo>
                      <a:lnTo>
                        <a:pt x="331" y="1687"/>
                      </a:lnTo>
                      <a:lnTo>
                        <a:pt x="329" y="1687"/>
                      </a:lnTo>
                      <a:lnTo>
                        <a:pt x="329" y="1688"/>
                      </a:lnTo>
                      <a:lnTo>
                        <a:pt x="328" y="1688"/>
                      </a:lnTo>
                      <a:lnTo>
                        <a:pt x="328" y="1687"/>
                      </a:lnTo>
                      <a:lnTo>
                        <a:pt x="328" y="1687"/>
                      </a:lnTo>
                      <a:lnTo>
                        <a:pt x="328" y="1687"/>
                      </a:lnTo>
                      <a:lnTo>
                        <a:pt x="328" y="1687"/>
                      </a:lnTo>
                      <a:lnTo>
                        <a:pt x="329" y="1686"/>
                      </a:lnTo>
                      <a:lnTo>
                        <a:pt x="329" y="1686"/>
                      </a:lnTo>
                      <a:lnTo>
                        <a:pt x="329" y="1686"/>
                      </a:lnTo>
                      <a:lnTo>
                        <a:pt x="328" y="1686"/>
                      </a:lnTo>
                      <a:lnTo>
                        <a:pt x="328" y="1686"/>
                      </a:lnTo>
                      <a:lnTo>
                        <a:pt x="328" y="1685"/>
                      </a:lnTo>
                      <a:lnTo>
                        <a:pt x="328" y="1685"/>
                      </a:lnTo>
                      <a:lnTo>
                        <a:pt x="326" y="1686"/>
                      </a:lnTo>
                      <a:lnTo>
                        <a:pt x="325" y="1687"/>
                      </a:lnTo>
                      <a:lnTo>
                        <a:pt x="325" y="1688"/>
                      </a:lnTo>
                      <a:lnTo>
                        <a:pt x="324" y="1689"/>
                      </a:lnTo>
                      <a:lnTo>
                        <a:pt x="321" y="1690"/>
                      </a:lnTo>
                      <a:lnTo>
                        <a:pt x="320" y="1690"/>
                      </a:lnTo>
                      <a:lnTo>
                        <a:pt x="317" y="1689"/>
                      </a:lnTo>
                      <a:lnTo>
                        <a:pt x="317" y="1689"/>
                      </a:lnTo>
                      <a:lnTo>
                        <a:pt x="317" y="1689"/>
                      </a:lnTo>
                      <a:lnTo>
                        <a:pt x="312" y="1689"/>
                      </a:lnTo>
                      <a:lnTo>
                        <a:pt x="312" y="1688"/>
                      </a:lnTo>
                      <a:lnTo>
                        <a:pt x="312" y="1687"/>
                      </a:lnTo>
                      <a:lnTo>
                        <a:pt x="311" y="1687"/>
                      </a:lnTo>
                      <a:lnTo>
                        <a:pt x="311" y="1687"/>
                      </a:lnTo>
                      <a:lnTo>
                        <a:pt x="309" y="1686"/>
                      </a:lnTo>
                      <a:lnTo>
                        <a:pt x="308" y="1685"/>
                      </a:lnTo>
                      <a:lnTo>
                        <a:pt x="308" y="1685"/>
                      </a:lnTo>
                      <a:lnTo>
                        <a:pt x="307" y="1684"/>
                      </a:lnTo>
                      <a:lnTo>
                        <a:pt x="307" y="1683"/>
                      </a:lnTo>
                      <a:lnTo>
                        <a:pt x="306" y="1683"/>
                      </a:lnTo>
                      <a:lnTo>
                        <a:pt x="306" y="1683"/>
                      </a:lnTo>
                      <a:lnTo>
                        <a:pt x="306" y="1683"/>
                      </a:lnTo>
                      <a:lnTo>
                        <a:pt x="305" y="1680"/>
                      </a:lnTo>
                      <a:lnTo>
                        <a:pt x="305" y="1679"/>
                      </a:lnTo>
                      <a:lnTo>
                        <a:pt x="304" y="1679"/>
                      </a:lnTo>
                      <a:lnTo>
                        <a:pt x="304" y="1677"/>
                      </a:lnTo>
                      <a:lnTo>
                        <a:pt x="304" y="1677"/>
                      </a:lnTo>
                      <a:lnTo>
                        <a:pt x="305" y="1676"/>
                      </a:lnTo>
                      <a:lnTo>
                        <a:pt x="304" y="1675"/>
                      </a:lnTo>
                      <a:lnTo>
                        <a:pt x="305" y="1675"/>
                      </a:lnTo>
                      <a:lnTo>
                        <a:pt x="305" y="1674"/>
                      </a:lnTo>
                      <a:lnTo>
                        <a:pt x="304" y="1673"/>
                      </a:lnTo>
                      <a:lnTo>
                        <a:pt x="304" y="1672"/>
                      </a:lnTo>
                      <a:lnTo>
                        <a:pt x="307" y="1672"/>
                      </a:lnTo>
                      <a:lnTo>
                        <a:pt x="308" y="1671"/>
                      </a:lnTo>
                      <a:lnTo>
                        <a:pt x="307" y="1671"/>
                      </a:lnTo>
                      <a:lnTo>
                        <a:pt x="307" y="1671"/>
                      </a:lnTo>
                      <a:lnTo>
                        <a:pt x="307" y="1670"/>
                      </a:lnTo>
                      <a:lnTo>
                        <a:pt x="308" y="1669"/>
                      </a:lnTo>
                      <a:lnTo>
                        <a:pt x="309" y="1669"/>
                      </a:lnTo>
                      <a:lnTo>
                        <a:pt x="310" y="1668"/>
                      </a:lnTo>
                      <a:lnTo>
                        <a:pt x="310" y="1668"/>
                      </a:lnTo>
                      <a:lnTo>
                        <a:pt x="312" y="1669"/>
                      </a:lnTo>
                      <a:lnTo>
                        <a:pt x="313" y="1668"/>
                      </a:lnTo>
                      <a:lnTo>
                        <a:pt x="313" y="1668"/>
                      </a:lnTo>
                      <a:lnTo>
                        <a:pt x="312" y="1667"/>
                      </a:lnTo>
                      <a:lnTo>
                        <a:pt x="312" y="1667"/>
                      </a:lnTo>
                      <a:lnTo>
                        <a:pt x="313" y="1667"/>
                      </a:lnTo>
                      <a:lnTo>
                        <a:pt x="313" y="1666"/>
                      </a:lnTo>
                      <a:lnTo>
                        <a:pt x="312" y="1666"/>
                      </a:lnTo>
                      <a:lnTo>
                        <a:pt x="312" y="1666"/>
                      </a:lnTo>
                      <a:lnTo>
                        <a:pt x="312" y="1665"/>
                      </a:lnTo>
                      <a:lnTo>
                        <a:pt x="313" y="1665"/>
                      </a:lnTo>
                      <a:lnTo>
                        <a:pt x="313" y="1665"/>
                      </a:lnTo>
                      <a:lnTo>
                        <a:pt x="312" y="1664"/>
                      </a:lnTo>
                      <a:lnTo>
                        <a:pt x="311" y="1663"/>
                      </a:lnTo>
                      <a:lnTo>
                        <a:pt x="312" y="1662"/>
                      </a:lnTo>
                      <a:lnTo>
                        <a:pt x="314" y="1662"/>
                      </a:lnTo>
                      <a:lnTo>
                        <a:pt x="315" y="1662"/>
                      </a:lnTo>
                      <a:lnTo>
                        <a:pt x="315" y="1662"/>
                      </a:lnTo>
                      <a:lnTo>
                        <a:pt x="315" y="1663"/>
                      </a:lnTo>
                      <a:lnTo>
                        <a:pt x="316" y="1663"/>
                      </a:lnTo>
                      <a:lnTo>
                        <a:pt x="317" y="1663"/>
                      </a:lnTo>
                      <a:lnTo>
                        <a:pt x="318" y="1662"/>
                      </a:lnTo>
                      <a:lnTo>
                        <a:pt x="318" y="1662"/>
                      </a:lnTo>
                      <a:lnTo>
                        <a:pt x="319" y="1661"/>
                      </a:lnTo>
                      <a:lnTo>
                        <a:pt x="318" y="1661"/>
                      </a:lnTo>
                      <a:lnTo>
                        <a:pt x="319" y="1661"/>
                      </a:lnTo>
                      <a:lnTo>
                        <a:pt x="320" y="1660"/>
                      </a:lnTo>
                      <a:lnTo>
                        <a:pt x="321" y="1660"/>
                      </a:lnTo>
                      <a:lnTo>
                        <a:pt x="321" y="1660"/>
                      </a:lnTo>
                      <a:lnTo>
                        <a:pt x="324" y="1660"/>
                      </a:lnTo>
                      <a:lnTo>
                        <a:pt x="324" y="1659"/>
                      </a:lnTo>
                      <a:lnTo>
                        <a:pt x="325" y="1659"/>
                      </a:lnTo>
                      <a:lnTo>
                        <a:pt x="325" y="1659"/>
                      </a:lnTo>
                      <a:lnTo>
                        <a:pt x="326" y="1659"/>
                      </a:lnTo>
                      <a:lnTo>
                        <a:pt x="328" y="1658"/>
                      </a:lnTo>
                      <a:lnTo>
                        <a:pt x="328" y="1658"/>
                      </a:lnTo>
                      <a:lnTo>
                        <a:pt x="331" y="1658"/>
                      </a:lnTo>
                      <a:lnTo>
                        <a:pt x="332" y="1659"/>
                      </a:lnTo>
                      <a:lnTo>
                        <a:pt x="332" y="1660"/>
                      </a:lnTo>
                      <a:lnTo>
                        <a:pt x="332" y="1659"/>
                      </a:lnTo>
                      <a:lnTo>
                        <a:pt x="333" y="1659"/>
                      </a:lnTo>
                      <a:lnTo>
                        <a:pt x="335" y="1659"/>
                      </a:lnTo>
                      <a:lnTo>
                        <a:pt x="336" y="1659"/>
                      </a:lnTo>
                      <a:lnTo>
                        <a:pt x="337" y="1659"/>
                      </a:lnTo>
                      <a:lnTo>
                        <a:pt x="337" y="1660"/>
                      </a:lnTo>
                      <a:lnTo>
                        <a:pt x="337" y="1660"/>
                      </a:lnTo>
                      <a:lnTo>
                        <a:pt x="337" y="1660"/>
                      </a:lnTo>
                      <a:lnTo>
                        <a:pt x="337" y="1660"/>
                      </a:lnTo>
                      <a:lnTo>
                        <a:pt x="340" y="1660"/>
                      </a:lnTo>
                      <a:lnTo>
                        <a:pt x="340" y="1660"/>
                      </a:lnTo>
                      <a:lnTo>
                        <a:pt x="339" y="1659"/>
                      </a:lnTo>
                      <a:lnTo>
                        <a:pt x="339" y="1658"/>
                      </a:lnTo>
                      <a:lnTo>
                        <a:pt x="340" y="1659"/>
                      </a:lnTo>
                      <a:lnTo>
                        <a:pt x="340" y="1659"/>
                      </a:lnTo>
                      <a:lnTo>
                        <a:pt x="340" y="1659"/>
                      </a:lnTo>
                      <a:lnTo>
                        <a:pt x="341" y="1660"/>
                      </a:lnTo>
                      <a:lnTo>
                        <a:pt x="341" y="1659"/>
                      </a:lnTo>
                      <a:lnTo>
                        <a:pt x="340" y="1658"/>
                      </a:lnTo>
                      <a:lnTo>
                        <a:pt x="341" y="1658"/>
                      </a:lnTo>
                      <a:lnTo>
                        <a:pt x="341" y="1658"/>
                      </a:lnTo>
                      <a:lnTo>
                        <a:pt x="342" y="1658"/>
                      </a:lnTo>
                      <a:lnTo>
                        <a:pt x="342" y="1658"/>
                      </a:lnTo>
                      <a:lnTo>
                        <a:pt x="345" y="1659"/>
                      </a:lnTo>
                      <a:lnTo>
                        <a:pt x="345" y="1658"/>
                      </a:lnTo>
                      <a:lnTo>
                        <a:pt x="346" y="1658"/>
                      </a:lnTo>
                      <a:lnTo>
                        <a:pt x="347" y="1659"/>
                      </a:lnTo>
                      <a:lnTo>
                        <a:pt x="348" y="1658"/>
                      </a:lnTo>
                      <a:lnTo>
                        <a:pt x="348" y="1658"/>
                      </a:lnTo>
                      <a:lnTo>
                        <a:pt x="348" y="1657"/>
                      </a:lnTo>
                      <a:lnTo>
                        <a:pt x="348" y="1657"/>
                      </a:lnTo>
                      <a:lnTo>
                        <a:pt x="349" y="1656"/>
                      </a:lnTo>
                      <a:lnTo>
                        <a:pt x="349" y="1656"/>
                      </a:lnTo>
                      <a:lnTo>
                        <a:pt x="349" y="1656"/>
                      </a:lnTo>
                      <a:lnTo>
                        <a:pt x="350" y="1656"/>
                      </a:lnTo>
                      <a:lnTo>
                        <a:pt x="351" y="1657"/>
                      </a:lnTo>
                      <a:lnTo>
                        <a:pt x="351" y="1656"/>
                      </a:lnTo>
                      <a:lnTo>
                        <a:pt x="352" y="1656"/>
                      </a:lnTo>
                      <a:lnTo>
                        <a:pt x="354" y="1657"/>
                      </a:lnTo>
                      <a:lnTo>
                        <a:pt x="355" y="1657"/>
                      </a:lnTo>
                      <a:lnTo>
                        <a:pt x="356" y="1656"/>
                      </a:lnTo>
                      <a:lnTo>
                        <a:pt x="356" y="1656"/>
                      </a:lnTo>
                      <a:lnTo>
                        <a:pt x="356" y="1655"/>
                      </a:lnTo>
                      <a:lnTo>
                        <a:pt x="357" y="1655"/>
                      </a:lnTo>
                      <a:lnTo>
                        <a:pt x="357" y="1656"/>
                      </a:lnTo>
                      <a:lnTo>
                        <a:pt x="358" y="1655"/>
                      </a:lnTo>
                      <a:lnTo>
                        <a:pt x="358" y="1653"/>
                      </a:lnTo>
                      <a:lnTo>
                        <a:pt x="358" y="1652"/>
                      </a:lnTo>
                      <a:lnTo>
                        <a:pt x="358" y="1652"/>
                      </a:lnTo>
                      <a:lnTo>
                        <a:pt x="358" y="1651"/>
                      </a:lnTo>
                      <a:lnTo>
                        <a:pt x="359" y="1651"/>
                      </a:lnTo>
                      <a:lnTo>
                        <a:pt x="361" y="1651"/>
                      </a:lnTo>
                      <a:lnTo>
                        <a:pt x="361" y="1652"/>
                      </a:lnTo>
                      <a:lnTo>
                        <a:pt x="362" y="1652"/>
                      </a:lnTo>
                      <a:lnTo>
                        <a:pt x="362" y="1653"/>
                      </a:lnTo>
                      <a:lnTo>
                        <a:pt x="364" y="1653"/>
                      </a:lnTo>
                      <a:lnTo>
                        <a:pt x="364" y="1654"/>
                      </a:lnTo>
                      <a:lnTo>
                        <a:pt x="364" y="1655"/>
                      </a:lnTo>
                      <a:lnTo>
                        <a:pt x="365" y="1656"/>
                      </a:lnTo>
                      <a:lnTo>
                        <a:pt x="365" y="1656"/>
                      </a:lnTo>
                      <a:lnTo>
                        <a:pt x="366" y="1656"/>
                      </a:lnTo>
                      <a:lnTo>
                        <a:pt x="366" y="1658"/>
                      </a:lnTo>
                      <a:lnTo>
                        <a:pt x="367" y="1658"/>
                      </a:lnTo>
                      <a:lnTo>
                        <a:pt x="367" y="1659"/>
                      </a:lnTo>
                      <a:lnTo>
                        <a:pt x="368" y="1659"/>
                      </a:lnTo>
                      <a:lnTo>
                        <a:pt x="369" y="1660"/>
                      </a:lnTo>
                      <a:lnTo>
                        <a:pt x="370" y="1663"/>
                      </a:lnTo>
                      <a:lnTo>
                        <a:pt x="371" y="1663"/>
                      </a:lnTo>
                      <a:lnTo>
                        <a:pt x="371" y="1663"/>
                      </a:lnTo>
                      <a:lnTo>
                        <a:pt x="371" y="1664"/>
                      </a:lnTo>
                      <a:lnTo>
                        <a:pt x="372" y="1664"/>
                      </a:lnTo>
                      <a:lnTo>
                        <a:pt x="372" y="1664"/>
                      </a:lnTo>
                      <a:lnTo>
                        <a:pt x="372" y="1663"/>
                      </a:lnTo>
                      <a:lnTo>
                        <a:pt x="373" y="1662"/>
                      </a:lnTo>
                      <a:lnTo>
                        <a:pt x="374" y="1662"/>
                      </a:lnTo>
                      <a:lnTo>
                        <a:pt x="374" y="1661"/>
                      </a:lnTo>
                      <a:lnTo>
                        <a:pt x="375" y="1661"/>
                      </a:lnTo>
                      <a:lnTo>
                        <a:pt x="375" y="1659"/>
                      </a:lnTo>
                      <a:lnTo>
                        <a:pt x="376" y="1659"/>
                      </a:lnTo>
                      <a:lnTo>
                        <a:pt x="377" y="1660"/>
                      </a:lnTo>
                      <a:lnTo>
                        <a:pt x="379" y="1662"/>
                      </a:lnTo>
                      <a:lnTo>
                        <a:pt x="379" y="1662"/>
                      </a:lnTo>
                      <a:lnTo>
                        <a:pt x="379" y="1663"/>
                      </a:lnTo>
                      <a:lnTo>
                        <a:pt x="379" y="1664"/>
                      </a:lnTo>
                      <a:lnTo>
                        <a:pt x="379" y="1664"/>
                      </a:lnTo>
                      <a:lnTo>
                        <a:pt x="379" y="1665"/>
                      </a:lnTo>
                      <a:lnTo>
                        <a:pt x="378" y="1666"/>
                      </a:lnTo>
                      <a:lnTo>
                        <a:pt x="378" y="1666"/>
                      </a:lnTo>
                      <a:lnTo>
                        <a:pt x="378" y="1667"/>
                      </a:lnTo>
                      <a:lnTo>
                        <a:pt x="379" y="1667"/>
                      </a:lnTo>
                      <a:lnTo>
                        <a:pt x="379" y="1667"/>
                      </a:lnTo>
                      <a:lnTo>
                        <a:pt x="380" y="1667"/>
                      </a:lnTo>
                      <a:lnTo>
                        <a:pt x="380" y="1666"/>
                      </a:lnTo>
                      <a:lnTo>
                        <a:pt x="381" y="1666"/>
                      </a:lnTo>
                      <a:lnTo>
                        <a:pt x="381" y="1667"/>
                      </a:lnTo>
                      <a:lnTo>
                        <a:pt x="382" y="1667"/>
                      </a:lnTo>
                      <a:lnTo>
                        <a:pt x="382" y="1666"/>
                      </a:lnTo>
                      <a:lnTo>
                        <a:pt x="381" y="1666"/>
                      </a:lnTo>
                      <a:lnTo>
                        <a:pt x="381" y="1666"/>
                      </a:lnTo>
                      <a:lnTo>
                        <a:pt x="382" y="1665"/>
                      </a:lnTo>
                      <a:lnTo>
                        <a:pt x="382" y="1666"/>
                      </a:lnTo>
                      <a:lnTo>
                        <a:pt x="383" y="1667"/>
                      </a:lnTo>
                      <a:lnTo>
                        <a:pt x="384" y="1667"/>
                      </a:lnTo>
                      <a:lnTo>
                        <a:pt x="384" y="1667"/>
                      </a:lnTo>
                      <a:lnTo>
                        <a:pt x="384" y="1666"/>
                      </a:lnTo>
                      <a:lnTo>
                        <a:pt x="383" y="1666"/>
                      </a:lnTo>
                      <a:lnTo>
                        <a:pt x="383" y="1665"/>
                      </a:lnTo>
                      <a:lnTo>
                        <a:pt x="384" y="1665"/>
                      </a:lnTo>
                      <a:lnTo>
                        <a:pt x="384" y="1664"/>
                      </a:lnTo>
                      <a:lnTo>
                        <a:pt x="384" y="1664"/>
                      </a:lnTo>
                      <a:lnTo>
                        <a:pt x="384" y="1663"/>
                      </a:lnTo>
                      <a:lnTo>
                        <a:pt x="384" y="1663"/>
                      </a:lnTo>
                      <a:lnTo>
                        <a:pt x="384" y="1664"/>
                      </a:lnTo>
                      <a:lnTo>
                        <a:pt x="383" y="1663"/>
                      </a:lnTo>
                      <a:lnTo>
                        <a:pt x="382" y="1663"/>
                      </a:lnTo>
                      <a:lnTo>
                        <a:pt x="382" y="1662"/>
                      </a:lnTo>
                      <a:lnTo>
                        <a:pt x="383" y="1662"/>
                      </a:lnTo>
                      <a:lnTo>
                        <a:pt x="383" y="1661"/>
                      </a:lnTo>
                      <a:lnTo>
                        <a:pt x="383" y="1661"/>
                      </a:lnTo>
                      <a:lnTo>
                        <a:pt x="383" y="1660"/>
                      </a:lnTo>
                      <a:lnTo>
                        <a:pt x="382" y="1660"/>
                      </a:lnTo>
                      <a:lnTo>
                        <a:pt x="382" y="1660"/>
                      </a:lnTo>
                      <a:lnTo>
                        <a:pt x="382" y="1661"/>
                      </a:lnTo>
                      <a:lnTo>
                        <a:pt x="381" y="1661"/>
                      </a:lnTo>
                      <a:lnTo>
                        <a:pt x="380" y="1660"/>
                      </a:lnTo>
                      <a:lnTo>
                        <a:pt x="379" y="1660"/>
                      </a:lnTo>
                      <a:lnTo>
                        <a:pt x="379" y="1660"/>
                      </a:lnTo>
                      <a:lnTo>
                        <a:pt x="378" y="1660"/>
                      </a:lnTo>
                      <a:lnTo>
                        <a:pt x="378" y="1659"/>
                      </a:lnTo>
                      <a:lnTo>
                        <a:pt x="377" y="1659"/>
                      </a:lnTo>
                      <a:lnTo>
                        <a:pt x="377" y="1659"/>
                      </a:lnTo>
                      <a:lnTo>
                        <a:pt x="375" y="1658"/>
                      </a:lnTo>
                      <a:lnTo>
                        <a:pt x="375" y="1658"/>
                      </a:lnTo>
                      <a:lnTo>
                        <a:pt x="376" y="1658"/>
                      </a:lnTo>
                      <a:lnTo>
                        <a:pt x="376" y="1657"/>
                      </a:lnTo>
                      <a:lnTo>
                        <a:pt x="375" y="1657"/>
                      </a:lnTo>
                      <a:lnTo>
                        <a:pt x="376" y="1657"/>
                      </a:lnTo>
                      <a:lnTo>
                        <a:pt x="375" y="1656"/>
                      </a:lnTo>
                      <a:lnTo>
                        <a:pt x="374" y="1656"/>
                      </a:lnTo>
                      <a:lnTo>
                        <a:pt x="374" y="1655"/>
                      </a:lnTo>
                      <a:lnTo>
                        <a:pt x="374" y="1655"/>
                      </a:lnTo>
                      <a:lnTo>
                        <a:pt x="374" y="1654"/>
                      </a:lnTo>
                      <a:lnTo>
                        <a:pt x="374" y="1653"/>
                      </a:lnTo>
                      <a:lnTo>
                        <a:pt x="375" y="1653"/>
                      </a:lnTo>
                      <a:lnTo>
                        <a:pt x="375" y="1651"/>
                      </a:lnTo>
                      <a:lnTo>
                        <a:pt x="376" y="1651"/>
                      </a:lnTo>
                      <a:lnTo>
                        <a:pt x="377" y="1651"/>
                      </a:lnTo>
                      <a:lnTo>
                        <a:pt x="377" y="1651"/>
                      </a:lnTo>
                      <a:lnTo>
                        <a:pt x="378" y="1651"/>
                      </a:lnTo>
                      <a:lnTo>
                        <a:pt x="378" y="1651"/>
                      </a:lnTo>
                      <a:lnTo>
                        <a:pt x="379" y="1652"/>
                      </a:lnTo>
                      <a:lnTo>
                        <a:pt x="380" y="1652"/>
                      </a:lnTo>
                      <a:lnTo>
                        <a:pt x="380" y="1653"/>
                      </a:lnTo>
                      <a:lnTo>
                        <a:pt x="381" y="1654"/>
                      </a:lnTo>
                      <a:lnTo>
                        <a:pt x="382" y="1654"/>
                      </a:lnTo>
                      <a:lnTo>
                        <a:pt x="382" y="1655"/>
                      </a:lnTo>
                      <a:lnTo>
                        <a:pt x="382" y="1655"/>
                      </a:lnTo>
                      <a:lnTo>
                        <a:pt x="382" y="1654"/>
                      </a:lnTo>
                      <a:lnTo>
                        <a:pt x="382" y="1653"/>
                      </a:lnTo>
                      <a:lnTo>
                        <a:pt x="383" y="1653"/>
                      </a:lnTo>
                      <a:lnTo>
                        <a:pt x="384" y="1653"/>
                      </a:lnTo>
                      <a:lnTo>
                        <a:pt x="386" y="1653"/>
                      </a:lnTo>
                      <a:lnTo>
                        <a:pt x="387" y="1656"/>
                      </a:lnTo>
                      <a:lnTo>
                        <a:pt x="387" y="1656"/>
                      </a:lnTo>
                      <a:lnTo>
                        <a:pt x="387" y="1655"/>
                      </a:lnTo>
                      <a:lnTo>
                        <a:pt x="388" y="1654"/>
                      </a:lnTo>
                      <a:lnTo>
                        <a:pt x="387" y="1653"/>
                      </a:lnTo>
                      <a:lnTo>
                        <a:pt x="388" y="1652"/>
                      </a:lnTo>
                      <a:lnTo>
                        <a:pt x="388" y="1651"/>
                      </a:lnTo>
                      <a:lnTo>
                        <a:pt x="387" y="1651"/>
                      </a:lnTo>
                      <a:lnTo>
                        <a:pt x="387" y="1651"/>
                      </a:lnTo>
                      <a:lnTo>
                        <a:pt x="387" y="1651"/>
                      </a:lnTo>
                      <a:lnTo>
                        <a:pt x="388" y="1651"/>
                      </a:lnTo>
                      <a:lnTo>
                        <a:pt x="388" y="1651"/>
                      </a:lnTo>
                      <a:lnTo>
                        <a:pt x="389" y="1651"/>
                      </a:lnTo>
                      <a:lnTo>
                        <a:pt x="390" y="1650"/>
                      </a:lnTo>
                      <a:lnTo>
                        <a:pt x="392" y="1651"/>
                      </a:lnTo>
                      <a:lnTo>
                        <a:pt x="393" y="1651"/>
                      </a:lnTo>
                      <a:lnTo>
                        <a:pt x="393" y="1650"/>
                      </a:lnTo>
                      <a:lnTo>
                        <a:pt x="393" y="1650"/>
                      </a:lnTo>
                      <a:lnTo>
                        <a:pt x="393" y="1649"/>
                      </a:lnTo>
                      <a:lnTo>
                        <a:pt x="394" y="1649"/>
                      </a:lnTo>
                      <a:lnTo>
                        <a:pt x="394" y="1648"/>
                      </a:lnTo>
                      <a:lnTo>
                        <a:pt x="395" y="1648"/>
                      </a:lnTo>
                      <a:lnTo>
                        <a:pt x="396" y="1649"/>
                      </a:lnTo>
                      <a:lnTo>
                        <a:pt x="396" y="1650"/>
                      </a:lnTo>
                      <a:lnTo>
                        <a:pt x="397" y="1650"/>
                      </a:lnTo>
                      <a:lnTo>
                        <a:pt x="397" y="1651"/>
                      </a:lnTo>
                      <a:lnTo>
                        <a:pt x="397" y="1651"/>
                      </a:lnTo>
                      <a:lnTo>
                        <a:pt x="397" y="1651"/>
                      </a:lnTo>
                      <a:lnTo>
                        <a:pt x="397" y="1651"/>
                      </a:lnTo>
                      <a:lnTo>
                        <a:pt x="399" y="1650"/>
                      </a:lnTo>
                      <a:lnTo>
                        <a:pt x="399" y="1651"/>
                      </a:lnTo>
                      <a:lnTo>
                        <a:pt x="400" y="1651"/>
                      </a:lnTo>
                      <a:lnTo>
                        <a:pt x="400" y="1651"/>
                      </a:lnTo>
                      <a:lnTo>
                        <a:pt x="401" y="1651"/>
                      </a:lnTo>
                      <a:lnTo>
                        <a:pt x="402" y="1651"/>
                      </a:lnTo>
                      <a:lnTo>
                        <a:pt x="402" y="1651"/>
                      </a:lnTo>
                      <a:lnTo>
                        <a:pt x="402" y="1652"/>
                      </a:lnTo>
                      <a:lnTo>
                        <a:pt x="403" y="1652"/>
                      </a:lnTo>
                      <a:lnTo>
                        <a:pt x="404" y="1652"/>
                      </a:lnTo>
                      <a:lnTo>
                        <a:pt x="404" y="1651"/>
                      </a:lnTo>
                      <a:lnTo>
                        <a:pt x="401" y="1650"/>
                      </a:lnTo>
                      <a:lnTo>
                        <a:pt x="401" y="1650"/>
                      </a:lnTo>
                      <a:lnTo>
                        <a:pt x="401" y="1649"/>
                      </a:lnTo>
                      <a:lnTo>
                        <a:pt x="399" y="1649"/>
                      </a:lnTo>
                      <a:lnTo>
                        <a:pt x="395" y="1647"/>
                      </a:lnTo>
                      <a:lnTo>
                        <a:pt x="393" y="1647"/>
                      </a:lnTo>
                      <a:lnTo>
                        <a:pt x="392" y="1647"/>
                      </a:lnTo>
                      <a:lnTo>
                        <a:pt x="391" y="1646"/>
                      </a:lnTo>
                      <a:lnTo>
                        <a:pt x="389" y="1645"/>
                      </a:lnTo>
                      <a:lnTo>
                        <a:pt x="389" y="1645"/>
                      </a:lnTo>
                      <a:lnTo>
                        <a:pt x="388" y="1645"/>
                      </a:lnTo>
                      <a:lnTo>
                        <a:pt x="387" y="1644"/>
                      </a:lnTo>
                      <a:lnTo>
                        <a:pt x="387" y="1644"/>
                      </a:lnTo>
                      <a:lnTo>
                        <a:pt x="386" y="1644"/>
                      </a:lnTo>
                      <a:lnTo>
                        <a:pt x="385" y="1644"/>
                      </a:lnTo>
                      <a:lnTo>
                        <a:pt x="384" y="1642"/>
                      </a:lnTo>
                      <a:lnTo>
                        <a:pt x="381" y="1641"/>
                      </a:lnTo>
                      <a:lnTo>
                        <a:pt x="380" y="1641"/>
                      </a:lnTo>
                      <a:lnTo>
                        <a:pt x="380" y="1641"/>
                      </a:lnTo>
                      <a:lnTo>
                        <a:pt x="380" y="1640"/>
                      </a:lnTo>
                      <a:lnTo>
                        <a:pt x="380" y="1639"/>
                      </a:lnTo>
                      <a:lnTo>
                        <a:pt x="380" y="1639"/>
                      </a:lnTo>
                      <a:lnTo>
                        <a:pt x="380" y="1637"/>
                      </a:lnTo>
                      <a:lnTo>
                        <a:pt x="380" y="1636"/>
                      </a:lnTo>
                      <a:lnTo>
                        <a:pt x="380" y="1636"/>
                      </a:lnTo>
                      <a:lnTo>
                        <a:pt x="380" y="1635"/>
                      </a:lnTo>
                      <a:lnTo>
                        <a:pt x="381" y="1635"/>
                      </a:lnTo>
                      <a:lnTo>
                        <a:pt x="381" y="1634"/>
                      </a:lnTo>
                      <a:lnTo>
                        <a:pt x="381" y="1634"/>
                      </a:lnTo>
                      <a:lnTo>
                        <a:pt x="381" y="1633"/>
                      </a:lnTo>
                      <a:lnTo>
                        <a:pt x="381" y="1633"/>
                      </a:lnTo>
                      <a:lnTo>
                        <a:pt x="381" y="1632"/>
                      </a:lnTo>
                      <a:lnTo>
                        <a:pt x="382" y="1631"/>
                      </a:lnTo>
                      <a:lnTo>
                        <a:pt x="383" y="1632"/>
                      </a:lnTo>
                      <a:lnTo>
                        <a:pt x="383" y="1631"/>
                      </a:lnTo>
                      <a:lnTo>
                        <a:pt x="384" y="1631"/>
                      </a:lnTo>
                      <a:lnTo>
                        <a:pt x="384" y="1631"/>
                      </a:lnTo>
                      <a:lnTo>
                        <a:pt x="385" y="1631"/>
                      </a:lnTo>
                      <a:lnTo>
                        <a:pt x="387" y="1632"/>
                      </a:lnTo>
                      <a:lnTo>
                        <a:pt x="387" y="1631"/>
                      </a:lnTo>
                      <a:lnTo>
                        <a:pt x="388" y="1631"/>
                      </a:lnTo>
                      <a:lnTo>
                        <a:pt x="388" y="1631"/>
                      </a:lnTo>
                      <a:lnTo>
                        <a:pt x="388" y="1631"/>
                      </a:lnTo>
                      <a:lnTo>
                        <a:pt x="389" y="1631"/>
                      </a:lnTo>
                      <a:lnTo>
                        <a:pt x="389" y="1632"/>
                      </a:lnTo>
                      <a:lnTo>
                        <a:pt x="389" y="1632"/>
                      </a:lnTo>
                      <a:lnTo>
                        <a:pt x="390" y="1633"/>
                      </a:lnTo>
                      <a:lnTo>
                        <a:pt x="390" y="1631"/>
                      </a:lnTo>
                      <a:lnTo>
                        <a:pt x="392" y="1630"/>
                      </a:lnTo>
                      <a:lnTo>
                        <a:pt x="392" y="1630"/>
                      </a:lnTo>
                      <a:lnTo>
                        <a:pt x="393" y="1630"/>
                      </a:lnTo>
                      <a:lnTo>
                        <a:pt x="394" y="1630"/>
                      </a:lnTo>
                      <a:lnTo>
                        <a:pt x="394" y="1630"/>
                      </a:lnTo>
                      <a:lnTo>
                        <a:pt x="396" y="1630"/>
                      </a:lnTo>
                      <a:lnTo>
                        <a:pt x="396" y="1630"/>
                      </a:lnTo>
                      <a:lnTo>
                        <a:pt x="397" y="1629"/>
                      </a:lnTo>
                      <a:lnTo>
                        <a:pt x="400" y="1629"/>
                      </a:lnTo>
                      <a:lnTo>
                        <a:pt x="399" y="1628"/>
                      </a:lnTo>
                      <a:lnTo>
                        <a:pt x="402" y="1627"/>
                      </a:lnTo>
                      <a:lnTo>
                        <a:pt x="402" y="1626"/>
                      </a:lnTo>
                      <a:lnTo>
                        <a:pt x="402" y="1626"/>
                      </a:lnTo>
                      <a:lnTo>
                        <a:pt x="403" y="1626"/>
                      </a:lnTo>
                      <a:lnTo>
                        <a:pt x="404" y="1626"/>
                      </a:lnTo>
                      <a:lnTo>
                        <a:pt x="405" y="1626"/>
                      </a:lnTo>
                      <a:lnTo>
                        <a:pt x="405" y="1627"/>
                      </a:lnTo>
                      <a:lnTo>
                        <a:pt x="406" y="1627"/>
                      </a:lnTo>
                      <a:lnTo>
                        <a:pt x="407" y="1627"/>
                      </a:lnTo>
                      <a:lnTo>
                        <a:pt x="407" y="1626"/>
                      </a:lnTo>
                      <a:lnTo>
                        <a:pt x="407" y="1626"/>
                      </a:lnTo>
                      <a:lnTo>
                        <a:pt x="408" y="1628"/>
                      </a:lnTo>
                      <a:lnTo>
                        <a:pt x="409" y="1628"/>
                      </a:lnTo>
                      <a:lnTo>
                        <a:pt x="411" y="1628"/>
                      </a:lnTo>
                      <a:lnTo>
                        <a:pt x="413" y="1626"/>
                      </a:lnTo>
                      <a:lnTo>
                        <a:pt x="413" y="1624"/>
                      </a:lnTo>
                      <a:lnTo>
                        <a:pt x="413" y="1624"/>
                      </a:lnTo>
                      <a:lnTo>
                        <a:pt x="413" y="1623"/>
                      </a:lnTo>
                      <a:lnTo>
                        <a:pt x="414" y="1623"/>
                      </a:lnTo>
                      <a:lnTo>
                        <a:pt x="414" y="1622"/>
                      </a:lnTo>
                      <a:lnTo>
                        <a:pt x="413" y="1622"/>
                      </a:lnTo>
                      <a:lnTo>
                        <a:pt x="413" y="1621"/>
                      </a:lnTo>
                      <a:lnTo>
                        <a:pt x="415" y="1620"/>
                      </a:lnTo>
                      <a:lnTo>
                        <a:pt x="416" y="1618"/>
                      </a:lnTo>
                      <a:lnTo>
                        <a:pt x="417" y="1618"/>
                      </a:lnTo>
                      <a:lnTo>
                        <a:pt x="417" y="1618"/>
                      </a:lnTo>
                      <a:lnTo>
                        <a:pt x="418" y="1618"/>
                      </a:lnTo>
                      <a:lnTo>
                        <a:pt x="418" y="1618"/>
                      </a:lnTo>
                      <a:lnTo>
                        <a:pt x="418" y="1618"/>
                      </a:lnTo>
                      <a:lnTo>
                        <a:pt x="418" y="1618"/>
                      </a:lnTo>
                      <a:lnTo>
                        <a:pt x="420" y="1617"/>
                      </a:lnTo>
                      <a:lnTo>
                        <a:pt x="421" y="1617"/>
                      </a:lnTo>
                      <a:lnTo>
                        <a:pt x="420" y="1616"/>
                      </a:lnTo>
                      <a:lnTo>
                        <a:pt x="419" y="1615"/>
                      </a:lnTo>
                      <a:lnTo>
                        <a:pt x="419" y="1614"/>
                      </a:lnTo>
                      <a:lnTo>
                        <a:pt x="419" y="1614"/>
                      </a:lnTo>
                      <a:lnTo>
                        <a:pt x="418" y="1615"/>
                      </a:lnTo>
                      <a:lnTo>
                        <a:pt x="417" y="1614"/>
                      </a:lnTo>
                      <a:lnTo>
                        <a:pt x="417" y="1615"/>
                      </a:lnTo>
                      <a:lnTo>
                        <a:pt x="415" y="1616"/>
                      </a:lnTo>
                      <a:lnTo>
                        <a:pt x="415" y="1616"/>
                      </a:lnTo>
                      <a:lnTo>
                        <a:pt x="415" y="1616"/>
                      </a:lnTo>
                      <a:lnTo>
                        <a:pt x="415" y="1617"/>
                      </a:lnTo>
                      <a:lnTo>
                        <a:pt x="414" y="1618"/>
                      </a:lnTo>
                      <a:lnTo>
                        <a:pt x="413" y="1619"/>
                      </a:lnTo>
                      <a:lnTo>
                        <a:pt x="412" y="1620"/>
                      </a:lnTo>
                      <a:lnTo>
                        <a:pt x="412" y="1620"/>
                      </a:lnTo>
                      <a:lnTo>
                        <a:pt x="411" y="1623"/>
                      </a:lnTo>
                      <a:lnTo>
                        <a:pt x="412" y="1624"/>
                      </a:lnTo>
                      <a:lnTo>
                        <a:pt x="411" y="1624"/>
                      </a:lnTo>
                      <a:lnTo>
                        <a:pt x="411" y="1625"/>
                      </a:lnTo>
                      <a:lnTo>
                        <a:pt x="410" y="1625"/>
                      </a:lnTo>
                      <a:lnTo>
                        <a:pt x="409" y="1625"/>
                      </a:lnTo>
                      <a:lnTo>
                        <a:pt x="409" y="1624"/>
                      </a:lnTo>
                      <a:lnTo>
                        <a:pt x="408" y="1624"/>
                      </a:lnTo>
                      <a:lnTo>
                        <a:pt x="407" y="1623"/>
                      </a:lnTo>
                      <a:lnTo>
                        <a:pt x="407" y="1623"/>
                      </a:lnTo>
                      <a:lnTo>
                        <a:pt x="407" y="1624"/>
                      </a:lnTo>
                      <a:lnTo>
                        <a:pt x="408" y="1624"/>
                      </a:lnTo>
                      <a:lnTo>
                        <a:pt x="408" y="1625"/>
                      </a:lnTo>
                      <a:lnTo>
                        <a:pt x="407" y="1625"/>
                      </a:lnTo>
                      <a:lnTo>
                        <a:pt x="407" y="1625"/>
                      </a:lnTo>
                      <a:lnTo>
                        <a:pt x="407" y="1626"/>
                      </a:lnTo>
                      <a:lnTo>
                        <a:pt x="407" y="1626"/>
                      </a:lnTo>
                      <a:lnTo>
                        <a:pt x="406" y="1624"/>
                      </a:lnTo>
                      <a:lnTo>
                        <a:pt x="405" y="1623"/>
                      </a:lnTo>
                      <a:lnTo>
                        <a:pt x="403" y="1624"/>
                      </a:lnTo>
                      <a:lnTo>
                        <a:pt x="403" y="1622"/>
                      </a:lnTo>
                      <a:lnTo>
                        <a:pt x="403" y="1622"/>
                      </a:lnTo>
                      <a:lnTo>
                        <a:pt x="402" y="1622"/>
                      </a:lnTo>
                      <a:lnTo>
                        <a:pt x="400" y="1622"/>
                      </a:lnTo>
                      <a:lnTo>
                        <a:pt x="400" y="1622"/>
                      </a:lnTo>
                      <a:lnTo>
                        <a:pt x="400" y="1622"/>
                      </a:lnTo>
                      <a:lnTo>
                        <a:pt x="399" y="1621"/>
                      </a:lnTo>
                      <a:lnTo>
                        <a:pt x="397" y="1622"/>
                      </a:lnTo>
                      <a:lnTo>
                        <a:pt x="397" y="1621"/>
                      </a:lnTo>
                      <a:lnTo>
                        <a:pt x="396" y="1622"/>
                      </a:lnTo>
                      <a:lnTo>
                        <a:pt x="396" y="1622"/>
                      </a:lnTo>
                      <a:lnTo>
                        <a:pt x="396" y="1621"/>
                      </a:lnTo>
                      <a:lnTo>
                        <a:pt x="396" y="1621"/>
                      </a:lnTo>
                      <a:lnTo>
                        <a:pt x="396" y="1620"/>
                      </a:lnTo>
                      <a:lnTo>
                        <a:pt x="396" y="1620"/>
                      </a:lnTo>
                      <a:lnTo>
                        <a:pt x="396" y="1619"/>
                      </a:lnTo>
                      <a:lnTo>
                        <a:pt x="397" y="1619"/>
                      </a:lnTo>
                      <a:lnTo>
                        <a:pt x="401" y="1616"/>
                      </a:lnTo>
                      <a:lnTo>
                        <a:pt x="401" y="1616"/>
                      </a:lnTo>
                      <a:lnTo>
                        <a:pt x="402" y="1615"/>
                      </a:lnTo>
                      <a:lnTo>
                        <a:pt x="403" y="1614"/>
                      </a:lnTo>
                      <a:lnTo>
                        <a:pt x="403" y="1614"/>
                      </a:lnTo>
                      <a:lnTo>
                        <a:pt x="403" y="1614"/>
                      </a:lnTo>
                      <a:lnTo>
                        <a:pt x="404" y="1614"/>
                      </a:lnTo>
                      <a:lnTo>
                        <a:pt x="404" y="1613"/>
                      </a:lnTo>
                      <a:lnTo>
                        <a:pt x="406" y="1612"/>
                      </a:lnTo>
                      <a:lnTo>
                        <a:pt x="407" y="1613"/>
                      </a:lnTo>
                      <a:lnTo>
                        <a:pt x="409" y="1612"/>
                      </a:lnTo>
                      <a:lnTo>
                        <a:pt x="409" y="1612"/>
                      </a:lnTo>
                      <a:lnTo>
                        <a:pt x="409" y="1612"/>
                      </a:lnTo>
                      <a:lnTo>
                        <a:pt x="410" y="1612"/>
                      </a:lnTo>
                      <a:lnTo>
                        <a:pt x="410" y="1612"/>
                      </a:lnTo>
                      <a:lnTo>
                        <a:pt x="408" y="1611"/>
                      </a:lnTo>
                      <a:lnTo>
                        <a:pt x="406" y="1611"/>
                      </a:lnTo>
                      <a:lnTo>
                        <a:pt x="406" y="1611"/>
                      </a:lnTo>
                      <a:lnTo>
                        <a:pt x="407" y="1610"/>
                      </a:lnTo>
                      <a:lnTo>
                        <a:pt x="408" y="1610"/>
                      </a:lnTo>
                      <a:lnTo>
                        <a:pt x="408" y="1610"/>
                      </a:lnTo>
                      <a:lnTo>
                        <a:pt x="408" y="1609"/>
                      </a:lnTo>
                      <a:lnTo>
                        <a:pt x="407" y="1609"/>
                      </a:lnTo>
                      <a:lnTo>
                        <a:pt x="407" y="1608"/>
                      </a:lnTo>
                      <a:lnTo>
                        <a:pt x="407" y="1608"/>
                      </a:lnTo>
                      <a:lnTo>
                        <a:pt x="406" y="1609"/>
                      </a:lnTo>
                      <a:lnTo>
                        <a:pt x="405" y="1609"/>
                      </a:lnTo>
                      <a:lnTo>
                        <a:pt x="403" y="1609"/>
                      </a:lnTo>
                      <a:lnTo>
                        <a:pt x="402" y="1609"/>
                      </a:lnTo>
                      <a:lnTo>
                        <a:pt x="401" y="1609"/>
                      </a:lnTo>
                      <a:lnTo>
                        <a:pt x="401" y="1609"/>
                      </a:lnTo>
                      <a:lnTo>
                        <a:pt x="400" y="1609"/>
                      </a:lnTo>
                      <a:lnTo>
                        <a:pt x="399" y="1609"/>
                      </a:lnTo>
                      <a:lnTo>
                        <a:pt x="399" y="1609"/>
                      </a:lnTo>
                      <a:lnTo>
                        <a:pt x="397" y="1609"/>
                      </a:lnTo>
                      <a:lnTo>
                        <a:pt x="395" y="1611"/>
                      </a:lnTo>
                      <a:lnTo>
                        <a:pt x="395" y="1610"/>
                      </a:lnTo>
                      <a:lnTo>
                        <a:pt x="395" y="1610"/>
                      </a:lnTo>
                      <a:lnTo>
                        <a:pt x="393" y="1610"/>
                      </a:lnTo>
                      <a:lnTo>
                        <a:pt x="393" y="1610"/>
                      </a:lnTo>
                      <a:lnTo>
                        <a:pt x="393" y="1611"/>
                      </a:lnTo>
                      <a:lnTo>
                        <a:pt x="392" y="1611"/>
                      </a:lnTo>
                      <a:lnTo>
                        <a:pt x="393" y="1610"/>
                      </a:lnTo>
                      <a:lnTo>
                        <a:pt x="393" y="1610"/>
                      </a:lnTo>
                      <a:lnTo>
                        <a:pt x="393" y="1610"/>
                      </a:lnTo>
                      <a:lnTo>
                        <a:pt x="393" y="1610"/>
                      </a:lnTo>
                      <a:lnTo>
                        <a:pt x="392" y="1610"/>
                      </a:lnTo>
                      <a:lnTo>
                        <a:pt x="392" y="1610"/>
                      </a:lnTo>
                      <a:lnTo>
                        <a:pt x="392" y="1611"/>
                      </a:lnTo>
                      <a:lnTo>
                        <a:pt x="390" y="1612"/>
                      </a:lnTo>
                      <a:lnTo>
                        <a:pt x="389" y="1612"/>
                      </a:lnTo>
                      <a:lnTo>
                        <a:pt x="390" y="1613"/>
                      </a:lnTo>
                      <a:lnTo>
                        <a:pt x="389" y="1613"/>
                      </a:lnTo>
                      <a:lnTo>
                        <a:pt x="389" y="1614"/>
                      </a:lnTo>
                      <a:lnTo>
                        <a:pt x="388" y="1614"/>
                      </a:lnTo>
                      <a:lnTo>
                        <a:pt x="388" y="1613"/>
                      </a:lnTo>
                      <a:lnTo>
                        <a:pt x="389" y="1612"/>
                      </a:lnTo>
                      <a:lnTo>
                        <a:pt x="389" y="1612"/>
                      </a:lnTo>
                      <a:lnTo>
                        <a:pt x="388" y="1612"/>
                      </a:lnTo>
                      <a:lnTo>
                        <a:pt x="388" y="1611"/>
                      </a:lnTo>
                      <a:lnTo>
                        <a:pt x="387" y="1611"/>
                      </a:lnTo>
                      <a:lnTo>
                        <a:pt x="387" y="1611"/>
                      </a:lnTo>
                      <a:lnTo>
                        <a:pt x="386" y="1612"/>
                      </a:lnTo>
                      <a:lnTo>
                        <a:pt x="386" y="1612"/>
                      </a:lnTo>
                      <a:lnTo>
                        <a:pt x="385" y="1613"/>
                      </a:lnTo>
                      <a:lnTo>
                        <a:pt x="384" y="1613"/>
                      </a:lnTo>
                      <a:lnTo>
                        <a:pt x="383" y="1614"/>
                      </a:lnTo>
                      <a:lnTo>
                        <a:pt x="383" y="1614"/>
                      </a:lnTo>
                      <a:lnTo>
                        <a:pt x="382" y="1613"/>
                      </a:lnTo>
                      <a:lnTo>
                        <a:pt x="382" y="1614"/>
                      </a:lnTo>
                      <a:lnTo>
                        <a:pt x="382" y="1613"/>
                      </a:lnTo>
                      <a:lnTo>
                        <a:pt x="381" y="1614"/>
                      </a:lnTo>
                      <a:lnTo>
                        <a:pt x="381" y="1613"/>
                      </a:lnTo>
                      <a:lnTo>
                        <a:pt x="380" y="1613"/>
                      </a:lnTo>
                      <a:lnTo>
                        <a:pt x="379" y="1614"/>
                      </a:lnTo>
                      <a:lnTo>
                        <a:pt x="379" y="1614"/>
                      </a:lnTo>
                      <a:lnTo>
                        <a:pt x="377" y="1615"/>
                      </a:lnTo>
                      <a:lnTo>
                        <a:pt x="377" y="1615"/>
                      </a:lnTo>
                      <a:lnTo>
                        <a:pt x="377" y="1616"/>
                      </a:lnTo>
                      <a:lnTo>
                        <a:pt x="377" y="1616"/>
                      </a:lnTo>
                      <a:lnTo>
                        <a:pt x="377" y="1616"/>
                      </a:lnTo>
                      <a:lnTo>
                        <a:pt x="376" y="1616"/>
                      </a:lnTo>
                      <a:lnTo>
                        <a:pt x="376" y="1616"/>
                      </a:lnTo>
                      <a:lnTo>
                        <a:pt x="375" y="1616"/>
                      </a:lnTo>
                      <a:lnTo>
                        <a:pt x="375" y="1616"/>
                      </a:lnTo>
                      <a:lnTo>
                        <a:pt x="374" y="1616"/>
                      </a:lnTo>
                      <a:lnTo>
                        <a:pt x="374" y="1615"/>
                      </a:lnTo>
                      <a:lnTo>
                        <a:pt x="374" y="1615"/>
                      </a:lnTo>
                      <a:lnTo>
                        <a:pt x="373" y="1616"/>
                      </a:lnTo>
                      <a:lnTo>
                        <a:pt x="373" y="1616"/>
                      </a:lnTo>
                      <a:lnTo>
                        <a:pt x="373" y="1615"/>
                      </a:lnTo>
                      <a:lnTo>
                        <a:pt x="372" y="1615"/>
                      </a:lnTo>
                      <a:lnTo>
                        <a:pt x="372" y="1613"/>
                      </a:lnTo>
                      <a:lnTo>
                        <a:pt x="371" y="1613"/>
                      </a:lnTo>
                      <a:lnTo>
                        <a:pt x="370" y="1614"/>
                      </a:lnTo>
                      <a:lnTo>
                        <a:pt x="370" y="1614"/>
                      </a:lnTo>
                      <a:lnTo>
                        <a:pt x="369" y="1614"/>
                      </a:lnTo>
                      <a:lnTo>
                        <a:pt x="369" y="1614"/>
                      </a:lnTo>
                      <a:lnTo>
                        <a:pt x="369" y="1612"/>
                      </a:lnTo>
                      <a:lnTo>
                        <a:pt x="369" y="1612"/>
                      </a:lnTo>
                      <a:lnTo>
                        <a:pt x="369" y="1612"/>
                      </a:lnTo>
                      <a:lnTo>
                        <a:pt x="368" y="1611"/>
                      </a:lnTo>
                      <a:lnTo>
                        <a:pt x="368" y="1611"/>
                      </a:lnTo>
                      <a:lnTo>
                        <a:pt x="368" y="1610"/>
                      </a:lnTo>
                      <a:lnTo>
                        <a:pt x="368" y="1610"/>
                      </a:lnTo>
                      <a:lnTo>
                        <a:pt x="369" y="1609"/>
                      </a:lnTo>
                      <a:lnTo>
                        <a:pt x="371" y="1609"/>
                      </a:lnTo>
                      <a:lnTo>
                        <a:pt x="372" y="1609"/>
                      </a:lnTo>
                      <a:lnTo>
                        <a:pt x="372" y="1609"/>
                      </a:lnTo>
                      <a:lnTo>
                        <a:pt x="372" y="1608"/>
                      </a:lnTo>
                      <a:lnTo>
                        <a:pt x="373" y="1608"/>
                      </a:lnTo>
                      <a:lnTo>
                        <a:pt x="373" y="1607"/>
                      </a:lnTo>
                      <a:lnTo>
                        <a:pt x="374" y="1607"/>
                      </a:lnTo>
                      <a:lnTo>
                        <a:pt x="373" y="1606"/>
                      </a:lnTo>
                      <a:lnTo>
                        <a:pt x="373" y="1606"/>
                      </a:lnTo>
                      <a:lnTo>
                        <a:pt x="374" y="1606"/>
                      </a:lnTo>
                      <a:lnTo>
                        <a:pt x="374" y="1604"/>
                      </a:lnTo>
                      <a:lnTo>
                        <a:pt x="375" y="1604"/>
                      </a:lnTo>
                      <a:lnTo>
                        <a:pt x="376" y="1603"/>
                      </a:lnTo>
                      <a:lnTo>
                        <a:pt x="377" y="1606"/>
                      </a:lnTo>
                      <a:lnTo>
                        <a:pt x="377" y="1607"/>
                      </a:lnTo>
                      <a:lnTo>
                        <a:pt x="377" y="1607"/>
                      </a:lnTo>
                      <a:lnTo>
                        <a:pt x="379" y="1607"/>
                      </a:lnTo>
                      <a:lnTo>
                        <a:pt x="380" y="1607"/>
                      </a:lnTo>
                      <a:lnTo>
                        <a:pt x="380" y="1607"/>
                      </a:lnTo>
                      <a:lnTo>
                        <a:pt x="380" y="1607"/>
                      </a:lnTo>
                      <a:lnTo>
                        <a:pt x="381" y="1607"/>
                      </a:lnTo>
                      <a:lnTo>
                        <a:pt x="381" y="1607"/>
                      </a:lnTo>
                      <a:lnTo>
                        <a:pt x="381" y="1608"/>
                      </a:lnTo>
                      <a:lnTo>
                        <a:pt x="381" y="1608"/>
                      </a:lnTo>
                      <a:lnTo>
                        <a:pt x="382" y="1607"/>
                      </a:lnTo>
                      <a:lnTo>
                        <a:pt x="382" y="1607"/>
                      </a:lnTo>
                      <a:lnTo>
                        <a:pt x="382" y="1607"/>
                      </a:lnTo>
                      <a:lnTo>
                        <a:pt x="383" y="1607"/>
                      </a:lnTo>
                      <a:lnTo>
                        <a:pt x="383" y="1606"/>
                      </a:lnTo>
                      <a:lnTo>
                        <a:pt x="382" y="1606"/>
                      </a:lnTo>
                      <a:lnTo>
                        <a:pt x="382" y="1604"/>
                      </a:lnTo>
                      <a:lnTo>
                        <a:pt x="384" y="1603"/>
                      </a:lnTo>
                      <a:lnTo>
                        <a:pt x="384" y="1602"/>
                      </a:lnTo>
                      <a:lnTo>
                        <a:pt x="384" y="1602"/>
                      </a:lnTo>
                      <a:lnTo>
                        <a:pt x="384" y="1602"/>
                      </a:lnTo>
                      <a:lnTo>
                        <a:pt x="383" y="1602"/>
                      </a:lnTo>
                      <a:lnTo>
                        <a:pt x="383" y="1601"/>
                      </a:lnTo>
                      <a:lnTo>
                        <a:pt x="382" y="1601"/>
                      </a:lnTo>
                      <a:lnTo>
                        <a:pt x="382" y="1602"/>
                      </a:lnTo>
                      <a:lnTo>
                        <a:pt x="381" y="1601"/>
                      </a:lnTo>
                      <a:lnTo>
                        <a:pt x="381" y="1602"/>
                      </a:lnTo>
                      <a:lnTo>
                        <a:pt x="380" y="1602"/>
                      </a:lnTo>
                      <a:lnTo>
                        <a:pt x="380" y="1602"/>
                      </a:lnTo>
                      <a:lnTo>
                        <a:pt x="379" y="1602"/>
                      </a:lnTo>
                      <a:lnTo>
                        <a:pt x="378" y="1601"/>
                      </a:lnTo>
                      <a:lnTo>
                        <a:pt x="377" y="1600"/>
                      </a:lnTo>
                      <a:lnTo>
                        <a:pt x="377" y="1600"/>
                      </a:lnTo>
                      <a:lnTo>
                        <a:pt x="376" y="1597"/>
                      </a:lnTo>
                      <a:lnTo>
                        <a:pt x="378" y="1597"/>
                      </a:lnTo>
                      <a:lnTo>
                        <a:pt x="378" y="1596"/>
                      </a:lnTo>
                      <a:lnTo>
                        <a:pt x="378" y="1596"/>
                      </a:lnTo>
                      <a:lnTo>
                        <a:pt x="378" y="1596"/>
                      </a:lnTo>
                      <a:lnTo>
                        <a:pt x="378" y="1595"/>
                      </a:lnTo>
                      <a:lnTo>
                        <a:pt x="379" y="1595"/>
                      </a:lnTo>
                      <a:lnTo>
                        <a:pt x="379" y="1595"/>
                      </a:lnTo>
                      <a:lnTo>
                        <a:pt x="379" y="1596"/>
                      </a:lnTo>
                      <a:lnTo>
                        <a:pt x="379" y="1595"/>
                      </a:lnTo>
                      <a:lnTo>
                        <a:pt x="380" y="1595"/>
                      </a:lnTo>
                      <a:lnTo>
                        <a:pt x="380" y="1596"/>
                      </a:lnTo>
                      <a:lnTo>
                        <a:pt x="381" y="1595"/>
                      </a:lnTo>
                      <a:lnTo>
                        <a:pt x="380" y="1594"/>
                      </a:lnTo>
                      <a:lnTo>
                        <a:pt x="380" y="1595"/>
                      </a:lnTo>
                      <a:lnTo>
                        <a:pt x="380" y="1594"/>
                      </a:lnTo>
                      <a:lnTo>
                        <a:pt x="380" y="1594"/>
                      </a:lnTo>
                      <a:lnTo>
                        <a:pt x="380" y="1594"/>
                      </a:lnTo>
                      <a:lnTo>
                        <a:pt x="380" y="1592"/>
                      </a:lnTo>
                      <a:lnTo>
                        <a:pt x="381" y="1592"/>
                      </a:lnTo>
                      <a:lnTo>
                        <a:pt x="381" y="1591"/>
                      </a:lnTo>
                      <a:lnTo>
                        <a:pt x="381" y="1591"/>
                      </a:lnTo>
                      <a:lnTo>
                        <a:pt x="381" y="1591"/>
                      </a:lnTo>
                      <a:lnTo>
                        <a:pt x="380" y="1591"/>
                      </a:lnTo>
                      <a:lnTo>
                        <a:pt x="381" y="1590"/>
                      </a:lnTo>
                      <a:lnTo>
                        <a:pt x="381" y="1590"/>
                      </a:lnTo>
                      <a:lnTo>
                        <a:pt x="381" y="1590"/>
                      </a:lnTo>
                      <a:lnTo>
                        <a:pt x="381" y="1590"/>
                      </a:lnTo>
                      <a:lnTo>
                        <a:pt x="383" y="1590"/>
                      </a:lnTo>
                      <a:lnTo>
                        <a:pt x="382" y="1589"/>
                      </a:lnTo>
                      <a:lnTo>
                        <a:pt x="382" y="1589"/>
                      </a:lnTo>
                      <a:lnTo>
                        <a:pt x="383" y="1589"/>
                      </a:lnTo>
                      <a:lnTo>
                        <a:pt x="382" y="1589"/>
                      </a:lnTo>
                      <a:lnTo>
                        <a:pt x="382" y="1588"/>
                      </a:lnTo>
                      <a:lnTo>
                        <a:pt x="381" y="1588"/>
                      </a:lnTo>
                      <a:lnTo>
                        <a:pt x="382" y="1588"/>
                      </a:lnTo>
                      <a:lnTo>
                        <a:pt x="382" y="1587"/>
                      </a:lnTo>
                      <a:lnTo>
                        <a:pt x="382" y="1586"/>
                      </a:lnTo>
                      <a:lnTo>
                        <a:pt x="383" y="1586"/>
                      </a:lnTo>
                      <a:lnTo>
                        <a:pt x="383" y="1586"/>
                      </a:lnTo>
                      <a:lnTo>
                        <a:pt x="383" y="1584"/>
                      </a:lnTo>
                      <a:lnTo>
                        <a:pt x="382" y="1584"/>
                      </a:lnTo>
                      <a:lnTo>
                        <a:pt x="382" y="1584"/>
                      </a:lnTo>
                      <a:lnTo>
                        <a:pt x="381" y="1584"/>
                      </a:lnTo>
                      <a:lnTo>
                        <a:pt x="382" y="1584"/>
                      </a:lnTo>
                      <a:lnTo>
                        <a:pt x="383" y="1584"/>
                      </a:lnTo>
                      <a:lnTo>
                        <a:pt x="384" y="1584"/>
                      </a:lnTo>
                      <a:lnTo>
                        <a:pt x="384" y="1583"/>
                      </a:lnTo>
                      <a:lnTo>
                        <a:pt x="384" y="1583"/>
                      </a:lnTo>
                      <a:lnTo>
                        <a:pt x="383" y="1582"/>
                      </a:lnTo>
                      <a:lnTo>
                        <a:pt x="383" y="1582"/>
                      </a:lnTo>
                      <a:lnTo>
                        <a:pt x="383" y="1582"/>
                      </a:lnTo>
                      <a:lnTo>
                        <a:pt x="384" y="1582"/>
                      </a:lnTo>
                      <a:lnTo>
                        <a:pt x="384" y="1580"/>
                      </a:lnTo>
                      <a:lnTo>
                        <a:pt x="386" y="1580"/>
                      </a:lnTo>
                      <a:lnTo>
                        <a:pt x="387" y="1580"/>
                      </a:lnTo>
                      <a:lnTo>
                        <a:pt x="387" y="1581"/>
                      </a:lnTo>
                      <a:lnTo>
                        <a:pt x="388" y="1581"/>
                      </a:lnTo>
                      <a:lnTo>
                        <a:pt x="388" y="1582"/>
                      </a:lnTo>
                      <a:lnTo>
                        <a:pt x="389" y="1583"/>
                      </a:lnTo>
                      <a:lnTo>
                        <a:pt x="389" y="1582"/>
                      </a:lnTo>
                      <a:lnTo>
                        <a:pt x="389" y="1582"/>
                      </a:lnTo>
                      <a:lnTo>
                        <a:pt x="389" y="1581"/>
                      </a:lnTo>
                      <a:lnTo>
                        <a:pt x="388" y="1581"/>
                      </a:lnTo>
                      <a:lnTo>
                        <a:pt x="389" y="1581"/>
                      </a:lnTo>
                      <a:lnTo>
                        <a:pt x="388" y="1580"/>
                      </a:lnTo>
                      <a:lnTo>
                        <a:pt x="388" y="1579"/>
                      </a:lnTo>
                      <a:lnTo>
                        <a:pt x="388" y="1578"/>
                      </a:lnTo>
                      <a:lnTo>
                        <a:pt x="388" y="1578"/>
                      </a:lnTo>
                      <a:lnTo>
                        <a:pt x="387" y="1578"/>
                      </a:lnTo>
                      <a:lnTo>
                        <a:pt x="387" y="1578"/>
                      </a:lnTo>
                      <a:lnTo>
                        <a:pt x="386" y="1578"/>
                      </a:lnTo>
                      <a:lnTo>
                        <a:pt x="386" y="1579"/>
                      </a:lnTo>
                      <a:lnTo>
                        <a:pt x="386" y="1579"/>
                      </a:lnTo>
                      <a:lnTo>
                        <a:pt x="386" y="1579"/>
                      </a:lnTo>
                      <a:lnTo>
                        <a:pt x="385" y="1579"/>
                      </a:lnTo>
                      <a:lnTo>
                        <a:pt x="384" y="1579"/>
                      </a:lnTo>
                      <a:lnTo>
                        <a:pt x="384" y="1578"/>
                      </a:lnTo>
                      <a:lnTo>
                        <a:pt x="384" y="1576"/>
                      </a:lnTo>
                      <a:lnTo>
                        <a:pt x="385" y="1575"/>
                      </a:lnTo>
                      <a:lnTo>
                        <a:pt x="384" y="1574"/>
                      </a:lnTo>
                      <a:lnTo>
                        <a:pt x="384" y="1573"/>
                      </a:lnTo>
                      <a:lnTo>
                        <a:pt x="384" y="1573"/>
                      </a:lnTo>
                      <a:lnTo>
                        <a:pt x="384" y="1571"/>
                      </a:lnTo>
                      <a:lnTo>
                        <a:pt x="386" y="1571"/>
                      </a:lnTo>
                      <a:lnTo>
                        <a:pt x="386" y="1571"/>
                      </a:lnTo>
                      <a:lnTo>
                        <a:pt x="387" y="1570"/>
                      </a:lnTo>
                      <a:lnTo>
                        <a:pt x="387" y="1569"/>
                      </a:lnTo>
                      <a:lnTo>
                        <a:pt x="386" y="1568"/>
                      </a:lnTo>
                      <a:lnTo>
                        <a:pt x="386" y="1566"/>
                      </a:lnTo>
                      <a:lnTo>
                        <a:pt x="386" y="1566"/>
                      </a:lnTo>
                      <a:lnTo>
                        <a:pt x="386" y="1566"/>
                      </a:lnTo>
                      <a:lnTo>
                        <a:pt x="387" y="1565"/>
                      </a:lnTo>
                      <a:lnTo>
                        <a:pt x="387" y="1564"/>
                      </a:lnTo>
                      <a:lnTo>
                        <a:pt x="387" y="1564"/>
                      </a:lnTo>
                      <a:lnTo>
                        <a:pt x="388" y="1563"/>
                      </a:lnTo>
                      <a:lnTo>
                        <a:pt x="388" y="1564"/>
                      </a:lnTo>
                      <a:lnTo>
                        <a:pt x="389" y="1564"/>
                      </a:lnTo>
                      <a:lnTo>
                        <a:pt x="389" y="1563"/>
                      </a:lnTo>
                      <a:lnTo>
                        <a:pt x="392" y="1561"/>
                      </a:lnTo>
                      <a:lnTo>
                        <a:pt x="393" y="1562"/>
                      </a:lnTo>
                      <a:lnTo>
                        <a:pt x="393" y="1561"/>
                      </a:lnTo>
                      <a:lnTo>
                        <a:pt x="394" y="1562"/>
                      </a:lnTo>
                      <a:lnTo>
                        <a:pt x="395" y="1561"/>
                      </a:lnTo>
                      <a:lnTo>
                        <a:pt x="395" y="1562"/>
                      </a:lnTo>
                      <a:lnTo>
                        <a:pt x="396" y="1561"/>
                      </a:lnTo>
                      <a:lnTo>
                        <a:pt x="396" y="1561"/>
                      </a:lnTo>
                      <a:lnTo>
                        <a:pt x="397" y="1561"/>
                      </a:lnTo>
                      <a:lnTo>
                        <a:pt x="397" y="1561"/>
                      </a:lnTo>
                      <a:lnTo>
                        <a:pt x="399" y="1561"/>
                      </a:lnTo>
                      <a:lnTo>
                        <a:pt x="400" y="1561"/>
                      </a:lnTo>
                      <a:lnTo>
                        <a:pt x="401" y="1561"/>
                      </a:lnTo>
                      <a:lnTo>
                        <a:pt x="403" y="1561"/>
                      </a:lnTo>
                      <a:lnTo>
                        <a:pt x="403" y="1561"/>
                      </a:lnTo>
                      <a:lnTo>
                        <a:pt x="405" y="1560"/>
                      </a:lnTo>
                      <a:lnTo>
                        <a:pt x="406" y="1561"/>
                      </a:lnTo>
                      <a:lnTo>
                        <a:pt x="406" y="1560"/>
                      </a:lnTo>
                      <a:lnTo>
                        <a:pt x="407" y="1560"/>
                      </a:lnTo>
                      <a:lnTo>
                        <a:pt x="408" y="1560"/>
                      </a:lnTo>
                      <a:lnTo>
                        <a:pt x="409" y="1560"/>
                      </a:lnTo>
                      <a:lnTo>
                        <a:pt x="410" y="1561"/>
                      </a:lnTo>
                      <a:lnTo>
                        <a:pt x="411" y="1564"/>
                      </a:lnTo>
                      <a:lnTo>
                        <a:pt x="411" y="1565"/>
                      </a:lnTo>
                      <a:lnTo>
                        <a:pt x="412" y="1568"/>
                      </a:lnTo>
                      <a:lnTo>
                        <a:pt x="412" y="1568"/>
                      </a:lnTo>
                      <a:lnTo>
                        <a:pt x="413" y="1571"/>
                      </a:lnTo>
                      <a:lnTo>
                        <a:pt x="415" y="1572"/>
                      </a:lnTo>
                      <a:lnTo>
                        <a:pt x="415" y="1573"/>
                      </a:lnTo>
                      <a:lnTo>
                        <a:pt x="416" y="1573"/>
                      </a:lnTo>
                      <a:lnTo>
                        <a:pt x="416" y="1573"/>
                      </a:lnTo>
                      <a:lnTo>
                        <a:pt x="417" y="1572"/>
                      </a:lnTo>
                      <a:lnTo>
                        <a:pt x="417" y="1573"/>
                      </a:lnTo>
                      <a:lnTo>
                        <a:pt x="417" y="1573"/>
                      </a:lnTo>
                      <a:lnTo>
                        <a:pt x="419" y="1575"/>
                      </a:lnTo>
                      <a:lnTo>
                        <a:pt x="419" y="1575"/>
                      </a:lnTo>
                      <a:lnTo>
                        <a:pt x="421" y="1576"/>
                      </a:lnTo>
                      <a:lnTo>
                        <a:pt x="423" y="1577"/>
                      </a:lnTo>
                      <a:lnTo>
                        <a:pt x="424" y="1576"/>
                      </a:lnTo>
                      <a:lnTo>
                        <a:pt x="424" y="1576"/>
                      </a:lnTo>
                      <a:lnTo>
                        <a:pt x="426" y="1577"/>
                      </a:lnTo>
                      <a:lnTo>
                        <a:pt x="427" y="1577"/>
                      </a:lnTo>
                      <a:lnTo>
                        <a:pt x="427" y="1578"/>
                      </a:lnTo>
                      <a:lnTo>
                        <a:pt x="427" y="1578"/>
                      </a:lnTo>
                      <a:lnTo>
                        <a:pt x="427" y="1578"/>
                      </a:lnTo>
                      <a:lnTo>
                        <a:pt x="428" y="1579"/>
                      </a:lnTo>
                      <a:lnTo>
                        <a:pt x="428" y="1579"/>
                      </a:lnTo>
                      <a:lnTo>
                        <a:pt x="429" y="1579"/>
                      </a:lnTo>
                      <a:lnTo>
                        <a:pt x="428" y="1577"/>
                      </a:lnTo>
                      <a:lnTo>
                        <a:pt x="429" y="1577"/>
                      </a:lnTo>
                      <a:lnTo>
                        <a:pt x="430" y="1577"/>
                      </a:lnTo>
                      <a:lnTo>
                        <a:pt x="432" y="1577"/>
                      </a:lnTo>
                      <a:lnTo>
                        <a:pt x="432" y="1576"/>
                      </a:lnTo>
                      <a:lnTo>
                        <a:pt x="433" y="1574"/>
                      </a:lnTo>
                      <a:lnTo>
                        <a:pt x="436" y="1574"/>
                      </a:lnTo>
                      <a:lnTo>
                        <a:pt x="439" y="1575"/>
                      </a:lnTo>
                      <a:lnTo>
                        <a:pt x="440" y="1575"/>
                      </a:lnTo>
                      <a:lnTo>
                        <a:pt x="444" y="1573"/>
                      </a:lnTo>
                      <a:lnTo>
                        <a:pt x="445" y="1573"/>
                      </a:lnTo>
                      <a:lnTo>
                        <a:pt x="447" y="1571"/>
                      </a:lnTo>
                      <a:lnTo>
                        <a:pt x="449" y="1571"/>
                      </a:lnTo>
                      <a:lnTo>
                        <a:pt x="450" y="1571"/>
                      </a:lnTo>
                      <a:lnTo>
                        <a:pt x="451" y="1570"/>
                      </a:lnTo>
                      <a:lnTo>
                        <a:pt x="454" y="1570"/>
                      </a:lnTo>
                      <a:lnTo>
                        <a:pt x="454" y="1569"/>
                      </a:lnTo>
                      <a:lnTo>
                        <a:pt x="452" y="1569"/>
                      </a:lnTo>
                      <a:lnTo>
                        <a:pt x="452" y="1568"/>
                      </a:lnTo>
                      <a:lnTo>
                        <a:pt x="452" y="1568"/>
                      </a:lnTo>
                      <a:lnTo>
                        <a:pt x="452" y="1568"/>
                      </a:lnTo>
                      <a:lnTo>
                        <a:pt x="453" y="1566"/>
                      </a:lnTo>
                      <a:lnTo>
                        <a:pt x="453" y="1566"/>
                      </a:lnTo>
                      <a:lnTo>
                        <a:pt x="452" y="1566"/>
                      </a:lnTo>
                      <a:lnTo>
                        <a:pt x="451" y="1566"/>
                      </a:lnTo>
                      <a:lnTo>
                        <a:pt x="450" y="1566"/>
                      </a:lnTo>
                      <a:lnTo>
                        <a:pt x="448" y="1569"/>
                      </a:lnTo>
                      <a:lnTo>
                        <a:pt x="446" y="1568"/>
                      </a:lnTo>
                      <a:lnTo>
                        <a:pt x="445" y="1569"/>
                      </a:lnTo>
                      <a:lnTo>
                        <a:pt x="445" y="1569"/>
                      </a:lnTo>
                      <a:lnTo>
                        <a:pt x="443" y="1570"/>
                      </a:lnTo>
                      <a:lnTo>
                        <a:pt x="443" y="1570"/>
                      </a:lnTo>
                      <a:lnTo>
                        <a:pt x="442" y="1570"/>
                      </a:lnTo>
                      <a:lnTo>
                        <a:pt x="441" y="1571"/>
                      </a:lnTo>
                      <a:lnTo>
                        <a:pt x="440" y="1571"/>
                      </a:lnTo>
                      <a:lnTo>
                        <a:pt x="439" y="1571"/>
                      </a:lnTo>
                      <a:lnTo>
                        <a:pt x="438" y="1571"/>
                      </a:lnTo>
                      <a:lnTo>
                        <a:pt x="437" y="1572"/>
                      </a:lnTo>
                      <a:lnTo>
                        <a:pt x="437" y="1573"/>
                      </a:lnTo>
                      <a:lnTo>
                        <a:pt x="434" y="1573"/>
                      </a:lnTo>
                      <a:lnTo>
                        <a:pt x="432" y="1574"/>
                      </a:lnTo>
                      <a:lnTo>
                        <a:pt x="432" y="1574"/>
                      </a:lnTo>
                      <a:lnTo>
                        <a:pt x="431" y="1574"/>
                      </a:lnTo>
                      <a:lnTo>
                        <a:pt x="431" y="1573"/>
                      </a:lnTo>
                      <a:lnTo>
                        <a:pt x="430" y="1573"/>
                      </a:lnTo>
                      <a:lnTo>
                        <a:pt x="429" y="1573"/>
                      </a:lnTo>
                      <a:lnTo>
                        <a:pt x="428" y="1573"/>
                      </a:lnTo>
                      <a:lnTo>
                        <a:pt x="427" y="1573"/>
                      </a:lnTo>
                      <a:lnTo>
                        <a:pt x="428" y="1573"/>
                      </a:lnTo>
                      <a:lnTo>
                        <a:pt x="428" y="1571"/>
                      </a:lnTo>
                      <a:lnTo>
                        <a:pt x="427" y="1571"/>
                      </a:lnTo>
                      <a:lnTo>
                        <a:pt x="424" y="1571"/>
                      </a:lnTo>
                      <a:lnTo>
                        <a:pt x="423" y="1570"/>
                      </a:lnTo>
                      <a:lnTo>
                        <a:pt x="422" y="1568"/>
                      </a:lnTo>
                      <a:lnTo>
                        <a:pt x="421" y="1568"/>
                      </a:lnTo>
                      <a:lnTo>
                        <a:pt x="421" y="1566"/>
                      </a:lnTo>
                      <a:lnTo>
                        <a:pt x="420" y="1565"/>
                      </a:lnTo>
                      <a:lnTo>
                        <a:pt x="420" y="1564"/>
                      </a:lnTo>
                      <a:lnTo>
                        <a:pt x="419" y="1563"/>
                      </a:lnTo>
                      <a:lnTo>
                        <a:pt x="418" y="1560"/>
                      </a:lnTo>
                      <a:lnTo>
                        <a:pt x="418" y="1560"/>
                      </a:lnTo>
                      <a:lnTo>
                        <a:pt x="418" y="1559"/>
                      </a:lnTo>
                      <a:lnTo>
                        <a:pt x="418" y="1558"/>
                      </a:lnTo>
                      <a:lnTo>
                        <a:pt x="418" y="1557"/>
                      </a:lnTo>
                      <a:lnTo>
                        <a:pt x="418" y="1557"/>
                      </a:lnTo>
                      <a:lnTo>
                        <a:pt x="420" y="1557"/>
                      </a:lnTo>
                      <a:lnTo>
                        <a:pt x="420" y="1557"/>
                      </a:lnTo>
                      <a:lnTo>
                        <a:pt x="421" y="1557"/>
                      </a:lnTo>
                      <a:lnTo>
                        <a:pt x="421" y="1556"/>
                      </a:lnTo>
                      <a:lnTo>
                        <a:pt x="420" y="1554"/>
                      </a:lnTo>
                      <a:lnTo>
                        <a:pt x="419" y="1554"/>
                      </a:lnTo>
                      <a:lnTo>
                        <a:pt x="418" y="1553"/>
                      </a:lnTo>
                      <a:lnTo>
                        <a:pt x="418" y="1553"/>
                      </a:lnTo>
                      <a:lnTo>
                        <a:pt x="417" y="1552"/>
                      </a:lnTo>
                      <a:lnTo>
                        <a:pt x="414" y="1552"/>
                      </a:lnTo>
                      <a:lnTo>
                        <a:pt x="413" y="1552"/>
                      </a:lnTo>
                      <a:lnTo>
                        <a:pt x="411" y="1552"/>
                      </a:lnTo>
                      <a:lnTo>
                        <a:pt x="407" y="1554"/>
                      </a:lnTo>
                      <a:lnTo>
                        <a:pt x="406" y="1554"/>
                      </a:lnTo>
                      <a:lnTo>
                        <a:pt x="408" y="1554"/>
                      </a:lnTo>
                      <a:lnTo>
                        <a:pt x="408" y="1555"/>
                      </a:lnTo>
                      <a:lnTo>
                        <a:pt x="408" y="1555"/>
                      </a:lnTo>
                      <a:lnTo>
                        <a:pt x="408" y="1555"/>
                      </a:lnTo>
                      <a:lnTo>
                        <a:pt x="408" y="1555"/>
                      </a:lnTo>
                      <a:lnTo>
                        <a:pt x="408" y="1556"/>
                      </a:lnTo>
                      <a:lnTo>
                        <a:pt x="405" y="1556"/>
                      </a:lnTo>
                      <a:lnTo>
                        <a:pt x="405" y="1555"/>
                      </a:lnTo>
                      <a:lnTo>
                        <a:pt x="404" y="1555"/>
                      </a:lnTo>
                      <a:lnTo>
                        <a:pt x="404" y="1554"/>
                      </a:lnTo>
                      <a:lnTo>
                        <a:pt x="403" y="1554"/>
                      </a:lnTo>
                      <a:lnTo>
                        <a:pt x="404" y="1553"/>
                      </a:lnTo>
                      <a:lnTo>
                        <a:pt x="403" y="1552"/>
                      </a:lnTo>
                      <a:lnTo>
                        <a:pt x="403" y="1551"/>
                      </a:lnTo>
                      <a:lnTo>
                        <a:pt x="402" y="1551"/>
                      </a:lnTo>
                      <a:lnTo>
                        <a:pt x="402" y="1551"/>
                      </a:lnTo>
                      <a:lnTo>
                        <a:pt x="403" y="1550"/>
                      </a:lnTo>
                      <a:lnTo>
                        <a:pt x="402" y="1549"/>
                      </a:lnTo>
                      <a:lnTo>
                        <a:pt x="402" y="1548"/>
                      </a:lnTo>
                      <a:lnTo>
                        <a:pt x="402" y="1548"/>
                      </a:lnTo>
                      <a:lnTo>
                        <a:pt x="401" y="1548"/>
                      </a:lnTo>
                      <a:lnTo>
                        <a:pt x="400" y="1549"/>
                      </a:lnTo>
                      <a:lnTo>
                        <a:pt x="399" y="1550"/>
                      </a:lnTo>
                      <a:lnTo>
                        <a:pt x="399" y="1550"/>
                      </a:lnTo>
                      <a:lnTo>
                        <a:pt x="397" y="1550"/>
                      </a:lnTo>
                      <a:lnTo>
                        <a:pt x="397" y="1550"/>
                      </a:lnTo>
                      <a:lnTo>
                        <a:pt x="397" y="1548"/>
                      </a:lnTo>
                      <a:lnTo>
                        <a:pt x="397" y="1548"/>
                      </a:lnTo>
                      <a:lnTo>
                        <a:pt x="396" y="1549"/>
                      </a:lnTo>
                      <a:lnTo>
                        <a:pt x="396" y="1547"/>
                      </a:lnTo>
                      <a:lnTo>
                        <a:pt x="395" y="1547"/>
                      </a:lnTo>
                      <a:lnTo>
                        <a:pt x="394" y="1544"/>
                      </a:lnTo>
                      <a:lnTo>
                        <a:pt x="394" y="1544"/>
                      </a:lnTo>
                      <a:lnTo>
                        <a:pt x="394" y="1543"/>
                      </a:lnTo>
                      <a:lnTo>
                        <a:pt x="394" y="1543"/>
                      </a:lnTo>
                      <a:lnTo>
                        <a:pt x="394" y="1542"/>
                      </a:lnTo>
                      <a:lnTo>
                        <a:pt x="395" y="1542"/>
                      </a:lnTo>
                      <a:lnTo>
                        <a:pt x="396" y="1542"/>
                      </a:lnTo>
                      <a:lnTo>
                        <a:pt x="396" y="1540"/>
                      </a:lnTo>
                      <a:lnTo>
                        <a:pt x="397" y="1539"/>
                      </a:lnTo>
                      <a:lnTo>
                        <a:pt x="397" y="1538"/>
                      </a:lnTo>
                      <a:lnTo>
                        <a:pt x="399" y="1537"/>
                      </a:lnTo>
                      <a:lnTo>
                        <a:pt x="400" y="1536"/>
                      </a:lnTo>
                      <a:lnTo>
                        <a:pt x="401" y="1535"/>
                      </a:lnTo>
                      <a:lnTo>
                        <a:pt x="401" y="1536"/>
                      </a:lnTo>
                      <a:lnTo>
                        <a:pt x="401" y="1534"/>
                      </a:lnTo>
                      <a:lnTo>
                        <a:pt x="402" y="1534"/>
                      </a:lnTo>
                      <a:lnTo>
                        <a:pt x="402" y="1533"/>
                      </a:lnTo>
                      <a:lnTo>
                        <a:pt x="403" y="1533"/>
                      </a:lnTo>
                      <a:lnTo>
                        <a:pt x="404" y="1533"/>
                      </a:lnTo>
                      <a:lnTo>
                        <a:pt x="404" y="1532"/>
                      </a:lnTo>
                      <a:lnTo>
                        <a:pt x="405" y="1532"/>
                      </a:lnTo>
                      <a:lnTo>
                        <a:pt x="407" y="1531"/>
                      </a:lnTo>
                      <a:lnTo>
                        <a:pt x="407" y="1530"/>
                      </a:lnTo>
                      <a:lnTo>
                        <a:pt x="407" y="1530"/>
                      </a:lnTo>
                      <a:lnTo>
                        <a:pt x="408" y="1530"/>
                      </a:lnTo>
                      <a:lnTo>
                        <a:pt x="409" y="1528"/>
                      </a:lnTo>
                      <a:lnTo>
                        <a:pt x="408" y="1527"/>
                      </a:lnTo>
                      <a:lnTo>
                        <a:pt x="409" y="1526"/>
                      </a:lnTo>
                      <a:lnTo>
                        <a:pt x="409" y="1524"/>
                      </a:lnTo>
                      <a:lnTo>
                        <a:pt x="410" y="1524"/>
                      </a:lnTo>
                      <a:lnTo>
                        <a:pt x="410" y="1522"/>
                      </a:lnTo>
                      <a:lnTo>
                        <a:pt x="410" y="1522"/>
                      </a:lnTo>
                      <a:lnTo>
                        <a:pt x="410" y="1522"/>
                      </a:lnTo>
                      <a:lnTo>
                        <a:pt x="410" y="1522"/>
                      </a:lnTo>
                      <a:lnTo>
                        <a:pt x="410" y="1521"/>
                      </a:lnTo>
                      <a:lnTo>
                        <a:pt x="410" y="1521"/>
                      </a:lnTo>
                      <a:lnTo>
                        <a:pt x="411" y="1521"/>
                      </a:lnTo>
                      <a:lnTo>
                        <a:pt x="416" y="1521"/>
                      </a:lnTo>
                      <a:lnTo>
                        <a:pt x="418" y="1521"/>
                      </a:lnTo>
                      <a:lnTo>
                        <a:pt x="419" y="1521"/>
                      </a:lnTo>
                      <a:lnTo>
                        <a:pt x="420" y="1521"/>
                      </a:lnTo>
                      <a:lnTo>
                        <a:pt x="420" y="1520"/>
                      </a:lnTo>
                      <a:lnTo>
                        <a:pt x="421" y="1519"/>
                      </a:lnTo>
                      <a:lnTo>
                        <a:pt x="422" y="1519"/>
                      </a:lnTo>
                      <a:lnTo>
                        <a:pt x="422" y="1519"/>
                      </a:lnTo>
                      <a:lnTo>
                        <a:pt x="423" y="1518"/>
                      </a:lnTo>
                      <a:lnTo>
                        <a:pt x="424" y="1518"/>
                      </a:lnTo>
                      <a:lnTo>
                        <a:pt x="424" y="1518"/>
                      </a:lnTo>
                      <a:lnTo>
                        <a:pt x="425" y="1518"/>
                      </a:lnTo>
                      <a:lnTo>
                        <a:pt x="426" y="1518"/>
                      </a:lnTo>
                      <a:lnTo>
                        <a:pt x="427" y="1518"/>
                      </a:lnTo>
                      <a:lnTo>
                        <a:pt x="427" y="1519"/>
                      </a:lnTo>
                      <a:lnTo>
                        <a:pt x="428" y="1519"/>
                      </a:lnTo>
                      <a:lnTo>
                        <a:pt x="430" y="1519"/>
                      </a:lnTo>
                      <a:lnTo>
                        <a:pt x="434" y="1521"/>
                      </a:lnTo>
                      <a:lnTo>
                        <a:pt x="436" y="1521"/>
                      </a:lnTo>
                      <a:lnTo>
                        <a:pt x="437" y="1521"/>
                      </a:lnTo>
                      <a:lnTo>
                        <a:pt x="438" y="1521"/>
                      </a:lnTo>
                      <a:lnTo>
                        <a:pt x="439" y="1522"/>
                      </a:lnTo>
                      <a:lnTo>
                        <a:pt x="439" y="1524"/>
                      </a:lnTo>
                      <a:lnTo>
                        <a:pt x="441" y="1525"/>
                      </a:lnTo>
                      <a:lnTo>
                        <a:pt x="441" y="1526"/>
                      </a:lnTo>
                      <a:lnTo>
                        <a:pt x="442" y="1527"/>
                      </a:lnTo>
                      <a:lnTo>
                        <a:pt x="442" y="1528"/>
                      </a:lnTo>
                      <a:lnTo>
                        <a:pt x="443" y="1531"/>
                      </a:lnTo>
                      <a:lnTo>
                        <a:pt x="444" y="1531"/>
                      </a:lnTo>
                      <a:lnTo>
                        <a:pt x="444" y="1530"/>
                      </a:lnTo>
                      <a:lnTo>
                        <a:pt x="444" y="1530"/>
                      </a:lnTo>
                      <a:lnTo>
                        <a:pt x="444" y="1530"/>
                      </a:lnTo>
                      <a:lnTo>
                        <a:pt x="444" y="1528"/>
                      </a:lnTo>
                      <a:lnTo>
                        <a:pt x="444" y="1528"/>
                      </a:lnTo>
                      <a:lnTo>
                        <a:pt x="444" y="1528"/>
                      </a:lnTo>
                      <a:lnTo>
                        <a:pt x="445" y="1528"/>
                      </a:lnTo>
                      <a:lnTo>
                        <a:pt x="445" y="1530"/>
                      </a:lnTo>
                      <a:lnTo>
                        <a:pt x="445" y="1530"/>
                      </a:lnTo>
                      <a:lnTo>
                        <a:pt x="446" y="1531"/>
                      </a:lnTo>
                      <a:lnTo>
                        <a:pt x="446" y="1532"/>
                      </a:lnTo>
                      <a:lnTo>
                        <a:pt x="447" y="1532"/>
                      </a:lnTo>
                      <a:lnTo>
                        <a:pt x="447" y="1532"/>
                      </a:lnTo>
                      <a:lnTo>
                        <a:pt x="448" y="1533"/>
                      </a:lnTo>
                      <a:lnTo>
                        <a:pt x="449" y="1533"/>
                      </a:lnTo>
                      <a:lnTo>
                        <a:pt x="449" y="1533"/>
                      </a:lnTo>
                      <a:lnTo>
                        <a:pt x="450" y="1534"/>
                      </a:lnTo>
                      <a:lnTo>
                        <a:pt x="450" y="1534"/>
                      </a:lnTo>
                      <a:lnTo>
                        <a:pt x="452" y="1534"/>
                      </a:lnTo>
                      <a:lnTo>
                        <a:pt x="452" y="1535"/>
                      </a:lnTo>
                      <a:lnTo>
                        <a:pt x="453" y="1535"/>
                      </a:lnTo>
                      <a:lnTo>
                        <a:pt x="453" y="1534"/>
                      </a:lnTo>
                      <a:lnTo>
                        <a:pt x="453" y="1534"/>
                      </a:lnTo>
                      <a:lnTo>
                        <a:pt x="454" y="1531"/>
                      </a:lnTo>
                      <a:lnTo>
                        <a:pt x="454" y="1530"/>
                      </a:lnTo>
                      <a:lnTo>
                        <a:pt x="456" y="1530"/>
                      </a:lnTo>
                      <a:lnTo>
                        <a:pt x="458" y="1530"/>
                      </a:lnTo>
                      <a:lnTo>
                        <a:pt x="460" y="1528"/>
                      </a:lnTo>
                      <a:lnTo>
                        <a:pt x="460" y="1528"/>
                      </a:lnTo>
                      <a:lnTo>
                        <a:pt x="463" y="1528"/>
                      </a:lnTo>
                      <a:lnTo>
                        <a:pt x="463" y="1527"/>
                      </a:lnTo>
                      <a:lnTo>
                        <a:pt x="465" y="1527"/>
                      </a:lnTo>
                      <a:lnTo>
                        <a:pt x="467" y="1526"/>
                      </a:lnTo>
                      <a:lnTo>
                        <a:pt x="470" y="1526"/>
                      </a:lnTo>
                      <a:lnTo>
                        <a:pt x="471" y="1526"/>
                      </a:lnTo>
                      <a:lnTo>
                        <a:pt x="471" y="1526"/>
                      </a:lnTo>
                      <a:lnTo>
                        <a:pt x="473" y="1526"/>
                      </a:lnTo>
                      <a:lnTo>
                        <a:pt x="473" y="1525"/>
                      </a:lnTo>
                      <a:lnTo>
                        <a:pt x="474" y="1524"/>
                      </a:lnTo>
                      <a:lnTo>
                        <a:pt x="476" y="1524"/>
                      </a:lnTo>
                      <a:lnTo>
                        <a:pt x="476" y="1524"/>
                      </a:lnTo>
                      <a:lnTo>
                        <a:pt x="476" y="1524"/>
                      </a:lnTo>
                      <a:lnTo>
                        <a:pt x="478" y="1525"/>
                      </a:lnTo>
                      <a:lnTo>
                        <a:pt x="479" y="1525"/>
                      </a:lnTo>
                      <a:lnTo>
                        <a:pt x="479" y="1525"/>
                      </a:lnTo>
                      <a:lnTo>
                        <a:pt x="480" y="1525"/>
                      </a:lnTo>
                      <a:lnTo>
                        <a:pt x="481" y="1525"/>
                      </a:lnTo>
                      <a:lnTo>
                        <a:pt x="481" y="1525"/>
                      </a:lnTo>
                      <a:lnTo>
                        <a:pt x="480" y="1525"/>
                      </a:lnTo>
                      <a:lnTo>
                        <a:pt x="480" y="1524"/>
                      </a:lnTo>
                      <a:lnTo>
                        <a:pt x="479" y="1524"/>
                      </a:lnTo>
                      <a:lnTo>
                        <a:pt x="478" y="1524"/>
                      </a:lnTo>
                      <a:lnTo>
                        <a:pt x="477" y="1524"/>
                      </a:lnTo>
                      <a:lnTo>
                        <a:pt x="477" y="1524"/>
                      </a:lnTo>
                      <a:lnTo>
                        <a:pt x="475" y="1524"/>
                      </a:lnTo>
                      <a:lnTo>
                        <a:pt x="475" y="1523"/>
                      </a:lnTo>
                      <a:lnTo>
                        <a:pt x="475" y="1523"/>
                      </a:lnTo>
                      <a:lnTo>
                        <a:pt x="473" y="1522"/>
                      </a:lnTo>
                      <a:lnTo>
                        <a:pt x="470" y="1523"/>
                      </a:lnTo>
                      <a:lnTo>
                        <a:pt x="469" y="1524"/>
                      </a:lnTo>
                      <a:lnTo>
                        <a:pt x="468" y="1524"/>
                      </a:lnTo>
                      <a:lnTo>
                        <a:pt x="466" y="1524"/>
                      </a:lnTo>
                      <a:lnTo>
                        <a:pt x="466" y="1525"/>
                      </a:lnTo>
                      <a:lnTo>
                        <a:pt x="465" y="1525"/>
                      </a:lnTo>
                      <a:lnTo>
                        <a:pt x="465" y="1525"/>
                      </a:lnTo>
                      <a:lnTo>
                        <a:pt x="464" y="1526"/>
                      </a:lnTo>
                      <a:lnTo>
                        <a:pt x="460" y="1526"/>
                      </a:lnTo>
                      <a:lnTo>
                        <a:pt x="460" y="1527"/>
                      </a:lnTo>
                      <a:lnTo>
                        <a:pt x="460" y="1527"/>
                      </a:lnTo>
                      <a:lnTo>
                        <a:pt x="459" y="1528"/>
                      </a:lnTo>
                      <a:lnTo>
                        <a:pt x="459" y="1528"/>
                      </a:lnTo>
                      <a:lnTo>
                        <a:pt x="459" y="1527"/>
                      </a:lnTo>
                      <a:lnTo>
                        <a:pt x="459" y="1526"/>
                      </a:lnTo>
                      <a:lnTo>
                        <a:pt x="458" y="1526"/>
                      </a:lnTo>
                      <a:lnTo>
                        <a:pt x="456" y="1526"/>
                      </a:lnTo>
                      <a:lnTo>
                        <a:pt x="454" y="1528"/>
                      </a:lnTo>
                      <a:lnTo>
                        <a:pt x="453" y="1528"/>
                      </a:lnTo>
                      <a:lnTo>
                        <a:pt x="453" y="1528"/>
                      </a:lnTo>
                      <a:lnTo>
                        <a:pt x="453" y="1528"/>
                      </a:lnTo>
                      <a:lnTo>
                        <a:pt x="452" y="1527"/>
                      </a:lnTo>
                      <a:lnTo>
                        <a:pt x="451" y="1527"/>
                      </a:lnTo>
                      <a:lnTo>
                        <a:pt x="450" y="1527"/>
                      </a:lnTo>
                      <a:lnTo>
                        <a:pt x="450" y="1527"/>
                      </a:lnTo>
                      <a:lnTo>
                        <a:pt x="450" y="1526"/>
                      </a:lnTo>
                      <a:lnTo>
                        <a:pt x="447" y="1525"/>
                      </a:lnTo>
                      <a:lnTo>
                        <a:pt x="447" y="1524"/>
                      </a:lnTo>
                      <a:lnTo>
                        <a:pt x="446" y="1524"/>
                      </a:lnTo>
                      <a:lnTo>
                        <a:pt x="446" y="1523"/>
                      </a:lnTo>
                      <a:lnTo>
                        <a:pt x="446" y="1522"/>
                      </a:lnTo>
                      <a:lnTo>
                        <a:pt x="446" y="1522"/>
                      </a:lnTo>
                      <a:lnTo>
                        <a:pt x="445" y="1520"/>
                      </a:lnTo>
                      <a:lnTo>
                        <a:pt x="445" y="1519"/>
                      </a:lnTo>
                      <a:lnTo>
                        <a:pt x="446" y="1519"/>
                      </a:lnTo>
                      <a:lnTo>
                        <a:pt x="444" y="1518"/>
                      </a:lnTo>
                      <a:lnTo>
                        <a:pt x="444" y="1516"/>
                      </a:lnTo>
                      <a:lnTo>
                        <a:pt x="444" y="1516"/>
                      </a:lnTo>
                      <a:lnTo>
                        <a:pt x="443" y="1515"/>
                      </a:lnTo>
                      <a:lnTo>
                        <a:pt x="442" y="1515"/>
                      </a:lnTo>
                      <a:lnTo>
                        <a:pt x="442" y="1516"/>
                      </a:lnTo>
                      <a:lnTo>
                        <a:pt x="442" y="1516"/>
                      </a:lnTo>
                      <a:lnTo>
                        <a:pt x="441" y="1516"/>
                      </a:lnTo>
                      <a:lnTo>
                        <a:pt x="440" y="1514"/>
                      </a:lnTo>
                      <a:lnTo>
                        <a:pt x="439" y="1513"/>
                      </a:lnTo>
                      <a:lnTo>
                        <a:pt x="438" y="1513"/>
                      </a:lnTo>
                      <a:lnTo>
                        <a:pt x="437" y="1513"/>
                      </a:lnTo>
                      <a:lnTo>
                        <a:pt x="437" y="1513"/>
                      </a:lnTo>
                      <a:lnTo>
                        <a:pt x="437" y="1512"/>
                      </a:lnTo>
                      <a:lnTo>
                        <a:pt x="434" y="1512"/>
                      </a:lnTo>
                      <a:lnTo>
                        <a:pt x="434" y="1512"/>
                      </a:lnTo>
                      <a:lnTo>
                        <a:pt x="433" y="1511"/>
                      </a:lnTo>
                      <a:lnTo>
                        <a:pt x="431" y="1511"/>
                      </a:lnTo>
                      <a:lnTo>
                        <a:pt x="431" y="1511"/>
                      </a:lnTo>
                      <a:lnTo>
                        <a:pt x="427" y="1512"/>
                      </a:lnTo>
                      <a:lnTo>
                        <a:pt x="425" y="1512"/>
                      </a:lnTo>
                      <a:lnTo>
                        <a:pt x="425" y="1512"/>
                      </a:lnTo>
                      <a:lnTo>
                        <a:pt x="425" y="1512"/>
                      </a:lnTo>
                      <a:lnTo>
                        <a:pt x="424" y="1512"/>
                      </a:lnTo>
                      <a:lnTo>
                        <a:pt x="423" y="1512"/>
                      </a:lnTo>
                      <a:lnTo>
                        <a:pt x="423" y="1512"/>
                      </a:lnTo>
                      <a:lnTo>
                        <a:pt x="422" y="1511"/>
                      </a:lnTo>
                      <a:lnTo>
                        <a:pt x="421" y="1512"/>
                      </a:lnTo>
                      <a:lnTo>
                        <a:pt x="421" y="1511"/>
                      </a:lnTo>
                      <a:lnTo>
                        <a:pt x="419" y="1510"/>
                      </a:lnTo>
                      <a:lnTo>
                        <a:pt x="419" y="1510"/>
                      </a:lnTo>
                      <a:lnTo>
                        <a:pt x="418" y="1509"/>
                      </a:lnTo>
                      <a:lnTo>
                        <a:pt x="418" y="1508"/>
                      </a:lnTo>
                      <a:lnTo>
                        <a:pt x="417" y="1507"/>
                      </a:lnTo>
                      <a:lnTo>
                        <a:pt x="417" y="1505"/>
                      </a:lnTo>
                      <a:lnTo>
                        <a:pt x="416" y="1505"/>
                      </a:lnTo>
                      <a:lnTo>
                        <a:pt x="417" y="1504"/>
                      </a:lnTo>
                      <a:lnTo>
                        <a:pt x="417" y="1503"/>
                      </a:lnTo>
                      <a:lnTo>
                        <a:pt x="417" y="1502"/>
                      </a:lnTo>
                      <a:lnTo>
                        <a:pt x="417" y="1503"/>
                      </a:lnTo>
                      <a:lnTo>
                        <a:pt x="416" y="1503"/>
                      </a:lnTo>
                      <a:lnTo>
                        <a:pt x="415" y="1503"/>
                      </a:lnTo>
                      <a:lnTo>
                        <a:pt x="415" y="1503"/>
                      </a:lnTo>
                      <a:lnTo>
                        <a:pt x="415" y="1503"/>
                      </a:lnTo>
                      <a:lnTo>
                        <a:pt x="415" y="1502"/>
                      </a:lnTo>
                      <a:lnTo>
                        <a:pt x="416" y="1502"/>
                      </a:lnTo>
                      <a:lnTo>
                        <a:pt x="416" y="1501"/>
                      </a:lnTo>
                      <a:lnTo>
                        <a:pt x="417" y="1501"/>
                      </a:lnTo>
                      <a:lnTo>
                        <a:pt x="417" y="1500"/>
                      </a:lnTo>
                      <a:lnTo>
                        <a:pt x="417" y="1500"/>
                      </a:lnTo>
                      <a:lnTo>
                        <a:pt x="418" y="1500"/>
                      </a:lnTo>
                      <a:lnTo>
                        <a:pt x="418" y="1500"/>
                      </a:lnTo>
                      <a:lnTo>
                        <a:pt x="419" y="1497"/>
                      </a:lnTo>
                      <a:lnTo>
                        <a:pt x="420" y="1496"/>
                      </a:lnTo>
                      <a:lnTo>
                        <a:pt x="422" y="1496"/>
                      </a:lnTo>
                      <a:lnTo>
                        <a:pt x="422" y="1495"/>
                      </a:lnTo>
                      <a:lnTo>
                        <a:pt x="422" y="1495"/>
                      </a:lnTo>
                      <a:lnTo>
                        <a:pt x="422" y="1494"/>
                      </a:lnTo>
                      <a:lnTo>
                        <a:pt x="423" y="1494"/>
                      </a:lnTo>
                      <a:lnTo>
                        <a:pt x="424" y="1493"/>
                      </a:lnTo>
                      <a:lnTo>
                        <a:pt x="424" y="1493"/>
                      </a:lnTo>
                      <a:lnTo>
                        <a:pt x="425" y="1492"/>
                      </a:lnTo>
                      <a:lnTo>
                        <a:pt x="426" y="1492"/>
                      </a:lnTo>
                      <a:lnTo>
                        <a:pt x="427" y="1489"/>
                      </a:lnTo>
                      <a:lnTo>
                        <a:pt x="427" y="1489"/>
                      </a:lnTo>
                      <a:lnTo>
                        <a:pt x="427" y="1489"/>
                      </a:lnTo>
                      <a:lnTo>
                        <a:pt x="428" y="1488"/>
                      </a:lnTo>
                      <a:lnTo>
                        <a:pt x="428" y="1487"/>
                      </a:lnTo>
                      <a:lnTo>
                        <a:pt x="429" y="1486"/>
                      </a:lnTo>
                      <a:lnTo>
                        <a:pt x="429" y="1485"/>
                      </a:lnTo>
                      <a:lnTo>
                        <a:pt x="430" y="1485"/>
                      </a:lnTo>
                      <a:lnTo>
                        <a:pt x="430" y="1485"/>
                      </a:lnTo>
                      <a:lnTo>
                        <a:pt x="430" y="1484"/>
                      </a:lnTo>
                      <a:lnTo>
                        <a:pt x="429" y="1483"/>
                      </a:lnTo>
                      <a:lnTo>
                        <a:pt x="429" y="1483"/>
                      </a:lnTo>
                      <a:lnTo>
                        <a:pt x="428" y="1482"/>
                      </a:lnTo>
                      <a:lnTo>
                        <a:pt x="429" y="1481"/>
                      </a:lnTo>
                      <a:lnTo>
                        <a:pt x="427" y="1480"/>
                      </a:lnTo>
                      <a:lnTo>
                        <a:pt x="426" y="1480"/>
                      </a:lnTo>
                      <a:lnTo>
                        <a:pt x="425" y="1480"/>
                      </a:lnTo>
                      <a:lnTo>
                        <a:pt x="424" y="1479"/>
                      </a:lnTo>
                      <a:lnTo>
                        <a:pt x="424" y="1477"/>
                      </a:lnTo>
                      <a:lnTo>
                        <a:pt x="424" y="1475"/>
                      </a:lnTo>
                      <a:lnTo>
                        <a:pt x="426" y="1473"/>
                      </a:lnTo>
                      <a:lnTo>
                        <a:pt x="427" y="1472"/>
                      </a:lnTo>
                      <a:lnTo>
                        <a:pt x="427" y="1471"/>
                      </a:lnTo>
                      <a:lnTo>
                        <a:pt x="428" y="1470"/>
                      </a:lnTo>
                      <a:lnTo>
                        <a:pt x="429" y="1471"/>
                      </a:lnTo>
                      <a:lnTo>
                        <a:pt x="430" y="1470"/>
                      </a:lnTo>
                      <a:lnTo>
                        <a:pt x="432" y="1470"/>
                      </a:lnTo>
                      <a:lnTo>
                        <a:pt x="433" y="1469"/>
                      </a:lnTo>
                      <a:lnTo>
                        <a:pt x="434" y="1469"/>
                      </a:lnTo>
                      <a:lnTo>
                        <a:pt x="434" y="1468"/>
                      </a:lnTo>
                      <a:lnTo>
                        <a:pt x="436" y="1468"/>
                      </a:lnTo>
                      <a:lnTo>
                        <a:pt x="437" y="1467"/>
                      </a:lnTo>
                      <a:lnTo>
                        <a:pt x="437" y="1467"/>
                      </a:lnTo>
                      <a:lnTo>
                        <a:pt x="438" y="1467"/>
                      </a:lnTo>
                      <a:lnTo>
                        <a:pt x="438" y="1468"/>
                      </a:lnTo>
                      <a:lnTo>
                        <a:pt x="438" y="1468"/>
                      </a:lnTo>
                      <a:lnTo>
                        <a:pt x="438" y="1468"/>
                      </a:lnTo>
                      <a:lnTo>
                        <a:pt x="439" y="1468"/>
                      </a:lnTo>
                      <a:lnTo>
                        <a:pt x="441" y="1468"/>
                      </a:lnTo>
                      <a:lnTo>
                        <a:pt x="441" y="1467"/>
                      </a:lnTo>
                      <a:lnTo>
                        <a:pt x="442" y="1467"/>
                      </a:lnTo>
                      <a:lnTo>
                        <a:pt x="445" y="1466"/>
                      </a:lnTo>
                      <a:lnTo>
                        <a:pt x="445" y="1465"/>
                      </a:lnTo>
                      <a:lnTo>
                        <a:pt x="446" y="1465"/>
                      </a:lnTo>
                      <a:lnTo>
                        <a:pt x="447" y="1465"/>
                      </a:lnTo>
                      <a:lnTo>
                        <a:pt x="447" y="1464"/>
                      </a:lnTo>
                      <a:lnTo>
                        <a:pt x="448" y="1464"/>
                      </a:lnTo>
                      <a:lnTo>
                        <a:pt x="449" y="1464"/>
                      </a:lnTo>
                      <a:lnTo>
                        <a:pt x="451" y="1463"/>
                      </a:lnTo>
                      <a:lnTo>
                        <a:pt x="451" y="1463"/>
                      </a:lnTo>
                      <a:lnTo>
                        <a:pt x="451" y="1463"/>
                      </a:lnTo>
                      <a:lnTo>
                        <a:pt x="452" y="1464"/>
                      </a:lnTo>
                      <a:lnTo>
                        <a:pt x="453" y="1465"/>
                      </a:lnTo>
                      <a:lnTo>
                        <a:pt x="453" y="1465"/>
                      </a:lnTo>
                      <a:lnTo>
                        <a:pt x="454" y="1467"/>
                      </a:lnTo>
                      <a:lnTo>
                        <a:pt x="454" y="1467"/>
                      </a:lnTo>
                      <a:lnTo>
                        <a:pt x="454" y="1468"/>
                      </a:lnTo>
                      <a:lnTo>
                        <a:pt x="455" y="1468"/>
                      </a:lnTo>
                      <a:lnTo>
                        <a:pt x="455" y="1469"/>
                      </a:lnTo>
                      <a:lnTo>
                        <a:pt x="457" y="1471"/>
                      </a:lnTo>
                      <a:lnTo>
                        <a:pt x="457" y="1471"/>
                      </a:lnTo>
                      <a:lnTo>
                        <a:pt x="458" y="1472"/>
                      </a:lnTo>
                      <a:lnTo>
                        <a:pt x="459" y="1474"/>
                      </a:lnTo>
                      <a:lnTo>
                        <a:pt x="460" y="1475"/>
                      </a:lnTo>
                      <a:lnTo>
                        <a:pt x="460" y="1476"/>
                      </a:lnTo>
                      <a:lnTo>
                        <a:pt x="461" y="1476"/>
                      </a:lnTo>
                      <a:lnTo>
                        <a:pt x="461" y="1476"/>
                      </a:lnTo>
                      <a:lnTo>
                        <a:pt x="461" y="1477"/>
                      </a:lnTo>
                      <a:lnTo>
                        <a:pt x="462" y="1478"/>
                      </a:lnTo>
                      <a:lnTo>
                        <a:pt x="464" y="1478"/>
                      </a:lnTo>
                      <a:lnTo>
                        <a:pt x="464" y="1478"/>
                      </a:lnTo>
                      <a:lnTo>
                        <a:pt x="465" y="1479"/>
                      </a:lnTo>
                      <a:lnTo>
                        <a:pt x="466" y="1480"/>
                      </a:lnTo>
                      <a:lnTo>
                        <a:pt x="467" y="1481"/>
                      </a:lnTo>
                      <a:lnTo>
                        <a:pt x="468" y="1481"/>
                      </a:lnTo>
                      <a:lnTo>
                        <a:pt x="468" y="1483"/>
                      </a:lnTo>
                      <a:lnTo>
                        <a:pt x="470" y="1484"/>
                      </a:lnTo>
                      <a:lnTo>
                        <a:pt x="470" y="1484"/>
                      </a:lnTo>
                      <a:lnTo>
                        <a:pt x="471" y="1484"/>
                      </a:lnTo>
                      <a:lnTo>
                        <a:pt x="471" y="1483"/>
                      </a:lnTo>
                      <a:lnTo>
                        <a:pt x="473" y="1483"/>
                      </a:lnTo>
                      <a:lnTo>
                        <a:pt x="474" y="1483"/>
                      </a:lnTo>
                      <a:lnTo>
                        <a:pt x="474" y="1482"/>
                      </a:lnTo>
                      <a:lnTo>
                        <a:pt x="474" y="1482"/>
                      </a:lnTo>
                      <a:lnTo>
                        <a:pt x="474" y="1482"/>
                      </a:lnTo>
                      <a:lnTo>
                        <a:pt x="474" y="1480"/>
                      </a:lnTo>
                      <a:lnTo>
                        <a:pt x="475" y="1480"/>
                      </a:lnTo>
                      <a:lnTo>
                        <a:pt x="475" y="1480"/>
                      </a:lnTo>
                      <a:lnTo>
                        <a:pt x="476" y="1480"/>
                      </a:lnTo>
                      <a:lnTo>
                        <a:pt x="477" y="1480"/>
                      </a:lnTo>
                      <a:lnTo>
                        <a:pt x="477" y="1479"/>
                      </a:lnTo>
                      <a:lnTo>
                        <a:pt x="477" y="1479"/>
                      </a:lnTo>
                      <a:lnTo>
                        <a:pt x="478" y="1478"/>
                      </a:lnTo>
                      <a:lnTo>
                        <a:pt x="478" y="1477"/>
                      </a:lnTo>
                      <a:lnTo>
                        <a:pt x="478" y="1477"/>
                      </a:lnTo>
                      <a:lnTo>
                        <a:pt x="477" y="1477"/>
                      </a:lnTo>
                      <a:lnTo>
                        <a:pt x="475" y="1478"/>
                      </a:lnTo>
                      <a:lnTo>
                        <a:pt x="475" y="1479"/>
                      </a:lnTo>
                      <a:lnTo>
                        <a:pt x="475" y="1478"/>
                      </a:lnTo>
                      <a:lnTo>
                        <a:pt x="475" y="1478"/>
                      </a:lnTo>
                      <a:lnTo>
                        <a:pt x="474" y="1477"/>
                      </a:lnTo>
                      <a:lnTo>
                        <a:pt x="473" y="1477"/>
                      </a:lnTo>
                      <a:lnTo>
                        <a:pt x="471" y="1477"/>
                      </a:lnTo>
                      <a:lnTo>
                        <a:pt x="470" y="1477"/>
                      </a:lnTo>
                      <a:lnTo>
                        <a:pt x="470" y="1476"/>
                      </a:lnTo>
                      <a:lnTo>
                        <a:pt x="469" y="1476"/>
                      </a:lnTo>
                      <a:lnTo>
                        <a:pt x="468" y="1476"/>
                      </a:lnTo>
                      <a:lnTo>
                        <a:pt x="468" y="1476"/>
                      </a:lnTo>
                      <a:lnTo>
                        <a:pt x="468" y="1476"/>
                      </a:lnTo>
                      <a:lnTo>
                        <a:pt x="467" y="1476"/>
                      </a:lnTo>
                      <a:lnTo>
                        <a:pt x="467" y="1475"/>
                      </a:lnTo>
                      <a:lnTo>
                        <a:pt x="466" y="1475"/>
                      </a:lnTo>
                      <a:lnTo>
                        <a:pt x="465" y="1474"/>
                      </a:lnTo>
                      <a:lnTo>
                        <a:pt x="464" y="1473"/>
                      </a:lnTo>
                      <a:lnTo>
                        <a:pt x="463" y="1472"/>
                      </a:lnTo>
                      <a:lnTo>
                        <a:pt x="463" y="1472"/>
                      </a:lnTo>
                      <a:lnTo>
                        <a:pt x="462" y="1471"/>
                      </a:lnTo>
                      <a:lnTo>
                        <a:pt x="461" y="1469"/>
                      </a:lnTo>
                      <a:lnTo>
                        <a:pt x="460" y="1468"/>
                      </a:lnTo>
                      <a:lnTo>
                        <a:pt x="459" y="1468"/>
                      </a:lnTo>
                      <a:lnTo>
                        <a:pt x="458" y="1467"/>
                      </a:lnTo>
                      <a:lnTo>
                        <a:pt x="457" y="1466"/>
                      </a:lnTo>
                      <a:lnTo>
                        <a:pt x="456" y="1465"/>
                      </a:lnTo>
                      <a:lnTo>
                        <a:pt x="456" y="1464"/>
                      </a:lnTo>
                      <a:lnTo>
                        <a:pt x="455" y="1464"/>
                      </a:lnTo>
                      <a:lnTo>
                        <a:pt x="455" y="1464"/>
                      </a:lnTo>
                      <a:lnTo>
                        <a:pt x="455" y="1463"/>
                      </a:lnTo>
                      <a:lnTo>
                        <a:pt x="455" y="1463"/>
                      </a:lnTo>
                      <a:lnTo>
                        <a:pt x="453" y="1462"/>
                      </a:lnTo>
                      <a:lnTo>
                        <a:pt x="453" y="1461"/>
                      </a:lnTo>
                      <a:lnTo>
                        <a:pt x="453" y="1460"/>
                      </a:lnTo>
                      <a:lnTo>
                        <a:pt x="453" y="1459"/>
                      </a:lnTo>
                      <a:lnTo>
                        <a:pt x="453" y="1458"/>
                      </a:lnTo>
                      <a:lnTo>
                        <a:pt x="454" y="1458"/>
                      </a:lnTo>
                      <a:lnTo>
                        <a:pt x="454" y="1458"/>
                      </a:lnTo>
                      <a:lnTo>
                        <a:pt x="454" y="1457"/>
                      </a:lnTo>
                      <a:lnTo>
                        <a:pt x="455" y="1457"/>
                      </a:lnTo>
                      <a:lnTo>
                        <a:pt x="456" y="1457"/>
                      </a:lnTo>
                      <a:lnTo>
                        <a:pt x="456" y="1456"/>
                      </a:lnTo>
                      <a:lnTo>
                        <a:pt x="457" y="1456"/>
                      </a:lnTo>
                      <a:lnTo>
                        <a:pt x="458" y="1454"/>
                      </a:lnTo>
                      <a:lnTo>
                        <a:pt x="458" y="1454"/>
                      </a:lnTo>
                      <a:lnTo>
                        <a:pt x="459" y="1452"/>
                      </a:lnTo>
                      <a:lnTo>
                        <a:pt x="459" y="1450"/>
                      </a:lnTo>
                      <a:lnTo>
                        <a:pt x="459" y="1449"/>
                      </a:lnTo>
                      <a:lnTo>
                        <a:pt x="460" y="1448"/>
                      </a:lnTo>
                      <a:lnTo>
                        <a:pt x="460" y="1448"/>
                      </a:lnTo>
                      <a:lnTo>
                        <a:pt x="460" y="1448"/>
                      </a:lnTo>
                      <a:lnTo>
                        <a:pt x="462" y="1448"/>
                      </a:lnTo>
                      <a:lnTo>
                        <a:pt x="462" y="1447"/>
                      </a:lnTo>
                      <a:lnTo>
                        <a:pt x="462" y="1447"/>
                      </a:lnTo>
                      <a:lnTo>
                        <a:pt x="462" y="1447"/>
                      </a:lnTo>
                      <a:lnTo>
                        <a:pt x="464" y="1447"/>
                      </a:lnTo>
                      <a:lnTo>
                        <a:pt x="465" y="1447"/>
                      </a:lnTo>
                      <a:lnTo>
                        <a:pt x="469" y="1446"/>
                      </a:lnTo>
                      <a:lnTo>
                        <a:pt x="468" y="1446"/>
                      </a:lnTo>
                      <a:lnTo>
                        <a:pt x="468" y="1445"/>
                      </a:lnTo>
                      <a:lnTo>
                        <a:pt x="468" y="1445"/>
                      </a:lnTo>
                      <a:lnTo>
                        <a:pt x="468" y="1444"/>
                      </a:lnTo>
                      <a:lnTo>
                        <a:pt x="466" y="1445"/>
                      </a:lnTo>
                      <a:lnTo>
                        <a:pt x="465" y="1445"/>
                      </a:lnTo>
                      <a:lnTo>
                        <a:pt x="464" y="1445"/>
                      </a:lnTo>
                      <a:lnTo>
                        <a:pt x="463" y="1446"/>
                      </a:lnTo>
                      <a:lnTo>
                        <a:pt x="463" y="1446"/>
                      </a:lnTo>
                      <a:lnTo>
                        <a:pt x="462" y="1446"/>
                      </a:lnTo>
                      <a:lnTo>
                        <a:pt x="460" y="1446"/>
                      </a:lnTo>
                      <a:lnTo>
                        <a:pt x="460" y="1447"/>
                      </a:lnTo>
                      <a:lnTo>
                        <a:pt x="460" y="1448"/>
                      </a:lnTo>
                      <a:lnTo>
                        <a:pt x="459" y="1448"/>
                      </a:lnTo>
                      <a:lnTo>
                        <a:pt x="459" y="1449"/>
                      </a:lnTo>
                      <a:lnTo>
                        <a:pt x="459" y="1451"/>
                      </a:lnTo>
                      <a:lnTo>
                        <a:pt x="457" y="1454"/>
                      </a:lnTo>
                      <a:lnTo>
                        <a:pt x="457" y="1455"/>
                      </a:lnTo>
                      <a:lnTo>
                        <a:pt x="455" y="1455"/>
                      </a:lnTo>
                      <a:lnTo>
                        <a:pt x="454" y="1456"/>
                      </a:lnTo>
                      <a:lnTo>
                        <a:pt x="454" y="1456"/>
                      </a:lnTo>
                      <a:lnTo>
                        <a:pt x="453" y="1458"/>
                      </a:lnTo>
                      <a:lnTo>
                        <a:pt x="452" y="1461"/>
                      </a:lnTo>
                      <a:lnTo>
                        <a:pt x="452" y="1460"/>
                      </a:lnTo>
                      <a:lnTo>
                        <a:pt x="452" y="1459"/>
                      </a:lnTo>
                      <a:lnTo>
                        <a:pt x="452" y="1459"/>
                      </a:lnTo>
                      <a:lnTo>
                        <a:pt x="450" y="1459"/>
                      </a:lnTo>
                      <a:lnTo>
                        <a:pt x="450" y="1460"/>
                      </a:lnTo>
                      <a:lnTo>
                        <a:pt x="448" y="1459"/>
                      </a:lnTo>
                      <a:lnTo>
                        <a:pt x="447" y="1460"/>
                      </a:lnTo>
                      <a:lnTo>
                        <a:pt x="446" y="1461"/>
                      </a:lnTo>
                      <a:lnTo>
                        <a:pt x="445" y="1461"/>
                      </a:lnTo>
                      <a:lnTo>
                        <a:pt x="444" y="1460"/>
                      </a:lnTo>
                      <a:lnTo>
                        <a:pt x="444" y="1460"/>
                      </a:lnTo>
                      <a:lnTo>
                        <a:pt x="444" y="1459"/>
                      </a:lnTo>
                      <a:lnTo>
                        <a:pt x="443" y="1461"/>
                      </a:lnTo>
                      <a:lnTo>
                        <a:pt x="442" y="1462"/>
                      </a:lnTo>
                      <a:lnTo>
                        <a:pt x="440" y="1462"/>
                      </a:lnTo>
                      <a:lnTo>
                        <a:pt x="441" y="1461"/>
                      </a:lnTo>
                      <a:lnTo>
                        <a:pt x="440" y="1461"/>
                      </a:lnTo>
                      <a:lnTo>
                        <a:pt x="439" y="1462"/>
                      </a:lnTo>
                      <a:lnTo>
                        <a:pt x="438" y="1462"/>
                      </a:lnTo>
                      <a:lnTo>
                        <a:pt x="438" y="1463"/>
                      </a:lnTo>
                      <a:lnTo>
                        <a:pt x="437" y="1463"/>
                      </a:lnTo>
                      <a:lnTo>
                        <a:pt x="437" y="1463"/>
                      </a:lnTo>
                      <a:lnTo>
                        <a:pt x="437" y="1462"/>
                      </a:lnTo>
                      <a:lnTo>
                        <a:pt x="437" y="1460"/>
                      </a:lnTo>
                      <a:lnTo>
                        <a:pt x="436" y="1460"/>
                      </a:lnTo>
                      <a:lnTo>
                        <a:pt x="434" y="1460"/>
                      </a:lnTo>
                      <a:lnTo>
                        <a:pt x="431" y="1461"/>
                      </a:lnTo>
                      <a:lnTo>
                        <a:pt x="430" y="1461"/>
                      </a:lnTo>
                      <a:lnTo>
                        <a:pt x="430" y="1460"/>
                      </a:lnTo>
                      <a:lnTo>
                        <a:pt x="429" y="1459"/>
                      </a:lnTo>
                      <a:lnTo>
                        <a:pt x="427" y="1458"/>
                      </a:lnTo>
                      <a:lnTo>
                        <a:pt x="427" y="1457"/>
                      </a:lnTo>
                      <a:lnTo>
                        <a:pt x="425" y="1457"/>
                      </a:lnTo>
                      <a:lnTo>
                        <a:pt x="424" y="1457"/>
                      </a:lnTo>
                      <a:lnTo>
                        <a:pt x="423" y="1458"/>
                      </a:lnTo>
                      <a:lnTo>
                        <a:pt x="422" y="1459"/>
                      </a:lnTo>
                      <a:lnTo>
                        <a:pt x="421" y="1459"/>
                      </a:lnTo>
                      <a:lnTo>
                        <a:pt x="421" y="1459"/>
                      </a:lnTo>
                      <a:lnTo>
                        <a:pt x="420" y="1459"/>
                      </a:lnTo>
                      <a:lnTo>
                        <a:pt x="419" y="1459"/>
                      </a:lnTo>
                      <a:lnTo>
                        <a:pt x="417" y="1459"/>
                      </a:lnTo>
                      <a:lnTo>
                        <a:pt x="416" y="1458"/>
                      </a:lnTo>
                      <a:lnTo>
                        <a:pt x="416" y="1459"/>
                      </a:lnTo>
                      <a:lnTo>
                        <a:pt x="414" y="1459"/>
                      </a:lnTo>
                      <a:lnTo>
                        <a:pt x="413" y="1459"/>
                      </a:lnTo>
                      <a:lnTo>
                        <a:pt x="413" y="1460"/>
                      </a:lnTo>
                      <a:lnTo>
                        <a:pt x="413" y="1460"/>
                      </a:lnTo>
                      <a:lnTo>
                        <a:pt x="413" y="1459"/>
                      </a:lnTo>
                      <a:lnTo>
                        <a:pt x="412" y="1460"/>
                      </a:lnTo>
                      <a:lnTo>
                        <a:pt x="411" y="1459"/>
                      </a:lnTo>
                      <a:lnTo>
                        <a:pt x="409" y="1459"/>
                      </a:lnTo>
                      <a:lnTo>
                        <a:pt x="409" y="1459"/>
                      </a:lnTo>
                      <a:lnTo>
                        <a:pt x="408" y="1459"/>
                      </a:lnTo>
                      <a:lnTo>
                        <a:pt x="408" y="1459"/>
                      </a:lnTo>
                      <a:lnTo>
                        <a:pt x="407" y="1460"/>
                      </a:lnTo>
                      <a:lnTo>
                        <a:pt x="406" y="1460"/>
                      </a:lnTo>
                      <a:lnTo>
                        <a:pt x="406" y="1459"/>
                      </a:lnTo>
                      <a:lnTo>
                        <a:pt x="408" y="1459"/>
                      </a:lnTo>
                      <a:lnTo>
                        <a:pt x="408" y="1458"/>
                      </a:lnTo>
                      <a:lnTo>
                        <a:pt x="408" y="1457"/>
                      </a:lnTo>
                      <a:lnTo>
                        <a:pt x="408" y="1457"/>
                      </a:lnTo>
                      <a:lnTo>
                        <a:pt x="409" y="1457"/>
                      </a:lnTo>
                      <a:lnTo>
                        <a:pt x="410" y="1457"/>
                      </a:lnTo>
                      <a:lnTo>
                        <a:pt x="410" y="1457"/>
                      </a:lnTo>
                      <a:lnTo>
                        <a:pt x="410" y="1456"/>
                      </a:lnTo>
                      <a:lnTo>
                        <a:pt x="410" y="1455"/>
                      </a:lnTo>
                      <a:lnTo>
                        <a:pt x="409" y="1455"/>
                      </a:lnTo>
                      <a:lnTo>
                        <a:pt x="409" y="1454"/>
                      </a:lnTo>
                      <a:lnTo>
                        <a:pt x="409" y="1454"/>
                      </a:lnTo>
                      <a:lnTo>
                        <a:pt x="409" y="1452"/>
                      </a:lnTo>
                      <a:lnTo>
                        <a:pt x="409" y="1451"/>
                      </a:lnTo>
                      <a:lnTo>
                        <a:pt x="410" y="1451"/>
                      </a:lnTo>
                      <a:lnTo>
                        <a:pt x="410" y="1450"/>
                      </a:lnTo>
                      <a:lnTo>
                        <a:pt x="411" y="1450"/>
                      </a:lnTo>
                      <a:lnTo>
                        <a:pt x="411" y="1449"/>
                      </a:lnTo>
                      <a:lnTo>
                        <a:pt x="409" y="1449"/>
                      </a:lnTo>
                      <a:lnTo>
                        <a:pt x="409" y="1449"/>
                      </a:lnTo>
                      <a:lnTo>
                        <a:pt x="409" y="1448"/>
                      </a:lnTo>
                      <a:lnTo>
                        <a:pt x="410" y="1447"/>
                      </a:lnTo>
                      <a:lnTo>
                        <a:pt x="410" y="1447"/>
                      </a:lnTo>
                      <a:lnTo>
                        <a:pt x="410" y="1446"/>
                      </a:lnTo>
                      <a:lnTo>
                        <a:pt x="410" y="1446"/>
                      </a:lnTo>
                      <a:lnTo>
                        <a:pt x="411" y="1446"/>
                      </a:lnTo>
                      <a:lnTo>
                        <a:pt x="411" y="1445"/>
                      </a:lnTo>
                      <a:lnTo>
                        <a:pt x="411" y="1445"/>
                      </a:lnTo>
                      <a:lnTo>
                        <a:pt x="411" y="1445"/>
                      </a:lnTo>
                      <a:lnTo>
                        <a:pt x="410" y="1445"/>
                      </a:lnTo>
                      <a:lnTo>
                        <a:pt x="410" y="1445"/>
                      </a:lnTo>
                      <a:lnTo>
                        <a:pt x="410" y="1445"/>
                      </a:lnTo>
                      <a:lnTo>
                        <a:pt x="411" y="1444"/>
                      </a:lnTo>
                      <a:lnTo>
                        <a:pt x="411" y="1445"/>
                      </a:lnTo>
                      <a:lnTo>
                        <a:pt x="412" y="1444"/>
                      </a:lnTo>
                      <a:lnTo>
                        <a:pt x="411" y="1444"/>
                      </a:lnTo>
                      <a:lnTo>
                        <a:pt x="411" y="1444"/>
                      </a:lnTo>
                      <a:lnTo>
                        <a:pt x="412" y="1444"/>
                      </a:lnTo>
                      <a:lnTo>
                        <a:pt x="412" y="1444"/>
                      </a:lnTo>
                      <a:lnTo>
                        <a:pt x="412" y="1444"/>
                      </a:lnTo>
                      <a:lnTo>
                        <a:pt x="412" y="1444"/>
                      </a:lnTo>
                      <a:lnTo>
                        <a:pt x="414" y="1444"/>
                      </a:lnTo>
                      <a:lnTo>
                        <a:pt x="414" y="1442"/>
                      </a:lnTo>
                      <a:lnTo>
                        <a:pt x="414" y="1441"/>
                      </a:lnTo>
                      <a:lnTo>
                        <a:pt x="415" y="1441"/>
                      </a:lnTo>
                      <a:lnTo>
                        <a:pt x="415" y="1441"/>
                      </a:lnTo>
                      <a:lnTo>
                        <a:pt x="415" y="1440"/>
                      </a:lnTo>
                      <a:lnTo>
                        <a:pt x="415" y="1441"/>
                      </a:lnTo>
                      <a:lnTo>
                        <a:pt x="416" y="1441"/>
                      </a:lnTo>
                      <a:lnTo>
                        <a:pt x="417" y="1441"/>
                      </a:lnTo>
                      <a:lnTo>
                        <a:pt x="417" y="1441"/>
                      </a:lnTo>
                      <a:lnTo>
                        <a:pt x="417" y="1441"/>
                      </a:lnTo>
                      <a:lnTo>
                        <a:pt x="419" y="1441"/>
                      </a:lnTo>
                      <a:lnTo>
                        <a:pt x="419" y="1441"/>
                      </a:lnTo>
                      <a:lnTo>
                        <a:pt x="418" y="1440"/>
                      </a:lnTo>
                      <a:lnTo>
                        <a:pt x="418" y="1440"/>
                      </a:lnTo>
                      <a:lnTo>
                        <a:pt x="418" y="1438"/>
                      </a:lnTo>
                      <a:lnTo>
                        <a:pt x="419" y="1438"/>
                      </a:lnTo>
                      <a:lnTo>
                        <a:pt x="419" y="1437"/>
                      </a:lnTo>
                      <a:lnTo>
                        <a:pt x="419" y="1436"/>
                      </a:lnTo>
                      <a:lnTo>
                        <a:pt x="418" y="1436"/>
                      </a:lnTo>
                      <a:lnTo>
                        <a:pt x="418" y="1437"/>
                      </a:lnTo>
                      <a:lnTo>
                        <a:pt x="418" y="1437"/>
                      </a:lnTo>
                      <a:lnTo>
                        <a:pt x="417" y="1436"/>
                      </a:lnTo>
                      <a:lnTo>
                        <a:pt x="417" y="1436"/>
                      </a:lnTo>
                      <a:lnTo>
                        <a:pt x="417" y="1435"/>
                      </a:lnTo>
                      <a:lnTo>
                        <a:pt x="420" y="1435"/>
                      </a:lnTo>
                      <a:lnTo>
                        <a:pt x="421" y="1435"/>
                      </a:lnTo>
                      <a:lnTo>
                        <a:pt x="422" y="1435"/>
                      </a:lnTo>
                      <a:lnTo>
                        <a:pt x="423" y="1435"/>
                      </a:lnTo>
                      <a:lnTo>
                        <a:pt x="423" y="1435"/>
                      </a:lnTo>
                      <a:lnTo>
                        <a:pt x="423" y="1435"/>
                      </a:lnTo>
                      <a:lnTo>
                        <a:pt x="423" y="1434"/>
                      </a:lnTo>
                      <a:lnTo>
                        <a:pt x="423" y="1433"/>
                      </a:lnTo>
                      <a:lnTo>
                        <a:pt x="423" y="1433"/>
                      </a:lnTo>
                      <a:lnTo>
                        <a:pt x="423" y="1433"/>
                      </a:lnTo>
                      <a:lnTo>
                        <a:pt x="425" y="1432"/>
                      </a:lnTo>
                      <a:lnTo>
                        <a:pt x="425" y="1433"/>
                      </a:lnTo>
                      <a:lnTo>
                        <a:pt x="426" y="1432"/>
                      </a:lnTo>
                      <a:lnTo>
                        <a:pt x="426" y="1433"/>
                      </a:lnTo>
                      <a:lnTo>
                        <a:pt x="426" y="1436"/>
                      </a:lnTo>
                      <a:lnTo>
                        <a:pt x="425" y="1436"/>
                      </a:lnTo>
                      <a:lnTo>
                        <a:pt x="425" y="1436"/>
                      </a:lnTo>
                      <a:lnTo>
                        <a:pt x="425" y="1436"/>
                      </a:lnTo>
                      <a:lnTo>
                        <a:pt x="425" y="1436"/>
                      </a:lnTo>
                      <a:lnTo>
                        <a:pt x="425" y="1437"/>
                      </a:lnTo>
                      <a:lnTo>
                        <a:pt x="424" y="1437"/>
                      </a:lnTo>
                      <a:lnTo>
                        <a:pt x="425" y="1438"/>
                      </a:lnTo>
                      <a:lnTo>
                        <a:pt x="425" y="1437"/>
                      </a:lnTo>
                      <a:lnTo>
                        <a:pt x="427" y="1437"/>
                      </a:lnTo>
                      <a:lnTo>
                        <a:pt x="427" y="1436"/>
                      </a:lnTo>
                      <a:lnTo>
                        <a:pt x="428" y="1436"/>
                      </a:lnTo>
                      <a:lnTo>
                        <a:pt x="430" y="1436"/>
                      </a:lnTo>
                      <a:lnTo>
                        <a:pt x="431" y="1436"/>
                      </a:lnTo>
                      <a:lnTo>
                        <a:pt x="432" y="1436"/>
                      </a:lnTo>
                      <a:lnTo>
                        <a:pt x="433" y="1435"/>
                      </a:lnTo>
                      <a:lnTo>
                        <a:pt x="436" y="1434"/>
                      </a:lnTo>
                      <a:lnTo>
                        <a:pt x="436" y="1434"/>
                      </a:lnTo>
                      <a:lnTo>
                        <a:pt x="437" y="1434"/>
                      </a:lnTo>
                      <a:lnTo>
                        <a:pt x="437" y="1434"/>
                      </a:lnTo>
                      <a:lnTo>
                        <a:pt x="438" y="1434"/>
                      </a:lnTo>
                      <a:lnTo>
                        <a:pt x="439" y="1433"/>
                      </a:lnTo>
                      <a:lnTo>
                        <a:pt x="438" y="1433"/>
                      </a:lnTo>
                      <a:lnTo>
                        <a:pt x="439" y="1431"/>
                      </a:lnTo>
                      <a:lnTo>
                        <a:pt x="441" y="1430"/>
                      </a:lnTo>
                      <a:lnTo>
                        <a:pt x="442" y="1430"/>
                      </a:lnTo>
                      <a:lnTo>
                        <a:pt x="444" y="1430"/>
                      </a:lnTo>
                      <a:lnTo>
                        <a:pt x="445" y="1430"/>
                      </a:lnTo>
                      <a:lnTo>
                        <a:pt x="446" y="1430"/>
                      </a:lnTo>
                      <a:lnTo>
                        <a:pt x="449" y="1431"/>
                      </a:lnTo>
                      <a:lnTo>
                        <a:pt x="450" y="1430"/>
                      </a:lnTo>
                      <a:lnTo>
                        <a:pt x="451" y="1429"/>
                      </a:lnTo>
                      <a:lnTo>
                        <a:pt x="451" y="1429"/>
                      </a:lnTo>
                      <a:lnTo>
                        <a:pt x="451" y="1429"/>
                      </a:lnTo>
                      <a:lnTo>
                        <a:pt x="452" y="1428"/>
                      </a:lnTo>
                      <a:lnTo>
                        <a:pt x="452" y="1428"/>
                      </a:lnTo>
                      <a:lnTo>
                        <a:pt x="454" y="1427"/>
                      </a:lnTo>
                      <a:lnTo>
                        <a:pt x="454" y="1426"/>
                      </a:lnTo>
                      <a:lnTo>
                        <a:pt x="455" y="1426"/>
                      </a:lnTo>
                      <a:lnTo>
                        <a:pt x="456" y="1423"/>
                      </a:lnTo>
                      <a:lnTo>
                        <a:pt x="457" y="1423"/>
                      </a:lnTo>
                      <a:lnTo>
                        <a:pt x="457" y="1422"/>
                      </a:lnTo>
                      <a:lnTo>
                        <a:pt x="458" y="1422"/>
                      </a:lnTo>
                      <a:lnTo>
                        <a:pt x="459" y="1422"/>
                      </a:lnTo>
                      <a:lnTo>
                        <a:pt x="460" y="1420"/>
                      </a:lnTo>
                      <a:lnTo>
                        <a:pt x="462" y="1419"/>
                      </a:lnTo>
                      <a:lnTo>
                        <a:pt x="462" y="1418"/>
                      </a:lnTo>
                      <a:lnTo>
                        <a:pt x="463" y="1418"/>
                      </a:lnTo>
                      <a:lnTo>
                        <a:pt x="463" y="1417"/>
                      </a:lnTo>
                      <a:lnTo>
                        <a:pt x="464" y="1417"/>
                      </a:lnTo>
                      <a:lnTo>
                        <a:pt x="465" y="1414"/>
                      </a:lnTo>
                      <a:lnTo>
                        <a:pt x="465" y="1413"/>
                      </a:lnTo>
                      <a:lnTo>
                        <a:pt x="465" y="1412"/>
                      </a:lnTo>
                      <a:lnTo>
                        <a:pt x="466" y="1410"/>
                      </a:lnTo>
                      <a:lnTo>
                        <a:pt x="467" y="1408"/>
                      </a:lnTo>
                      <a:lnTo>
                        <a:pt x="467" y="1408"/>
                      </a:lnTo>
                      <a:lnTo>
                        <a:pt x="468" y="1408"/>
                      </a:lnTo>
                      <a:lnTo>
                        <a:pt x="468" y="1407"/>
                      </a:lnTo>
                      <a:lnTo>
                        <a:pt x="469" y="1406"/>
                      </a:lnTo>
                      <a:lnTo>
                        <a:pt x="469" y="1406"/>
                      </a:lnTo>
                      <a:lnTo>
                        <a:pt x="464" y="1404"/>
                      </a:lnTo>
                      <a:lnTo>
                        <a:pt x="463" y="1405"/>
                      </a:lnTo>
                      <a:lnTo>
                        <a:pt x="463" y="1405"/>
                      </a:lnTo>
                      <a:lnTo>
                        <a:pt x="462" y="1406"/>
                      </a:lnTo>
                      <a:lnTo>
                        <a:pt x="462" y="1407"/>
                      </a:lnTo>
                      <a:lnTo>
                        <a:pt x="462" y="1407"/>
                      </a:lnTo>
                      <a:lnTo>
                        <a:pt x="461" y="1408"/>
                      </a:lnTo>
                      <a:lnTo>
                        <a:pt x="460" y="1410"/>
                      </a:lnTo>
                      <a:lnTo>
                        <a:pt x="457" y="1412"/>
                      </a:lnTo>
                      <a:lnTo>
                        <a:pt x="457" y="1413"/>
                      </a:lnTo>
                      <a:lnTo>
                        <a:pt x="456" y="1413"/>
                      </a:lnTo>
                      <a:lnTo>
                        <a:pt x="455" y="1416"/>
                      </a:lnTo>
                      <a:lnTo>
                        <a:pt x="455" y="1417"/>
                      </a:lnTo>
                      <a:lnTo>
                        <a:pt x="456" y="1417"/>
                      </a:lnTo>
                      <a:lnTo>
                        <a:pt x="456" y="1417"/>
                      </a:lnTo>
                      <a:lnTo>
                        <a:pt x="455" y="1417"/>
                      </a:lnTo>
                      <a:lnTo>
                        <a:pt x="454" y="1418"/>
                      </a:lnTo>
                      <a:lnTo>
                        <a:pt x="454" y="1418"/>
                      </a:lnTo>
                      <a:lnTo>
                        <a:pt x="454" y="1418"/>
                      </a:lnTo>
                      <a:lnTo>
                        <a:pt x="453" y="1419"/>
                      </a:lnTo>
                      <a:lnTo>
                        <a:pt x="453" y="1419"/>
                      </a:lnTo>
                      <a:lnTo>
                        <a:pt x="452" y="1420"/>
                      </a:lnTo>
                      <a:lnTo>
                        <a:pt x="453" y="1420"/>
                      </a:lnTo>
                      <a:lnTo>
                        <a:pt x="452" y="1421"/>
                      </a:lnTo>
                      <a:lnTo>
                        <a:pt x="451" y="1421"/>
                      </a:lnTo>
                      <a:lnTo>
                        <a:pt x="451" y="1422"/>
                      </a:lnTo>
                      <a:lnTo>
                        <a:pt x="450" y="1423"/>
                      </a:lnTo>
                      <a:lnTo>
                        <a:pt x="449" y="1424"/>
                      </a:lnTo>
                      <a:lnTo>
                        <a:pt x="448" y="1425"/>
                      </a:lnTo>
                      <a:lnTo>
                        <a:pt x="448" y="1426"/>
                      </a:lnTo>
                      <a:lnTo>
                        <a:pt x="446" y="1427"/>
                      </a:lnTo>
                      <a:lnTo>
                        <a:pt x="446" y="1429"/>
                      </a:lnTo>
                      <a:lnTo>
                        <a:pt x="445" y="1429"/>
                      </a:lnTo>
                      <a:lnTo>
                        <a:pt x="444" y="1429"/>
                      </a:lnTo>
                      <a:lnTo>
                        <a:pt x="445" y="1428"/>
                      </a:lnTo>
                      <a:lnTo>
                        <a:pt x="444" y="1428"/>
                      </a:lnTo>
                      <a:lnTo>
                        <a:pt x="443" y="1429"/>
                      </a:lnTo>
                      <a:lnTo>
                        <a:pt x="441" y="1429"/>
                      </a:lnTo>
                      <a:lnTo>
                        <a:pt x="440" y="1428"/>
                      </a:lnTo>
                      <a:lnTo>
                        <a:pt x="439" y="1428"/>
                      </a:lnTo>
                      <a:lnTo>
                        <a:pt x="439" y="1428"/>
                      </a:lnTo>
                      <a:lnTo>
                        <a:pt x="439" y="1429"/>
                      </a:lnTo>
                      <a:lnTo>
                        <a:pt x="437" y="1429"/>
                      </a:lnTo>
                      <a:lnTo>
                        <a:pt x="437" y="1429"/>
                      </a:lnTo>
                      <a:lnTo>
                        <a:pt x="434" y="1430"/>
                      </a:lnTo>
                      <a:lnTo>
                        <a:pt x="433" y="1429"/>
                      </a:lnTo>
                      <a:lnTo>
                        <a:pt x="432" y="1428"/>
                      </a:lnTo>
                      <a:lnTo>
                        <a:pt x="432" y="1428"/>
                      </a:lnTo>
                      <a:lnTo>
                        <a:pt x="433" y="1427"/>
                      </a:lnTo>
                      <a:lnTo>
                        <a:pt x="434" y="1427"/>
                      </a:lnTo>
                      <a:lnTo>
                        <a:pt x="436" y="1426"/>
                      </a:lnTo>
                      <a:lnTo>
                        <a:pt x="434" y="1426"/>
                      </a:lnTo>
                      <a:lnTo>
                        <a:pt x="434" y="1426"/>
                      </a:lnTo>
                      <a:lnTo>
                        <a:pt x="432" y="1426"/>
                      </a:lnTo>
                      <a:lnTo>
                        <a:pt x="430" y="1426"/>
                      </a:lnTo>
                      <a:lnTo>
                        <a:pt x="429" y="1425"/>
                      </a:lnTo>
                      <a:lnTo>
                        <a:pt x="428" y="1426"/>
                      </a:lnTo>
                      <a:lnTo>
                        <a:pt x="428" y="1426"/>
                      </a:lnTo>
                      <a:lnTo>
                        <a:pt x="428" y="1425"/>
                      </a:lnTo>
                      <a:lnTo>
                        <a:pt x="427" y="1425"/>
                      </a:lnTo>
                      <a:lnTo>
                        <a:pt x="427" y="1423"/>
                      </a:lnTo>
                      <a:lnTo>
                        <a:pt x="427" y="1423"/>
                      </a:lnTo>
                      <a:lnTo>
                        <a:pt x="427" y="1422"/>
                      </a:lnTo>
                      <a:lnTo>
                        <a:pt x="428" y="1420"/>
                      </a:lnTo>
                      <a:lnTo>
                        <a:pt x="428" y="1420"/>
                      </a:lnTo>
                      <a:lnTo>
                        <a:pt x="430" y="1420"/>
                      </a:lnTo>
                      <a:lnTo>
                        <a:pt x="431" y="1419"/>
                      </a:lnTo>
                      <a:lnTo>
                        <a:pt x="433" y="1419"/>
                      </a:lnTo>
                      <a:lnTo>
                        <a:pt x="433" y="1418"/>
                      </a:lnTo>
                      <a:lnTo>
                        <a:pt x="433" y="1418"/>
                      </a:lnTo>
                      <a:lnTo>
                        <a:pt x="434" y="1417"/>
                      </a:lnTo>
                      <a:lnTo>
                        <a:pt x="436" y="1417"/>
                      </a:lnTo>
                      <a:lnTo>
                        <a:pt x="437" y="1416"/>
                      </a:lnTo>
                      <a:lnTo>
                        <a:pt x="436" y="1416"/>
                      </a:lnTo>
                      <a:lnTo>
                        <a:pt x="436" y="1414"/>
                      </a:lnTo>
                      <a:lnTo>
                        <a:pt x="436" y="1413"/>
                      </a:lnTo>
                      <a:lnTo>
                        <a:pt x="434" y="1414"/>
                      </a:lnTo>
                      <a:lnTo>
                        <a:pt x="434" y="1413"/>
                      </a:lnTo>
                      <a:lnTo>
                        <a:pt x="433" y="1413"/>
                      </a:lnTo>
                      <a:lnTo>
                        <a:pt x="433" y="1412"/>
                      </a:lnTo>
                      <a:lnTo>
                        <a:pt x="432" y="1412"/>
                      </a:lnTo>
                      <a:lnTo>
                        <a:pt x="431" y="1412"/>
                      </a:lnTo>
                      <a:lnTo>
                        <a:pt x="431" y="1411"/>
                      </a:lnTo>
                      <a:lnTo>
                        <a:pt x="432" y="1411"/>
                      </a:lnTo>
                      <a:lnTo>
                        <a:pt x="432" y="1410"/>
                      </a:lnTo>
                      <a:lnTo>
                        <a:pt x="432" y="1409"/>
                      </a:lnTo>
                      <a:lnTo>
                        <a:pt x="433" y="1409"/>
                      </a:lnTo>
                      <a:lnTo>
                        <a:pt x="433" y="1408"/>
                      </a:lnTo>
                      <a:lnTo>
                        <a:pt x="433" y="1407"/>
                      </a:lnTo>
                      <a:lnTo>
                        <a:pt x="433" y="1407"/>
                      </a:lnTo>
                      <a:lnTo>
                        <a:pt x="433" y="1407"/>
                      </a:lnTo>
                      <a:lnTo>
                        <a:pt x="433" y="1406"/>
                      </a:lnTo>
                      <a:lnTo>
                        <a:pt x="432" y="1406"/>
                      </a:lnTo>
                      <a:lnTo>
                        <a:pt x="432" y="1408"/>
                      </a:lnTo>
                      <a:lnTo>
                        <a:pt x="431" y="1409"/>
                      </a:lnTo>
                      <a:lnTo>
                        <a:pt x="430" y="1409"/>
                      </a:lnTo>
                      <a:lnTo>
                        <a:pt x="430" y="1412"/>
                      </a:lnTo>
                      <a:lnTo>
                        <a:pt x="430" y="1412"/>
                      </a:lnTo>
                      <a:lnTo>
                        <a:pt x="429" y="1412"/>
                      </a:lnTo>
                      <a:lnTo>
                        <a:pt x="428" y="1413"/>
                      </a:lnTo>
                      <a:lnTo>
                        <a:pt x="427" y="1413"/>
                      </a:lnTo>
                      <a:lnTo>
                        <a:pt x="427" y="1414"/>
                      </a:lnTo>
                      <a:lnTo>
                        <a:pt x="427" y="1414"/>
                      </a:lnTo>
                      <a:lnTo>
                        <a:pt x="427" y="1416"/>
                      </a:lnTo>
                      <a:lnTo>
                        <a:pt x="426" y="1416"/>
                      </a:lnTo>
                      <a:lnTo>
                        <a:pt x="425" y="1416"/>
                      </a:lnTo>
                      <a:lnTo>
                        <a:pt x="425" y="1416"/>
                      </a:lnTo>
                      <a:lnTo>
                        <a:pt x="424" y="1416"/>
                      </a:lnTo>
                      <a:lnTo>
                        <a:pt x="424" y="1417"/>
                      </a:lnTo>
                      <a:lnTo>
                        <a:pt x="422" y="1417"/>
                      </a:lnTo>
                      <a:lnTo>
                        <a:pt x="421" y="1419"/>
                      </a:lnTo>
                      <a:lnTo>
                        <a:pt x="421" y="1419"/>
                      </a:lnTo>
                      <a:lnTo>
                        <a:pt x="420" y="1419"/>
                      </a:lnTo>
                      <a:lnTo>
                        <a:pt x="419" y="1420"/>
                      </a:lnTo>
                      <a:lnTo>
                        <a:pt x="419" y="1420"/>
                      </a:lnTo>
                      <a:lnTo>
                        <a:pt x="418" y="1420"/>
                      </a:lnTo>
                      <a:lnTo>
                        <a:pt x="418" y="1421"/>
                      </a:lnTo>
                      <a:lnTo>
                        <a:pt x="417" y="1421"/>
                      </a:lnTo>
                      <a:lnTo>
                        <a:pt x="416" y="1421"/>
                      </a:lnTo>
                      <a:lnTo>
                        <a:pt x="416" y="1422"/>
                      </a:lnTo>
                      <a:lnTo>
                        <a:pt x="415" y="1423"/>
                      </a:lnTo>
                      <a:lnTo>
                        <a:pt x="415" y="1424"/>
                      </a:lnTo>
                      <a:lnTo>
                        <a:pt x="411" y="1426"/>
                      </a:lnTo>
                      <a:lnTo>
                        <a:pt x="411" y="1427"/>
                      </a:lnTo>
                      <a:lnTo>
                        <a:pt x="410" y="1427"/>
                      </a:lnTo>
                      <a:lnTo>
                        <a:pt x="410" y="1428"/>
                      </a:lnTo>
                      <a:lnTo>
                        <a:pt x="408" y="1429"/>
                      </a:lnTo>
                      <a:lnTo>
                        <a:pt x="408" y="1430"/>
                      </a:lnTo>
                      <a:lnTo>
                        <a:pt x="407" y="1430"/>
                      </a:lnTo>
                      <a:lnTo>
                        <a:pt x="404" y="1431"/>
                      </a:lnTo>
                      <a:lnTo>
                        <a:pt x="402" y="1432"/>
                      </a:lnTo>
                      <a:lnTo>
                        <a:pt x="402" y="1431"/>
                      </a:lnTo>
                      <a:lnTo>
                        <a:pt x="400" y="1432"/>
                      </a:lnTo>
                      <a:lnTo>
                        <a:pt x="400" y="1432"/>
                      </a:lnTo>
                      <a:lnTo>
                        <a:pt x="399" y="1432"/>
                      </a:lnTo>
                      <a:lnTo>
                        <a:pt x="397" y="1433"/>
                      </a:lnTo>
                      <a:lnTo>
                        <a:pt x="396" y="1433"/>
                      </a:lnTo>
                      <a:lnTo>
                        <a:pt x="395" y="1433"/>
                      </a:lnTo>
                      <a:lnTo>
                        <a:pt x="395" y="1432"/>
                      </a:lnTo>
                      <a:lnTo>
                        <a:pt x="395" y="1432"/>
                      </a:lnTo>
                      <a:lnTo>
                        <a:pt x="394" y="1431"/>
                      </a:lnTo>
                      <a:lnTo>
                        <a:pt x="394" y="1430"/>
                      </a:lnTo>
                      <a:lnTo>
                        <a:pt x="393" y="1430"/>
                      </a:lnTo>
                      <a:lnTo>
                        <a:pt x="393" y="1429"/>
                      </a:lnTo>
                      <a:lnTo>
                        <a:pt x="392" y="1429"/>
                      </a:lnTo>
                      <a:lnTo>
                        <a:pt x="391" y="1423"/>
                      </a:lnTo>
                      <a:lnTo>
                        <a:pt x="391" y="1422"/>
                      </a:lnTo>
                      <a:lnTo>
                        <a:pt x="391" y="1422"/>
                      </a:lnTo>
                      <a:lnTo>
                        <a:pt x="391" y="1423"/>
                      </a:lnTo>
                      <a:lnTo>
                        <a:pt x="390" y="1423"/>
                      </a:lnTo>
                      <a:lnTo>
                        <a:pt x="390" y="1424"/>
                      </a:lnTo>
                      <a:lnTo>
                        <a:pt x="390" y="1424"/>
                      </a:lnTo>
                      <a:lnTo>
                        <a:pt x="390" y="1426"/>
                      </a:lnTo>
                      <a:lnTo>
                        <a:pt x="390" y="1427"/>
                      </a:lnTo>
                      <a:lnTo>
                        <a:pt x="390" y="1427"/>
                      </a:lnTo>
                      <a:lnTo>
                        <a:pt x="389" y="1427"/>
                      </a:lnTo>
                      <a:lnTo>
                        <a:pt x="389" y="1427"/>
                      </a:lnTo>
                      <a:lnTo>
                        <a:pt x="389" y="1427"/>
                      </a:lnTo>
                      <a:lnTo>
                        <a:pt x="388" y="1423"/>
                      </a:lnTo>
                      <a:lnTo>
                        <a:pt x="388" y="1422"/>
                      </a:lnTo>
                      <a:lnTo>
                        <a:pt x="388" y="1421"/>
                      </a:lnTo>
                      <a:lnTo>
                        <a:pt x="387" y="1421"/>
                      </a:lnTo>
                      <a:lnTo>
                        <a:pt x="387" y="1420"/>
                      </a:lnTo>
                      <a:lnTo>
                        <a:pt x="388" y="1419"/>
                      </a:lnTo>
                      <a:lnTo>
                        <a:pt x="387" y="1417"/>
                      </a:lnTo>
                      <a:lnTo>
                        <a:pt x="387" y="1417"/>
                      </a:lnTo>
                      <a:lnTo>
                        <a:pt x="387" y="1416"/>
                      </a:lnTo>
                      <a:lnTo>
                        <a:pt x="387" y="1416"/>
                      </a:lnTo>
                      <a:lnTo>
                        <a:pt x="388" y="1416"/>
                      </a:lnTo>
                      <a:lnTo>
                        <a:pt x="388" y="1417"/>
                      </a:lnTo>
                      <a:lnTo>
                        <a:pt x="388" y="1417"/>
                      </a:lnTo>
                      <a:lnTo>
                        <a:pt x="389" y="1416"/>
                      </a:lnTo>
                      <a:lnTo>
                        <a:pt x="388" y="1413"/>
                      </a:lnTo>
                      <a:lnTo>
                        <a:pt x="389" y="1411"/>
                      </a:lnTo>
                      <a:lnTo>
                        <a:pt x="389" y="1411"/>
                      </a:lnTo>
                      <a:lnTo>
                        <a:pt x="389" y="1411"/>
                      </a:lnTo>
                      <a:lnTo>
                        <a:pt x="389" y="1411"/>
                      </a:lnTo>
                      <a:lnTo>
                        <a:pt x="390" y="1412"/>
                      </a:lnTo>
                      <a:lnTo>
                        <a:pt x="390" y="1413"/>
                      </a:lnTo>
                      <a:lnTo>
                        <a:pt x="391" y="1413"/>
                      </a:lnTo>
                      <a:lnTo>
                        <a:pt x="390" y="1412"/>
                      </a:lnTo>
                      <a:lnTo>
                        <a:pt x="391" y="1412"/>
                      </a:lnTo>
                      <a:lnTo>
                        <a:pt x="391" y="1412"/>
                      </a:lnTo>
                      <a:lnTo>
                        <a:pt x="391" y="1409"/>
                      </a:lnTo>
                      <a:lnTo>
                        <a:pt x="390" y="1409"/>
                      </a:lnTo>
                      <a:lnTo>
                        <a:pt x="389" y="1407"/>
                      </a:lnTo>
                      <a:lnTo>
                        <a:pt x="389" y="1407"/>
                      </a:lnTo>
                      <a:lnTo>
                        <a:pt x="389" y="1407"/>
                      </a:lnTo>
                      <a:lnTo>
                        <a:pt x="388" y="1407"/>
                      </a:lnTo>
                      <a:lnTo>
                        <a:pt x="388" y="1404"/>
                      </a:lnTo>
                      <a:lnTo>
                        <a:pt x="388" y="1401"/>
                      </a:lnTo>
                      <a:lnTo>
                        <a:pt x="389" y="1401"/>
                      </a:lnTo>
                      <a:lnTo>
                        <a:pt x="389" y="1399"/>
                      </a:lnTo>
                      <a:lnTo>
                        <a:pt x="391" y="1398"/>
                      </a:lnTo>
                      <a:lnTo>
                        <a:pt x="392" y="1397"/>
                      </a:lnTo>
                      <a:lnTo>
                        <a:pt x="391" y="1396"/>
                      </a:lnTo>
                      <a:lnTo>
                        <a:pt x="390" y="1396"/>
                      </a:lnTo>
                      <a:lnTo>
                        <a:pt x="389" y="1395"/>
                      </a:lnTo>
                      <a:lnTo>
                        <a:pt x="389" y="1395"/>
                      </a:lnTo>
                      <a:lnTo>
                        <a:pt x="388" y="1396"/>
                      </a:lnTo>
                      <a:lnTo>
                        <a:pt x="384" y="1396"/>
                      </a:lnTo>
                      <a:lnTo>
                        <a:pt x="383" y="1396"/>
                      </a:lnTo>
                      <a:lnTo>
                        <a:pt x="382" y="1395"/>
                      </a:lnTo>
                      <a:lnTo>
                        <a:pt x="381" y="1394"/>
                      </a:lnTo>
                      <a:lnTo>
                        <a:pt x="380" y="1392"/>
                      </a:lnTo>
                      <a:lnTo>
                        <a:pt x="380" y="1389"/>
                      </a:lnTo>
                      <a:lnTo>
                        <a:pt x="380" y="1388"/>
                      </a:lnTo>
                      <a:lnTo>
                        <a:pt x="379" y="1387"/>
                      </a:lnTo>
                      <a:lnTo>
                        <a:pt x="379" y="1385"/>
                      </a:lnTo>
                      <a:lnTo>
                        <a:pt x="379" y="1385"/>
                      </a:lnTo>
                      <a:lnTo>
                        <a:pt x="378" y="1385"/>
                      </a:lnTo>
                      <a:lnTo>
                        <a:pt x="378" y="1382"/>
                      </a:lnTo>
                      <a:lnTo>
                        <a:pt x="378" y="1382"/>
                      </a:lnTo>
                      <a:lnTo>
                        <a:pt x="379" y="1382"/>
                      </a:lnTo>
                      <a:lnTo>
                        <a:pt x="379" y="1380"/>
                      </a:lnTo>
                      <a:lnTo>
                        <a:pt x="378" y="1376"/>
                      </a:lnTo>
                      <a:lnTo>
                        <a:pt x="379" y="1376"/>
                      </a:lnTo>
                      <a:lnTo>
                        <a:pt x="379" y="1373"/>
                      </a:lnTo>
                      <a:lnTo>
                        <a:pt x="379" y="1372"/>
                      </a:lnTo>
                      <a:lnTo>
                        <a:pt x="378" y="1371"/>
                      </a:lnTo>
                      <a:lnTo>
                        <a:pt x="379" y="1371"/>
                      </a:lnTo>
                      <a:lnTo>
                        <a:pt x="379" y="1369"/>
                      </a:lnTo>
                      <a:lnTo>
                        <a:pt x="380" y="1369"/>
                      </a:lnTo>
                      <a:lnTo>
                        <a:pt x="380" y="1366"/>
                      </a:lnTo>
                      <a:lnTo>
                        <a:pt x="382" y="1362"/>
                      </a:lnTo>
                      <a:lnTo>
                        <a:pt x="382" y="1358"/>
                      </a:lnTo>
                      <a:lnTo>
                        <a:pt x="382" y="1356"/>
                      </a:lnTo>
                      <a:lnTo>
                        <a:pt x="382" y="1353"/>
                      </a:lnTo>
                      <a:lnTo>
                        <a:pt x="383" y="1353"/>
                      </a:lnTo>
                      <a:lnTo>
                        <a:pt x="383" y="1352"/>
                      </a:lnTo>
                      <a:lnTo>
                        <a:pt x="383" y="1352"/>
                      </a:lnTo>
                      <a:lnTo>
                        <a:pt x="383" y="1352"/>
                      </a:lnTo>
                      <a:lnTo>
                        <a:pt x="384" y="1351"/>
                      </a:lnTo>
                      <a:lnTo>
                        <a:pt x="383" y="1351"/>
                      </a:lnTo>
                      <a:lnTo>
                        <a:pt x="383" y="1350"/>
                      </a:lnTo>
                      <a:lnTo>
                        <a:pt x="383" y="1350"/>
                      </a:lnTo>
                      <a:lnTo>
                        <a:pt x="382" y="1349"/>
                      </a:lnTo>
                      <a:lnTo>
                        <a:pt x="383" y="1349"/>
                      </a:lnTo>
                      <a:lnTo>
                        <a:pt x="383" y="1348"/>
                      </a:lnTo>
                      <a:lnTo>
                        <a:pt x="383" y="1348"/>
                      </a:lnTo>
                      <a:lnTo>
                        <a:pt x="383" y="1348"/>
                      </a:lnTo>
                      <a:lnTo>
                        <a:pt x="384" y="1349"/>
                      </a:lnTo>
                      <a:lnTo>
                        <a:pt x="384" y="1350"/>
                      </a:lnTo>
                      <a:lnTo>
                        <a:pt x="385" y="1350"/>
                      </a:lnTo>
                      <a:lnTo>
                        <a:pt x="385" y="1350"/>
                      </a:lnTo>
                      <a:lnTo>
                        <a:pt x="385" y="1349"/>
                      </a:lnTo>
                      <a:lnTo>
                        <a:pt x="385" y="1349"/>
                      </a:lnTo>
                      <a:lnTo>
                        <a:pt x="385" y="1346"/>
                      </a:lnTo>
                      <a:lnTo>
                        <a:pt x="385" y="1346"/>
                      </a:lnTo>
                      <a:lnTo>
                        <a:pt x="384" y="1346"/>
                      </a:lnTo>
                      <a:lnTo>
                        <a:pt x="384" y="1344"/>
                      </a:lnTo>
                      <a:lnTo>
                        <a:pt x="384" y="1344"/>
                      </a:lnTo>
                      <a:lnTo>
                        <a:pt x="385" y="1343"/>
                      </a:lnTo>
                      <a:lnTo>
                        <a:pt x="385" y="1342"/>
                      </a:lnTo>
                      <a:lnTo>
                        <a:pt x="386" y="1342"/>
                      </a:lnTo>
                      <a:lnTo>
                        <a:pt x="386" y="1342"/>
                      </a:lnTo>
                      <a:lnTo>
                        <a:pt x="387" y="1342"/>
                      </a:lnTo>
                      <a:lnTo>
                        <a:pt x="387" y="1342"/>
                      </a:lnTo>
                      <a:lnTo>
                        <a:pt x="386" y="1342"/>
                      </a:lnTo>
                      <a:lnTo>
                        <a:pt x="387" y="1342"/>
                      </a:lnTo>
                      <a:lnTo>
                        <a:pt x="387" y="1342"/>
                      </a:lnTo>
                      <a:lnTo>
                        <a:pt x="388" y="1343"/>
                      </a:lnTo>
                      <a:lnTo>
                        <a:pt x="387" y="1343"/>
                      </a:lnTo>
                      <a:lnTo>
                        <a:pt x="388" y="1343"/>
                      </a:lnTo>
                      <a:lnTo>
                        <a:pt x="388" y="1343"/>
                      </a:lnTo>
                      <a:lnTo>
                        <a:pt x="389" y="1342"/>
                      </a:lnTo>
                      <a:lnTo>
                        <a:pt x="389" y="1342"/>
                      </a:lnTo>
                      <a:lnTo>
                        <a:pt x="388" y="1342"/>
                      </a:lnTo>
                      <a:lnTo>
                        <a:pt x="388" y="1341"/>
                      </a:lnTo>
                      <a:lnTo>
                        <a:pt x="388" y="1341"/>
                      </a:lnTo>
                      <a:lnTo>
                        <a:pt x="388" y="1341"/>
                      </a:lnTo>
                      <a:lnTo>
                        <a:pt x="389" y="1339"/>
                      </a:lnTo>
                      <a:lnTo>
                        <a:pt x="391" y="1339"/>
                      </a:lnTo>
                      <a:lnTo>
                        <a:pt x="391" y="1342"/>
                      </a:lnTo>
                      <a:lnTo>
                        <a:pt x="392" y="1342"/>
                      </a:lnTo>
                      <a:lnTo>
                        <a:pt x="392" y="1342"/>
                      </a:lnTo>
                      <a:lnTo>
                        <a:pt x="393" y="1342"/>
                      </a:lnTo>
                      <a:lnTo>
                        <a:pt x="393" y="1343"/>
                      </a:lnTo>
                      <a:lnTo>
                        <a:pt x="393" y="1343"/>
                      </a:lnTo>
                      <a:lnTo>
                        <a:pt x="393" y="1344"/>
                      </a:lnTo>
                      <a:lnTo>
                        <a:pt x="393" y="1344"/>
                      </a:lnTo>
                      <a:lnTo>
                        <a:pt x="393" y="1343"/>
                      </a:lnTo>
                      <a:lnTo>
                        <a:pt x="394" y="1343"/>
                      </a:lnTo>
                      <a:lnTo>
                        <a:pt x="394" y="1344"/>
                      </a:lnTo>
                      <a:lnTo>
                        <a:pt x="394" y="1344"/>
                      </a:lnTo>
                      <a:lnTo>
                        <a:pt x="394" y="1344"/>
                      </a:lnTo>
                      <a:lnTo>
                        <a:pt x="396" y="1344"/>
                      </a:lnTo>
                      <a:lnTo>
                        <a:pt x="396" y="1345"/>
                      </a:lnTo>
                      <a:lnTo>
                        <a:pt x="396" y="1345"/>
                      </a:lnTo>
                      <a:lnTo>
                        <a:pt x="396" y="1344"/>
                      </a:lnTo>
                      <a:lnTo>
                        <a:pt x="397" y="1344"/>
                      </a:lnTo>
                      <a:lnTo>
                        <a:pt x="396" y="1345"/>
                      </a:lnTo>
                      <a:lnTo>
                        <a:pt x="397" y="1345"/>
                      </a:lnTo>
                      <a:lnTo>
                        <a:pt x="397" y="1345"/>
                      </a:lnTo>
                      <a:lnTo>
                        <a:pt x="396" y="1346"/>
                      </a:lnTo>
                      <a:lnTo>
                        <a:pt x="397" y="1347"/>
                      </a:lnTo>
                      <a:lnTo>
                        <a:pt x="397" y="1347"/>
                      </a:lnTo>
                      <a:lnTo>
                        <a:pt x="397" y="1347"/>
                      </a:lnTo>
                      <a:lnTo>
                        <a:pt x="399" y="1346"/>
                      </a:lnTo>
                      <a:lnTo>
                        <a:pt x="399" y="1347"/>
                      </a:lnTo>
                      <a:lnTo>
                        <a:pt x="400" y="1348"/>
                      </a:lnTo>
                      <a:lnTo>
                        <a:pt x="400" y="1348"/>
                      </a:lnTo>
                      <a:lnTo>
                        <a:pt x="400" y="1350"/>
                      </a:lnTo>
                      <a:lnTo>
                        <a:pt x="401" y="1350"/>
                      </a:lnTo>
                      <a:lnTo>
                        <a:pt x="401" y="1349"/>
                      </a:lnTo>
                      <a:lnTo>
                        <a:pt x="402" y="1349"/>
                      </a:lnTo>
                      <a:lnTo>
                        <a:pt x="403" y="1349"/>
                      </a:lnTo>
                      <a:lnTo>
                        <a:pt x="403" y="1350"/>
                      </a:lnTo>
                      <a:lnTo>
                        <a:pt x="403" y="1350"/>
                      </a:lnTo>
                      <a:lnTo>
                        <a:pt x="403" y="1350"/>
                      </a:lnTo>
                      <a:lnTo>
                        <a:pt x="403" y="1351"/>
                      </a:lnTo>
                      <a:lnTo>
                        <a:pt x="405" y="1352"/>
                      </a:lnTo>
                      <a:lnTo>
                        <a:pt x="405" y="1352"/>
                      </a:lnTo>
                      <a:lnTo>
                        <a:pt x="406" y="1352"/>
                      </a:lnTo>
                      <a:lnTo>
                        <a:pt x="406" y="1353"/>
                      </a:lnTo>
                      <a:lnTo>
                        <a:pt x="405" y="1353"/>
                      </a:lnTo>
                      <a:lnTo>
                        <a:pt x="404" y="1353"/>
                      </a:lnTo>
                      <a:lnTo>
                        <a:pt x="404" y="1354"/>
                      </a:lnTo>
                      <a:lnTo>
                        <a:pt x="405" y="1355"/>
                      </a:lnTo>
                      <a:lnTo>
                        <a:pt x="407" y="1356"/>
                      </a:lnTo>
                      <a:lnTo>
                        <a:pt x="407" y="1356"/>
                      </a:lnTo>
                      <a:lnTo>
                        <a:pt x="409" y="1355"/>
                      </a:lnTo>
                      <a:lnTo>
                        <a:pt x="410" y="1356"/>
                      </a:lnTo>
                      <a:lnTo>
                        <a:pt x="410" y="1356"/>
                      </a:lnTo>
                      <a:lnTo>
                        <a:pt x="410" y="1356"/>
                      </a:lnTo>
                      <a:lnTo>
                        <a:pt x="410" y="1356"/>
                      </a:lnTo>
                      <a:lnTo>
                        <a:pt x="410" y="1356"/>
                      </a:lnTo>
                      <a:lnTo>
                        <a:pt x="411" y="1357"/>
                      </a:lnTo>
                      <a:lnTo>
                        <a:pt x="412" y="1357"/>
                      </a:lnTo>
                      <a:lnTo>
                        <a:pt x="412" y="1356"/>
                      </a:lnTo>
                      <a:lnTo>
                        <a:pt x="411" y="1356"/>
                      </a:lnTo>
                      <a:lnTo>
                        <a:pt x="411" y="1356"/>
                      </a:lnTo>
                      <a:lnTo>
                        <a:pt x="412" y="1356"/>
                      </a:lnTo>
                      <a:lnTo>
                        <a:pt x="412" y="1356"/>
                      </a:lnTo>
                      <a:lnTo>
                        <a:pt x="412" y="1355"/>
                      </a:lnTo>
                      <a:lnTo>
                        <a:pt x="412" y="1355"/>
                      </a:lnTo>
                      <a:lnTo>
                        <a:pt x="411" y="1354"/>
                      </a:lnTo>
                      <a:lnTo>
                        <a:pt x="411" y="1353"/>
                      </a:lnTo>
                      <a:lnTo>
                        <a:pt x="411" y="1353"/>
                      </a:lnTo>
                      <a:lnTo>
                        <a:pt x="411" y="1352"/>
                      </a:lnTo>
                      <a:lnTo>
                        <a:pt x="412" y="1352"/>
                      </a:lnTo>
                      <a:lnTo>
                        <a:pt x="413" y="1352"/>
                      </a:lnTo>
                      <a:lnTo>
                        <a:pt x="413" y="1353"/>
                      </a:lnTo>
                      <a:lnTo>
                        <a:pt x="414" y="1354"/>
                      </a:lnTo>
                      <a:lnTo>
                        <a:pt x="415" y="1356"/>
                      </a:lnTo>
                      <a:lnTo>
                        <a:pt x="415" y="1356"/>
                      </a:lnTo>
                      <a:lnTo>
                        <a:pt x="415" y="1357"/>
                      </a:lnTo>
                      <a:lnTo>
                        <a:pt x="414" y="1357"/>
                      </a:lnTo>
                      <a:lnTo>
                        <a:pt x="414" y="1357"/>
                      </a:lnTo>
                      <a:lnTo>
                        <a:pt x="414" y="1360"/>
                      </a:lnTo>
                      <a:lnTo>
                        <a:pt x="414" y="1361"/>
                      </a:lnTo>
                      <a:lnTo>
                        <a:pt x="415" y="1361"/>
                      </a:lnTo>
                      <a:lnTo>
                        <a:pt x="415" y="1362"/>
                      </a:lnTo>
                      <a:lnTo>
                        <a:pt x="416" y="1362"/>
                      </a:lnTo>
                      <a:lnTo>
                        <a:pt x="416" y="1362"/>
                      </a:lnTo>
                      <a:lnTo>
                        <a:pt x="418" y="1363"/>
                      </a:lnTo>
                      <a:lnTo>
                        <a:pt x="418" y="1363"/>
                      </a:lnTo>
                      <a:lnTo>
                        <a:pt x="419" y="1364"/>
                      </a:lnTo>
                      <a:lnTo>
                        <a:pt x="419" y="1363"/>
                      </a:lnTo>
                      <a:lnTo>
                        <a:pt x="420" y="1363"/>
                      </a:lnTo>
                      <a:lnTo>
                        <a:pt x="420" y="1365"/>
                      </a:lnTo>
                      <a:lnTo>
                        <a:pt x="421" y="1365"/>
                      </a:lnTo>
                      <a:lnTo>
                        <a:pt x="421" y="1366"/>
                      </a:lnTo>
                      <a:lnTo>
                        <a:pt x="421" y="1366"/>
                      </a:lnTo>
                      <a:lnTo>
                        <a:pt x="422" y="1368"/>
                      </a:lnTo>
                      <a:lnTo>
                        <a:pt x="422" y="1368"/>
                      </a:lnTo>
                      <a:lnTo>
                        <a:pt x="423" y="1367"/>
                      </a:lnTo>
                      <a:lnTo>
                        <a:pt x="423" y="1368"/>
                      </a:lnTo>
                      <a:lnTo>
                        <a:pt x="424" y="1369"/>
                      </a:lnTo>
                      <a:lnTo>
                        <a:pt x="424" y="1370"/>
                      </a:lnTo>
                      <a:lnTo>
                        <a:pt x="425" y="1369"/>
                      </a:lnTo>
                      <a:lnTo>
                        <a:pt x="426" y="1368"/>
                      </a:lnTo>
                      <a:lnTo>
                        <a:pt x="425" y="1368"/>
                      </a:lnTo>
                      <a:lnTo>
                        <a:pt x="425" y="1366"/>
                      </a:lnTo>
                      <a:lnTo>
                        <a:pt x="424" y="1366"/>
                      </a:lnTo>
                      <a:lnTo>
                        <a:pt x="425" y="1364"/>
                      </a:lnTo>
                      <a:lnTo>
                        <a:pt x="424" y="1363"/>
                      </a:lnTo>
                      <a:lnTo>
                        <a:pt x="424" y="1361"/>
                      </a:lnTo>
                      <a:lnTo>
                        <a:pt x="424" y="1360"/>
                      </a:lnTo>
                      <a:lnTo>
                        <a:pt x="423" y="1360"/>
                      </a:lnTo>
                      <a:lnTo>
                        <a:pt x="423" y="1360"/>
                      </a:lnTo>
                      <a:lnTo>
                        <a:pt x="423" y="1359"/>
                      </a:lnTo>
                      <a:lnTo>
                        <a:pt x="423" y="1358"/>
                      </a:lnTo>
                      <a:lnTo>
                        <a:pt x="423" y="1358"/>
                      </a:lnTo>
                      <a:lnTo>
                        <a:pt x="423" y="1357"/>
                      </a:lnTo>
                      <a:lnTo>
                        <a:pt x="423" y="1357"/>
                      </a:lnTo>
                      <a:lnTo>
                        <a:pt x="423" y="1356"/>
                      </a:lnTo>
                      <a:lnTo>
                        <a:pt x="424" y="1356"/>
                      </a:lnTo>
                      <a:lnTo>
                        <a:pt x="423" y="1357"/>
                      </a:lnTo>
                      <a:lnTo>
                        <a:pt x="425" y="1357"/>
                      </a:lnTo>
                      <a:lnTo>
                        <a:pt x="425" y="1359"/>
                      </a:lnTo>
                      <a:lnTo>
                        <a:pt x="426" y="1359"/>
                      </a:lnTo>
                      <a:lnTo>
                        <a:pt x="425" y="1360"/>
                      </a:lnTo>
                      <a:lnTo>
                        <a:pt x="426" y="1360"/>
                      </a:lnTo>
                      <a:lnTo>
                        <a:pt x="427" y="1359"/>
                      </a:lnTo>
                      <a:lnTo>
                        <a:pt x="429" y="1361"/>
                      </a:lnTo>
                      <a:lnTo>
                        <a:pt x="429" y="1361"/>
                      </a:lnTo>
                      <a:lnTo>
                        <a:pt x="428" y="1362"/>
                      </a:lnTo>
                      <a:lnTo>
                        <a:pt x="429" y="1362"/>
                      </a:lnTo>
                      <a:lnTo>
                        <a:pt x="428" y="1364"/>
                      </a:lnTo>
                      <a:lnTo>
                        <a:pt x="428" y="1365"/>
                      </a:lnTo>
                      <a:lnTo>
                        <a:pt x="431" y="1365"/>
                      </a:lnTo>
                      <a:lnTo>
                        <a:pt x="431" y="1364"/>
                      </a:lnTo>
                      <a:lnTo>
                        <a:pt x="431" y="1364"/>
                      </a:lnTo>
                      <a:lnTo>
                        <a:pt x="430" y="1363"/>
                      </a:lnTo>
                      <a:lnTo>
                        <a:pt x="430" y="1362"/>
                      </a:lnTo>
                      <a:lnTo>
                        <a:pt x="430" y="1361"/>
                      </a:lnTo>
                      <a:lnTo>
                        <a:pt x="430" y="1362"/>
                      </a:lnTo>
                      <a:lnTo>
                        <a:pt x="431" y="1363"/>
                      </a:lnTo>
                      <a:lnTo>
                        <a:pt x="433" y="1360"/>
                      </a:lnTo>
                      <a:lnTo>
                        <a:pt x="434" y="1360"/>
                      </a:lnTo>
                      <a:lnTo>
                        <a:pt x="434" y="1360"/>
                      </a:lnTo>
                      <a:lnTo>
                        <a:pt x="436" y="1360"/>
                      </a:lnTo>
                      <a:lnTo>
                        <a:pt x="436" y="1361"/>
                      </a:lnTo>
                      <a:lnTo>
                        <a:pt x="437" y="1362"/>
                      </a:lnTo>
                      <a:lnTo>
                        <a:pt x="438" y="1362"/>
                      </a:lnTo>
                      <a:lnTo>
                        <a:pt x="438" y="1361"/>
                      </a:lnTo>
                      <a:lnTo>
                        <a:pt x="438" y="1361"/>
                      </a:lnTo>
                      <a:lnTo>
                        <a:pt x="439" y="1361"/>
                      </a:lnTo>
                      <a:lnTo>
                        <a:pt x="440" y="1361"/>
                      </a:lnTo>
                      <a:lnTo>
                        <a:pt x="440" y="1361"/>
                      </a:lnTo>
                      <a:lnTo>
                        <a:pt x="441" y="1362"/>
                      </a:lnTo>
                      <a:lnTo>
                        <a:pt x="441" y="1362"/>
                      </a:lnTo>
                      <a:lnTo>
                        <a:pt x="441" y="1362"/>
                      </a:lnTo>
                      <a:lnTo>
                        <a:pt x="441" y="1362"/>
                      </a:lnTo>
                      <a:lnTo>
                        <a:pt x="441" y="1361"/>
                      </a:lnTo>
                      <a:lnTo>
                        <a:pt x="440" y="1361"/>
                      </a:lnTo>
                      <a:lnTo>
                        <a:pt x="440" y="1360"/>
                      </a:lnTo>
                      <a:lnTo>
                        <a:pt x="441" y="1360"/>
                      </a:lnTo>
                      <a:lnTo>
                        <a:pt x="442" y="1359"/>
                      </a:lnTo>
                      <a:lnTo>
                        <a:pt x="442" y="1360"/>
                      </a:lnTo>
                      <a:lnTo>
                        <a:pt x="443" y="1360"/>
                      </a:lnTo>
                      <a:lnTo>
                        <a:pt x="443" y="1361"/>
                      </a:lnTo>
                      <a:lnTo>
                        <a:pt x="444" y="1361"/>
                      </a:lnTo>
                      <a:lnTo>
                        <a:pt x="444" y="1361"/>
                      </a:lnTo>
                      <a:lnTo>
                        <a:pt x="444" y="1360"/>
                      </a:lnTo>
                      <a:lnTo>
                        <a:pt x="443" y="1360"/>
                      </a:lnTo>
                      <a:lnTo>
                        <a:pt x="443" y="1359"/>
                      </a:lnTo>
                      <a:lnTo>
                        <a:pt x="444" y="1359"/>
                      </a:lnTo>
                      <a:lnTo>
                        <a:pt x="444" y="1359"/>
                      </a:lnTo>
                      <a:lnTo>
                        <a:pt x="444" y="1360"/>
                      </a:lnTo>
                      <a:lnTo>
                        <a:pt x="444" y="1359"/>
                      </a:lnTo>
                      <a:lnTo>
                        <a:pt x="445" y="1359"/>
                      </a:lnTo>
                      <a:lnTo>
                        <a:pt x="445" y="1360"/>
                      </a:lnTo>
                      <a:lnTo>
                        <a:pt x="446" y="1360"/>
                      </a:lnTo>
                      <a:lnTo>
                        <a:pt x="446" y="1360"/>
                      </a:lnTo>
                      <a:lnTo>
                        <a:pt x="447" y="1360"/>
                      </a:lnTo>
                      <a:lnTo>
                        <a:pt x="448" y="1362"/>
                      </a:lnTo>
                      <a:lnTo>
                        <a:pt x="448" y="1362"/>
                      </a:lnTo>
                      <a:lnTo>
                        <a:pt x="449" y="1362"/>
                      </a:lnTo>
                      <a:lnTo>
                        <a:pt x="449" y="1362"/>
                      </a:lnTo>
                      <a:lnTo>
                        <a:pt x="449" y="1362"/>
                      </a:lnTo>
                      <a:lnTo>
                        <a:pt x="450" y="1362"/>
                      </a:lnTo>
                      <a:lnTo>
                        <a:pt x="451" y="1362"/>
                      </a:lnTo>
                      <a:lnTo>
                        <a:pt x="452" y="1362"/>
                      </a:lnTo>
                      <a:lnTo>
                        <a:pt x="452" y="1362"/>
                      </a:lnTo>
                      <a:lnTo>
                        <a:pt x="452" y="1361"/>
                      </a:lnTo>
                      <a:lnTo>
                        <a:pt x="452" y="1358"/>
                      </a:lnTo>
                      <a:lnTo>
                        <a:pt x="453" y="1358"/>
                      </a:lnTo>
                      <a:lnTo>
                        <a:pt x="453" y="1357"/>
                      </a:lnTo>
                      <a:lnTo>
                        <a:pt x="453" y="1357"/>
                      </a:lnTo>
                      <a:lnTo>
                        <a:pt x="453" y="1356"/>
                      </a:lnTo>
                      <a:lnTo>
                        <a:pt x="452" y="1356"/>
                      </a:lnTo>
                      <a:lnTo>
                        <a:pt x="452" y="1356"/>
                      </a:lnTo>
                      <a:lnTo>
                        <a:pt x="452" y="1356"/>
                      </a:lnTo>
                      <a:lnTo>
                        <a:pt x="453" y="1355"/>
                      </a:lnTo>
                      <a:lnTo>
                        <a:pt x="453" y="1355"/>
                      </a:lnTo>
                      <a:lnTo>
                        <a:pt x="451" y="1354"/>
                      </a:lnTo>
                      <a:lnTo>
                        <a:pt x="451" y="1355"/>
                      </a:lnTo>
                      <a:lnTo>
                        <a:pt x="449" y="1354"/>
                      </a:lnTo>
                      <a:lnTo>
                        <a:pt x="447" y="1353"/>
                      </a:lnTo>
                      <a:lnTo>
                        <a:pt x="446" y="1353"/>
                      </a:lnTo>
                      <a:lnTo>
                        <a:pt x="445" y="1353"/>
                      </a:lnTo>
                      <a:lnTo>
                        <a:pt x="443" y="1353"/>
                      </a:lnTo>
                      <a:lnTo>
                        <a:pt x="442" y="1353"/>
                      </a:lnTo>
                      <a:lnTo>
                        <a:pt x="442" y="1353"/>
                      </a:lnTo>
                      <a:lnTo>
                        <a:pt x="441" y="1353"/>
                      </a:lnTo>
                      <a:lnTo>
                        <a:pt x="439" y="1353"/>
                      </a:lnTo>
                      <a:lnTo>
                        <a:pt x="438" y="1352"/>
                      </a:lnTo>
                      <a:lnTo>
                        <a:pt x="438" y="1352"/>
                      </a:lnTo>
                      <a:lnTo>
                        <a:pt x="434" y="1352"/>
                      </a:lnTo>
                      <a:lnTo>
                        <a:pt x="434" y="1353"/>
                      </a:lnTo>
                      <a:lnTo>
                        <a:pt x="432" y="1354"/>
                      </a:lnTo>
                      <a:lnTo>
                        <a:pt x="430" y="1353"/>
                      </a:lnTo>
                      <a:lnTo>
                        <a:pt x="430" y="1353"/>
                      </a:lnTo>
                      <a:lnTo>
                        <a:pt x="428" y="1353"/>
                      </a:lnTo>
                      <a:lnTo>
                        <a:pt x="428" y="1352"/>
                      </a:lnTo>
                      <a:lnTo>
                        <a:pt x="427" y="1353"/>
                      </a:lnTo>
                      <a:lnTo>
                        <a:pt x="428" y="1354"/>
                      </a:lnTo>
                      <a:lnTo>
                        <a:pt x="428" y="1354"/>
                      </a:lnTo>
                      <a:lnTo>
                        <a:pt x="428" y="1354"/>
                      </a:lnTo>
                      <a:lnTo>
                        <a:pt x="428" y="1355"/>
                      </a:lnTo>
                      <a:lnTo>
                        <a:pt x="426" y="1354"/>
                      </a:lnTo>
                      <a:lnTo>
                        <a:pt x="426" y="1354"/>
                      </a:lnTo>
                      <a:lnTo>
                        <a:pt x="425" y="1354"/>
                      </a:lnTo>
                      <a:lnTo>
                        <a:pt x="424" y="1354"/>
                      </a:lnTo>
                      <a:lnTo>
                        <a:pt x="423" y="1355"/>
                      </a:lnTo>
                      <a:lnTo>
                        <a:pt x="422" y="1356"/>
                      </a:lnTo>
                      <a:lnTo>
                        <a:pt x="422" y="1356"/>
                      </a:lnTo>
                      <a:lnTo>
                        <a:pt x="421" y="1356"/>
                      </a:lnTo>
                      <a:lnTo>
                        <a:pt x="421" y="1356"/>
                      </a:lnTo>
                      <a:lnTo>
                        <a:pt x="421" y="1356"/>
                      </a:lnTo>
                      <a:lnTo>
                        <a:pt x="421" y="1354"/>
                      </a:lnTo>
                      <a:lnTo>
                        <a:pt x="421" y="1354"/>
                      </a:lnTo>
                      <a:lnTo>
                        <a:pt x="420" y="1353"/>
                      </a:lnTo>
                      <a:lnTo>
                        <a:pt x="419" y="1353"/>
                      </a:lnTo>
                      <a:lnTo>
                        <a:pt x="418" y="1353"/>
                      </a:lnTo>
                      <a:lnTo>
                        <a:pt x="417" y="1353"/>
                      </a:lnTo>
                      <a:lnTo>
                        <a:pt x="417" y="1351"/>
                      </a:lnTo>
                      <a:lnTo>
                        <a:pt x="416" y="1351"/>
                      </a:lnTo>
                      <a:lnTo>
                        <a:pt x="416" y="1350"/>
                      </a:lnTo>
                      <a:lnTo>
                        <a:pt x="415" y="1350"/>
                      </a:lnTo>
                      <a:lnTo>
                        <a:pt x="414" y="1350"/>
                      </a:lnTo>
                      <a:lnTo>
                        <a:pt x="414" y="1350"/>
                      </a:lnTo>
                      <a:lnTo>
                        <a:pt x="413" y="1347"/>
                      </a:lnTo>
                      <a:lnTo>
                        <a:pt x="414" y="1346"/>
                      </a:lnTo>
                      <a:lnTo>
                        <a:pt x="415" y="1347"/>
                      </a:lnTo>
                      <a:lnTo>
                        <a:pt x="416" y="1347"/>
                      </a:lnTo>
                      <a:lnTo>
                        <a:pt x="417" y="1347"/>
                      </a:lnTo>
                      <a:lnTo>
                        <a:pt x="417" y="1348"/>
                      </a:lnTo>
                      <a:lnTo>
                        <a:pt x="418" y="1348"/>
                      </a:lnTo>
                      <a:lnTo>
                        <a:pt x="418" y="1347"/>
                      </a:lnTo>
                      <a:lnTo>
                        <a:pt x="418" y="1345"/>
                      </a:lnTo>
                      <a:lnTo>
                        <a:pt x="417" y="1345"/>
                      </a:lnTo>
                      <a:lnTo>
                        <a:pt x="417" y="1345"/>
                      </a:lnTo>
                      <a:lnTo>
                        <a:pt x="417" y="1344"/>
                      </a:lnTo>
                      <a:lnTo>
                        <a:pt x="417" y="1344"/>
                      </a:lnTo>
                      <a:lnTo>
                        <a:pt x="413" y="1344"/>
                      </a:lnTo>
                      <a:lnTo>
                        <a:pt x="411" y="1343"/>
                      </a:lnTo>
                      <a:lnTo>
                        <a:pt x="411" y="1342"/>
                      </a:lnTo>
                      <a:lnTo>
                        <a:pt x="409" y="1341"/>
                      </a:lnTo>
                      <a:lnTo>
                        <a:pt x="408" y="1341"/>
                      </a:lnTo>
                      <a:lnTo>
                        <a:pt x="408" y="1339"/>
                      </a:lnTo>
                      <a:lnTo>
                        <a:pt x="408" y="1339"/>
                      </a:lnTo>
                      <a:lnTo>
                        <a:pt x="408" y="1337"/>
                      </a:lnTo>
                      <a:lnTo>
                        <a:pt x="407" y="1337"/>
                      </a:lnTo>
                      <a:lnTo>
                        <a:pt x="407" y="1336"/>
                      </a:lnTo>
                      <a:lnTo>
                        <a:pt x="407" y="1336"/>
                      </a:lnTo>
                      <a:lnTo>
                        <a:pt x="407" y="1334"/>
                      </a:lnTo>
                      <a:lnTo>
                        <a:pt x="407" y="1332"/>
                      </a:lnTo>
                      <a:lnTo>
                        <a:pt x="407" y="1332"/>
                      </a:lnTo>
                      <a:lnTo>
                        <a:pt x="407" y="1332"/>
                      </a:lnTo>
                      <a:lnTo>
                        <a:pt x="406" y="1330"/>
                      </a:lnTo>
                      <a:lnTo>
                        <a:pt x="406" y="1330"/>
                      </a:lnTo>
                      <a:lnTo>
                        <a:pt x="405" y="1330"/>
                      </a:lnTo>
                      <a:lnTo>
                        <a:pt x="405" y="1329"/>
                      </a:lnTo>
                      <a:lnTo>
                        <a:pt x="405" y="1328"/>
                      </a:lnTo>
                      <a:lnTo>
                        <a:pt x="404" y="1328"/>
                      </a:lnTo>
                      <a:lnTo>
                        <a:pt x="404" y="1328"/>
                      </a:lnTo>
                      <a:lnTo>
                        <a:pt x="403" y="1325"/>
                      </a:lnTo>
                      <a:lnTo>
                        <a:pt x="402" y="1325"/>
                      </a:lnTo>
                      <a:lnTo>
                        <a:pt x="402" y="1325"/>
                      </a:lnTo>
                      <a:lnTo>
                        <a:pt x="401" y="1324"/>
                      </a:lnTo>
                      <a:lnTo>
                        <a:pt x="401" y="1323"/>
                      </a:lnTo>
                      <a:lnTo>
                        <a:pt x="399" y="1322"/>
                      </a:lnTo>
                      <a:lnTo>
                        <a:pt x="396" y="1321"/>
                      </a:lnTo>
                      <a:lnTo>
                        <a:pt x="396" y="1321"/>
                      </a:lnTo>
                      <a:lnTo>
                        <a:pt x="396" y="1321"/>
                      </a:lnTo>
                      <a:lnTo>
                        <a:pt x="395" y="1320"/>
                      </a:lnTo>
                      <a:lnTo>
                        <a:pt x="394" y="1320"/>
                      </a:lnTo>
                      <a:lnTo>
                        <a:pt x="393" y="1319"/>
                      </a:lnTo>
                      <a:lnTo>
                        <a:pt x="392" y="1319"/>
                      </a:lnTo>
                      <a:lnTo>
                        <a:pt x="392" y="1319"/>
                      </a:lnTo>
                      <a:lnTo>
                        <a:pt x="392" y="1319"/>
                      </a:lnTo>
                      <a:lnTo>
                        <a:pt x="391" y="1320"/>
                      </a:lnTo>
                      <a:lnTo>
                        <a:pt x="390" y="1320"/>
                      </a:lnTo>
                      <a:lnTo>
                        <a:pt x="390" y="1320"/>
                      </a:lnTo>
                      <a:lnTo>
                        <a:pt x="390" y="1320"/>
                      </a:lnTo>
                      <a:lnTo>
                        <a:pt x="389" y="1320"/>
                      </a:lnTo>
                      <a:lnTo>
                        <a:pt x="389" y="1319"/>
                      </a:lnTo>
                      <a:lnTo>
                        <a:pt x="389" y="1316"/>
                      </a:lnTo>
                      <a:lnTo>
                        <a:pt x="389" y="1316"/>
                      </a:lnTo>
                      <a:lnTo>
                        <a:pt x="389" y="1315"/>
                      </a:lnTo>
                      <a:lnTo>
                        <a:pt x="390" y="1315"/>
                      </a:lnTo>
                      <a:lnTo>
                        <a:pt x="391" y="1315"/>
                      </a:lnTo>
                      <a:lnTo>
                        <a:pt x="391" y="1315"/>
                      </a:lnTo>
                      <a:lnTo>
                        <a:pt x="391" y="1314"/>
                      </a:lnTo>
                      <a:lnTo>
                        <a:pt x="391" y="1314"/>
                      </a:lnTo>
                      <a:lnTo>
                        <a:pt x="390" y="1313"/>
                      </a:lnTo>
                      <a:lnTo>
                        <a:pt x="391" y="1313"/>
                      </a:lnTo>
                      <a:lnTo>
                        <a:pt x="391" y="1312"/>
                      </a:lnTo>
                      <a:lnTo>
                        <a:pt x="390" y="1312"/>
                      </a:lnTo>
                      <a:lnTo>
                        <a:pt x="391" y="1310"/>
                      </a:lnTo>
                      <a:lnTo>
                        <a:pt x="391" y="1310"/>
                      </a:lnTo>
                      <a:lnTo>
                        <a:pt x="391" y="1310"/>
                      </a:lnTo>
                      <a:lnTo>
                        <a:pt x="391" y="1309"/>
                      </a:lnTo>
                      <a:lnTo>
                        <a:pt x="393" y="1307"/>
                      </a:lnTo>
                      <a:lnTo>
                        <a:pt x="393" y="1306"/>
                      </a:lnTo>
                      <a:lnTo>
                        <a:pt x="393" y="1305"/>
                      </a:lnTo>
                      <a:lnTo>
                        <a:pt x="394" y="1305"/>
                      </a:lnTo>
                      <a:lnTo>
                        <a:pt x="396" y="1301"/>
                      </a:lnTo>
                      <a:lnTo>
                        <a:pt x="396" y="1301"/>
                      </a:lnTo>
                      <a:lnTo>
                        <a:pt x="395" y="1300"/>
                      </a:lnTo>
                      <a:lnTo>
                        <a:pt x="395" y="1300"/>
                      </a:lnTo>
                      <a:lnTo>
                        <a:pt x="395" y="1300"/>
                      </a:lnTo>
                      <a:lnTo>
                        <a:pt x="394" y="1299"/>
                      </a:lnTo>
                      <a:lnTo>
                        <a:pt x="395" y="1296"/>
                      </a:lnTo>
                      <a:lnTo>
                        <a:pt x="395" y="1296"/>
                      </a:lnTo>
                      <a:lnTo>
                        <a:pt x="395" y="1296"/>
                      </a:lnTo>
                      <a:lnTo>
                        <a:pt x="397" y="1296"/>
                      </a:lnTo>
                      <a:lnTo>
                        <a:pt x="399" y="1296"/>
                      </a:lnTo>
                      <a:lnTo>
                        <a:pt x="400" y="1296"/>
                      </a:lnTo>
                      <a:lnTo>
                        <a:pt x="400" y="1295"/>
                      </a:lnTo>
                      <a:lnTo>
                        <a:pt x="400" y="1294"/>
                      </a:lnTo>
                      <a:lnTo>
                        <a:pt x="401" y="1294"/>
                      </a:lnTo>
                      <a:lnTo>
                        <a:pt x="402" y="1293"/>
                      </a:lnTo>
                      <a:lnTo>
                        <a:pt x="402" y="1293"/>
                      </a:lnTo>
                      <a:lnTo>
                        <a:pt x="403" y="1292"/>
                      </a:lnTo>
                      <a:lnTo>
                        <a:pt x="404" y="1293"/>
                      </a:lnTo>
                      <a:lnTo>
                        <a:pt x="405" y="1292"/>
                      </a:lnTo>
                      <a:lnTo>
                        <a:pt x="406" y="1292"/>
                      </a:lnTo>
                      <a:lnTo>
                        <a:pt x="406" y="1292"/>
                      </a:lnTo>
                      <a:lnTo>
                        <a:pt x="409" y="1293"/>
                      </a:lnTo>
                      <a:lnTo>
                        <a:pt x="409" y="1295"/>
                      </a:lnTo>
                      <a:lnTo>
                        <a:pt x="409" y="1295"/>
                      </a:lnTo>
                      <a:lnTo>
                        <a:pt x="409" y="1295"/>
                      </a:lnTo>
                      <a:lnTo>
                        <a:pt x="408" y="1295"/>
                      </a:lnTo>
                      <a:lnTo>
                        <a:pt x="409" y="1296"/>
                      </a:lnTo>
                      <a:lnTo>
                        <a:pt x="410" y="1295"/>
                      </a:lnTo>
                      <a:lnTo>
                        <a:pt x="411" y="1294"/>
                      </a:lnTo>
                      <a:lnTo>
                        <a:pt x="410" y="1293"/>
                      </a:lnTo>
                      <a:lnTo>
                        <a:pt x="410" y="1292"/>
                      </a:lnTo>
                      <a:lnTo>
                        <a:pt x="411" y="1292"/>
                      </a:lnTo>
                      <a:lnTo>
                        <a:pt x="411" y="1292"/>
                      </a:lnTo>
                      <a:lnTo>
                        <a:pt x="412" y="1292"/>
                      </a:lnTo>
                      <a:lnTo>
                        <a:pt x="412" y="1292"/>
                      </a:lnTo>
                      <a:lnTo>
                        <a:pt x="412" y="1293"/>
                      </a:lnTo>
                      <a:lnTo>
                        <a:pt x="411" y="1294"/>
                      </a:lnTo>
                      <a:lnTo>
                        <a:pt x="411" y="1295"/>
                      </a:lnTo>
                      <a:lnTo>
                        <a:pt x="413" y="1295"/>
                      </a:lnTo>
                      <a:lnTo>
                        <a:pt x="413" y="1297"/>
                      </a:lnTo>
                      <a:lnTo>
                        <a:pt x="414" y="1297"/>
                      </a:lnTo>
                      <a:lnTo>
                        <a:pt x="415" y="1296"/>
                      </a:lnTo>
                      <a:lnTo>
                        <a:pt x="415" y="1296"/>
                      </a:lnTo>
                      <a:lnTo>
                        <a:pt x="415" y="1297"/>
                      </a:lnTo>
                      <a:lnTo>
                        <a:pt x="416" y="1297"/>
                      </a:lnTo>
                      <a:lnTo>
                        <a:pt x="416" y="1298"/>
                      </a:lnTo>
                      <a:lnTo>
                        <a:pt x="416" y="1298"/>
                      </a:lnTo>
                      <a:lnTo>
                        <a:pt x="418" y="1299"/>
                      </a:lnTo>
                      <a:lnTo>
                        <a:pt x="418" y="1299"/>
                      </a:lnTo>
                      <a:lnTo>
                        <a:pt x="418" y="1298"/>
                      </a:lnTo>
                      <a:lnTo>
                        <a:pt x="417" y="1297"/>
                      </a:lnTo>
                      <a:lnTo>
                        <a:pt x="417" y="1295"/>
                      </a:lnTo>
                      <a:lnTo>
                        <a:pt x="417" y="1295"/>
                      </a:lnTo>
                      <a:lnTo>
                        <a:pt x="418" y="1295"/>
                      </a:lnTo>
                      <a:lnTo>
                        <a:pt x="418" y="1295"/>
                      </a:lnTo>
                      <a:lnTo>
                        <a:pt x="419" y="1295"/>
                      </a:lnTo>
                      <a:lnTo>
                        <a:pt x="420" y="1295"/>
                      </a:lnTo>
                      <a:lnTo>
                        <a:pt x="419" y="1295"/>
                      </a:lnTo>
                      <a:lnTo>
                        <a:pt x="419" y="1294"/>
                      </a:lnTo>
                      <a:lnTo>
                        <a:pt x="419" y="1294"/>
                      </a:lnTo>
                      <a:lnTo>
                        <a:pt x="419" y="1293"/>
                      </a:lnTo>
                      <a:lnTo>
                        <a:pt x="418" y="1293"/>
                      </a:lnTo>
                      <a:lnTo>
                        <a:pt x="418" y="1292"/>
                      </a:lnTo>
                      <a:lnTo>
                        <a:pt x="418" y="1291"/>
                      </a:lnTo>
                      <a:lnTo>
                        <a:pt x="419" y="1291"/>
                      </a:lnTo>
                      <a:lnTo>
                        <a:pt x="419" y="1290"/>
                      </a:lnTo>
                      <a:lnTo>
                        <a:pt x="418" y="1290"/>
                      </a:lnTo>
                      <a:lnTo>
                        <a:pt x="418" y="1291"/>
                      </a:lnTo>
                      <a:lnTo>
                        <a:pt x="418" y="1291"/>
                      </a:lnTo>
                      <a:lnTo>
                        <a:pt x="417" y="1291"/>
                      </a:lnTo>
                      <a:lnTo>
                        <a:pt x="417" y="1291"/>
                      </a:lnTo>
                      <a:lnTo>
                        <a:pt x="417" y="1291"/>
                      </a:lnTo>
                      <a:lnTo>
                        <a:pt x="416" y="1291"/>
                      </a:lnTo>
                      <a:lnTo>
                        <a:pt x="416" y="1291"/>
                      </a:lnTo>
                      <a:lnTo>
                        <a:pt x="416" y="1291"/>
                      </a:lnTo>
                      <a:lnTo>
                        <a:pt x="416" y="1290"/>
                      </a:lnTo>
                      <a:lnTo>
                        <a:pt x="416" y="1290"/>
                      </a:lnTo>
                      <a:lnTo>
                        <a:pt x="416" y="1289"/>
                      </a:lnTo>
                      <a:lnTo>
                        <a:pt x="416" y="1289"/>
                      </a:lnTo>
                      <a:lnTo>
                        <a:pt x="416" y="1289"/>
                      </a:lnTo>
                      <a:lnTo>
                        <a:pt x="417" y="1289"/>
                      </a:lnTo>
                      <a:lnTo>
                        <a:pt x="417" y="1288"/>
                      </a:lnTo>
                      <a:lnTo>
                        <a:pt x="417" y="1288"/>
                      </a:lnTo>
                      <a:lnTo>
                        <a:pt x="417" y="1287"/>
                      </a:lnTo>
                      <a:lnTo>
                        <a:pt x="417" y="1287"/>
                      </a:lnTo>
                      <a:lnTo>
                        <a:pt x="417" y="1287"/>
                      </a:lnTo>
                      <a:lnTo>
                        <a:pt x="417" y="1287"/>
                      </a:lnTo>
                      <a:lnTo>
                        <a:pt x="416" y="1286"/>
                      </a:lnTo>
                      <a:lnTo>
                        <a:pt x="416" y="1286"/>
                      </a:lnTo>
                      <a:lnTo>
                        <a:pt x="416" y="1285"/>
                      </a:lnTo>
                      <a:lnTo>
                        <a:pt x="416" y="1285"/>
                      </a:lnTo>
                      <a:lnTo>
                        <a:pt x="415" y="1284"/>
                      </a:lnTo>
                      <a:lnTo>
                        <a:pt x="414" y="1283"/>
                      </a:lnTo>
                      <a:lnTo>
                        <a:pt x="413" y="1283"/>
                      </a:lnTo>
                      <a:lnTo>
                        <a:pt x="412" y="1283"/>
                      </a:lnTo>
                      <a:lnTo>
                        <a:pt x="411" y="1283"/>
                      </a:lnTo>
                      <a:lnTo>
                        <a:pt x="409" y="1283"/>
                      </a:lnTo>
                      <a:lnTo>
                        <a:pt x="402" y="1283"/>
                      </a:lnTo>
                      <a:lnTo>
                        <a:pt x="401" y="1282"/>
                      </a:lnTo>
                      <a:lnTo>
                        <a:pt x="401" y="1281"/>
                      </a:lnTo>
                      <a:lnTo>
                        <a:pt x="400" y="1280"/>
                      </a:lnTo>
                      <a:lnTo>
                        <a:pt x="397" y="1278"/>
                      </a:lnTo>
                      <a:lnTo>
                        <a:pt x="395" y="1278"/>
                      </a:lnTo>
                      <a:lnTo>
                        <a:pt x="393" y="1278"/>
                      </a:lnTo>
                      <a:lnTo>
                        <a:pt x="391" y="1277"/>
                      </a:lnTo>
                      <a:lnTo>
                        <a:pt x="391" y="1277"/>
                      </a:lnTo>
                      <a:lnTo>
                        <a:pt x="391" y="1277"/>
                      </a:lnTo>
                      <a:lnTo>
                        <a:pt x="390" y="1276"/>
                      </a:lnTo>
                      <a:lnTo>
                        <a:pt x="390" y="1275"/>
                      </a:lnTo>
                      <a:lnTo>
                        <a:pt x="390" y="1274"/>
                      </a:lnTo>
                      <a:lnTo>
                        <a:pt x="390" y="1274"/>
                      </a:lnTo>
                      <a:lnTo>
                        <a:pt x="391" y="1272"/>
                      </a:lnTo>
                      <a:lnTo>
                        <a:pt x="391" y="1271"/>
                      </a:lnTo>
                      <a:lnTo>
                        <a:pt x="392" y="1271"/>
                      </a:lnTo>
                      <a:lnTo>
                        <a:pt x="392" y="1271"/>
                      </a:lnTo>
                      <a:lnTo>
                        <a:pt x="391" y="1270"/>
                      </a:lnTo>
                      <a:lnTo>
                        <a:pt x="391" y="1270"/>
                      </a:lnTo>
                      <a:lnTo>
                        <a:pt x="390" y="1270"/>
                      </a:lnTo>
                      <a:lnTo>
                        <a:pt x="390" y="1269"/>
                      </a:lnTo>
                      <a:lnTo>
                        <a:pt x="391" y="1269"/>
                      </a:lnTo>
                      <a:lnTo>
                        <a:pt x="391" y="1268"/>
                      </a:lnTo>
                      <a:lnTo>
                        <a:pt x="391" y="1268"/>
                      </a:lnTo>
                      <a:lnTo>
                        <a:pt x="391" y="1265"/>
                      </a:lnTo>
                      <a:lnTo>
                        <a:pt x="392" y="1263"/>
                      </a:lnTo>
                      <a:lnTo>
                        <a:pt x="392" y="1263"/>
                      </a:lnTo>
                      <a:lnTo>
                        <a:pt x="392" y="1261"/>
                      </a:lnTo>
                      <a:lnTo>
                        <a:pt x="392" y="1261"/>
                      </a:lnTo>
                      <a:lnTo>
                        <a:pt x="392" y="1261"/>
                      </a:lnTo>
                      <a:lnTo>
                        <a:pt x="392" y="1259"/>
                      </a:lnTo>
                      <a:lnTo>
                        <a:pt x="392" y="1258"/>
                      </a:lnTo>
                      <a:lnTo>
                        <a:pt x="392" y="1257"/>
                      </a:lnTo>
                      <a:lnTo>
                        <a:pt x="392" y="1256"/>
                      </a:lnTo>
                      <a:lnTo>
                        <a:pt x="391" y="1254"/>
                      </a:lnTo>
                      <a:lnTo>
                        <a:pt x="391" y="1251"/>
                      </a:lnTo>
                      <a:lnTo>
                        <a:pt x="391" y="1250"/>
                      </a:lnTo>
                      <a:lnTo>
                        <a:pt x="390" y="1249"/>
                      </a:lnTo>
                      <a:lnTo>
                        <a:pt x="390" y="1248"/>
                      </a:lnTo>
                      <a:lnTo>
                        <a:pt x="390" y="1248"/>
                      </a:lnTo>
                      <a:lnTo>
                        <a:pt x="390" y="1248"/>
                      </a:lnTo>
                      <a:lnTo>
                        <a:pt x="390" y="1247"/>
                      </a:lnTo>
                      <a:lnTo>
                        <a:pt x="390" y="1247"/>
                      </a:lnTo>
                      <a:lnTo>
                        <a:pt x="390" y="1244"/>
                      </a:lnTo>
                      <a:lnTo>
                        <a:pt x="389" y="1244"/>
                      </a:lnTo>
                      <a:lnTo>
                        <a:pt x="389" y="1243"/>
                      </a:lnTo>
                      <a:lnTo>
                        <a:pt x="390" y="1242"/>
                      </a:lnTo>
                      <a:lnTo>
                        <a:pt x="390" y="1241"/>
                      </a:lnTo>
                      <a:lnTo>
                        <a:pt x="391" y="1241"/>
                      </a:lnTo>
                      <a:lnTo>
                        <a:pt x="391" y="1240"/>
                      </a:lnTo>
                      <a:lnTo>
                        <a:pt x="391" y="1239"/>
                      </a:lnTo>
                      <a:lnTo>
                        <a:pt x="391" y="1239"/>
                      </a:lnTo>
                      <a:lnTo>
                        <a:pt x="390" y="1237"/>
                      </a:lnTo>
                      <a:lnTo>
                        <a:pt x="390" y="1236"/>
                      </a:lnTo>
                      <a:lnTo>
                        <a:pt x="390" y="1235"/>
                      </a:lnTo>
                      <a:lnTo>
                        <a:pt x="390" y="1235"/>
                      </a:lnTo>
                      <a:lnTo>
                        <a:pt x="390" y="1233"/>
                      </a:lnTo>
                      <a:lnTo>
                        <a:pt x="391" y="1232"/>
                      </a:lnTo>
                      <a:lnTo>
                        <a:pt x="391" y="1232"/>
                      </a:lnTo>
                      <a:lnTo>
                        <a:pt x="392" y="1232"/>
                      </a:lnTo>
                      <a:lnTo>
                        <a:pt x="394" y="1232"/>
                      </a:lnTo>
                      <a:lnTo>
                        <a:pt x="394" y="1233"/>
                      </a:lnTo>
                      <a:lnTo>
                        <a:pt x="394" y="1233"/>
                      </a:lnTo>
                      <a:lnTo>
                        <a:pt x="395" y="1233"/>
                      </a:lnTo>
                      <a:lnTo>
                        <a:pt x="395" y="1233"/>
                      </a:lnTo>
                      <a:lnTo>
                        <a:pt x="396" y="1232"/>
                      </a:lnTo>
                      <a:lnTo>
                        <a:pt x="396" y="1233"/>
                      </a:lnTo>
                      <a:lnTo>
                        <a:pt x="397" y="1233"/>
                      </a:lnTo>
                      <a:lnTo>
                        <a:pt x="397" y="1232"/>
                      </a:lnTo>
                      <a:lnTo>
                        <a:pt x="399" y="1232"/>
                      </a:lnTo>
                      <a:lnTo>
                        <a:pt x="399" y="1231"/>
                      </a:lnTo>
                      <a:lnTo>
                        <a:pt x="400" y="1230"/>
                      </a:lnTo>
                      <a:lnTo>
                        <a:pt x="401" y="1230"/>
                      </a:lnTo>
                      <a:lnTo>
                        <a:pt x="401" y="1229"/>
                      </a:lnTo>
                      <a:lnTo>
                        <a:pt x="401" y="1229"/>
                      </a:lnTo>
                      <a:lnTo>
                        <a:pt x="402" y="1229"/>
                      </a:lnTo>
                      <a:lnTo>
                        <a:pt x="403" y="1229"/>
                      </a:lnTo>
                      <a:lnTo>
                        <a:pt x="403" y="1229"/>
                      </a:lnTo>
                      <a:lnTo>
                        <a:pt x="404" y="1229"/>
                      </a:lnTo>
                      <a:lnTo>
                        <a:pt x="404" y="1229"/>
                      </a:lnTo>
                      <a:lnTo>
                        <a:pt x="404" y="1229"/>
                      </a:lnTo>
                      <a:lnTo>
                        <a:pt x="405" y="1230"/>
                      </a:lnTo>
                      <a:lnTo>
                        <a:pt x="407" y="1230"/>
                      </a:lnTo>
                      <a:lnTo>
                        <a:pt x="407" y="1230"/>
                      </a:lnTo>
                      <a:lnTo>
                        <a:pt x="408" y="1230"/>
                      </a:lnTo>
                      <a:lnTo>
                        <a:pt x="408" y="1229"/>
                      </a:lnTo>
                      <a:lnTo>
                        <a:pt x="409" y="1229"/>
                      </a:lnTo>
                      <a:lnTo>
                        <a:pt x="409" y="1228"/>
                      </a:lnTo>
                      <a:lnTo>
                        <a:pt x="410" y="1228"/>
                      </a:lnTo>
                      <a:lnTo>
                        <a:pt x="410" y="1228"/>
                      </a:lnTo>
                      <a:lnTo>
                        <a:pt x="410" y="1229"/>
                      </a:lnTo>
                      <a:lnTo>
                        <a:pt x="410" y="1229"/>
                      </a:lnTo>
                      <a:lnTo>
                        <a:pt x="411" y="1229"/>
                      </a:lnTo>
                      <a:lnTo>
                        <a:pt x="411" y="1229"/>
                      </a:lnTo>
                      <a:lnTo>
                        <a:pt x="413" y="1229"/>
                      </a:lnTo>
                      <a:lnTo>
                        <a:pt x="414" y="1228"/>
                      </a:lnTo>
                      <a:lnTo>
                        <a:pt x="414" y="1228"/>
                      </a:lnTo>
                      <a:lnTo>
                        <a:pt x="414" y="1228"/>
                      </a:lnTo>
                      <a:lnTo>
                        <a:pt x="415" y="1228"/>
                      </a:lnTo>
                      <a:lnTo>
                        <a:pt x="415" y="1228"/>
                      </a:lnTo>
                      <a:lnTo>
                        <a:pt x="415" y="1228"/>
                      </a:lnTo>
                      <a:lnTo>
                        <a:pt x="414" y="1229"/>
                      </a:lnTo>
                      <a:lnTo>
                        <a:pt x="415" y="1229"/>
                      </a:lnTo>
                      <a:lnTo>
                        <a:pt x="415" y="1229"/>
                      </a:lnTo>
                      <a:lnTo>
                        <a:pt x="415" y="1229"/>
                      </a:lnTo>
                      <a:lnTo>
                        <a:pt x="416" y="1230"/>
                      </a:lnTo>
                      <a:lnTo>
                        <a:pt x="417" y="1230"/>
                      </a:lnTo>
                      <a:lnTo>
                        <a:pt x="416" y="1229"/>
                      </a:lnTo>
                      <a:lnTo>
                        <a:pt x="416" y="1229"/>
                      </a:lnTo>
                      <a:lnTo>
                        <a:pt x="417" y="1229"/>
                      </a:lnTo>
                      <a:lnTo>
                        <a:pt x="417" y="1229"/>
                      </a:lnTo>
                      <a:lnTo>
                        <a:pt x="417" y="1230"/>
                      </a:lnTo>
                      <a:lnTo>
                        <a:pt x="417" y="1231"/>
                      </a:lnTo>
                      <a:lnTo>
                        <a:pt x="418" y="1231"/>
                      </a:lnTo>
                      <a:lnTo>
                        <a:pt x="418" y="1231"/>
                      </a:lnTo>
                      <a:lnTo>
                        <a:pt x="418" y="1232"/>
                      </a:lnTo>
                      <a:lnTo>
                        <a:pt x="418" y="1232"/>
                      </a:lnTo>
                      <a:lnTo>
                        <a:pt x="417" y="1233"/>
                      </a:lnTo>
                      <a:lnTo>
                        <a:pt x="417" y="1234"/>
                      </a:lnTo>
                      <a:lnTo>
                        <a:pt x="416" y="1234"/>
                      </a:lnTo>
                      <a:lnTo>
                        <a:pt x="416" y="1234"/>
                      </a:lnTo>
                      <a:lnTo>
                        <a:pt x="417" y="1236"/>
                      </a:lnTo>
                      <a:lnTo>
                        <a:pt x="417" y="1236"/>
                      </a:lnTo>
                      <a:lnTo>
                        <a:pt x="416" y="1236"/>
                      </a:lnTo>
                      <a:lnTo>
                        <a:pt x="416" y="1236"/>
                      </a:lnTo>
                      <a:lnTo>
                        <a:pt x="416" y="1236"/>
                      </a:lnTo>
                      <a:lnTo>
                        <a:pt x="416" y="1238"/>
                      </a:lnTo>
                      <a:lnTo>
                        <a:pt x="416" y="1239"/>
                      </a:lnTo>
                      <a:lnTo>
                        <a:pt x="416" y="1239"/>
                      </a:lnTo>
                      <a:lnTo>
                        <a:pt x="417" y="1239"/>
                      </a:lnTo>
                      <a:lnTo>
                        <a:pt x="417" y="1239"/>
                      </a:lnTo>
                      <a:lnTo>
                        <a:pt x="418" y="1239"/>
                      </a:lnTo>
                      <a:lnTo>
                        <a:pt x="419" y="1239"/>
                      </a:lnTo>
                      <a:lnTo>
                        <a:pt x="418" y="1240"/>
                      </a:lnTo>
                      <a:lnTo>
                        <a:pt x="418" y="1241"/>
                      </a:lnTo>
                      <a:lnTo>
                        <a:pt x="418" y="1242"/>
                      </a:lnTo>
                      <a:lnTo>
                        <a:pt x="418" y="1243"/>
                      </a:lnTo>
                      <a:lnTo>
                        <a:pt x="419" y="1243"/>
                      </a:lnTo>
                      <a:lnTo>
                        <a:pt x="419" y="1244"/>
                      </a:lnTo>
                      <a:lnTo>
                        <a:pt x="420" y="1244"/>
                      </a:lnTo>
                      <a:lnTo>
                        <a:pt x="420" y="1243"/>
                      </a:lnTo>
                      <a:lnTo>
                        <a:pt x="421" y="1243"/>
                      </a:lnTo>
                      <a:lnTo>
                        <a:pt x="421" y="1245"/>
                      </a:lnTo>
                      <a:lnTo>
                        <a:pt x="421" y="1245"/>
                      </a:lnTo>
                      <a:lnTo>
                        <a:pt x="421" y="1245"/>
                      </a:lnTo>
                      <a:lnTo>
                        <a:pt x="422" y="1246"/>
                      </a:lnTo>
                      <a:lnTo>
                        <a:pt x="422" y="1246"/>
                      </a:lnTo>
                      <a:lnTo>
                        <a:pt x="422" y="1246"/>
                      </a:lnTo>
                      <a:lnTo>
                        <a:pt x="422" y="1247"/>
                      </a:lnTo>
                      <a:lnTo>
                        <a:pt x="422" y="1248"/>
                      </a:lnTo>
                      <a:lnTo>
                        <a:pt x="422" y="1249"/>
                      </a:lnTo>
                      <a:lnTo>
                        <a:pt x="422" y="1249"/>
                      </a:lnTo>
                      <a:lnTo>
                        <a:pt x="421" y="1250"/>
                      </a:lnTo>
                      <a:lnTo>
                        <a:pt x="421" y="1251"/>
                      </a:lnTo>
                      <a:lnTo>
                        <a:pt x="422" y="1252"/>
                      </a:lnTo>
                      <a:lnTo>
                        <a:pt x="421" y="1252"/>
                      </a:lnTo>
                      <a:lnTo>
                        <a:pt x="421" y="1253"/>
                      </a:lnTo>
                      <a:lnTo>
                        <a:pt x="422" y="1254"/>
                      </a:lnTo>
                      <a:lnTo>
                        <a:pt x="421" y="1255"/>
                      </a:lnTo>
                      <a:lnTo>
                        <a:pt x="421" y="1255"/>
                      </a:lnTo>
                      <a:lnTo>
                        <a:pt x="421" y="1256"/>
                      </a:lnTo>
                      <a:lnTo>
                        <a:pt x="423" y="1258"/>
                      </a:lnTo>
                      <a:lnTo>
                        <a:pt x="423" y="1259"/>
                      </a:lnTo>
                      <a:lnTo>
                        <a:pt x="423" y="1259"/>
                      </a:lnTo>
                      <a:lnTo>
                        <a:pt x="424" y="1260"/>
                      </a:lnTo>
                      <a:lnTo>
                        <a:pt x="424" y="1260"/>
                      </a:lnTo>
                      <a:lnTo>
                        <a:pt x="425" y="1261"/>
                      </a:lnTo>
                      <a:lnTo>
                        <a:pt x="426" y="1262"/>
                      </a:lnTo>
                      <a:lnTo>
                        <a:pt x="427" y="1265"/>
                      </a:lnTo>
                      <a:lnTo>
                        <a:pt x="427" y="1265"/>
                      </a:lnTo>
                      <a:lnTo>
                        <a:pt x="428" y="1266"/>
                      </a:lnTo>
                      <a:lnTo>
                        <a:pt x="428" y="1267"/>
                      </a:lnTo>
                      <a:lnTo>
                        <a:pt x="429" y="1267"/>
                      </a:lnTo>
                      <a:lnTo>
                        <a:pt x="430" y="1269"/>
                      </a:lnTo>
                      <a:lnTo>
                        <a:pt x="431" y="1270"/>
                      </a:lnTo>
                      <a:lnTo>
                        <a:pt x="431" y="1270"/>
                      </a:lnTo>
                      <a:lnTo>
                        <a:pt x="432" y="1269"/>
                      </a:lnTo>
                      <a:lnTo>
                        <a:pt x="433" y="1269"/>
                      </a:lnTo>
                      <a:lnTo>
                        <a:pt x="434" y="1269"/>
                      </a:lnTo>
                      <a:lnTo>
                        <a:pt x="434" y="1269"/>
                      </a:lnTo>
                      <a:lnTo>
                        <a:pt x="436" y="1268"/>
                      </a:lnTo>
                      <a:lnTo>
                        <a:pt x="436" y="1267"/>
                      </a:lnTo>
                      <a:lnTo>
                        <a:pt x="436" y="1267"/>
                      </a:lnTo>
                      <a:lnTo>
                        <a:pt x="434" y="1266"/>
                      </a:lnTo>
                      <a:lnTo>
                        <a:pt x="433" y="1267"/>
                      </a:lnTo>
                      <a:lnTo>
                        <a:pt x="433" y="1266"/>
                      </a:lnTo>
                      <a:lnTo>
                        <a:pt x="433" y="1266"/>
                      </a:lnTo>
                      <a:lnTo>
                        <a:pt x="433" y="1266"/>
                      </a:lnTo>
                      <a:lnTo>
                        <a:pt x="433" y="1266"/>
                      </a:lnTo>
                      <a:lnTo>
                        <a:pt x="433" y="1265"/>
                      </a:lnTo>
                      <a:lnTo>
                        <a:pt x="433" y="1265"/>
                      </a:lnTo>
                      <a:lnTo>
                        <a:pt x="433" y="1263"/>
                      </a:lnTo>
                      <a:lnTo>
                        <a:pt x="432" y="1263"/>
                      </a:lnTo>
                      <a:lnTo>
                        <a:pt x="432" y="1262"/>
                      </a:lnTo>
                      <a:lnTo>
                        <a:pt x="432" y="1262"/>
                      </a:lnTo>
                      <a:lnTo>
                        <a:pt x="432" y="1261"/>
                      </a:lnTo>
                      <a:lnTo>
                        <a:pt x="430" y="1261"/>
                      </a:lnTo>
                      <a:lnTo>
                        <a:pt x="430" y="1260"/>
                      </a:lnTo>
                      <a:lnTo>
                        <a:pt x="430" y="1259"/>
                      </a:lnTo>
                      <a:lnTo>
                        <a:pt x="431" y="1259"/>
                      </a:lnTo>
                      <a:lnTo>
                        <a:pt x="431" y="1258"/>
                      </a:lnTo>
                      <a:lnTo>
                        <a:pt x="432" y="1258"/>
                      </a:lnTo>
                      <a:lnTo>
                        <a:pt x="432" y="1257"/>
                      </a:lnTo>
                      <a:lnTo>
                        <a:pt x="433" y="1257"/>
                      </a:lnTo>
                      <a:lnTo>
                        <a:pt x="434" y="1257"/>
                      </a:lnTo>
                      <a:lnTo>
                        <a:pt x="436" y="1258"/>
                      </a:lnTo>
                      <a:lnTo>
                        <a:pt x="436" y="1259"/>
                      </a:lnTo>
                      <a:lnTo>
                        <a:pt x="436" y="1260"/>
                      </a:lnTo>
                      <a:lnTo>
                        <a:pt x="434" y="1260"/>
                      </a:lnTo>
                      <a:lnTo>
                        <a:pt x="434" y="1260"/>
                      </a:lnTo>
                      <a:lnTo>
                        <a:pt x="434" y="1260"/>
                      </a:lnTo>
                      <a:lnTo>
                        <a:pt x="436" y="1260"/>
                      </a:lnTo>
                      <a:lnTo>
                        <a:pt x="437" y="1260"/>
                      </a:lnTo>
                      <a:lnTo>
                        <a:pt x="437" y="1260"/>
                      </a:lnTo>
                      <a:lnTo>
                        <a:pt x="439" y="1260"/>
                      </a:lnTo>
                      <a:lnTo>
                        <a:pt x="439" y="1260"/>
                      </a:lnTo>
                      <a:lnTo>
                        <a:pt x="439" y="1260"/>
                      </a:lnTo>
                      <a:lnTo>
                        <a:pt x="440" y="1259"/>
                      </a:lnTo>
                      <a:lnTo>
                        <a:pt x="440" y="1259"/>
                      </a:lnTo>
                      <a:lnTo>
                        <a:pt x="440" y="1259"/>
                      </a:lnTo>
                      <a:lnTo>
                        <a:pt x="440" y="1258"/>
                      </a:lnTo>
                      <a:lnTo>
                        <a:pt x="440" y="1258"/>
                      </a:lnTo>
                      <a:lnTo>
                        <a:pt x="440" y="1256"/>
                      </a:lnTo>
                      <a:lnTo>
                        <a:pt x="437" y="1256"/>
                      </a:lnTo>
                      <a:lnTo>
                        <a:pt x="436" y="1255"/>
                      </a:lnTo>
                      <a:lnTo>
                        <a:pt x="436" y="1254"/>
                      </a:lnTo>
                      <a:lnTo>
                        <a:pt x="438" y="1252"/>
                      </a:lnTo>
                      <a:lnTo>
                        <a:pt x="438" y="1251"/>
                      </a:lnTo>
                      <a:lnTo>
                        <a:pt x="438" y="1251"/>
                      </a:lnTo>
                      <a:lnTo>
                        <a:pt x="439" y="1249"/>
                      </a:lnTo>
                      <a:lnTo>
                        <a:pt x="439" y="1249"/>
                      </a:lnTo>
                      <a:lnTo>
                        <a:pt x="439" y="1248"/>
                      </a:lnTo>
                      <a:lnTo>
                        <a:pt x="439" y="1246"/>
                      </a:lnTo>
                      <a:lnTo>
                        <a:pt x="439" y="1246"/>
                      </a:lnTo>
                      <a:lnTo>
                        <a:pt x="439" y="1245"/>
                      </a:lnTo>
                      <a:lnTo>
                        <a:pt x="439" y="1245"/>
                      </a:lnTo>
                      <a:lnTo>
                        <a:pt x="440" y="1244"/>
                      </a:lnTo>
                      <a:lnTo>
                        <a:pt x="439" y="1243"/>
                      </a:lnTo>
                      <a:lnTo>
                        <a:pt x="439" y="1241"/>
                      </a:lnTo>
                      <a:lnTo>
                        <a:pt x="439" y="1241"/>
                      </a:lnTo>
                      <a:lnTo>
                        <a:pt x="439" y="1240"/>
                      </a:lnTo>
                      <a:lnTo>
                        <a:pt x="438" y="1240"/>
                      </a:lnTo>
                      <a:lnTo>
                        <a:pt x="437" y="1240"/>
                      </a:lnTo>
                      <a:lnTo>
                        <a:pt x="437" y="1240"/>
                      </a:lnTo>
                      <a:lnTo>
                        <a:pt x="437" y="1240"/>
                      </a:lnTo>
                      <a:lnTo>
                        <a:pt x="437" y="1241"/>
                      </a:lnTo>
                      <a:lnTo>
                        <a:pt x="436" y="1241"/>
                      </a:lnTo>
                      <a:lnTo>
                        <a:pt x="436" y="1240"/>
                      </a:lnTo>
                      <a:lnTo>
                        <a:pt x="436" y="1240"/>
                      </a:lnTo>
                      <a:lnTo>
                        <a:pt x="436" y="1239"/>
                      </a:lnTo>
                      <a:lnTo>
                        <a:pt x="436" y="1238"/>
                      </a:lnTo>
                      <a:lnTo>
                        <a:pt x="436" y="1237"/>
                      </a:lnTo>
                      <a:lnTo>
                        <a:pt x="434" y="1237"/>
                      </a:lnTo>
                      <a:lnTo>
                        <a:pt x="434" y="1237"/>
                      </a:lnTo>
                      <a:lnTo>
                        <a:pt x="434" y="1237"/>
                      </a:lnTo>
                      <a:lnTo>
                        <a:pt x="433" y="1236"/>
                      </a:lnTo>
                      <a:lnTo>
                        <a:pt x="432" y="1236"/>
                      </a:lnTo>
                      <a:lnTo>
                        <a:pt x="431" y="1236"/>
                      </a:lnTo>
                      <a:lnTo>
                        <a:pt x="431" y="1235"/>
                      </a:lnTo>
                      <a:lnTo>
                        <a:pt x="429" y="1235"/>
                      </a:lnTo>
                      <a:lnTo>
                        <a:pt x="429" y="1235"/>
                      </a:lnTo>
                      <a:lnTo>
                        <a:pt x="429" y="1235"/>
                      </a:lnTo>
                      <a:lnTo>
                        <a:pt x="428" y="1235"/>
                      </a:lnTo>
                      <a:lnTo>
                        <a:pt x="428" y="1235"/>
                      </a:lnTo>
                      <a:lnTo>
                        <a:pt x="428" y="1234"/>
                      </a:lnTo>
                      <a:lnTo>
                        <a:pt x="428" y="1234"/>
                      </a:lnTo>
                      <a:lnTo>
                        <a:pt x="427" y="1235"/>
                      </a:lnTo>
                      <a:lnTo>
                        <a:pt x="426" y="1235"/>
                      </a:lnTo>
                      <a:lnTo>
                        <a:pt x="426" y="1235"/>
                      </a:lnTo>
                      <a:lnTo>
                        <a:pt x="426" y="1234"/>
                      </a:lnTo>
                      <a:lnTo>
                        <a:pt x="426" y="1234"/>
                      </a:lnTo>
                      <a:lnTo>
                        <a:pt x="426" y="1234"/>
                      </a:lnTo>
                      <a:lnTo>
                        <a:pt x="426" y="1233"/>
                      </a:lnTo>
                      <a:lnTo>
                        <a:pt x="427" y="1232"/>
                      </a:lnTo>
                      <a:lnTo>
                        <a:pt x="425" y="1230"/>
                      </a:lnTo>
                      <a:lnTo>
                        <a:pt x="426" y="1229"/>
                      </a:lnTo>
                      <a:lnTo>
                        <a:pt x="425" y="1229"/>
                      </a:lnTo>
                      <a:lnTo>
                        <a:pt x="425" y="1229"/>
                      </a:lnTo>
                      <a:lnTo>
                        <a:pt x="424" y="1227"/>
                      </a:lnTo>
                      <a:lnTo>
                        <a:pt x="424" y="1227"/>
                      </a:lnTo>
                      <a:lnTo>
                        <a:pt x="423" y="1224"/>
                      </a:lnTo>
                      <a:lnTo>
                        <a:pt x="423" y="1224"/>
                      </a:lnTo>
                      <a:lnTo>
                        <a:pt x="424" y="1223"/>
                      </a:lnTo>
                      <a:lnTo>
                        <a:pt x="426" y="1223"/>
                      </a:lnTo>
                      <a:lnTo>
                        <a:pt x="426" y="1223"/>
                      </a:lnTo>
                      <a:lnTo>
                        <a:pt x="425" y="1223"/>
                      </a:lnTo>
                      <a:lnTo>
                        <a:pt x="424" y="1221"/>
                      </a:lnTo>
                      <a:lnTo>
                        <a:pt x="423" y="1221"/>
                      </a:lnTo>
                      <a:lnTo>
                        <a:pt x="423" y="1221"/>
                      </a:lnTo>
                      <a:lnTo>
                        <a:pt x="423" y="1220"/>
                      </a:lnTo>
                      <a:lnTo>
                        <a:pt x="424" y="1220"/>
                      </a:lnTo>
                      <a:lnTo>
                        <a:pt x="424" y="1220"/>
                      </a:lnTo>
                      <a:lnTo>
                        <a:pt x="424" y="1219"/>
                      </a:lnTo>
                      <a:lnTo>
                        <a:pt x="425" y="1218"/>
                      </a:lnTo>
                      <a:lnTo>
                        <a:pt x="425" y="1218"/>
                      </a:lnTo>
                      <a:lnTo>
                        <a:pt x="425" y="1216"/>
                      </a:lnTo>
                      <a:lnTo>
                        <a:pt x="425" y="1215"/>
                      </a:lnTo>
                      <a:lnTo>
                        <a:pt x="426" y="1215"/>
                      </a:lnTo>
                      <a:lnTo>
                        <a:pt x="426" y="1213"/>
                      </a:lnTo>
                      <a:lnTo>
                        <a:pt x="427" y="1213"/>
                      </a:lnTo>
                      <a:lnTo>
                        <a:pt x="427" y="1211"/>
                      </a:lnTo>
                      <a:lnTo>
                        <a:pt x="429" y="1211"/>
                      </a:lnTo>
                      <a:lnTo>
                        <a:pt x="429" y="1210"/>
                      </a:lnTo>
                      <a:lnTo>
                        <a:pt x="429" y="1209"/>
                      </a:lnTo>
                      <a:lnTo>
                        <a:pt x="430" y="1209"/>
                      </a:lnTo>
                      <a:lnTo>
                        <a:pt x="430" y="1207"/>
                      </a:lnTo>
                      <a:lnTo>
                        <a:pt x="431" y="1207"/>
                      </a:lnTo>
                      <a:lnTo>
                        <a:pt x="433" y="1207"/>
                      </a:lnTo>
                      <a:lnTo>
                        <a:pt x="433" y="1207"/>
                      </a:lnTo>
                      <a:lnTo>
                        <a:pt x="434" y="1207"/>
                      </a:lnTo>
                      <a:lnTo>
                        <a:pt x="436" y="1207"/>
                      </a:lnTo>
                      <a:lnTo>
                        <a:pt x="436" y="1207"/>
                      </a:lnTo>
                      <a:lnTo>
                        <a:pt x="436" y="1208"/>
                      </a:lnTo>
                      <a:lnTo>
                        <a:pt x="437" y="1208"/>
                      </a:lnTo>
                      <a:lnTo>
                        <a:pt x="438" y="1209"/>
                      </a:lnTo>
                      <a:lnTo>
                        <a:pt x="438" y="1209"/>
                      </a:lnTo>
                      <a:lnTo>
                        <a:pt x="438" y="1209"/>
                      </a:lnTo>
                      <a:lnTo>
                        <a:pt x="439" y="1209"/>
                      </a:lnTo>
                      <a:lnTo>
                        <a:pt x="439" y="1209"/>
                      </a:lnTo>
                      <a:lnTo>
                        <a:pt x="439" y="1209"/>
                      </a:lnTo>
                      <a:lnTo>
                        <a:pt x="440" y="1210"/>
                      </a:lnTo>
                      <a:lnTo>
                        <a:pt x="440" y="1210"/>
                      </a:lnTo>
                      <a:lnTo>
                        <a:pt x="440" y="1210"/>
                      </a:lnTo>
                      <a:lnTo>
                        <a:pt x="440" y="1211"/>
                      </a:lnTo>
                      <a:lnTo>
                        <a:pt x="441" y="1210"/>
                      </a:lnTo>
                      <a:lnTo>
                        <a:pt x="441" y="1210"/>
                      </a:lnTo>
                      <a:lnTo>
                        <a:pt x="441" y="1210"/>
                      </a:lnTo>
                      <a:lnTo>
                        <a:pt x="442" y="1210"/>
                      </a:lnTo>
                      <a:lnTo>
                        <a:pt x="442" y="1210"/>
                      </a:lnTo>
                      <a:lnTo>
                        <a:pt x="443" y="1209"/>
                      </a:lnTo>
                      <a:lnTo>
                        <a:pt x="444" y="1210"/>
                      </a:lnTo>
                      <a:lnTo>
                        <a:pt x="444" y="1210"/>
                      </a:lnTo>
                      <a:lnTo>
                        <a:pt x="444" y="1211"/>
                      </a:lnTo>
                      <a:lnTo>
                        <a:pt x="445" y="1212"/>
                      </a:lnTo>
                      <a:lnTo>
                        <a:pt x="446" y="1212"/>
                      </a:lnTo>
                      <a:lnTo>
                        <a:pt x="446" y="1213"/>
                      </a:lnTo>
                      <a:lnTo>
                        <a:pt x="445" y="1214"/>
                      </a:lnTo>
                      <a:lnTo>
                        <a:pt x="445" y="1215"/>
                      </a:lnTo>
                      <a:lnTo>
                        <a:pt x="445" y="1215"/>
                      </a:lnTo>
                      <a:lnTo>
                        <a:pt x="444" y="1215"/>
                      </a:lnTo>
                      <a:lnTo>
                        <a:pt x="444" y="1216"/>
                      </a:lnTo>
                      <a:lnTo>
                        <a:pt x="445" y="1217"/>
                      </a:lnTo>
                      <a:lnTo>
                        <a:pt x="445" y="1216"/>
                      </a:lnTo>
                      <a:lnTo>
                        <a:pt x="446" y="1217"/>
                      </a:lnTo>
                      <a:lnTo>
                        <a:pt x="446" y="1217"/>
                      </a:lnTo>
                      <a:lnTo>
                        <a:pt x="446" y="1218"/>
                      </a:lnTo>
                      <a:lnTo>
                        <a:pt x="445" y="1219"/>
                      </a:lnTo>
                      <a:lnTo>
                        <a:pt x="445" y="1220"/>
                      </a:lnTo>
                      <a:lnTo>
                        <a:pt x="446" y="1222"/>
                      </a:lnTo>
                      <a:lnTo>
                        <a:pt x="446" y="1223"/>
                      </a:lnTo>
                      <a:lnTo>
                        <a:pt x="447" y="1225"/>
                      </a:lnTo>
                      <a:lnTo>
                        <a:pt x="447" y="1225"/>
                      </a:lnTo>
                      <a:lnTo>
                        <a:pt x="447" y="1227"/>
                      </a:lnTo>
                      <a:lnTo>
                        <a:pt x="448" y="1227"/>
                      </a:lnTo>
                      <a:lnTo>
                        <a:pt x="448" y="1228"/>
                      </a:lnTo>
                      <a:lnTo>
                        <a:pt x="448" y="1228"/>
                      </a:lnTo>
                      <a:lnTo>
                        <a:pt x="448" y="1230"/>
                      </a:lnTo>
                      <a:lnTo>
                        <a:pt x="448" y="1230"/>
                      </a:lnTo>
                      <a:lnTo>
                        <a:pt x="449" y="1230"/>
                      </a:lnTo>
                      <a:lnTo>
                        <a:pt x="450" y="1230"/>
                      </a:lnTo>
                      <a:lnTo>
                        <a:pt x="451" y="1230"/>
                      </a:lnTo>
                      <a:lnTo>
                        <a:pt x="452" y="1231"/>
                      </a:lnTo>
                      <a:lnTo>
                        <a:pt x="452" y="1231"/>
                      </a:lnTo>
                      <a:lnTo>
                        <a:pt x="452" y="1231"/>
                      </a:lnTo>
                      <a:lnTo>
                        <a:pt x="453" y="1231"/>
                      </a:lnTo>
                      <a:lnTo>
                        <a:pt x="453" y="1231"/>
                      </a:lnTo>
                      <a:lnTo>
                        <a:pt x="454" y="1231"/>
                      </a:lnTo>
                      <a:lnTo>
                        <a:pt x="454" y="1232"/>
                      </a:lnTo>
                      <a:lnTo>
                        <a:pt x="455" y="1232"/>
                      </a:lnTo>
                      <a:lnTo>
                        <a:pt x="455" y="1232"/>
                      </a:lnTo>
                      <a:lnTo>
                        <a:pt x="456" y="1233"/>
                      </a:lnTo>
                      <a:lnTo>
                        <a:pt x="456" y="1232"/>
                      </a:lnTo>
                      <a:lnTo>
                        <a:pt x="459" y="1233"/>
                      </a:lnTo>
                      <a:lnTo>
                        <a:pt x="459" y="1233"/>
                      </a:lnTo>
                      <a:lnTo>
                        <a:pt x="459" y="1234"/>
                      </a:lnTo>
                      <a:lnTo>
                        <a:pt x="460" y="1234"/>
                      </a:lnTo>
                      <a:lnTo>
                        <a:pt x="461" y="1234"/>
                      </a:lnTo>
                      <a:lnTo>
                        <a:pt x="461" y="1234"/>
                      </a:lnTo>
                      <a:lnTo>
                        <a:pt x="462" y="1234"/>
                      </a:lnTo>
                      <a:lnTo>
                        <a:pt x="462" y="1235"/>
                      </a:lnTo>
                      <a:lnTo>
                        <a:pt x="463" y="1236"/>
                      </a:lnTo>
                      <a:lnTo>
                        <a:pt x="465" y="1236"/>
                      </a:lnTo>
                      <a:lnTo>
                        <a:pt x="466" y="1236"/>
                      </a:lnTo>
                      <a:lnTo>
                        <a:pt x="466" y="1234"/>
                      </a:lnTo>
                      <a:lnTo>
                        <a:pt x="466" y="1234"/>
                      </a:lnTo>
                      <a:lnTo>
                        <a:pt x="466" y="1234"/>
                      </a:lnTo>
                      <a:lnTo>
                        <a:pt x="466" y="1233"/>
                      </a:lnTo>
                      <a:lnTo>
                        <a:pt x="466" y="1233"/>
                      </a:lnTo>
                      <a:lnTo>
                        <a:pt x="466" y="1232"/>
                      </a:lnTo>
                      <a:lnTo>
                        <a:pt x="465" y="1232"/>
                      </a:lnTo>
                      <a:lnTo>
                        <a:pt x="465" y="1233"/>
                      </a:lnTo>
                      <a:lnTo>
                        <a:pt x="464" y="1233"/>
                      </a:lnTo>
                      <a:lnTo>
                        <a:pt x="464" y="1232"/>
                      </a:lnTo>
                      <a:lnTo>
                        <a:pt x="465" y="1232"/>
                      </a:lnTo>
                      <a:lnTo>
                        <a:pt x="465" y="1231"/>
                      </a:lnTo>
                      <a:lnTo>
                        <a:pt x="465" y="1231"/>
                      </a:lnTo>
                      <a:lnTo>
                        <a:pt x="465" y="1229"/>
                      </a:lnTo>
                      <a:lnTo>
                        <a:pt x="467" y="1229"/>
                      </a:lnTo>
                      <a:lnTo>
                        <a:pt x="468" y="1228"/>
                      </a:lnTo>
                      <a:lnTo>
                        <a:pt x="468" y="1228"/>
                      </a:lnTo>
                      <a:lnTo>
                        <a:pt x="468" y="1227"/>
                      </a:lnTo>
                      <a:lnTo>
                        <a:pt x="468" y="1225"/>
                      </a:lnTo>
                      <a:lnTo>
                        <a:pt x="468" y="1224"/>
                      </a:lnTo>
                      <a:lnTo>
                        <a:pt x="470" y="1224"/>
                      </a:lnTo>
                      <a:lnTo>
                        <a:pt x="470" y="1223"/>
                      </a:lnTo>
                      <a:lnTo>
                        <a:pt x="469" y="1222"/>
                      </a:lnTo>
                      <a:lnTo>
                        <a:pt x="468" y="1222"/>
                      </a:lnTo>
                      <a:lnTo>
                        <a:pt x="469" y="1221"/>
                      </a:lnTo>
                      <a:lnTo>
                        <a:pt x="469" y="1220"/>
                      </a:lnTo>
                      <a:lnTo>
                        <a:pt x="469" y="1219"/>
                      </a:lnTo>
                      <a:lnTo>
                        <a:pt x="469" y="1219"/>
                      </a:lnTo>
                      <a:lnTo>
                        <a:pt x="470" y="1218"/>
                      </a:lnTo>
                      <a:lnTo>
                        <a:pt x="470" y="1216"/>
                      </a:lnTo>
                      <a:lnTo>
                        <a:pt x="471" y="1215"/>
                      </a:lnTo>
                      <a:lnTo>
                        <a:pt x="471" y="1214"/>
                      </a:lnTo>
                      <a:lnTo>
                        <a:pt x="473" y="1213"/>
                      </a:lnTo>
                      <a:lnTo>
                        <a:pt x="473" y="1213"/>
                      </a:lnTo>
                      <a:lnTo>
                        <a:pt x="475" y="1214"/>
                      </a:lnTo>
                      <a:lnTo>
                        <a:pt x="475" y="1214"/>
                      </a:lnTo>
                      <a:lnTo>
                        <a:pt x="478" y="1215"/>
                      </a:lnTo>
                      <a:lnTo>
                        <a:pt x="478" y="1215"/>
                      </a:lnTo>
                      <a:lnTo>
                        <a:pt x="479" y="1216"/>
                      </a:lnTo>
                      <a:lnTo>
                        <a:pt x="480" y="1217"/>
                      </a:lnTo>
                      <a:lnTo>
                        <a:pt x="481" y="1217"/>
                      </a:lnTo>
                      <a:lnTo>
                        <a:pt x="484" y="1219"/>
                      </a:lnTo>
                      <a:lnTo>
                        <a:pt x="486" y="1220"/>
                      </a:lnTo>
                      <a:lnTo>
                        <a:pt x="489" y="1222"/>
                      </a:lnTo>
                      <a:lnTo>
                        <a:pt x="489" y="1223"/>
                      </a:lnTo>
                      <a:lnTo>
                        <a:pt x="491" y="1225"/>
                      </a:lnTo>
                      <a:lnTo>
                        <a:pt x="491" y="1228"/>
                      </a:lnTo>
                      <a:lnTo>
                        <a:pt x="492" y="1230"/>
                      </a:lnTo>
                      <a:lnTo>
                        <a:pt x="494" y="1231"/>
                      </a:lnTo>
                      <a:lnTo>
                        <a:pt x="494" y="1232"/>
                      </a:lnTo>
                      <a:lnTo>
                        <a:pt x="496" y="1232"/>
                      </a:lnTo>
                      <a:lnTo>
                        <a:pt x="496" y="1232"/>
                      </a:lnTo>
                      <a:lnTo>
                        <a:pt x="498" y="1233"/>
                      </a:lnTo>
                      <a:lnTo>
                        <a:pt x="499" y="1234"/>
                      </a:lnTo>
                      <a:lnTo>
                        <a:pt x="501" y="1235"/>
                      </a:lnTo>
                      <a:lnTo>
                        <a:pt x="501" y="1234"/>
                      </a:lnTo>
                      <a:lnTo>
                        <a:pt x="502" y="1234"/>
                      </a:lnTo>
                      <a:lnTo>
                        <a:pt x="505" y="1235"/>
                      </a:lnTo>
                      <a:lnTo>
                        <a:pt x="506" y="1235"/>
                      </a:lnTo>
                      <a:lnTo>
                        <a:pt x="506" y="1237"/>
                      </a:lnTo>
                      <a:lnTo>
                        <a:pt x="511" y="1238"/>
                      </a:lnTo>
                      <a:lnTo>
                        <a:pt x="513" y="1239"/>
                      </a:lnTo>
                      <a:lnTo>
                        <a:pt x="513" y="1239"/>
                      </a:lnTo>
                      <a:lnTo>
                        <a:pt x="514" y="1240"/>
                      </a:lnTo>
                      <a:lnTo>
                        <a:pt x="515" y="1239"/>
                      </a:lnTo>
                      <a:lnTo>
                        <a:pt x="515" y="1239"/>
                      </a:lnTo>
                      <a:lnTo>
                        <a:pt x="515" y="1237"/>
                      </a:lnTo>
                      <a:lnTo>
                        <a:pt x="515" y="1237"/>
                      </a:lnTo>
                      <a:lnTo>
                        <a:pt x="513" y="1236"/>
                      </a:lnTo>
                      <a:lnTo>
                        <a:pt x="513" y="1236"/>
                      </a:lnTo>
                      <a:lnTo>
                        <a:pt x="511" y="1235"/>
                      </a:lnTo>
                      <a:lnTo>
                        <a:pt x="511" y="1234"/>
                      </a:lnTo>
                      <a:lnTo>
                        <a:pt x="511" y="1234"/>
                      </a:lnTo>
                      <a:lnTo>
                        <a:pt x="511" y="1233"/>
                      </a:lnTo>
                      <a:lnTo>
                        <a:pt x="511" y="1232"/>
                      </a:lnTo>
                      <a:lnTo>
                        <a:pt x="511" y="1231"/>
                      </a:lnTo>
                      <a:lnTo>
                        <a:pt x="511" y="1231"/>
                      </a:lnTo>
                      <a:lnTo>
                        <a:pt x="507" y="1230"/>
                      </a:lnTo>
                      <a:lnTo>
                        <a:pt x="503" y="1228"/>
                      </a:lnTo>
                      <a:lnTo>
                        <a:pt x="502" y="1228"/>
                      </a:lnTo>
                      <a:lnTo>
                        <a:pt x="499" y="1228"/>
                      </a:lnTo>
                      <a:lnTo>
                        <a:pt x="498" y="1227"/>
                      </a:lnTo>
                      <a:lnTo>
                        <a:pt x="498" y="1227"/>
                      </a:lnTo>
                      <a:lnTo>
                        <a:pt x="496" y="1225"/>
                      </a:lnTo>
                      <a:lnTo>
                        <a:pt x="496" y="1225"/>
                      </a:lnTo>
                      <a:lnTo>
                        <a:pt x="496" y="1225"/>
                      </a:lnTo>
                      <a:lnTo>
                        <a:pt x="496" y="1224"/>
                      </a:lnTo>
                      <a:lnTo>
                        <a:pt x="495" y="1224"/>
                      </a:lnTo>
                      <a:lnTo>
                        <a:pt x="495" y="1223"/>
                      </a:lnTo>
                      <a:lnTo>
                        <a:pt x="495" y="1222"/>
                      </a:lnTo>
                      <a:lnTo>
                        <a:pt x="495" y="1221"/>
                      </a:lnTo>
                      <a:lnTo>
                        <a:pt x="495" y="1221"/>
                      </a:lnTo>
                      <a:lnTo>
                        <a:pt x="495" y="1220"/>
                      </a:lnTo>
                      <a:lnTo>
                        <a:pt x="494" y="1219"/>
                      </a:lnTo>
                      <a:lnTo>
                        <a:pt x="492" y="1216"/>
                      </a:lnTo>
                      <a:lnTo>
                        <a:pt x="491" y="1216"/>
                      </a:lnTo>
                      <a:lnTo>
                        <a:pt x="491" y="1215"/>
                      </a:lnTo>
                      <a:lnTo>
                        <a:pt x="490" y="1215"/>
                      </a:lnTo>
                      <a:lnTo>
                        <a:pt x="490" y="1214"/>
                      </a:lnTo>
                      <a:lnTo>
                        <a:pt x="489" y="1214"/>
                      </a:lnTo>
                      <a:lnTo>
                        <a:pt x="486" y="1214"/>
                      </a:lnTo>
                      <a:lnTo>
                        <a:pt x="482" y="1213"/>
                      </a:lnTo>
                      <a:lnTo>
                        <a:pt x="481" y="1213"/>
                      </a:lnTo>
                      <a:lnTo>
                        <a:pt x="481" y="1212"/>
                      </a:lnTo>
                      <a:lnTo>
                        <a:pt x="480" y="1212"/>
                      </a:lnTo>
                      <a:lnTo>
                        <a:pt x="479" y="1211"/>
                      </a:lnTo>
                      <a:lnTo>
                        <a:pt x="479" y="1209"/>
                      </a:lnTo>
                      <a:lnTo>
                        <a:pt x="479" y="1208"/>
                      </a:lnTo>
                      <a:lnTo>
                        <a:pt x="478" y="1207"/>
                      </a:lnTo>
                      <a:lnTo>
                        <a:pt x="477" y="1207"/>
                      </a:lnTo>
                      <a:lnTo>
                        <a:pt x="477" y="1206"/>
                      </a:lnTo>
                      <a:lnTo>
                        <a:pt x="476" y="1205"/>
                      </a:lnTo>
                      <a:lnTo>
                        <a:pt x="477" y="1205"/>
                      </a:lnTo>
                      <a:lnTo>
                        <a:pt x="476" y="1205"/>
                      </a:lnTo>
                      <a:lnTo>
                        <a:pt x="477" y="1204"/>
                      </a:lnTo>
                      <a:lnTo>
                        <a:pt x="479" y="1203"/>
                      </a:lnTo>
                      <a:lnTo>
                        <a:pt x="480" y="1204"/>
                      </a:lnTo>
                      <a:lnTo>
                        <a:pt x="481" y="1204"/>
                      </a:lnTo>
                      <a:lnTo>
                        <a:pt x="482" y="1204"/>
                      </a:lnTo>
                      <a:lnTo>
                        <a:pt x="483" y="1205"/>
                      </a:lnTo>
                      <a:lnTo>
                        <a:pt x="484" y="1205"/>
                      </a:lnTo>
                      <a:lnTo>
                        <a:pt x="484" y="1205"/>
                      </a:lnTo>
                      <a:lnTo>
                        <a:pt x="484" y="1204"/>
                      </a:lnTo>
                      <a:lnTo>
                        <a:pt x="484" y="1203"/>
                      </a:lnTo>
                      <a:lnTo>
                        <a:pt x="484" y="1203"/>
                      </a:lnTo>
                      <a:lnTo>
                        <a:pt x="483" y="1202"/>
                      </a:lnTo>
                      <a:lnTo>
                        <a:pt x="484" y="1202"/>
                      </a:lnTo>
                      <a:lnTo>
                        <a:pt x="484" y="1202"/>
                      </a:lnTo>
                      <a:lnTo>
                        <a:pt x="487" y="1201"/>
                      </a:lnTo>
                      <a:lnTo>
                        <a:pt x="487" y="1202"/>
                      </a:lnTo>
                      <a:lnTo>
                        <a:pt x="487" y="1203"/>
                      </a:lnTo>
                      <a:lnTo>
                        <a:pt x="488" y="1203"/>
                      </a:lnTo>
                      <a:lnTo>
                        <a:pt x="488" y="1204"/>
                      </a:lnTo>
                      <a:lnTo>
                        <a:pt x="488" y="1205"/>
                      </a:lnTo>
                      <a:lnTo>
                        <a:pt x="487" y="1205"/>
                      </a:lnTo>
                      <a:lnTo>
                        <a:pt x="487" y="1206"/>
                      </a:lnTo>
                      <a:lnTo>
                        <a:pt x="488" y="1207"/>
                      </a:lnTo>
                      <a:lnTo>
                        <a:pt x="489" y="1208"/>
                      </a:lnTo>
                      <a:lnTo>
                        <a:pt x="490" y="1208"/>
                      </a:lnTo>
                      <a:lnTo>
                        <a:pt x="490" y="1208"/>
                      </a:lnTo>
                      <a:lnTo>
                        <a:pt x="491" y="1209"/>
                      </a:lnTo>
                      <a:lnTo>
                        <a:pt x="491" y="1209"/>
                      </a:lnTo>
                      <a:lnTo>
                        <a:pt x="492" y="1210"/>
                      </a:lnTo>
                      <a:lnTo>
                        <a:pt x="493" y="1211"/>
                      </a:lnTo>
                      <a:lnTo>
                        <a:pt x="495" y="1212"/>
                      </a:lnTo>
                      <a:lnTo>
                        <a:pt x="499" y="1212"/>
                      </a:lnTo>
                      <a:lnTo>
                        <a:pt x="501" y="1212"/>
                      </a:lnTo>
                      <a:lnTo>
                        <a:pt x="503" y="1211"/>
                      </a:lnTo>
                      <a:lnTo>
                        <a:pt x="504" y="1210"/>
                      </a:lnTo>
                      <a:lnTo>
                        <a:pt x="506" y="1210"/>
                      </a:lnTo>
                      <a:lnTo>
                        <a:pt x="507" y="1210"/>
                      </a:lnTo>
                      <a:lnTo>
                        <a:pt x="507" y="1209"/>
                      </a:lnTo>
                      <a:lnTo>
                        <a:pt x="509" y="1210"/>
                      </a:lnTo>
                      <a:lnTo>
                        <a:pt x="509" y="1209"/>
                      </a:lnTo>
                      <a:lnTo>
                        <a:pt x="512" y="1209"/>
                      </a:lnTo>
                      <a:lnTo>
                        <a:pt x="512" y="1209"/>
                      </a:lnTo>
                      <a:lnTo>
                        <a:pt x="512" y="1210"/>
                      </a:lnTo>
                      <a:lnTo>
                        <a:pt x="512" y="1210"/>
                      </a:lnTo>
                      <a:lnTo>
                        <a:pt x="512" y="1211"/>
                      </a:lnTo>
                      <a:lnTo>
                        <a:pt x="511" y="1211"/>
                      </a:lnTo>
                      <a:lnTo>
                        <a:pt x="511" y="1211"/>
                      </a:lnTo>
                      <a:lnTo>
                        <a:pt x="512" y="1211"/>
                      </a:lnTo>
                      <a:lnTo>
                        <a:pt x="513" y="1211"/>
                      </a:lnTo>
                      <a:lnTo>
                        <a:pt x="514" y="1211"/>
                      </a:lnTo>
                      <a:lnTo>
                        <a:pt x="514" y="1212"/>
                      </a:lnTo>
                      <a:lnTo>
                        <a:pt x="515" y="1212"/>
                      </a:lnTo>
                      <a:lnTo>
                        <a:pt x="517" y="1213"/>
                      </a:lnTo>
                      <a:lnTo>
                        <a:pt x="517" y="1214"/>
                      </a:lnTo>
                      <a:lnTo>
                        <a:pt x="518" y="1216"/>
                      </a:lnTo>
                      <a:lnTo>
                        <a:pt x="518" y="1216"/>
                      </a:lnTo>
                      <a:lnTo>
                        <a:pt x="520" y="1216"/>
                      </a:lnTo>
                      <a:lnTo>
                        <a:pt x="519" y="1217"/>
                      </a:lnTo>
                      <a:lnTo>
                        <a:pt x="520" y="1217"/>
                      </a:lnTo>
                      <a:lnTo>
                        <a:pt x="520" y="1217"/>
                      </a:lnTo>
                      <a:lnTo>
                        <a:pt x="521" y="1218"/>
                      </a:lnTo>
                      <a:lnTo>
                        <a:pt x="521" y="1219"/>
                      </a:lnTo>
                      <a:lnTo>
                        <a:pt x="522" y="1219"/>
                      </a:lnTo>
                      <a:lnTo>
                        <a:pt x="522" y="1220"/>
                      </a:lnTo>
                      <a:lnTo>
                        <a:pt x="523" y="1220"/>
                      </a:lnTo>
                      <a:lnTo>
                        <a:pt x="524" y="1221"/>
                      </a:lnTo>
                      <a:lnTo>
                        <a:pt x="524" y="1222"/>
                      </a:lnTo>
                      <a:lnTo>
                        <a:pt x="525" y="1221"/>
                      </a:lnTo>
                      <a:lnTo>
                        <a:pt x="527" y="1222"/>
                      </a:lnTo>
                      <a:lnTo>
                        <a:pt x="527" y="1223"/>
                      </a:lnTo>
                      <a:lnTo>
                        <a:pt x="528" y="1223"/>
                      </a:lnTo>
                      <a:lnTo>
                        <a:pt x="528" y="1224"/>
                      </a:lnTo>
                      <a:lnTo>
                        <a:pt x="529" y="1224"/>
                      </a:lnTo>
                      <a:lnTo>
                        <a:pt x="530" y="1227"/>
                      </a:lnTo>
                      <a:lnTo>
                        <a:pt x="532" y="1227"/>
                      </a:lnTo>
                      <a:lnTo>
                        <a:pt x="532" y="1227"/>
                      </a:lnTo>
                      <a:lnTo>
                        <a:pt x="533" y="1227"/>
                      </a:lnTo>
                      <a:lnTo>
                        <a:pt x="535" y="1227"/>
                      </a:lnTo>
                      <a:lnTo>
                        <a:pt x="535" y="1228"/>
                      </a:lnTo>
                      <a:lnTo>
                        <a:pt x="536" y="1229"/>
                      </a:lnTo>
                      <a:lnTo>
                        <a:pt x="536" y="1230"/>
                      </a:lnTo>
                      <a:lnTo>
                        <a:pt x="537" y="1230"/>
                      </a:lnTo>
                      <a:lnTo>
                        <a:pt x="537" y="1232"/>
                      </a:lnTo>
                      <a:lnTo>
                        <a:pt x="538" y="1233"/>
                      </a:lnTo>
                      <a:lnTo>
                        <a:pt x="539" y="1235"/>
                      </a:lnTo>
                      <a:lnTo>
                        <a:pt x="539" y="1235"/>
                      </a:lnTo>
                      <a:lnTo>
                        <a:pt x="539" y="1236"/>
                      </a:lnTo>
                      <a:lnTo>
                        <a:pt x="540" y="1236"/>
                      </a:lnTo>
                      <a:lnTo>
                        <a:pt x="540" y="1237"/>
                      </a:lnTo>
                      <a:lnTo>
                        <a:pt x="540" y="1238"/>
                      </a:lnTo>
                      <a:lnTo>
                        <a:pt x="541" y="1239"/>
                      </a:lnTo>
                      <a:lnTo>
                        <a:pt x="541" y="1241"/>
                      </a:lnTo>
                      <a:lnTo>
                        <a:pt x="541" y="1241"/>
                      </a:lnTo>
                      <a:lnTo>
                        <a:pt x="542" y="1242"/>
                      </a:lnTo>
                      <a:lnTo>
                        <a:pt x="542" y="1243"/>
                      </a:lnTo>
                      <a:lnTo>
                        <a:pt x="543" y="1243"/>
                      </a:lnTo>
                      <a:lnTo>
                        <a:pt x="543" y="1245"/>
                      </a:lnTo>
                      <a:lnTo>
                        <a:pt x="544" y="1245"/>
                      </a:lnTo>
                      <a:lnTo>
                        <a:pt x="544" y="1246"/>
                      </a:lnTo>
                      <a:lnTo>
                        <a:pt x="545" y="1247"/>
                      </a:lnTo>
                      <a:lnTo>
                        <a:pt x="545" y="1248"/>
                      </a:lnTo>
                      <a:lnTo>
                        <a:pt x="546" y="1248"/>
                      </a:lnTo>
                      <a:lnTo>
                        <a:pt x="546" y="1248"/>
                      </a:lnTo>
                      <a:lnTo>
                        <a:pt x="546" y="1247"/>
                      </a:lnTo>
                      <a:lnTo>
                        <a:pt x="548" y="1246"/>
                      </a:lnTo>
                      <a:lnTo>
                        <a:pt x="549" y="1246"/>
                      </a:lnTo>
                      <a:lnTo>
                        <a:pt x="548" y="1245"/>
                      </a:lnTo>
                      <a:lnTo>
                        <a:pt x="548" y="1244"/>
                      </a:lnTo>
                      <a:lnTo>
                        <a:pt x="546" y="1242"/>
                      </a:lnTo>
                      <a:lnTo>
                        <a:pt x="546" y="1242"/>
                      </a:lnTo>
                      <a:lnTo>
                        <a:pt x="546" y="1241"/>
                      </a:lnTo>
                      <a:lnTo>
                        <a:pt x="545" y="1240"/>
                      </a:lnTo>
                      <a:lnTo>
                        <a:pt x="545" y="1239"/>
                      </a:lnTo>
                      <a:lnTo>
                        <a:pt x="544" y="1238"/>
                      </a:lnTo>
                      <a:lnTo>
                        <a:pt x="544" y="1237"/>
                      </a:lnTo>
                      <a:lnTo>
                        <a:pt x="544" y="1237"/>
                      </a:lnTo>
                      <a:lnTo>
                        <a:pt x="544" y="1236"/>
                      </a:lnTo>
                      <a:lnTo>
                        <a:pt x="543" y="1234"/>
                      </a:lnTo>
                      <a:lnTo>
                        <a:pt x="542" y="1233"/>
                      </a:lnTo>
                      <a:lnTo>
                        <a:pt x="541" y="1232"/>
                      </a:lnTo>
                      <a:lnTo>
                        <a:pt x="542" y="1231"/>
                      </a:lnTo>
                      <a:lnTo>
                        <a:pt x="541" y="1231"/>
                      </a:lnTo>
                      <a:lnTo>
                        <a:pt x="541" y="1231"/>
                      </a:lnTo>
                      <a:lnTo>
                        <a:pt x="540" y="1229"/>
                      </a:lnTo>
                      <a:lnTo>
                        <a:pt x="540" y="1229"/>
                      </a:lnTo>
                      <a:lnTo>
                        <a:pt x="539" y="1227"/>
                      </a:lnTo>
                      <a:lnTo>
                        <a:pt x="537" y="1225"/>
                      </a:lnTo>
                      <a:lnTo>
                        <a:pt x="535" y="1225"/>
                      </a:lnTo>
                      <a:lnTo>
                        <a:pt x="534" y="1224"/>
                      </a:lnTo>
                      <a:lnTo>
                        <a:pt x="533" y="1224"/>
                      </a:lnTo>
                      <a:lnTo>
                        <a:pt x="533" y="1223"/>
                      </a:lnTo>
                      <a:lnTo>
                        <a:pt x="533" y="1222"/>
                      </a:lnTo>
                      <a:lnTo>
                        <a:pt x="533" y="1221"/>
                      </a:lnTo>
                      <a:lnTo>
                        <a:pt x="533" y="1221"/>
                      </a:lnTo>
                      <a:lnTo>
                        <a:pt x="532" y="1221"/>
                      </a:lnTo>
                      <a:lnTo>
                        <a:pt x="531" y="1219"/>
                      </a:lnTo>
                      <a:lnTo>
                        <a:pt x="530" y="1218"/>
                      </a:lnTo>
                      <a:lnTo>
                        <a:pt x="529" y="1218"/>
                      </a:lnTo>
                      <a:lnTo>
                        <a:pt x="529" y="1218"/>
                      </a:lnTo>
                      <a:lnTo>
                        <a:pt x="529" y="1218"/>
                      </a:lnTo>
                      <a:lnTo>
                        <a:pt x="528" y="1219"/>
                      </a:lnTo>
                      <a:lnTo>
                        <a:pt x="528" y="1218"/>
                      </a:lnTo>
                      <a:lnTo>
                        <a:pt x="527" y="1219"/>
                      </a:lnTo>
                      <a:lnTo>
                        <a:pt x="527" y="1219"/>
                      </a:lnTo>
                      <a:lnTo>
                        <a:pt x="527" y="1218"/>
                      </a:lnTo>
                      <a:lnTo>
                        <a:pt x="527" y="1217"/>
                      </a:lnTo>
                      <a:lnTo>
                        <a:pt x="526" y="1216"/>
                      </a:lnTo>
                      <a:lnTo>
                        <a:pt x="526" y="1216"/>
                      </a:lnTo>
                      <a:lnTo>
                        <a:pt x="525" y="1215"/>
                      </a:lnTo>
                      <a:lnTo>
                        <a:pt x="524" y="1213"/>
                      </a:lnTo>
                      <a:lnTo>
                        <a:pt x="523" y="1213"/>
                      </a:lnTo>
                      <a:lnTo>
                        <a:pt x="521" y="1212"/>
                      </a:lnTo>
                      <a:lnTo>
                        <a:pt x="521" y="1211"/>
                      </a:lnTo>
                      <a:lnTo>
                        <a:pt x="519" y="1210"/>
                      </a:lnTo>
                      <a:lnTo>
                        <a:pt x="519" y="1209"/>
                      </a:lnTo>
                      <a:lnTo>
                        <a:pt x="518" y="1208"/>
                      </a:lnTo>
                      <a:lnTo>
                        <a:pt x="517" y="1208"/>
                      </a:lnTo>
                      <a:lnTo>
                        <a:pt x="516" y="1207"/>
                      </a:lnTo>
                      <a:lnTo>
                        <a:pt x="515" y="1207"/>
                      </a:lnTo>
                      <a:lnTo>
                        <a:pt x="515" y="1206"/>
                      </a:lnTo>
                      <a:lnTo>
                        <a:pt x="515" y="1206"/>
                      </a:lnTo>
                      <a:lnTo>
                        <a:pt x="515" y="1206"/>
                      </a:lnTo>
                      <a:lnTo>
                        <a:pt x="517" y="1205"/>
                      </a:lnTo>
                      <a:lnTo>
                        <a:pt x="517" y="1205"/>
                      </a:lnTo>
                      <a:lnTo>
                        <a:pt x="518" y="1205"/>
                      </a:lnTo>
                      <a:lnTo>
                        <a:pt x="519" y="1205"/>
                      </a:lnTo>
                      <a:lnTo>
                        <a:pt x="520" y="1205"/>
                      </a:lnTo>
                      <a:lnTo>
                        <a:pt x="520" y="1205"/>
                      </a:lnTo>
                      <a:lnTo>
                        <a:pt x="520" y="1204"/>
                      </a:lnTo>
                      <a:lnTo>
                        <a:pt x="520" y="1202"/>
                      </a:lnTo>
                      <a:lnTo>
                        <a:pt x="522" y="1203"/>
                      </a:lnTo>
                      <a:lnTo>
                        <a:pt x="523" y="1202"/>
                      </a:lnTo>
                      <a:lnTo>
                        <a:pt x="523" y="1201"/>
                      </a:lnTo>
                      <a:lnTo>
                        <a:pt x="524" y="1201"/>
                      </a:lnTo>
                      <a:lnTo>
                        <a:pt x="525" y="1199"/>
                      </a:lnTo>
                      <a:lnTo>
                        <a:pt x="524" y="1199"/>
                      </a:lnTo>
                      <a:lnTo>
                        <a:pt x="524" y="1198"/>
                      </a:lnTo>
                      <a:lnTo>
                        <a:pt x="525" y="1197"/>
                      </a:lnTo>
                      <a:lnTo>
                        <a:pt x="525" y="1196"/>
                      </a:lnTo>
                      <a:lnTo>
                        <a:pt x="525" y="1196"/>
                      </a:lnTo>
                      <a:lnTo>
                        <a:pt x="524" y="1195"/>
                      </a:lnTo>
                      <a:lnTo>
                        <a:pt x="524" y="1196"/>
                      </a:lnTo>
                      <a:lnTo>
                        <a:pt x="524" y="1196"/>
                      </a:lnTo>
                      <a:lnTo>
                        <a:pt x="523" y="1197"/>
                      </a:lnTo>
                      <a:lnTo>
                        <a:pt x="523" y="1198"/>
                      </a:lnTo>
                      <a:lnTo>
                        <a:pt x="523" y="1198"/>
                      </a:lnTo>
                      <a:lnTo>
                        <a:pt x="523" y="1198"/>
                      </a:lnTo>
                      <a:lnTo>
                        <a:pt x="522" y="1199"/>
                      </a:lnTo>
                      <a:lnTo>
                        <a:pt x="521" y="1199"/>
                      </a:lnTo>
                      <a:lnTo>
                        <a:pt x="521" y="1199"/>
                      </a:lnTo>
                      <a:lnTo>
                        <a:pt x="521" y="1198"/>
                      </a:lnTo>
                      <a:lnTo>
                        <a:pt x="522" y="1198"/>
                      </a:lnTo>
                      <a:lnTo>
                        <a:pt x="521" y="1197"/>
                      </a:lnTo>
                      <a:lnTo>
                        <a:pt x="521" y="1197"/>
                      </a:lnTo>
                      <a:lnTo>
                        <a:pt x="521" y="1197"/>
                      </a:lnTo>
                      <a:lnTo>
                        <a:pt x="522" y="1197"/>
                      </a:lnTo>
                      <a:lnTo>
                        <a:pt x="522" y="1195"/>
                      </a:lnTo>
                      <a:lnTo>
                        <a:pt x="521" y="1195"/>
                      </a:lnTo>
                      <a:lnTo>
                        <a:pt x="522" y="1195"/>
                      </a:lnTo>
                      <a:lnTo>
                        <a:pt x="521" y="1195"/>
                      </a:lnTo>
                      <a:lnTo>
                        <a:pt x="521" y="1194"/>
                      </a:lnTo>
                      <a:lnTo>
                        <a:pt x="520" y="1194"/>
                      </a:lnTo>
                      <a:lnTo>
                        <a:pt x="518" y="1194"/>
                      </a:lnTo>
                      <a:lnTo>
                        <a:pt x="518" y="1194"/>
                      </a:lnTo>
                      <a:lnTo>
                        <a:pt x="515" y="1194"/>
                      </a:lnTo>
                      <a:lnTo>
                        <a:pt x="514" y="1194"/>
                      </a:lnTo>
                      <a:lnTo>
                        <a:pt x="514" y="1193"/>
                      </a:lnTo>
                      <a:lnTo>
                        <a:pt x="514" y="1193"/>
                      </a:lnTo>
                      <a:lnTo>
                        <a:pt x="514" y="1193"/>
                      </a:lnTo>
                      <a:lnTo>
                        <a:pt x="513" y="1193"/>
                      </a:lnTo>
                      <a:lnTo>
                        <a:pt x="512" y="1192"/>
                      </a:lnTo>
                      <a:lnTo>
                        <a:pt x="512" y="1192"/>
                      </a:lnTo>
                      <a:lnTo>
                        <a:pt x="511" y="1191"/>
                      </a:lnTo>
                      <a:lnTo>
                        <a:pt x="511" y="1191"/>
                      </a:lnTo>
                      <a:lnTo>
                        <a:pt x="511" y="1190"/>
                      </a:lnTo>
                      <a:lnTo>
                        <a:pt x="511" y="1190"/>
                      </a:lnTo>
                      <a:lnTo>
                        <a:pt x="509" y="1189"/>
                      </a:lnTo>
                      <a:lnTo>
                        <a:pt x="508" y="1189"/>
                      </a:lnTo>
                      <a:lnTo>
                        <a:pt x="508" y="1189"/>
                      </a:lnTo>
                      <a:lnTo>
                        <a:pt x="508" y="1189"/>
                      </a:lnTo>
                      <a:lnTo>
                        <a:pt x="504" y="1186"/>
                      </a:lnTo>
                      <a:lnTo>
                        <a:pt x="503" y="1186"/>
                      </a:lnTo>
                      <a:lnTo>
                        <a:pt x="502" y="1186"/>
                      </a:lnTo>
                      <a:lnTo>
                        <a:pt x="501" y="1186"/>
                      </a:lnTo>
                      <a:lnTo>
                        <a:pt x="500" y="1185"/>
                      </a:lnTo>
                      <a:lnTo>
                        <a:pt x="499" y="1185"/>
                      </a:lnTo>
                      <a:lnTo>
                        <a:pt x="499" y="1186"/>
                      </a:lnTo>
                      <a:lnTo>
                        <a:pt x="499" y="1186"/>
                      </a:lnTo>
                      <a:lnTo>
                        <a:pt x="499" y="1185"/>
                      </a:lnTo>
                      <a:lnTo>
                        <a:pt x="499" y="1185"/>
                      </a:lnTo>
                      <a:lnTo>
                        <a:pt x="497" y="1185"/>
                      </a:lnTo>
                      <a:lnTo>
                        <a:pt x="497" y="1185"/>
                      </a:lnTo>
                      <a:lnTo>
                        <a:pt x="496" y="1185"/>
                      </a:lnTo>
                      <a:lnTo>
                        <a:pt x="497" y="1185"/>
                      </a:lnTo>
                      <a:lnTo>
                        <a:pt x="496" y="1185"/>
                      </a:lnTo>
                      <a:lnTo>
                        <a:pt x="495" y="1184"/>
                      </a:lnTo>
                      <a:lnTo>
                        <a:pt x="496" y="1184"/>
                      </a:lnTo>
                      <a:lnTo>
                        <a:pt x="496" y="1184"/>
                      </a:lnTo>
                      <a:lnTo>
                        <a:pt x="496" y="1183"/>
                      </a:lnTo>
                      <a:lnTo>
                        <a:pt x="496" y="1183"/>
                      </a:lnTo>
                      <a:lnTo>
                        <a:pt x="496" y="1183"/>
                      </a:lnTo>
                      <a:lnTo>
                        <a:pt x="497" y="1182"/>
                      </a:lnTo>
                      <a:lnTo>
                        <a:pt x="497" y="1181"/>
                      </a:lnTo>
                      <a:lnTo>
                        <a:pt x="497" y="1181"/>
                      </a:lnTo>
                      <a:lnTo>
                        <a:pt x="497" y="1180"/>
                      </a:lnTo>
                      <a:lnTo>
                        <a:pt x="496" y="1180"/>
                      </a:lnTo>
                      <a:lnTo>
                        <a:pt x="496" y="1180"/>
                      </a:lnTo>
                      <a:lnTo>
                        <a:pt x="495" y="1179"/>
                      </a:lnTo>
                      <a:lnTo>
                        <a:pt x="494" y="1178"/>
                      </a:lnTo>
                      <a:lnTo>
                        <a:pt x="494" y="1177"/>
                      </a:lnTo>
                      <a:lnTo>
                        <a:pt x="493" y="1176"/>
                      </a:lnTo>
                      <a:lnTo>
                        <a:pt x="492" y="1174"/>
                      </a:lnTo>
                      <a:lnTo>
                        <a:pt x="491" y="1174"/>
                      </a:lnTo>
                      <a:lnTo>
                        <a:pt x="490" y="1175"/>
                      </a:lnTo>
                      <a:lnTo>
                        <a:pt x="489" y="1174"/>
                      </a:lnTo>
                      <a:lnTo>
                        <a:pt x="488" y="1175"/>
                      </a:lnTo>
                      <a:lnTo>
                        <a:pt x="487" y="1174"/>
                      </a:lnTo>
                      <a:lnTo>
                        <a:pt x="487" y="1174"/>
                      </a:lnTo>
                      <a:lnTo>
                        <a:pt x="487" y="1174"/>
                      </a:lnTo>
                      <a:lnTo>
                        <a:pt x="487" y="1173"/>
                      </a:lnTo>
                      <a:lnTo>
                        <a:pt x="488" y="1172"/>
                      </a:lnTo>
                      <a:lnTo>
                        <a:pt x="489" y="1171"/>
                      </a:lnTo>
                      <a:lnTo>
                        <a:pt x="488" y="1171"/>
                      </a:lnTo>
                      <a:lnTo>
                        <a:pt x="488" y="1169"/>
                      </a:lnTo>
                      <a:lnTo>
                        <a:pt x="488" y="1169"/>
                      </a:lnTo>
                      <a:lnTo>
                        <a:pt x="486" y="1166"/>
                      </a:lnTo>
                      <a:lnTo>
                        <a:pt x="484" y="1165"/>
                      </a:lnTo>
                      <a:lnTo>
                        <a:pt x="481" y="1166"/>
                      </a:lnTo>
                      <a:lnTo>
                        <a:pt x="480" y="1165"/>
                      </a:lnTo>
                      <a:lnTo>
                        <a:pt x="478" y="1164"/>
                      </a:lnTo>
                      <a:lnTo>
                        <a:pt x="476" y="1164"/>
                      </a:lnTo>
                      <a:lnTo>
                        <a:pt x="476" y="1164"/>
                      </a:lnTo>
                      <a:lnTo>
                        <a:pt x="475" y="1164"/>
                      </a:lnTo>
                      <a:lnTo>
                        <a:pt x="475" y="1164"/>
                      </a:lnTo>
                      <a:lnTo>
                        <a:pt x="475" y="1164"/>
                      </a:lnTo>
                      <a:lnTo>
                        <a:pt x="474" y="1164"/>
                      </a:lnTo>
                      <a:lnTo>
                        <a:pt x="474" y="1163"/>
                      </a:lnTo>
                      <a:lnTo>
                        <a:pt x="474" y="1163"/>
                      </a:lnTo>
                      <a:lnTo>
                        <a:pt x="474" y="1163"/>
                      </a:lnTo>
                      <a:lnTo>
                        <a:pt x="473" y="1163"/>
                      </a:lnTo>
                      <a:lnTo>
                        <a:pt x="473" y="1161"/>
                      </a:lnTo>
                      <a:lnTo>
                        <a:pt x="473" y="1161"/>
                      </a:lnTo>
                      <a:lnTo>
                        <a:pt x="473" y="1160"/>
                      </a:lnTo>
                      <a:lnTo>
                        <a:pt x="475" y="1160"/>
                      </a:lnTo>
                      <a:lnTo>
                        <a:pt x="475" y="1159"/>
                      </a:lnTo>
                      <a:lnTo>
                        <a:pt x="474" y="1159"/>
                      </a:lnTo>
                      <a:lnTo>
                        <a:pt x="474" y="1157"/>
                      </a:lnTo>
                      <a:lnTo>
                        <a:pt x="476" y="1157"/>
                      </a:lnTo>
                      <a:lnTo>
                        <a:pt x="476" y="1156"/>
                      </a:lnTo>
                      <a:lnTo>
                        <a:pt x="475" y="1156"/>
                      </a:lnTo>
                      <a:lnTo>
                        <a:pt x="475" y="1156"/>
                      </a:lnTo>
                      <a:lnTo>
                        <a:pt x="474" y="1155"/>
                      </a:lnTo>
                      <a:lnTo>
                        <a:pt x="473" y="1155"/>
                      </a:lnTo>
                      <a:lnTo>
                        <a:pt x="473" y="1155"/>
                      </a:lnTo>
                      <a:lnTo>
                        <a:pt x="473" y="1154"/>
                      </a:lnTo>
                      <a:lnTo>
                        <a:pt x="469" y="1153"/>
                      </a:lnTo>
                      <a:lnTo>
                        <a:pt x="468" y="1153"/>
                      </a:lnTo>
                      <a:lnTo>
                        <a:pt x="467" y="1151"/>
                      </a:lnTo>
                      <a:lnTo>
                        <a:pt x="467" y="1149"/>
                      </a:lnTo>
                      <a:lnTo>
                        <a:pt x="467" y="1148"/>
                      </a:lnTo>
                      <a:lnTo>
                        <a:pt x="466" y="1148"/>
                      </a:lnTo>
                      <a:lnTo>
                        <a:pt x="466" y="1149"/>
                      </a:lnTo>
                      <a:lnTo>
                        <a:pt x="466" y="1149"/>
                      </a:lnTo>
                      <a:lnTo>
                        <a:pt x="465" y="1149"/>
                      </a:lnTo>
                      <a:lnTo>
                        <a:pt x="465" y="1149"/>
                      </a:lnTo>
                      <a:lnTo>
                        <a:pt x="465" y="1146"/>
                      </a:lnTo>
                      <a:lnTo>
                        <a:pt x="466" y="1145"/>
                      </a:lnTo>
                      <a:lnTo>
                        <a:pt x="467" y="1145"/>
                      </a:lnTo>
                      <a:lnTo>
                        <a:pt x="467" y="1145"/>
                      </a:lnTo>
                      <a:lnTo>
                        <a:pt x="467" y="1144"/>
                      </a:lnTo>
                      <a:lnTo>
                        <a:pt x="466" y="1143"/>
                      </a:lnTo>
                      <a:lnTo>
                        <a:pt x="466" y="1142"/>
                      </a:lnTo>
                      <a:lnTo>
                        <a:pt x="466" y="1142"/>
                      </a:lnTo>
                      <a:lnTo>
                        <a:pt x="466" y="1141"/>
                      </a:lnTo>
                      <a:lnTo>
                        <a:pt x="467" y="1140"/>
                      </a:lnTo>
                      <a:lnTo>
                        <a:pt x="467" y="1138"/>
                      </a:lnTo>
                      <a:lnTo>
                        <a:pt x="468" y="1137"/>
                      </a:lnTo>
                      <a:lnTo>
                        <a:pt x="468" y="1137"/>
                      </a:lnTo>
                      <a:lnTo>
                        <a:pt x="469" y="1138"/>
                      </a:lnTo>
                      <a:lnTo>
                        <a:pt x="469" y="1136"/>
                      </a:lnTo>
                      <a:lnTo>
                        <a:pt x="469" y="1136"/>
                      </a:lnTo>
                      <a:lnTo>
                        <a:pt x="470" y="1135"/>
                      </a:lnTo>
                      <a:lnTo>
                        <a:pt x="471" y="1134"/>
                      </a:lnTo>
                      <a:lnTo>
                        <a:pt x="473" y="1135"/>
                      </a:lnTo>
                      <a:lnTo>
                        <a:pt x="474" y="1135"/>
                      </a:lnTo>
                      <a:lnTo>
                        <a:pt x="474" y="1135"/>
                      </a:lnTo>
                      <a:lnTo>
                        <a:pt x="475" y="1135"/>
                      </a:lnTo>
                      <a:lnTo>
                        <a:pt x="476" y="1136"/>
                      </a:lnTo>
                      <a:lnTo>
                        <a:pt x="476" y="1136"/>
                      </a:lnTo>
                      <a:lnTo>
                        <a:pt x="476" y="1137"/>
                      </a:lnTo>
                      <a:lnTo>
                        <a:pt x="477" y="1137"/>
                      </a:lnTo>
                      <a:lnTo>
                        <a:pt x="478" y="1138"/>
                      </a:lnTo>
                      <a:lnTo>
                        <a:pt x="478" y="1140"/>
                      </a:lnTo>
                      <a:lnTo>
                        <a:pt x="479" y="1140"/>
                      </a:lnTo>
                      <a:lnTo>
                        <a:pt x="479" y="1140"/>
                      </a:lnTo>
                      <a:lnTo>
                        <a:pt x="479" y="1140"/>
                      </a:lnTo>
                      <a:lnTo>
                        <a:pt x="480" y="1141"/>
                      </a:lnTo>
                      <a:lnTo>
                        <a:pt x="481" y="1142"/>
                      </a:lnTo>
                      <a:lnTo>
                        <a:pt x="481" y="1142"/>
                      </a:lnTo>
                      <a:lnTo>
                        <a:pt x="481" y="1142"/>
                      </a:lnTo>
                      <a:lnTo>
                        <a:pt x="481" y="1141"/>
                      </a:lnTo>
                      <a:lnTo>
                        <a:pt x="481" y="1141"/>
                      </a:lnTo>
                      <a:lnTo>
                        <a:pt x="481" y="1142"/>
                      </a:lnTo>
                      <a:lnTo>
                        <a:pt x="482" y="1142"/>
                      </a:lnTo>
                      <a:lnTo>
                        <a:pt x="482" y="1144"/>
                      </a:lnTo>
                      <a:lnTo>
                        <a:pt x="482" y="1144"/>
                      </a:lnTo>
                      <a:lnTo>
                        <a:pt x="483" y="1144"/>
                      </a:lnTo>
                      <a:lnTo>
                        <a:pt x="483" y="1145"/>
                      </a:lnTo>
                      <a:lnTo>
                        <a:pt x="485" y="1145"/>
                      </a:lnTo>
                      <a:lnTo>
                        <a:pt x="485" y="1148"/>
                      </a:lnTo>
                      <a:lnTo>
                        <a:pt x="486" y="1151"/>
                      </a:lnTo>
                      <a:lnTo>
                        <a:pt x="486" y="1151"/>
                      </a:lnTo>
                      <a:lnTo>
                        <a:pt x="486" y="1152"/>
                      </a:lnTo>
                      <a:lnTo>
                        <a:pt x="486" y="1153"/>
                      </a:lnTo>
                      <a:lnTo>
                        <a:pt x="486" y="1154"/>
                      </a:lnTo>
                      <a:lnTo>
                        <a:pt x="487" y="1154"/>
                      </a:lnTo>
                      <a:lnTo>
                        <a:pt x="487" y="1154"/>
                      </a:lnTo>
                      <a:lnTo>
                        <a:pt x="487" y="1153"/>
                      </a:lnTo>
                      <a:lnTo>
                        <a:pt x="487" y="1152"/>
                      </a:lnTo>
                      <a:lnTo>
                        <a:pt x="487" y="1152"/>
                      </a:lnTo>
                      <a:lnTo>
                        <a:pt x="487" y="1151"/>
                      </a:lnTo>
                      <a:lnTo>
                        <a:pt x="487" y="1148"/>
                      </a:lnTo>
                      <a:lnTo>
                        <a:pt x="487" y="1147"/>
                      </a:lnTo>
                      <a:lnTo>
                        <a:pt x="488" y="1147"/>
                      </a:lnTo>
                      <a:lnTo>
                        <a:pt x="488" y="1146"/>
                      </a:lnTo>
                      <a:lnTo>
                        <a:pt x="488" y="1145"/>
                      </a:lnTo>
                      <a:lnTo>
                        <a:pt x="488" y="1145"/>
                      </a:lnTo>
                      <a:lnTo>
                        <a:pt x="488" y="1145"/>
                      </a:lnTo>
                      <a:lnTo>
                        <a:pt x="490" y="1146"/>
                      </a:lnTo>
                      <a:lnTo>
                        <a:pt x="491" y="1145"/>
                      </a:lnTo>
                      <a:lnTo>
                        <a:pt x="490" y="1144"/>
                      </a:lnTo>
                      <a:lnTo>
                        <a:pt x="491" y="1144"/>
                      </a:lnTo>
                      <a:lnTo>
                        <a:pt x="491" y="1145"/>
                      </a:lnTo>
                      <a:lnTo>
                        <a:pt x="492" y="1146"/>
                      </a:lnTo>
                      <a:lnTo>
                        <a:pt x="493" y="1149"/>
                      </a:lnTo>
                      <a:lnTo>
                        <a:pt x="494" y="1149"/>
                      </a:lnTo>
                      <a:lnTo>
                        <a:pt x="495" y="1148"/>
                      </a:lnTo>
                      <a:lnTo>
                        <a:pt x="496" y="1149"/>
                      </a:lnTo>
                      <a:lnTo>
                        <a:pt x="497" y="1148"/>
                      </a:lnTo>
                      <a:lnTo>
                        <a:pt x="497" y="1149"/>
                      </a:lnTo>
                      <a:lnTo>
                        <a:pt x="497" y="1149"/>
                      </a:lnTo>
                      <a:lnTo>
                        <a:pt x="496" y="1151"/>
                      </a:lnTo>
                      <a:lnTo>
                        <a:pt x="497" y="1151"/>
                      </a:lnTo>
                      <a:lnTo>
                        <a:pt x="498" y="1151"/>
                      </a:lnTo>
                      <a:lnTo>
                        <a:pt x="498" y="1151"/>
                      </a:lnTo>
                      <a:lnTo>
                        <a:pt x="498" y="1151"/>
                      </a:lnTo>
                      <a:lnTo>
                        <a:pt x="499" y="1148"/>
                      </a:lnTo>
                      <a:lnTo>
                        <a:pt x="499" y="1148"/>
                      </a:lnTo>
                      <a:lnTo>
                        <a:pt x="500" y="1148"/>
                      </a:lnTo>
                      <a:lnTo>
                        <a:pt x="500" y="1147"/>
                      </a:lnTo>
                      <a:lnTo>
                        <a:pt x="500" y="1147"/>
                      </a:lnTo>
                      <a:lnTo>
                        <a:pt x="501" y="1147"/>
                      </a:lnTo>
                      <a:lnTo>
                        <a:pt x="502" y="1147"/>
                      </a:lnTo>
                      <a:lnTo>
                        <a:pt x="502" y="1146"/>
                      </a:lnTo>
                      <a:lnTo>
                        <a:pt x="501" y="1145"/>
                      </a:lnTo>
                      <a:lnTo>
                        <a:pt x="501" y="1145"/>
                      </a:lnTo>
                      <a:lnTo>
                        <a:pt x="501" y="1144"/>
                      </a:lnTo>
                      <a:lnTo>
                        <a:pt x="501" y="1143"/>
                      </a:lnTo>
                      <a:lnTo>
                        <a:pt x="501" y="1143"/>
                      </a:lnTo>
                      <a:lnTo>
                        <a:pt x="502" y="1142"/>
                      </a:lnTo>
                      <a:lnTo>
                        <a:pt x="501" y="1141"/>
                      </a:lnTo>
                      <a:lnTo>
                        <a:pt x="502" y="1141"/>
                      </a:lnTo>
                      <a:lnTo>
                        <a:pt x="502" y="1142"/>
                      </a:lnTo>
                      <a:lnTo>
                        <a:pt x="502" y="1142"/>
                      </a:lnTo>
                      <a:lnTo>
                        <a:pt x="503" y="1141"/>
                      </a:lnTo>
                      <a:lnTo>
                        <a:pt x="502" y="1141"/>
                      </a:lnTo>
                      <a:lnTo>
                        <a:pt x="502" y="1140"/>
                      </a:lnTo>
                      <a:lnTo>
                        <a:pt x="503" y="1140"/>
                      </a:lnTo>
                      <a:lnTo>
                        <a:pt x="502" y="1139"/>
                      </a:lnTo>
                      <a:lnTo>
                        <a:pt x="502" y="1139"/>
                      </a:lnTo>
                      <a:lnTo>
                        <a:pt x="502" y="1138"/>
                      </a:lnTo>
                      <a:lnTo>
                        <a:pt x="502" y="1139"/>
                      </a:lnTo>
                      <a:lnTo>
                        <a:pt x="503" y="1139"/>
                      </a:lnTo>
                      <a:lnTo>
                        <a:pt x="503" y="1138"/>
                      </a:lnTo>
                      <a:lnTo>
                        <a:pt x="504" y="1138"/>
                      </a:lnTo>
                      <a:lnTo>
                        <a:pt x="504" y="1137"/>
                      </a:lnTo>
                      <a:lnTo>
                        <a:pt x="504" y="1137"/>
                      </a:lnTo>
                      <a:lnTo>
                        <a:pt x="504" y="1137"/>
                      </a:lnTo>
                      <a:lnTo>
                        <a:pt x="503" y="1137"/>
                      </a:lnTo>
                      <a:lnTo>
                        <a:pt x="502" y="1137"/>
                      </a:lnTo>
                      <a:lnTo>
                        <a:pt x="503" y="1136"/>
                      </a:lnTo>
                      <a:lnTo>
                        <a:pt x="503" y="1135"/>
                      </a:lnTo>
                      <a:lnTo>
                        <a:pt x="504" y="1136"/>
                      </a:lnTo>
                      <a:lnTo>
                        <a:pt x="504" y="1135"/>
                      </a:lnTo>
                      <a:lnTo>
                        <a:pt x="504" y="1135"/>
                      </a:lnTo>
                      <a:lnTo>
                        <a:pt x="504" y="1134"/>
                      </a:lnTo>
                      <a:lnTo>
                        <a:pt x="503" y="1134"/>
                      </a:lnTo>
                      <a:lnTo>
                        <a:pt x="503" y="1135"/>
                      </a:lnTo>
                      <a:lnTo>
                        <a:pt x="503" y="1135"/>
                      </a:lnTo>
                      <a:lnTo>
                        <a:pt x="502" y="1134"/>
                      </a:lnTo>
                      <a:lnTo>
                        <a:pt x="502" y="1134"/>
                      </a:lnTo>
                      <a:lnTo>
                        <a:pt x="503" y="1134"/>
                      </a:lnTo>
                      <a:lnTo>
                        <a:pt x="503" y="1134"/>
                      </a:lnTo>
                      <a:lnTo>
                        <a:pt x="502" y="1134"/>
                      </a:lnTo>
                      <a:lnTo>
                        <a:pt x="502" y="1133"/>
                      </a:lnTo>
                      <a:lnTo>
                        <a:pt x="502" y="1133"/>
                      </a:lnTo>
                      <a:lnTo>
                        <a:pt x="503" y="1132"/>
                      </a:lnTo>
                      <a:lnTo>
                        <a:pt x="503" y="1132"/>
                      </a:lnTo>
                      <a:lnTo>
                        <a:pt x="502" y="1132"/>
                      </a:lnTo>
                      <a:lnTo>
                        <a:pt x="501" y="1132"/>
                      </a:lnTo>
                      <a:lnTo>
                        <a:pt x="501" y="1132"/>
                      </a:lnTo>
                      <a:lnTo>
                        <a:pt x="500" y="1132"/>
                      </a:lnTo>
                      <a:lnTo>
                        <a:pt x="500" y="1132"/>
                      </a:lnTo>
                      <a:lnTo>
                        <a:pt x="499" y="1131"/>
                      </a:lnTo>
                      <a:lnTo>
                        <a:pt x="499" y="1130"/>
                      </a:lnTo>
                      <a:lnTo>
                        <a:pt x="499" y="1130"/>
                      </a:lnTo>
                      <a:lnTo>
                        <a:pt x="499" y="1129"/>
                      </a:lnTo>
                      <a:lnTo>
                        <a:pt x="500" y="1129"/>
                      </a:lnTo>
                      <a:lnTo>
                        <a:pt x="501" y="1129"/>
                      </a:lnTo>
                      <a:lnTo>
                        <a:pt x="501" y="1128"/>
                      </a:lnTo>
                      <a:lnTo>
                        <a:pt x="502" y="1129"/>
                      </a:lnTo>
                      <a:lnTo>
                        <a:pt x="502" y="1129"/>
                      </a:lnTo>
                      <a:lnTo>
                        <a:pt x="502" y="1129"/>
                      </a:lnTo>
                      <a:lnTo>
                        <a:pt x="503" y="1128"/>
                      </a:lnTo>
                      <a:lnTo>
                        <a:pt x="504" y="1128"/>
                      </a:lnTo>
                      <a:lnTo>
                        <a:pt x="505" y="1129"/>
                      </a:lnTo>
                      <a:lnTo>
                        <a:pt x="506" y="1128"/>
                      </a:lnTo>
                      <a:lnTo>
                        <a:pt x="506" y="1128"/>
                      </a:lnTo>
                      <a:lnTo>
                        <a:pt x="505" y="1127"/>
                      </a:lnTo>
                      <a:lnTo>
                        <a:pt x="504" y="1128"/>
                      </a:lnTo>
                      <a:lnTo>
                        <a:pt x="502" y="1127"/>
                      </a:lnTo>
                      <a:lnTo>
                        <a:pt x="502" y="1127"/>
                      </a:lnTo>
                      <a:lnTo>
                        <a:pt x="501" y="1126"/>
                      </a:lnTo>
                      <a:lnTo>
                        <a:pt x="502" y="1125"/>
                      </a:lnTo>
                      <a:lnTo>
                        <a:pt x="501" y="1125"/>
                      </a:lnTo>
                      <a:lnTo>
                        <a:pt x="500" y="1124"/>
                      </a:lnTo>
                      <a:lnTo>
                        <a:pt x="499" y="1123"/>
                      </a:lnTo>
                      <a:lnTo>
                        <a:pt x="499" y="1122"/>
                      </a:lnTo>
                      <a:lnTo>
                        <a:pt x="501" y="1122"/>
                      </a:lnTo>
                      <a:lnTo>
                        <a:pt x="502" y="1122"/>
                      </a:lnTo>
                      <a:lnTo>
                        <a:pt x="502" y="1122"/>
                      </a:lnTo>
                      <a:lnTo>
                        <a:pt x="503" y="1122"/>
                      </a:lnTo>
                      <a:lnTo>
                        <a:pt x="503" y="1122"/>
                      </a:lnTo>
                      <a:lnTo>
                        <a:pt x="505" y="1122"/>
                      </a:lnTo>
                      <a:lnTo>
                        <a:pt x="507" y="1122"/>
                      </a:lnTo>
                      <a:lnTo>
                        <a:pt x="507" y="1122"/>
                      </a:lnTo>
                      <a:lnTo>
                        <a:pt x="506" y="1122"/>
                      </a:lnTo>
                      <a:lnTo>
                        <a:pt x="506" y="1121"/>
                      </a:lnTo>
                      <a:lnTo>
                        <a:pt x="507" y="1121"/>
                      </a:lnTo>
                      <a:lnTo>
                        <a:pt x="508" y="1121"/>
                      </a:lnTo>
                      <a:lnTo>
                        <a:pt x="508" y="1120"/>
                      </a:lnTo>
                      <a:lnTo>
                        <a:pt x="509" y="1120"/>
                      </a:lnTo>
                      <a:lnTo>
                        <a:pt x="509" y="1120"/>
                      </a:lnTo>
                      <a:lnTo>
                        <a:pt x="509" y="1119"/>
                      </a:lnTo>
                      <a:lnTo>
                        <a:pt x="509" y="1119"/>
                      </a:lnTo>
                      <a:lnTo>
                        <a:pt x="508" y="1119"/>
                      </a:lnTo>
                      <a:lnTo>
                        <a:pt x="509" y="1119"/>
                      </a:lnTo>
                      <a:lnTo>
                        <a:pt x="509" y="1119"/>
                      </a:lnTo>
                      <a:lnTo>
                        <a:pt x="511" y="1119"/>
                      </a:lnTo>
                      <a:lnTo>
                        <a:pt x="512" y="1118"/>
                      </a:lnTo>
                      <a:lnTo>
                        <a:pt x="512" y="1118"/>
                      </a:lnTo>
                      <a:lnTo>
                        <a:pt x="512" y="1117"/>
                      </a:lnTo>
                      <a:lnTo>
                        <a:pt x="511" y="1117"/>
                      </a:lnTo>
                      <a:lnTo>
                        <a:pt x="512" y="1117"/>
                      </a:lnTo>
                      <a:lnTo>
                        <a:pt x="512" y="1117"/>
                      </a:lnTo>
                      <a:lnTo>
                        <a:pt x="511" y="1117"/>
                      </a:lnTo>
                      <a:lnTo>
                        <a:pt x="509" y="1117"/>
                      </a:lnTo>
                      <a:lnTo>
                        <a:pt x="509" y="1117"/>
                      </a:lnTo>
                      <a:lnTo>
                        <a:pt x="508" y="1117"/>
                      </a:lnTo>
                      <a:lnTo>
                        <a:pt x="507" y="1119"/>
                      </a:lnTo>
                      <a:lnTo>
                        <a:pt x="506" y="1119"/>
                      </a:lnTo>
                      <a:lnTo>
                        <a:pt x="505" y="1119"/>
                      </a:lnTo>
                      <a:lnTo>
                        <a:pt x="505" y="1118"/>
                      </a:lnTo>
                      <a:lnTo>
                        <a:pt x="504" y="1118"/>
                      </a:lnTo>
                      <a:lnTo>
                        <a:pt x="503" y="1119"/>
                      </a:lnTo>
                      <a:lnTo>
                        <a:pt x="503" y="1118"/>
                      </a:lnTo>
                      <a:lnTo>
                        <a:pt x="503" y="1118"/>
                      </a:lnTo>
                      <a:lnTo>
                        <a:pt x="502" y="1117"/>
                      </a:lnTo>
                      <a:lnTo>
                        <a:pt x="503" y="1117"/>
                      </a:lnTo>
                      <a:lnTo>
                        <a:pt x="502" y="1117"/>
                      </a:lnTo>
                      <a:lnTo>
                        <a:pt x="502" y="1117"/>
                      </a:lnTo>
                      <a:lnTo>
                        <a:pt x="500" y="1118"/>
                      </a:lnTo>
                      <a:lnTo>
                        <a:pt x="499" y="1118"/>
                      </a:lnTo>
                      <a:lnTo>
                        <a:pt x="499" y="1117"/>
                      </a:lnTo>
                      <a:lnTo>
                        <a:pt x="498" y="1117"/>
                      </a:lnTo>
                      <a:lnTo>
                        <a:pt x="497" y="1116"/>
                      </a:lnTo>
                      <a:lnTo>
                        <a:pt x="497" y="1115"/>
                      </a:lnTo>
                      <a:lnTo>
                        <a:pt x="497" y="1115"/>
                      </a:lnTo>
                      <a:lnTo>
                        <a:pt x="498" y="1113"/>
                      </a:lnTo>
                      <a:lnTo>
                        <a:pt x="498" y="1113"/>
                      </a:lnTo>
                      <a:lnTo>
                        <a:pt x="497" y="1113"/>
                      </a:lnTo>
                      <a:lnTo>
                        <a:pt x="497" y="1113"/>
                      </a:lnTo>
                      <a:lnTo>
                        <a:pt x="497" y="1113"/>
                      </a:lnTo>
                      <a:lnTo>
                        <a:pt x="497" y="1110"/>
                      </a:lnTo>
                      <a:lnTo>
                        <a:pt x="496" y="1110"/>
                      </a:lnTo>
                      <a:lnTo>
                        <a:pt x="495" y="1110"/>
                      </a:lnTo>
                      <a:lnTo>
                        <a:pt x="495" y="1109"/>
                      </a:lnTo>
                      <a:lnTo>
                        <a:pt x="496" y="1109"/>
                      </a:lnTo>
                      <a:lnTo>
                        <a:pt x="496" y="1109"/>
                      </a:lnTo>
                      <a:lnTo>
                        <a:pt x="497" y="1109"/>
                      </a:lnTo>
                      <a:lnTo>
                        <a:pt x="497" y="1109"/>
                      </a:lnTo>
                      <a:lnTo>
                        <a:pt x="498" y="1109"/>
                      </a:lnTo>
                      <a:lnTo>
                        <a:pt x="498" y="1109"/>
                      </a:lnTo>
                      <a:lnTo>
                        <a:pt x="498" y="1109"/>
                      </a:lnTo>
                      <a:lnTo>
                        <a:pt x="498" y="1109"/>
                      </a:lnTo>
                      <a:lnTo>
                        <a:pt x="498" y="1109"/>
                      </a:lnTo>
                      <a:lnTo>
                        <a:pt x="498" y="1108"/>
                      </a:lnTo>
                      <a:lnTo>
                        <a:pt x="499" y="1108"/>
                      </a:lnTo>
                      <a:lnTo>
                        <a:pt x="498" y="1108"/>
                      </a:lnTo>
                      <a:lnTo>
                        <a:pt x="498" y="1106"/>
                      </a:lnTo>
                      <a:lnTo>
                        <a:pt x="496" y="1107"/>
                      </a:lnTo>
                      <a:lnTo>
                        <a:pt x="496" y="1105"/>
                      </a:lnTo>
                      <a:lnTo>
                        <a:pt x="495" y="1105"/>
                      </a:lnTo>
                      <a:lnTo>
                        <a:pt x="493" y="1105"/>
                      </a:lnTo>
                      <a:lnTo>
                        <a:pt x="493" y="1104"/>
                      </a:lnTo>
                      <a:lnTo>
                        <a:pt x="492" y="1104"/>
                      </a:lnTo>
                      <a:lnTo>
                        <a:pt x="492" y="1104"/>
                      </a:lnTo>
                      <a:lnTo>
                        <a:pt x="491" y="1103"/>
                      </a:lnTo>
                      <a:lnTo>
                        <a:pt x="491" y="1102"/>
                      </a:lnTo>
                      <a:lnTo>
                        <a:pt x="490" y="1102"/>
                      </a:lnTo>
                      <a:lnTo>
                        <a:pt x="490" y="1101"/>
                      </a:lnTo>
                      <a:lnTo>
                        <a:pt x="490" y="1100"/>
                      </a:lnTo>
                      <a:lnTo>
                        <a:pt x="490" y="1099"/>
                      </a:lnTo>
                      <a:lnTo>
                        <a:pt x="490" y="1099"/>
                      </a:lnTo>
                      <a:lnTo>
                        <a:pt x="491" y="1098"/>
                      </a:lnTo>
                      <a:lnTo>
                        <a:pt x="491" y="1098"/>
                      </a:lnTo>
                      <a:lnTo>
                        <a:pt x="490" y="1098"/>
                      </a:lnTo>
                      <a:lnTo>
                        <a:pt x="489" y="1097"/>
                      </a:lnTo>
                      <a:lnTo>
                        <a:pt x="488" y="1097"/>
                      </a:lnTo>
                      <a:lnTo>
                        <a:pt x="487" y="1096"/>
                      </a:lnTo>
                      <a:lnTo>
                        <a:pt x="487" y="1095"/>
                      </a:lnTo>
                      <a:lnTo>
                        <a:pt x="487" y="1094"/>
                      </a:lnTo>
                      <a:lnTo>
                        <a:pt x="486" y="1093"/>
                      </a:lnTo>
                      <a:lnTo>
                        <a:pt x="486" y="1091"/>
                      </a:lnTo>
                      <a:lnTo>
                        <a:pt x="486" y="1091"/>
                      </a:lnTo>
                      <a:lnTo>
                        <a:pt x="486" y="1090"/>
                      </a:lnTo>
                      <a:lnTo>
                        <a:pt x="485" y="1090"/>
                      </a:lnTo>
                      <a:lnTo>
                        <a:pt x="485" y="1090"/>
                      </a:lnTo>
                      <a:lnTo>
                        <a:pt x="484" y="1088"/>
                      </a:lnTo>
                      <a:lnTo>
                        <a:pt x="483" y="1087"/>
                      </a:lnTo>
                      <a:lnTo>
                        <a:pt x="483" y="1086"/>
                      </a:lnTo>
                      <a:lnTo>
                        <a:pt x="482" y="1086"/>
                      </a:lnTo>
                      <a:lnTo>
                        <a:pt x="482" y="1086"/>
                      </a:lnTo>
                      <a:lnTo>
                        <a:pt x="480" y="1086"/>
                      </a:lnTo>
                      <a:lnTo>
                        <a:pt x="480" y="1085"/>
                      </a:lnTo>
                      <a:lnTo>
                        <a:pt x="479" y="1085"/>
                      </a:lnTo>
                      <a:lnTo>
                        <a:pt x="478" y="1084"/>
                      </a:lnTo>
                      <a:lnTo>
                        <a:pt x="478" y="1084"/>
                      </a:lnTo>
                      <a:lnTo>
                        <a:pt x="478" y="1082"/>
                      </a:lnTo>
                      <a:lnTo>
                        <a:pt x="478" y="1081"/>
                      </a:lnTo>
                      <a:lnTo>
                        <a:pt x="478" y="1081"/>
                      </a:lnTo>
                      <a:lnTo>
                        <a:pt x="478" y="1081"/>
                      </a:lnTo>
                      <a:lnTo>
                        <a:pt x="479" y="1081"/>
                      </a:lnTo>
                      <a:lnTo>
                        <a:pt x="479" y="1081"/>
                      </a:lnTo>
                      <a:lnTo>
                        <a:pt x="479" y="1079"/>
                      </a:lnTo>
                      <a:lnTo>
                        <a:pt x="479" y="1079"/>
                      </a:lnTo>
                      <a:lnTo>
                        <a:pt x="479" y="1078"/>
                      </a:lnTo>
                      <a:lnTo>
                        <a:pt x="479" y="1078"/>
                      </a:lnTo>
                      <a:lnTo>
                        <a:pt x="479" y="1078"/>
                      </a:lnTo>
                      <a:lnTo>
                        <a:pt x="479" y="1077"/>
                      </a:lnTo>
                      <a:lnTo>
                        <a:pt x="479" y="1077"/>
                      </a:lnTo>
                      <a:lnTo>
                        <a:pt x="480" y="1076"/>
                      </a:lnTo>
                      <a:lnTo>
                        <a:pt x="481" y="1075"/>
                      </a:lnTo>
                      <a:lnTo>
                        <a:pt x="482" y="1073"/>
                      </a:lnTo>
                      <a:lnTo>
                        <a:pt x="483" y="1072"/>
                      </a:lnTo>
                      <a:lnTo>
                        <a:pt x="483" y="1071"/>
                      </a:lnTo>
                      <a:lnTo>
                        <a:pt x="484" y="1071"/>
                      </a:lnTo>
                      <a:lnTo>
                        <a:pt x="484" y="1071"/>
                      </a:lnTo>
                      <a:lnTo>
                        <a:pt x="484" y="1073"/>
                      </a:lnTo>
                      <a:lnTo>
                        <a:pt x="485" y="1073"/>
                      </a:lnTo>
                      <a:lnTo>
                        <a:pt x="485" y="1076"/>
                      </a:lnTo>
                      <a:lnTo>
                        <a:pt x="485" y="1077"/>
                      </a:lnTo>
                      <a:lnTo>
                        <a:pt x="486" y="1077"/>
                      </a:lnTo>
                      <a:lnTo>
                        <a:pt x="486" y="1076"/>
                      </a:lnTo>
                      <a:lnTo>
                        <a:pt x="486" y="1076"/>
                      </a:lnTo>
                      <a:lnTo>
                        <a:pt x="487" y="1076"/>
                      </a:lnTo>
                      <a:lnTo>
                        <a:pt x="487" y="1076"/>
                      </a:lnTo>
                      <a:lnTo>
                        <a:pt x="488" y="1076"/>
                      </a:lnTo>
                      <a:lnTo>
                        <a:pt x="488" y="1077"/>
                      </a:lnTo>
                      <a:lnTo>
                        <a:pt x="489" y="1077"/>
                      </a:lnTo>
                      <a:lnTo>
                        <a:pt x="489" y="1077"/>
                      </a:lnTo>
                      <a:lnTo>
                        <a:pt x="490" y="1077"/>
                      </a:lnTo>
                      <a:lnTo>
                        <a:pt x="491" y="1077"/>
                      </a:lnTo>
                      <a:lnTo>
                        <a:pt x="491" y="1077"/>
                      </a:lnTo>
                      <a:lnTo>
                        <a:pt x="492" y="1077"/>
                      </a:lnTo>
                      <a:lnTo>
                        <a:pt x="492" y="1078"/>
                      </a:lnTo>
                      <a:lnTo>
                        <a:pt x="491" y="1078"/>
                      </a:lnTo>
                      <a:lnTo>
                        <a:pt x="491" y="1079"/>
                      </a:lnTo>
                      <a:lnTo>
                        <a:pt x="491" y="1080"/>
                      </a:lnTo>
                      <a:lnTo>
                        <a:pt x="491" y="1080"/>
                      </a:lnTo>
                      <a:lnTo>
                        <a:pt x="492" y="1080"/>
                      </a:lnTo>
                      <a:lnTo>
                        <a:pt x="492" y="1081"/>
                      </a:lnTo>
                      <a:lnTo>
                        <a:pt x="494" y="1081"/>
                      </a:lnTo>
                      <a:lnTo>
                        <a:pt x="495" y="1081"/>
                      </a:lnTo>
                      <a:lnTo>
                        <a:pt x="495" y="1082"/>
                      </a:lnTo>
                      <a:lnTo>
                        <a:pt x="495" y="1083"/>
                      </a:lnTo>
                      <a:lnTo>
                        <a:pt x="496" y="1083"/>
                      </a:lnTo>
                      <a:lnTo>
                        <a:pt x="496" y="1084"/>
                      </a:lnTo>
                      <a:lnTo>
                        <a:pt x="497" y="1084"/>
                      </a:lnTo>
                      <a:lnTo>
                        <a:pt x="496" y="1085"/>
                      </a:lnTo>
                      <a:lnTo>
                        <a:pt x="497" y="1086"/>
                      </a:lnTo>
                      <a:lnTo>
                        <a:pt x="497" y="1087"/>
                      </a:lnTo>
                      <a:lnTo>
                        <a:pt x="498" y="1087"/>
                      </a:lnTo>
                      <a:lnTo>
                        <a:pt x="498" y="1087"/>
                      </a:lnTo>
                      <a:lnTo>
                        <a:pt x="498" y="1086"/>
                      </a:lnTo>
                      <a:lnTo>
                        <a:pt x="499" y="1086"/>
                      </a:lnTo>
                      <a:lnTo>
                        <a:pt x="499" y="1085"/>
                      </a:lnTo>
                      <a:lnTo>
                        <a:pt x="499" y="1085"/>
                      </a:lnTo>
                      <a:lnTo>
                        <a:pt x="499" y="1086"/>
                      </a:lnTo>
                      <a:lnTo>
                        <a:pt x="499" y="1086"/>
                      </a:lnTo>
                      <a:lnTo>
                        <a:pt x="499" y="1086"/>
                      </a:lnTo>
                      <a:lnTo>
                        <a:pt x="500" y="1085"/>
                      </a:lnTo>
                      <a:lnTo>
                        <a:pt x="500" y="1084"/>
                      </a:lnTo>
                      <a:lnTo>
                        <a:pt x="500" y="1084"/>
                      </a:lnTo>
                      <a:lnTo>
                        <a:pt x="501" y="1084"/>
                      </a:lnTo>
                      <a:lnTo>
                        <a:pt x="501" y="1083"/>
                      </a:lnTo>
                      <a:lnTo>
                        <a:pt x="503" y="1083"/>
                      </a:lnTo>
                      <a:lnTo>
                        <a:pt x="503" y="1082"/>
                      </a:lnTo>
                      <a:lnTo>
                        <a:pt x="504" y="1082"/>
                      </a:lnTo>
                      <a:lnTo>
                        <a:pt x="505" y="1081"/>
                      </a:lnTo>
                      <a:lnTo>
                        <a:pt x="505" y="1080"/>
                      </a:lnTo>
                      <a:lnTo>
                        <a:pt x="506" y="1080"/>
                      </a:lnTo>
                      <a:lnTo>
                        <a:pt x="507" y="1080"/>
                      </a:lnTo>
                      <a:lnTo>
                        <a:pt x="507" y="1079"/>
                      </a:lnTo>
                      <a:lnTo>
                        <a:pt x="508" y="1079"/>
                      </a:lnTo>
                      <a:lnTo>
                        <a:pt x="508" y="1079"/>
                      </a:lnTo>
                      <a:lnTo>
                        <a:pt x="509" y="1078"/>
                      </a:lnTo>
                      <a:lnTo>
                        <a:pt x="509" y="1077"/>
                      </a:lnTo>
                      <a:lnTo>
                        <a:pt x="507" y="1078"/>
                      </a:lnTo>
                      <a:lnTo>
                        <a:pt x="506" y="1077"/>
                      </a:lnTo>
                      <a:lnTo>
                        <a:pt x="506" y="1077"/>
                      </a:lnTo>
                      <a:lnTo>
                        <a:pt x="504" y="1077"/>
                      </a:lnTo>
                      <a:lnTo>
                        <a:pt x="504" y="1077"/>
                      </a:lnTo>
                      <a:lnTo>
                        <a:pt x="505" y="1076"/>
                      </a:lnTo>
                      <a:lnTo>
                        <a:pt x="505" y="1076"/>
                      </a:lnTo>
                      <a:lnTo>
                        <a:pt x="505" y="1075"/>
                      </a:lnTo>
                      <a:lnTo>
                        <a:pt x="503" y="1075"/>
                      </a:lnTo>
                      <a:lnTo>
                        <a:pt x="503" y="1073"/>
                      </a:lnTo>
                      <a:lnTo>
                        <a:pt x="503" y="1072"/>
                      </a:lnTo>
                      <a:lnTo>
                        <a:pt x="504" y="1072"/>
                      </a:lnTo>
                      <a:lnTo>
                        <a:pt x="505" y="1071"/>
                      </a:lnTo>
                      <a:lnTo>
                        <a:pt x="505" y="1070"/>
                      </a:lnTo>
                      <a:lnTo>
                        <a:pt x="506" y="1069"/>
                      </a:lnTo>
                      <a:lnTo>
                        <a:pt x="507" y="1069"/>
                      </a:lnTo>
                      <a:lnTo>
                        <a:pt x="508" y="1070"/>
                      </a:lnTo>
                      <a:lnTo>
                        <a:pt x="508" y="1072"/>
                      </a:lnTo>
                      <a:lnTo>
                        <a:pt x="508" y="1072"/>
                      </a:lnTo>
                      <a:lnTo>
                        <a:pt x="508" y="1072"/>
                      </a:lnTo>
                      <a:lnTo>
                        <a:pt x="509" y="1072"/>
                      </a:lnTo>
                      <a:lnTo>
                        <a:pt x="511" y="1073"/>
                      </a:lnTo>
                      <a:lnTo>
                        <a:pt x="511" y="1073"/>
                      </a:lnTo>
                      <a:lnTo>
                        <a:pt x="512" y="1073"/>
                      </a:lnTo>
                      <a:lnTo>
                        <a:pt x="511" y="1072"/>
                      </a:lnTo>
                      <a:lnTo>
                        <a:pt x="512" y="1071"/>
                      </a:lnTo>
                      <a:lnTo>
                        <a:pt x="512" y="1072"/>
                      </a:lnTo>
                      <a:lnTo>
                        <a:pt x="513" y="1075"/>
                      </a:lnTo>
                      <a:lnTo>
                        <a:pt x="514" y="1076"/>
                      </a:lnTo>
                      <a:lnTo>
                        <a:pt x="514" y="1076"/>
                      </a:lnTo>
                      <a:lnTo>
                        <a:pt x="514" y="1075"/>
                      </a:lnTo>
                      <a:lnTo>
                        <a:pt x="515" y="1073"/>
                      </a:lnTo>
                      <a:lnTo>
                        <a:pt x="515" y="1075"/>
                      </a:lnTo>
                      <a:lnTo>
                        <a:pt x="516" y="1075"/>
                      </a:lnTo>
                      <a:lnTo>
                        <a:pt x="516" y="1075"/>
                      </a:lnTo>
                      <a:lnTo>
                        <a:pt x="518" y="1075"/>
                      </a:lnTo>
                      <a:lnTo>
                        <a:pt x="518" y="1076"/>
                      </a:lnTo>
                      <a:lnTo>
                        <a:pt x="518" y="1076"/>
                      </a:lnTo>
                      <a:lnTo>
                        <a:pt x="518" y="1077"/>
                      </a:lnTo>
                      <a:lnTo>
                        <a:pt x="518" y="1078"/>
                      </a:lnTo>
                      <a:lnTo>
                        <a:pt x="519" y="1078"/>
                      </a:lnTo>
                      <a:lnTo>
                        <a:pt x="519" y="1078"/>
                      </a:lnTo>
                      <a:lnTo>
                        <a:pt x="520" y="1079"/>
                      </a:lnTo>
                      <a:lnTo>
                        <a:pt x="520" y="1079"/>
                      </a:lnTo>
                      <a:lnTo>
                        <a:pt x="520" y="1078"/>
                      </a:lnTo>
                      <a:lnTo>
                        <a:pt x="519" y="1077"/>
                      </a:lnTo>
                      <a:lnTo>
                        <a:pt x="519" y="1077"/>
                      </a:lnTo>
                      <a:lnTo>
                        <a:pt x="520" y="1076"/>
                      </a:lnTo>
                      <a:lnTo>
                        <a:pt x="521" y="1077"/>
                      </a:lnTo>
                      <a:lnTo>
                        <a:pt x="521" y="1078"/>
                      </a:lnTo>
                      <a:lnTo>
                        <a:pt x="522" y="1078"/>
                      </a:lnTo>
                      <a:lnTo>
                        <a:pt x="523" y="1078"/>
                      </a:lnTo>
                      <a:lnTo>
                        <a:pt x="523" y="1077"/>
                      </a:lnTo>
                      <a:lnTo>
                        <a:pt x="524" y="1077"/>
                      </a:lnTo>
                      <a:lnTo>
                        <a:pt x="525" y="1077"/>
                      </a:lnTo>
                      <a:lnTo>
                        <a:pt x="526" y="1078"/>
                      </a:lnTo>
                      <a:lnTo>
                        <a:pt x="525" y="1079"/>
                      </a:lnTo>
                      <a:lnTo>
                        <a:pt x="526" y="1079"/>
                      </a:lnTo>
                      <a:lnTo>
                        <a:pt x="526" y="1082"/>
                      </a:lnTo>
                      <a:lnTo>
                        <a:pt x="527" y="1083"/>
                      </a:lnTo>
                      <a:lnTo>
                        <a:pt x="527" y="1083"/>
                      </a:lnTo>
                      <a:lnTo>
                        <a:pt x="528" y="1083"/>
                      </a:lnTo>
                      <a:lnTo>
                        <a:pt x="527" y="1082"/>
                      </a:lnTo>
                      <a:lnTo>
                        <a:pt x="527" y="1082"/>
                      </a:lnTo>
                      <a:lnTo>
                        <a:pt x="527" y="1082"/>
                      </a:lnTo>
                      <a:lnTo>
                        <a:pt x="526" y="1082"/>
                      </a:lnTo>
                      <a:lnTo>
                        <a:pt x="526" y="1081"/>
                      </a:lnTo>
                      <a:lnTo>
                        <a:pt x="527" y="1080"/>
                      </a:lnTo>
                      <a:lnTo>
                        <a:pt x="527" y="1080"/>
                      </a:lnTo>
                      <a:lnTo>
                        <a:pt x="526" y="1078"/>
                      </a:lnTo>
                      <a:lnTo>
                        <a:pt x="527" y="1078"/>
                      </a:lnTo>
                      <a:lnTo>
                        <a:pt x="527" y="1077"/>
                      </a:lnTo>
                      <a:lnTo>
                        <a:pt x="526" y="1077"/>
                      </a:lnTo>
                      <a:lnTo>
                        <a:pt x="527" y="1077"/>
                      </a:lnTo>
                      <a:lnTo>
                        <a:pt x="527" y="1076"/>
                      </a:lnTo>
                      <a:lnTo>
                        <a:pt x="528" y="1076"/>
                      </a:lnTo>
                      <a:lnTo>
                        <a:pt x="528" y="1073"/>
                      </a:lnTo>
                      <a:lnTo>
                        <a:pt x="528" y="1073"/>
                      </a:lnTo>
                      <a:lnTo>
                        <a:pt x="529" y="1073"/>
                      </a:lnTo>
                      <a:lnTo>
                        <a:pt x="530" y="1075"/>
                      </a:lnTo>
                      <a:lnTo>
                        <a:pt x="530" y="1076"/>
                      </a:lnTo>
                      <a:lnTo>
                        <a:pt x="531" y="1076"/>
                      </a:lnTo>
                      <a:lnTo>
                        <a:pt x="531" y="1076"/>
                      </a:lnTo>
                      <a:lnTo>
                        <a:pt x="532" y="1075"/>
                      </a:lnTo>
                      <a:lnTo>
                        <a:pt x="531" y="1075"/>
                      </a:lnTo>
                      <a:lnTo>
                        <a:pt x="531" y="1075"/>
                      </a:lnTo>
                      <a:lnTo>
                        <a:pt x="533" y="1073"/>
                      </a:lnTo>
                      <a:lnTo>
                        <a:pt x="534" y="1073"/>
                      </a:lnTo>
                      <a:lnTo>
                        <a:pt x="534" y="1072"/>
                      </a:lnTo>
                      <a:lnTo>
                        <a:pt x="534" y="1072"/>
                      </a:lnTo>
                      <a:lnTo>
                        <a:pt x="534" y="1072"/>
                      </a:lnTo>
                      <a:lnTo>
                        <a:pt x="535" y="1072"/>
                      </a:lnTo>
                      <a:lnTo>
                        <a:pt x="535" y="1071"/>
                      </a:lnTo>
                      <a:lnTo>
                        <a:pt x="534" y="1070"/>
                      </a:lnTo>
                      <a:lnTo>
                        <a:pt x="535" y="1070"/>
                      </a:lnTo>
                      <a:lnTo>
                        <a:pt x="537" y="1070"/>
                      </a:lnTo>
                      <a:lnTo>
                        <a:pt x="537" y="1071"/>
                      </a:lnTo>
                      <a:lnTo>
                        <a:pt x="538" y="1071"/>
                      </a:lnTo>
                      <a:lnTo>
                        <a:pt x="538" y="1070"/>
                      </a:lnTo>
                      <a:lnTo>
                        <a:pt x="537" y="1069"/>
                      </a:lnTo>
                      <a:lnTo>
                        <a:pt x="537" y="1069"/>
                      </a:lnTo>
                      <a:lnTo>
                        <a:pt x="539" y="1069"/>
                      </a:lnTo>
                      <a:lnTo>
                        <a:pt x="540" y="1069"/>
                      </a:lnTo>
                      <a:lnTo>
                        <a:pt x="540" y="1070"/>
                      </a:lnTo>
                      <a:lnTo>
                        <a:pt x="541" y="1071"/>
                      </a:lnTo>
                      <a:lnTo>
                        <a:pt x="540" y="1071"/>
                      </a:lnTo>
                      <a:lnTo>
                        <a:pt x="541" y="1071"/>
                      </a:lnTo>
                      <a:lnTo>
                        <a:pt x="542" y="1072"/>
                      </a:lnTo>
                      <a:lnTo>
                        <a:pt x="542" y="1072"/>
                      </a:lnTo>
                      <a:lnTo>
                        <a:pt x="542" y="1073"/>
                      </a:lnTo>
                      <a:lnTo>
                        <a:pt x="543" y="1073"/>
                      </a:lnTo>
                      <a:lnTo>
                        <a:pt x="543" y="1073"/>
                      </a:lnTo>
                      <a:lnTo>
                        <a:pt x="544" y="1075"/>
                      </a:lnTo>
                      <a:lnTo>
                        <a:pt x="546" y="1077"/>
                      </a:lnTo>
                      <a:lnTo>
                        <a:pt x="550" y="1078"/>
                      </a:lnTo>
                      <a:lnTo>
                        <a:pt x="551" y="1079"/>
                      </a:lnTo>
                      <a:lnTo>
                        <a:pt x="551" y="1079"/>
                      </a:lnTo>
                      <a:lnTo>
                        <a:pt x="551" y="1077"/>
                      </a:lnTo>
                      <a:lnTo>
                        <a:pt x="553" y="1077"/>
                      </a:lnTo>
                      <a:lnTo>
                        <a:pt x="553" y="1077"/>
                      </a:lnTo>
                      <a:lnTo>
                        <a:pt x="554" y="1078"/>
                      </a:lnTo>
                      <a:lnTo>
                        <a:pt x="555" y="1079"/>
                      </a:lnTo>
                      <a:lnTo>
                        <a:pt x="555" y="1078"/>
                      </a:lnTo>
                      <a:lnTo>
                        <a:pt x="555" y="1078"/>
                      </a:lnTo>
                      <a:lnTo>
                        <a:pt x="556" y="1078"/>
                      </a:lnTo>
                      <a:lnTo>
                        <a:pt x="556" y="1078"/>
                      </a:lnTo>
                      <a:lnTo>
                        <a:pt x="557" y="1078"/>
                      </a:lnTo>
                      <a:lnTo>
                        <a:pt x="557" y="1076"/>
                      </a:lnTo>
                      <a:lnTo>
                        <a:pt x="557" y="1076"/>
                      </a:lnTo>
                      <a:lnTo>
                        <a:pt x="557" y="1076"/>
                      </a:lnTo>
                      <a:lnTo>
                        <a:pt x="556" y="1076"/>
                      </a:lnTo>
                      <a:lnTo>
                        <a:pt x="556" y="1076"/>
                      </a:lnTo>
                      <a:lnTo>
                        <a:pt x="555" y="1075"/>
                      </a:lnTo>
                      <a:lnTo>
                        <a:pt x="555" y="1075"/>
                      </a:lnTo>
                      <a:lnTo>
                        <a:pt x="554" y="1073"/>
                      </a:lnTo>
                      <a:lnTo>
                        <a:pt x="553" y="1073"/>
                      </a:lnTo>
                      <a:lnTo>
                        <a:pt x="551" y="1075"/>
                      </a:lnTo>
                      <a:lnTo>
                        <a:pt x="551" y="1075"/>
                      </a:lnTo>
                      <a:lnTo>
                        <a:pt x="551" y="1073"/>
                      </a:lnTo>
                      <a:lnTo>
                        <a:pt x="550" y="1073"/>
                      </a:lnTo>
                      <a:lnTo>
                        <a:pt x="549" y="1073"/>
                      </a:lnTo>
                      <a:lnTo>
                        <a:pt x="549" y="1073"/>
                      </a:lnTo>
                      <a:lnTo>
                        <a:pt x="545" y="1072"/>
                      </a:lnTo>
                      <a:lnTo>
                        <a:pt x="544" y="1071"/>
                      </a:lnTo>
                      <a:lnTo>
                        <a:pt x="544" y="1071"/>
                      </a:lnTo>
                      <a:lnTo>
                        <a:pt x="543" y="1070"/>
                      </a:lnTo>
                      <a:lnTo>
                        <a:pt x="542" y="1069"/>
                      </a:lnTo>
                      <a:lnTo>
                        <a:pt x="542" y="1068"/>
                      </a:lnTo>
                      <a:lnTo>
                        <a:pt x="541" y="1068"/>
                      </a:lnTo>
                      <a:lnTo>
                        <a:pt x="541" y="1067"/>
                      </a:lnTo>
                      <a:lnTo>
                        <a:pt x="539" y="1067"/>
                      </a:lnTo>
                      <a:lnTo>
                        <a:pt x="538" y="1066"/>
                      </a:lnTo>
                      <a:lnTo>
                        <a:pt x="537" y="1066"/>
                      </a:lnTo>
                      <a:lnTo>
                        <a:pt x="537" y="1065"/>
                      </a:lnTo>
                      <a:lnTo>
                        <a:pt x="536" y="1065"/>
                      </a:lnTo>
                      <a:lnTo>
                        <a:pt x="535" y="1066"/>
                      </a:lnTo>
                      <a:lnTo>
                        <a:pt x="534" y="1066"/>
                      </a:lnTo>
                      <a:lnTo>
                        <a:pt x="534" y="1066"/>
                      </a:lnTo>
                      <a:lnTo>
                        <a:pt x="533" y="1066"/>
                      </a:lnTo>
                      <a:lnTo>
                        <a:pt x="533" y="1065"/>
                      </a:lnTo>
                      <a:lnTo>
                        <a:pt x="533" y="1064"/>
                      </a:lnTo>
                      <a:lnTo>
                        <a:pt x="533" y="1064"/>
                      </a:lnTo>
                      <a:lnTo>
                        <a:pt x="533" y="1063"/>
                      </a:lnTo>
                      <a:lnTo>
                        <a:pt x="533" y="1062"/>
                      </a:lnTo>
                      <a:lnTo>
                        <a:pt x="534" y="1062"/>
                      </a:lnTo>
                      <a:lnTo>
                        <a:pt x="535" y="1062"/>
                      </a:lnTo>
                      <a:lnTo>
                        <a:pt x="535" y="1062"/>
                      </a:lnTo>
                      <a:lnTo>
                        <a:pt x="536" y="1062"/>
                      </a:lnTo>
                      <a:lnTo>
                        <a:pt x="535" y="1063"/>
                      </a:lnTo>
                      <a:lnTo>
                        <a:pt x="536" y="1063"/>
                      </a:lnTo>
                      <a:lnTo>
                        <a:pt x="537" y="1064"/>
                      </a:lnTo>
                      <a:lnTo>
                        <a:pt x="537" y="1063"/>
                      </a:lnTo>
                      <a:lnTo>
                        <a:pt x="536" y="1063"/>
                      </a:lnTo>
                      <a:lnTo>
                        <a:pt x="536" y="1063"/>
                      </a:lnTo>
                      <a:lnTo>
                        <a:pt x="536" y="1062"/>
                      </a:lnTo>
                      <a:lnTo>
                        <a:pt x="536" y="1062"/>
                      </a:lnTo>
                      <a:lnTo>
                        <a:pt x="535" y="1060"/>
                      </a:lnTo>
                      <a:lnTo>
                        <a:pt x="535" y="1060"/>
                      </a:lnTo>
                      <a:lnTo>
                        <a:pt x="534" y="1060"/>
                      </a:lnTo>
                      <a:lnTo>
                        <a:pt x="533" y="1061"/>
                      </a:lnTo>
                      <a:lnTo>
                        <a:pt x="533" y="1061"/>
                      </a:lnTo>
                      <a:lnTo>
                        <a:pt x="533" y="1061"/>
                      </a:lnTo>
                      <a:lnTo>
                        <a:pt x="533" y="1059"/>
                      </a:lnTo>
                      <a:lnTo>
                        <a:pt x="534" y="1058"/>
                      </a:lnTo>
                      <a:lnTo>
                        <a:pt x="533" y="1058"/>
                      </a:lnTo>
                      <a:lnTo>
                        <a:pt x="533" y="1058"/>
                      </a:lnTo>
                      <a:lnTo>
                        <a:pt x="532" y="1058"/>
                      </a:lnTo>
                      <a:lnTo>
                        <a:pt x="532" y="1058"/>
                      </a:lnTo>
                      <a:lnTo>
                        <a:pt x="531" y="1057"/>
                      </a:lnTo>
                      <a:lnTo>
                        <a:pt x="531" y="1057"/>
                      </a:lnTo>
                      <a:lnTo>
                        <a:pt x="531" y="1056"/>
                      </a:lnTo>
                      <a:lnTo>
                        <a:pt x="532" y="1056"/>
                      </a:lnTo>
                      <a:lnTo>
                        <a:pt x="532" y="1055"/>
                      </a:lnTo>
                      <a:lnTo>
                        <a:pt x="533" y="1054"/>
                      </a:lnTo>
                      <a:lnTo>
                        <a:pt x="533" y="1053"/>
                      </a:lnTo>
                      <a:lnTo>
                        <a:pt x="532" y="1053"/>
                      </a:lnTo>
                      <a:lnTo>
                        <a:pt x="531" y="1053"/>
                      </a:lnTo>
                      <a:lnTo>
                        <a:pt x="530" y="1054"/>
                      </a:lnTo>
                      <a:lnTo>
                        <a:pt x="530" y="1054"/>
                      </a:lnTo>
                      <a:lnTo>
                        <a:pt x="530" y="1054"/>
                      </a:lnTo>
                      <a:lnTo>
                        <a:pt x="530" y="1052"/>
                      </a:lnTo>
                      <a:lnTo>
                        <a:pt x="530" y="1052"/>
                      </a:lnTo>
                      <a:lnTo>
                        <a:pt x="530" y="1051"/>
                      </a:lnTo>
                      <a:lnTo>
                        <a:pt x="530" y="1051"/>
                      </a:lnTo>
                      <a:lnTo>
                        <a:pt x="531" y="1051"/>
                      </a:lnTo>
                      <a:lnTo>
                        <a:pt x="531" y="1051"/>
                      </a:lnTo>
                      <a:lnTo>
                        <a:pt x="531" y="1050"/>
                      </a:lnTo>
                      <a:lnTo>
                        <a:pt x="532" y="1050"/>
                      </a:lnTo>
                      <a:lnTo>
                        <a:pt x="533" y="1050"/>
                      </a:lnTo>
                      <a:lnTo>
                        <a:pt x="532" y="1050"/>
                      </a:lnTo>
                      <a:lnTo>
                        <a:pt x="534" y="1050"/>
                      </a:lnTo>
                      <a:lnTo>
                        <a:pt x="534" y="1049"/>
                      </a:lnTo>
                      <a:lnTo>
                        <a:pt x="534" y="1048"/>
                      </a:lnTo>
                      <a:lnTo>
                        <a:pt x="533" y="1048"/>
                      </a:lnTo>
                      <a:lnTo>
                        <a:pt x="533" y="1047"/>
                      </a:lnTo>
                      <a:lnTo>
                        <a:pt x="533" y="1047"/>
                      </a:lnTo>
                      <a:lnTo>
                        <a:pt x="531" y="1047"/>
                      </a:lnTo>
                      <a:lnTo>
                        <a:pt x="532" y="1048"/>
                      </a:lnTo>
                      <a:lnTo>
                        <a:pt x="530" y="1048"/>
                      </a:lnTo>
                      <a:lnTo>
                        <a:pt x="531" y="1048"/>
                      </a:lnTo>
                      <a:lnTo>
                        <a:pt x="532" y="1048"/>
                      </a:lnTo>
                      <a:lnTo>
                        <a:pt x="532" y="1047"/>
                      </a:lnTo>
                      <a:lnTo>
                        <a:pt x="532" y="1048"/>
                      </a:lnTo>
                      <a:lnTo>
                        <a:pt x="532" y="1048"/>
                      </a:lnTo>
                      <a:lnTo>
                        <a:pt x="532" y="1049"/>
                      </a:lnTo>
                      <a:lnTo>
                        <a:pt x="528" y="1050"/>
                      </a:lnTo>
                      <a:lnTo>
                        <a:pt x="528" y="1051"/>
                      </a:lnTo>
                      <a:lnTo>
                        <a:pt x="527" y="1051"/>
                      </a:lnTo>
                      <a:lnTo>
                        <a:pt x="527" y="1051"/>
                      </a:lnTo>
                      <a:lnTo>
                        <a:pt x="527" y="1052"/>
                      </a:lnTo>
                      <a:lnTo>
                        <a:pt x="528" y="1053"/>
                      </a:lnTo>
                      <a:lnTo>
                        <a:pt x="527" y="1053"/>
                      </a:lnTo>
                      <a:lnTo>
                        <a:pt x="527" y="1053"/>
                      </a:lnTo>
                      <a:lnTo>
                        <a:pt x="526" y="1052"/>
                      </a:lnTo>
                      <a:lnTo>
                        <a:pt x="526" y="1052"/>
                      </a:lnTo>
                      <a:lnTo>
                        <a:pt x="525" y="1051"/>
                      </a:lnTo>
                      <a:lnTo>
                        <a:pt x="526" y="1051"/>
                      </a:lnTo>
                      <a:lnTo>
                        <a:pt x="527" y="1050"/>
                      </a:lnTo>
                      <a:lnTo>
                        <a:pt x="528" y="1050"/>
                      </a:lnTo>
                      <a:lnTo>
                        <a:pt x="528" y="1049"/>
                      </a:lnTo>
                      <a:lnTo>
                        <a:pt x="527" y="1049"/>
                      </a:lnTo>
                      <a:lnTo>
                        <a:pt x="527" y="1049"/>
                      </a:lnTo>
                      <a:lnTo>
                        <a:pt x="526" y="1048"/>
                      </a:lnTo>
                      <a:lnTo>
                        <a:pt x="527" y="1046"/>
                      </a:lnTo>
                      <a:lnTo>
                        <a:pt x="527" y="1046"/>
                      </a:lnTo>
                      <a:lnTo>
                        <a:pt x="527" y="1045"/>
                      </a:lnTo>
                      <a:lnTo>
                        <a:pt x="527" y="1044"/>
                      </a:lnTo>
                      <a:lnTo>
                        <a:pt x="528" y="1044"/>
                      </a:lnTo>
                      <a:lnTo>
                        <a:pt x="529" y="1043"/>
                      </a:lnTo>
                      <a:lnTo>
                        <a:pt x="528" y="1043"/>
                      </a:lnTo>
                      <a:lnTo>
                        <a:pt x="528" y="1043"/>
                      </a:lnTo>
                      <a:lnTo>
                        <a:pt x="528" y="1043"/>
                      </a:lnTo>
                      <a:lnTo>
                        <a:pt x="527" y="1043"/>
                      </a:lnTo>
                      <a:lnTo>
                        <a:pt x="526" y="1042"/>
                      </a:lnTo>
                      <a:lnTo>
                        <a:pt x="526" y="1042"/>
                      </a:lnTo>
                      <a:lnTo>
                        <a:pt x="526" y="1042"/>
                      </a:lnTo>
                      <a:lnTo>
                        <a:pt x="525" y="1042"/>
                      </a:lnTo>
                      <a:lnTo>
                        <a:pt x="525" y="1041"/>
                      </a:lnTo>
                      <a:lnTo>
                        <a:pt x="527" y="1041"/>
                      </a:lnTo>
                      <a:lnTo>
                        <a:pt x="526" y="1040"/>
                      </a:lnTo>
                      <a:lnTo>
                        <a:pt x="526" y="1039"/>
                      </a:lnTo>
                      <a:lnTo>
                        <a:pt x="526" y="1039"/>
                      </a:lnTo>
                      <a:lnTo>
                        <a:pt x="524" y="1039"/>
                      </a:lnTo>
                      <a:lnTo>
                        <a:pt x="524" y="1039"/>
                      </a:lnTo>
                      <a:lnTo>
                        <a:pt x="524" y="1039"/>
                      </a:lnTo>
                      <a:lnTo>
                        <a:pt x="524" y="1039"/>
                      </a:lnTo>
                      <a:lnTo>
                        <a:pt x="524" y="1038"/>
                      </a:lnTo>
                      <a:lnTo>
                        <a:pt x="523" y="1037"/>
                      </a:lnTo>
                      <a:lnTo>
                        <a:pt x="523" y="1037"/>
                      </a:lnTo>
                      <a:lnTo>
                        <a:pt x="523" y="1037"/>
                      </a:lnTo>
                      <a:lnTo>
                        <a:pt x="523" y="1037"/>
                      </a:lnTo>
                      <a:lnTo>
                        <a:pt x="523" y="1037"/>
                      </a:lnTo>
                      <a:lnTo>
                        <a:pt x="523" y="1037"/>
                      </a:lnTo>
                      <a:lnTo>
                        <a:pt x="523" y="1035"/>
                      </a:lnTo>
                      <a:lnTo>
                        <a:pt x="524" y="1035"/>
                      </a:lnTo>
                      <a:lnTo>
                        <a:pt x="524" y="1035"/>
                      </a:lnTo>
                      <a:lnTo>
                        <a:pt x="526" y="1035"/>
                      </a:lnTo>
                      <a:lnTo>
                        <a:pt x="527" y="1035"/>
                      </a:lnTo>
                      <a:lnTo>
                        <a:pt x="528" y="1035"/>
                      </a:lnTo>
                      <a:lnTo>
                        <a:pt x="528" y="1035"/>
                      </a:lnTo>
                      <a:lnTo>
                        <a:pt x="528" y="1034"/>
                      </a:lnTo>
                      <a:lnTo>
                        <a:pt x="527" y="1034"/>
                      </a:lnTo>
                      <a:lnTo>
                        <a:pt x="527" y="1032"/>
                      </a:lnTo>
                      <a:lnTo>
                        <a:pt x="526" y="1033"/>
                      </a:lnTo>
                      <a:lnTo>
                        <a:pt x="525" y="1032"/>
                      </a:lnTo>
                      <a:lnTo>
                        <a:pt x="526" y="1031"/>
                      </a:lnTo>
                      <a:lnTo>
                        <a:pt x="527" y="1027"/>
                      </a:lnTo>
                      <a:lnTo>
                        <a:pt x="528" y="1027"/>
                      </a:lnTo>
                      <a:lnTo>
                        <a:pt x="529" y="1026"/>
                      </a:lnTo>
                      <a:lnTo>
                        <a:pt x="529" y="1025"/>
                      </a:lnTo>
                      <a:lnTo>
                        <a:pt x="529" y="1025"/>
                      </a:lnTo>
                      <a:lnTo>
                        <a:pt x="530" y="1023"/>
                      </a:lnTo>
                      <a:lnTo>
                        <a:pt x="530" y="1023"/>
                      </a:lnTo>
                      <a:lnTo>
                        <a:pt x="530" y="1023"/>
                      </a:lnTo>
                      <a:lnTo>
                        <a:pt x="531" y="1022"/>
                      </a:lnTo>
                      <a:lnTo>
                        <a:pt x="530" y="1021"/>
                      </a:lnTo>
                      <a:lnTo>
                        <a:pt x="530" y="1021"/>
                      </a:lnTo>
                      <a:lnTo>
                        <a:pt x="528" y="1021"/>
                      </a:lnTo>
                      <a:lnTo>
                        <a:pt x="530" y="1021"/>
                      </a:lnTo>
                      <a:lnTo>
                        <a:pt x="530" y="1022"/>
                      </a:lnTo>
                      <a:lnTo>
                        <a:pt x="527" y="1022"/>
                      </a:lnTo>
                      <a:lnTo>
                        <a:pt x="527" y="1021"/>
                      </a:lnTo>
                      <a:lnTo>
                        <a:pt x="528" y="1021"/>
                      </a:lnTo>
                      <a:lnTo>
                        <a:pt x="528" y="1020"/>
                      </a:lnTo>
                      <a:lnTo>
                        <a:pt x="528" y="1020"/>
                      </a:lnTo>
                      <a:lnTo>
                        <a:pt x="529" y="1020"/>
                      </a:lnTo>
                      <a:lnTo>
                        <a:pt x="529" y="1020"/>
                      </a:lnTo>
                      <a:lnTo>
                        <a:pt x="530" y="1019"/>
                      </a:lnTo>
                      <a:lnTo>
                        <a:pt x="531" y="1020"/>
                      </a:lnTo>
                      <a:lnTo>
                        <a:pt x="531" y="1018"/>
                      </a:lnTo>
                      <a:lnTo>
                        <a:pt x="530" y="1018"/>
                      </a:lnTo>
                      <a:lnTo>
                        <a:pt x="530" y="1016"/>
                      </a:lnTo>
                      <a:lnTo>
                        <a:pt x="530" y="1015"/>
                      </a:lnTo>
                      <a:lnTo>
                        <a:pt x="531" y="1015"/>
                      </a:lnTo>
                      <a:lnTo>
                        <a:pt x="531" y="1014"/>
                      </a:lnTo>
                      <a:lnTo>
                        <a:pt x="531" y="1014"/>
                      </a:lnTo>
                      <a:lnTo>
                        <a:pt x="532" y="1014"/>
                      </a:lnTo>
                      <a:lnTo>
                        <a:pt x="531" y="1013"/>
                      </a:lnTo>
                      <a:lnTo>
                        <a:pt x="532" y="1012"/>
                      </a:lnTo>
                      <a:lnTo>
                        <a:pt x="532" y="1013"/>
                      </a:lnTo>
                      <a:lnTo>
                        <a:pt x="532" y="1012"/>
                      </a:lnTo>
                      <a:lnTo>
                        <a:pt x="532" y="1012"/>
                      </a:lnTo>
                      <a:lnTo>
                        <a:pt x="533" y="1012"/>
                      </a:lnTo>
                      <a:lnTo>
                        <a:pt x="533" y="1012"/>
                      </a:lnTo>
                      <a:lnTo>
                        <a:pt x="533" y="1011"/>
                      </a:lnTo>
                      <a:lnTo>
                        <a:pt x="534" y="1011"/>
                      </a:lnTo>
                      <a:lnTo>
                        <a:pt x="534" y="1012"/>
                      </a:lnTo>
                      <a:lnTo>
                        <a:pt x="535" y="1012"/>
                      </a:lnTo>
                      <a:lnTo>
                        <a:pt x="535" y="1013"/>
                      </a:lnTo>
                      <a:lnTo>
                        <a:pt x="535" y="1012"/>
                      </a:lnTo>
                      <a:lnTo>
                        <a:pt x="536" y="1012"/>
                      </a:lnTo>
                      <a:lnTo>
                        <a:pt x="536" y="1013"/>
                      </a:lnTo>
                      <a:lnTo>
                        <a:pt x="536" y="1013"/>
                      </a:lnTo>
                      <a:lnTo>
                        <a:pt x="535" y="1014"/>
                      </a:lnTo>
                      <a:lnTo>
                        <a:pt x="536" y="1014"/>
                      </a:lnTo>
                      <a:lnTo>
                        <a:pt x="536" y="1015"/>
                      </a:lnTo>
                      <a:lnTo>
                        <a:pt x="537" y="1016"/>
                      </a:lnTo>
                      <a:lnTo>
                        <a:pt x="537" y="1016"/>
                      </a:lnTo>
                      <a:lnTo>
                        <a:pt x="537" y="1016"/>
                      </a:lnTo>
                      <a:lnTo>
                        <a:pt x="538" y="1017"/>
                      </a:lnTo>
                      <a:lnTo>
                        <a:pt x="538" y="1017"/>
                      </a:lnTo>
                      <a:lnTo>
                        <a:pt x="538" y="1017"/>
                      </a:lnTo>
                      <a:lnTo>
                        <a:pt x="538" y="1018"/>
                      </a:lnTo>
                      <a:lnTo>
                        <a:pt x="538" y="1018"/>
                      </a:lnTo>
                      <a:lnTo>
                        <a:pt x="538" y="1017"/>
                      </a:lnTo>
                      <a:lnTo>
                        <a:pt x="540" y="1018"/>
                      </a:lnTo>
                      <a:lnTo>
                        <a:pt x="541" y="1018"/>
                      </a:lnTo>
                      <a:lnTo>
                        <a:pt x="541" y="1017"/>
                      </a:lnTo>
                      <a:lnTo>
                        <a:pt x="542" y="1017"/>
                      </a:lnTo>
                      <a:lnTo>
                        <a:pt x="543" y="1017"/>
                      </a:lnTo>
                      <a:lnTo>
                        <a:pt x="544" y="1017"/>
                      </a:lnTo>
                      <a:lnTo>
                        <a:pt x="545" y="1018"/>
                      </a:lnTo>
                      <a:lnTo>
                        <a:pt x="543" y="1019"/>
                      </a:lnTo>
                      <a:lnTo>
                        <a:pt x="543" y="1020"/>
                      </a:lnTo>
                      <a:lnTo>
                        <a:pt x="544" y="1020"/>
                      </a:lnTo>
                      <a:lnTo>
                        <a:pt x="544" y="1020"/>
                      </a:lnTo>
                      <a:lnTo>
                        <a:pt x="545" y="1020"/>
                      </a:lnTo>
                      <a:lnTo>
                        <a:pt x="544" y="1019"/>
                      </a:lnTo>
                      <a:lnTo>
                        <a:pt x="544" y="1019"/>
                      </a:lnTo>
                      <a:lnTo>
                        <a:pt x="545" y="1019"/>
                      </a:lnTo>
                      <a:lnTo>
                        <a:pt x="545" y="1019"/>
                      </a:lnTo>
                      <a:lnTo>
                        <a:pt x="546" y="1019"/>
                      </a:lnTo>
                      <a:lnTo>
                        <a:pt x="548" y="1020"/>
                      </a:lnTo>
                      <a:lnTo>
                        <a:pt x="549" y="1021"/>
                      </a:lnTo>
                      <a:lnTo>
                        <a:pt x="549" y="1021"/>
                      </a:lnTo>
                      <a:lnTo>
                        <a:pt x="550" y="1022"/>
                      </a:lnTo>
                      <a:lnTo>
                        <a:pt x="549" y="1022"/>
                      </a:lnTo>
                      <a:lnTo>
                        <a:pt x="550" y="1023"/>
                      </a:lnTo>
                      <a:lnTo>
                        <a:pt x="550" y="1023"/>
                      </a:lnTo>
                      <a:lnTo>
                        <a:pt x="550" y="1023"/>
                      </a:lnTo>
                      <a:lnTo>
                        <a:pt x="551" y="1022"/>
                      </a:lnTo>
                      <a:lnTo>
                        <a:pt x="552" y="1023"/>
                      </a:lnTo>
                      <a:lnTo>
                        <a:pt x="552" y="1024"/>
                      </a:lnTo>
                      <a:lnTo>
                        <a:pt x="552" y="1024"/>
                      </a:lnTo>
                      <a:lnTo>
                        <a:pt x="553" y="1023"/>
                      </a:lnTo>
                      <a:lnTo>
                        <a:pt x="554" y="1023"/>
                      </a:lnTo>
                      <a:lnTo>
                        <a:pt x="555" y="1024"/>
                      </a:lnTo>
                      <a:lnTo>
                        <a:pt x="555" y="1024"/>
                      </a:lnTo>
                      <a:lnTo>
                        <a:pt x="555" y="1024"/>
                      </a:lnTo>
                      <a:lnTo>
                        <a:pt x="554" y="1023"/>
                      </a:lnTo>
                      <a:lnTo>
                        <a:pt x="553" y="1023"/>
                      </a:lnTo>
                      <a:lnTo>
                        <a:pt x="553" y="1022"/>
                      </a:lnTo>
                      <a:lnTo>
                        <a:pt x="554" y="1022"/>
                      </a:lnTo>
                      <a:lnTo>
                        <a:pt x="555" y="1020"/>
                      </a:lnTo>
                      <a:lnTo>
                        <a:pt x="555" y="1020"/>
                      </a:lnTo>
                      <a:lnTo>
                        <a:pt x="553" y="1020"/>
                      </a:lnTo>
                      <a:lnTo>
                        <a:pt x="553" y="1019"/>
                      </a:lnTo>
                      <a:lnTo>
                        <a:pt x="551" y="1019"/>
                      </a:lnTo>
                      <a:lnTo>
                        <a:pt x="551" y="1019"/>
                      </a:lnTo>
                      <a:lnTo>
                        <a:pt x="550" y="1019"/>
                      </a:lnTo>
                      <a:lnTo>
                        <a:pt x="549" y="1018"/>
                      </a:lnTo>
                      <a:lnTo>
                        <a:pt x="550" y="1017"/>
                      </a:lnTo>
                      <a:lnTo>
                        <a:pt x="551" y="1016"/>
                      </a:lnTo>
                      <a:lnTo>
                        <a:pt x="551" y="1016"/>
                      </a:lnTo>
                      <a:lnTo>
                        <a:pt x="550" y="1016"/>
                      </a:lnTo>
                      <a:lnTo>
                        <a:pt x="548" y="1017"/>
                      </a:lnTo>
                      <a:lnTo>
                        <a:pt x="548" y="1016"/>
                      </a:lnTo>
                      <a:lnTo>
                        <a:pt x="548" y="1016"/>
                      </a:lnTo>
                      <a:lnTo>
                        <a:pt x="549" y="1015"/>
                      </a:lnTo>
                      <a:lnTo>
                        <a:pt x="549" y="1014"/>
                      </a:lnTo>
                      <a:lnTo>
                        <a:pt x="550" y="1014"/>
                      </a:lnTo>
                      <a:lnTo>
                        <a:pt x="550" y="1013"/>
                      </a:lnTo>
                      <a:lnTo>
                        <a:pt x="549" y="1013"/>
                      </a:lnTo>
                      <a:lnTo>
                        <a:pt x="549" y="1013"/>
                      </a:lnTo>
                      <a:lnTo>
                        <a:pt x="551" y="1012"/>
                      </a:lnTo>
                      <a:lnTo>
                        <a:pt x="551" y="1013"/>
                      </a:lnTo>
                      <a:lnTo>
                        <a:pt x="551" y="1013"/>
                      </a:lnTo>
                      <a:lnTo>
                        <a:pt x="552" y="1013"/>
                      </a:lnTo>
                      <a:lnTo>
                        <a:pt x="553" y="1013"/>
                      </a:lnTo>
                      <a:lnTo>
                        <a:pt x="553" y="1012"/>
                      </a:lnTo>
                      <a:lnTo>
                        <a:pt x="552" y="1012"/>
                      </a:lnTo>
                      <a:lnTo>
                        <a:pt x="549" y="1012"/>
                      </a:lnTo>
                      <a:lnTo>
                        <a:pt x="549" y="1013"/>
                      </a:lnTo>
                      <a:lnTo>
                        <a:pt x="549" y="1013"/>
                      </a:lnTo>
                      <a:lnTo>
                        <a:pt x="548" y="1014"/>
                      </a:lnTo>
                      <a:lnTo>
                        <a:pt x="546" y="1015"/>
                      </a:lnTo>
                      <a:lnTo>
                        <a:pt x="548" y="1015"/>
                      </a:lnTo>
                      <a:lnTo>
                        <a:pt x="548" y="1016"/>
                      </a:lnTo>
                      <a:lnTo>
                        <a:pt x="546" y="1016"/>
                      </a:lnTo>
                      <a:lnTo>
                        <a:pt x="546" y="1016"/>
                      </a:lnTo>
                      <a:lnTo>
                        <a:pt x="545" y="1016"/>
                      </a:lnTo>
                      <a:lnTo>
                        <a:pt x="543" y="1016"/>
                      </a:lnTo>
                      <a:lnTo>
                        <a:pt x="543" y="1015"/>
                      </a:lnTo>
                      <a:lnTo>
                        <a:pt x="544" y="1015"/>
                      </a:lnTo>
                      <a:lnTo>
                        <a:pt x="544" y="1015"/>
                      </a:lnTo>
                      <a:lnTo>
                        <a:pt x="543" y="1014"/>
                      </a:lnTo>
                      <a:lnTo>
                        <a:pt x="542" y="1015"/>
                      </a:lnTo>
                      <a:lnTo>
                        <a:pt x="541" y="1014"/>
                      </a:lnTo>
                      <a:lnTo>
                        <a:pt x="541" y="1013"/>
                      </a:lnTo>
                      <a:lnTo>
                        <a:pt x="540" y="1014"/>
                      </a:lnTo>
                      <a:lnTo>
                        <a:pt x="539" y="1013"/>
                      </a:lnTo>
                      <a:lnTo>
                        <a:pt x="539" y="1012"/>
                      </a:lnTo>
                      <a:lnTo>
                        <a:pt x="538" y="1012"/>
                      </a:lnTo>
                      <a:lnTo>
                        <a:pt x="538" y="1011"/>
                      </a:lnTo>
                      <a:lnTo>
                        <a:pt x="539" y="1011"/>
                      </a:lnTo>
                      <a:lnTo>
                        <a:pt x="540" y="1011"/>
                      </a:lnTo>
                      <a:lnTo>
                        <a:pt x="539" y="1010"/>
                      </a:lnTo>
                      <a:lnTo>
                        <a:pt x="540" y="1010"/>
                      </a:lnTo>
                      <a:lnTo>
                        <a:pt x="541" y="1010"/>
                      </a:lnTo>
                      <a:lnTo>
                        <a:pt x="541" y="1010"/>
                      </a:lnTo>
                      <a:lnTo>
                        <a:pt x="542" y="1010"/>
                      </a:lnTo>
                      <a:lnTo>
                        <a:pt x="545" y="1011"/>
                      </a:lnTo>
                      <a:lnTo>
                        <a:pt x="545" y="1010"/>
                      </a:lnTo>
                      <a:lnTo>
                        <a:pt x="545" y="1010"/>
                      </a:lnTo>
                      <a:lnTo>
                        <a:pt x="542" y="1010"/>
                      </a:lnTo>
                      <a:lnTo>
                        <a:pt x="542" y="1009"/>
                      </a:lnTo>
                      <a:lnTo>
                        <a:pt x="542" y="1008"/>
                      </a:lnTo>
                      <a:lnTo>
                        <a:pt x="540" y="1009"/>
                      </a:lnTo>
                      <a:lnTo>
                        <a:pt x="540" y="1008"/>
                      </a:lnTo>
                      <a:lnTo>
                        <a:pt x="538" y="1009"/>
                      </a:lnTo>
                      <a:lnTo>
                        <a:pt x="538" y="1007"/>
                      </a:lnTo>
                      <a:lnTo>
                        <a:pt x="537" y="1007"/>
                      </a:lnTo>
                      <a:lnTo>
                        <a:pt x="537" y="1007"/>
                      </a:lnTo>
                      <a:lnTo>
                        <a:pt x="537" y="1006"/>
                      </a:lnTo>
                      <a:lnTo>
                        <a:pt x="537" y="1007"/>
                      </a:lnTo>
                      <a:lnTo>
                        <a:pt x="536" y="1006"/>
                      </a:lnTo>
                      <a:lnTo>
                        <a:pt x="536" y="1005"/>
                      </a:lnTo>
                      <a:lnTo>
                        <a:pt x="537" y="1004"/>
                      </a:lnTo>
                      <a:lnTo>
                        <a:pt x="537" y="1005"/>
                      </a:lnTo>
                      <a:lnTo>
                        <a:pt x="538" y="1005"/>
                      </a:lnTo>
                      <a:lnTo>
                        <a:pt x="539" y="1005"/>
                      </a:lnTo>
                      <a:lnTo>
                        <a:pt x="539" y="1003"/>
                      </a:lnTo>
                      <a:lnTo>
                        <a:pt x="539" y="1003"/>
                      </a:lnTo>
                      <a:lnTo>
                        <a:pt x="540" y="1002"/>
                      </a:lnTo>
                      <a:lnTo>
                        <a:pt x="540" y="1002"/>
                      </a:lnTo>
                      <a:lnTo>
                        <a:pt x="541" y="1002"/>
                      </a:lnTo>
                      <a:lnTo>
                        <a:pt x="541" y="1001"/>
                      </a:lnTo>
                      <a:lnTo>
                        <a:pt x="542" y="1000"/>
                      </a:lnTo>
                      <a:lnTo>
                        <a:pt x="543" y="1000"/>
                      </a:lnTo>
                      <a:lnTo>
                        <a:pt x="543" y="999"/>
                      </a:lnTo>
                      <a:lnTo>
                        <a:pt x="546" y="997"/>
                      </a:lnTo>
                      <a:lnTo>
                        <a:pt x="546" y="997"/>
                      </a:lnTo>
                      <a:lnTo>
                        <a:pt x="545" y="997"/>
                      </a:lnTo>
                      <a:lnTo>
                        <a:pt x="544" y="997"/>
                      </a:lnTo>
                      <a:lnTo>
                        <a:pt x="544" y="997"/>
                      </a:lnTo>
                      <a:lnTo>
                        <a:pt x="546" y="996"/>
                      </a:lnTo>
                      <a:lnTo>
                        <a:pt x="548" y="996"/>
                      </a:lnTo>
                      <a:lnTo>
                        <a:pt x="548" y="996"/>
                      </a:lnTo>
                      <a:lnTo>
                        <a:pt x="549" y="996"/>
                      </a:lnTo>
                      <a:lnTo>
                        <a:pt x="550" y="996"/>
                      </a:lnTo>
                      <a:lnTo>
                        <a:pt x="550" y="996"/>
                      </a:lnTo>
                      <a:lnTo>
                        <a:pt x="551" y="996"/>
                      </a:lnTo>
                      <a:lnTo>
                        <a:pt x="551" y="997"/>
                      </a:lnTo>
                      <a:lnTo>
                        <a:pt x="552" y="997"/>
                      </a:lnTo>
                      <a:lnTo>
                        <a:pt x="552" y="996"/>
                      </a:lnTo>
                      <a:lnTo>
                        <a:pt x="553" y="996"/>
                      </a:lnTo>
                      <a:lnTo>
                        <a:pt x="554" y="997"/>
                      </a:lnTo>
                      <a:lnTo>
                        <a:pt x="556" y="997"/>
                      </a:lnTo>
                      <a:lnTo>
                        <a:pt x="557" y="997"/>
                      </a:lnTo>
                      <a:lnTo>
                        <a:pt x="557" y="999"/>
                      </a:lnTo>
                      <a:lnTo>
                        <a:pt x="558" y="999"/>
                      </a:lnTo>
                      <a:lnTo>
                        <a:pt x="559" y="1001"/>
                      </a:lnTo>
                      <a:lnTo>
                        <a:pt x="560" y="1002"/>
                      </a:lnTo>
                      <a:lnTo>
                        <a:pt x="560" y="1003"/>
                      </a:lnTo>
                      <a:lnTo>
                        <a:pt x="561" y="1003"/>
                      </a:lnTo>
                      <a:lnTo>
                        <a:pt x="561" y="1004"/>
                      </a:lnTo>
                      <a:lnTo>
                        <a:pt x="562" y="1005"/>
                      </a:lnTo>
                      <a:lnTo>
                        <a:pt x="562" y="1005"/>
                      </a:lnTo>
                      <a:lnTo>
                        <a:pt x="562" y="1005"/>
                      </a:lnTo>
                      <a:lnTo>
                        <a:pt x="562" y="1006"/>
                      </a:lnTo>
                      <a:lnTo>
                        <a:pt x="563" y="1006"/>
                      </a:lnTo>
                      <a:lnTo>
                        <a:pt x="563" y="1007"/>
                      </a:lnTo>
                      <a:lnTo>
                        <a:pt x="564" y="1007"/>
                      </a:lnTo>
                      <a:lnTo>
                        <a:pt x="564" y="1006"/>
                      </a:lnTo>
                      <a:lnTo>
                        <a:pt x="564" y="1005"/>
                      </a:lnTo>
                      <a:lnTo>
                        <a:pt x="564" y="1005"/>
                      </a:lnTo>
                      <a:lnTo>
                        <a:pt x="563" y="1005"/>
                      </a:lnTo>
                      <a:lnTo>
                        <a:pt x="563" y="1004"/>
                      </a:lnTo>
                      <a:lnTo>
                        <a:pt x="562" y="1003"/>
                      </a:lnTo>
                      <a:lnTo>
                        <a:pt x="562" y="1003"/>
                      </a:lnTo>
                      <a:lnTo>
                        <a:pt x="563" y="1002"/>
                      </a:lnTo>
                      <a:lnTo>
                        <a:pt x="564" y="1002"/>
                      </a:lnTo>
                      <a:lnTo>
                        <a:pt x="561" y="1001"/>
                      </a:lnTo>
                      <a:lnTo>
                        <a:pt x="561" y="1000"/>
                      </a:lnTo>
                      <a:lnTo>
                        <a:pt x="559" y="1000"/>
                      </a:lnTo>
                      <a:lnTo>
                        <a:pt x="559" y="997"/>
                      </a:lnTo>
                      <a:lnTo>
                        <a:pt x="559" y="997"/>
                      </a:lnTo>
                      <a:lnTo>
                        <a:pt x="558" y="996"/>
                      </a:lnTo>
                      <a:lnTo>
                        <a:pt x="558" y="996"/>
                      </a:lnTo>
                      <a:lnTo>
                        <a:pt x="556" y="996"/>
                      </a:lnTo>
                      <a:lnTo>
                        <a:pt x="553" y="995"/>
                      </a:lnTo>
                      <a:lnTo>
                        <a:pt x="553" y="995"/>
                      </a:lnTo>
                      <a:lnTo>
                        <a:pt x="552" y="995"/>
                      </a:lnTo>
                      <a:lnTo>
                        <a:pt x="550" y="995"/>
                      </a:lnTo>
                      <a:lnTo>
                        <a:pt x="550" y="995"/>
                      </a:lnTo>
                      <a:lnTo>
                        <a:pt x="545" y="994"/>
                      </a:lnTo>
                      <a:lnTo>
                        <a:pt x="545" y="994"/>
                      </a:lnTo>
                      <a:lnTo>
                        <a:pt x="546" y="993"/>
                      </a:lnTo>
                      <a:lnTo>
                        <a:pt x="548" y="993"/>
                      </a:lnTo>
                      <a:lnTo>
                        <a:pt x="548" y="993"/>
                      </a:lnTo>
                      <a:lnTo>
                        <a:pt x="549" y="992"/>
                      </a:lnTo>
                      <a:lnTo>
                        <a:pt x="550" y="992"/>
                      </a:lnTo>
                      <a:lnTo>
                        <a:pt x="550" y="993"/>
                      </a:lnTo>
                      <a:lnTo>
                        <a:pt x="551" y="993"/>
                      </a:lnTo>
                      <a:lnTo>
                        <a:pt x="551" y="991"/>
                      </a:lnTo>
                      <a:lnTo>
                        <a:pt x="549" y="992"/>
                      </a:lnTo>
                      <a:lnTo>
                        <a:pt x="548" y="991"/>
                      </a:lnTo>
                      <a:lnTo>
                        <a:pt x="545" y="990"/>
                      </a:lnTo>
                      <a:lnTo>
                        <a:pt x="545" y="990"/>
                      </a:lnTo>
                      <a:lnTo>
                        <a:pt x="545" y="989"/>
                      </a:lnTo>
                      <a:lnTo>
                        <a:pt x="544" y="989"/>
                      </a:lnTo>
                      <a:lnTo>
                        <a:pt x="544" y="989"/>
                      </a:lnTo>
                      <a:lnTo>
                        <a:pt x="543" y="989"/>
                      </a:lnTo>
                      <a:lnTo>
                        <a:pt x="543" y="987"/>
                      </a:lnTo>
                      <a:lnTo>
                        <a:pt x="543" y="986"/>
                      </a:lnTo>
                      <a:lnTo>
                        <a:pt x="544" y="986"/>
                      </a:lnTo>
                      <a:lnTo>
                        <a:pt x="544" y="985"/>
                      </a:lnTo>
                      <a:lnTo>
                        <a:pt x="542" y="985"/>
                      </a:lnTo>
                      <a:lnTo>
                        <a:pt x="541" y="987"/>
                      </a:lnTo>
                      <a:lnTo>
                        <a:pt x="540" y="987"/>
                      </a:lnTo>
                      <a:lnTo>
                        <a:pt x="541" y="986"/>
                      </a:lnTo>
                      <a:lnTo>
                        <a:pt x="540" y="985"/>
                      </a:lnTo>
                      <a:lnTo>
                        <a:pt x="540" y="985"/>
                      </a:lnTo>
                      <a:lnTo>
                        <a:pt x="540" y="985"/>
                      </a:lnTo>
                      <a:lnTo>
                        <a:pt x="540" y="984"/>
                      </a:lnTo>
                      <a:lnTo>
                        <a:pt x="540" y="984"/>
                      </a:lnTo>
                      <a:lnTo>
                        <a:pt x="539" y="984"/>
                      </a:lnTo>
                      <a:lnTo>
                        <a:pt x="539" y="985"/>
                      </a:lnTo>
                      <a:lnTo>
                        <a:pt x="538" y="985"/>
                      </a:lnTo>
                      <a:lnTo>
                        <a:pt x="538" y="986"/>
                      </a:lnTo>
                      <a:lnTo>
                        <a:pt x="537" y="986"/>
                      </a:lnTo>
                      <a:lnTo>
                        <a:pt x="537" y="986"/>
                      </a:lnTo>
                      <a:lnTo>
                        <a:pt x="536" y="987"/>
                      </a:lnTo>
                      <a:lnTo>
                        <a:pt x="536" y="987"/>
                      </a:lnTo>
                      <a:lnTo>
                        <a:pt x="535" y="987"/>
                      </a:lnTo>
                      <a:lnTo>
                        <a:pt x="534" y="988"/>
                      </a:lnTo>
                      <a:lnTo>
                        <a:pt x="533" y="987"/>
                      </a:lnTo>
                      <a:lnTo>
                        <a:pt x="533" y="987"/>
                      </a:lnTo>
                      <a:lnTo>
                        <a:pt x="532" y="986"/>
                      </a:lnTo>
                      <a:lnTo>
                        <a:pt x="534" y="986"/>
                      </a:lnTo>
                      <a:lnTo>
                        <a:pt x="534" y="986"/>
                      </a:lnTo>
                      <a:lnTo>
                        <a:pt x="535" y="986"/>
                      </a:lnTo>
                      <a:lnTo>
                        <a:pt x="535" y="985"/>
                      </a:lnTo>
                      <a:lnTo>
                        <a:pt x="536" y="985"/>
                      </a:lnTo>
                      <a:lnTo>
                        <a:pt x="537" y="985"/>
                      </a:lnTo>
                      <a:lnTo>
                        <a:pt x="537" y="984"/>
                      </a:lnTo>
                      <a:lnTo>
                        <a:pt x="538" y="984"/>
                      </a:lnTo>
                      <a:lnTo>
                        <a:pt x="538" y="983"/>
                      </a:lnTo>
                      <a:lnTo>
                        <a:pt x="537" y="983"/>
                      </a:lnTo>
                      <a:lnTo>
                        <a:pt x="537" y="983"/>
                      </a:lnTo>
                      <a:lnTo>
                        <a:pt x="537" y="981"/>
                      </a:lnTo>
                      <a:lnTo>
                        <a:pt x="536" y="981"/>
                      </a:lnTo>
                      <a:lnTo>
                        <a:pt x="536" y="981"/>
                      </a:lnTo>
                      <a:lnTo>
                        <a:pt x="535" y="981"/>
                      </a:lnTo>
                      <a:lnTo>
                        <a:pt x="535" y="979"/>
                      </a:lnTo>
                      <a:lnTo>
                        <a:pt x="536" y="979"/>
                      </a:lnTo>
                      <a:lnTo>
                        <a:pt x="537" y="979"/>
                      </a:lnTo>
                      <a:lnTo>
                        <a:pt x="537" y="978"/>
                      </a:lnTo>
                      <a:lnTo>
                        <a:pt x="536" y="978"/>
                      </a:lnTo>
                      <a:lnTo>
                        <a:pt x="536" y="978"/>
                      </a:lnTo>
                      <a:lnTo>
                        <a:pt x="537" y="977"/>
                      </a:lnTo>
                      <a:lnTo>
                        <a:pt x="537" y="975"/>
                      </a:lnTo>
                      <a:lnTo>
                        <a:pt x="537" y="975"/>
                      </a:lnTo>
                      <a:lnTo>
                        <a:pt x="537" y="973"/>
                      </a:lnTo>
                      <a:lnTo>
                        <a:pt x="537" y="973"/>
                      </a:lnTo>
                      <a:lnTo>
                        <a:pt x="537" y="973"/>
                      </a:lnTo>
                      <a:lnTo>
                        <a:pt x="537" y="972"/>
                      </a:lnTo>
                      <a:lnTo>
                        <a:pt x="537" y="972"/>
                      </a:lnTo>
                      <a:lnTo>
                        <a:pt x="537" y="971"/>
                      </a:lnTo>
                      <a:lnTo>
                        <a:pt x="537" y="970"/>
                      </a:lnTo>
                      <a:lnTo>
                        <a:pt x="538" y="970"/>
                      </a:lnTo>
                      <a:lnTo>
                        <a:pt x="538" y="970"/>
                      </a:lnTo>
                      <a:lnTo>
                        <a:pt x="538" y="970"/>
                      </a:lnTo>
                      <a:lnTo>
                        <a:pt x="538" y="968"/>
                      </a:lnTo>
                      <a:lnTo>
                        <a:pt x="539" y="968"/>
                      </a:lnTo>
                      <a:lnTo>
                        <a:pt x="540" y="967"/>
                      </a:lnTo>
                      <a:lnTo>
                        <a:pt x="539" y="966"/>
                      </a:lnTo>
                      <a:lnTo>
                        <a:pt x="540" y="966"/>
                      </a:lnTo>
                      <a:lnTo>
                        <a:pt x="540" y="965"/>
                      </a:lnTo>
                      <a:lnTo>
                        <a:pt x="540" y="965"/>
                      </a:lnTo>
                      <a:lnTo>
                        <a:pt x="541" y="965"/>
                      </a:lnTo>
                      <a:lnTo>
                        <a:pt x="541" y="966"/>
                      </a:lnTo>
                      <a:lnTo>
                        <a:pt x="541" y="965"/>
                      </a:lnTo>
                      <a:lnTo>
                        <a:pt x="542" y="964"/>
                      </a:lnTo>
                      <a:lnTo>
                        <a:pt x="542" y="964"/>
                      </a:lnTo>
                      <a:lnTo>
                        <a:pt x="543" y="963"/>
                      </a:lnTo>
                      <a:lnTo>
                        <a:pt x="542" y="963"/>
                      </a:lnTo>
                      <a:lnTo>
                        <a:pt x="542" y="963"/>
                      </a:lnTo>
                      <a:lnTo>
                        <a:pt x="542" y="962"/>
                      </a:lnTo>
                      <a:lnTo>
                        <a:pt x="543" y="962"/>
                      </a:lnTo>
                      <a:lnTo>
                        <a:pt x="545" y="962"/>
                      </a:lnTo>
                      <a:lnTo>
                        <a:pt x="549" y="963"/>
                      </a:lnTo>
                      <a:lnTo>
                        <a:pt x="549" y="962"/>
                      </a:lnTo>
                      <a:lnTo>
                        <a:pt x="550" y="962"/>
                      </a:lnTo>
                      <a:lnTo>
                        <a:pt x="550" y="962"/>
                      </a:lnTo>
                      <a:lnTo>
                        <a:pt x="552" y="961"/>
                      </a:lnTo>
                      <a:lnTo>
                        <a:pt x="552" y="958"/>
                      </a:lnTo>
                      <a:lnTo>
                        <a:pt x="553" y="958"/>
                      </a:lnTo>
                      <a:lnTo>
                        <a:pt x="553" y="957"/>
                      </a:lnTo>
                      <a:lnTo>
                        <a:pt x="554" y="956"/>
                      </a:lnTo>
                      <a:lnTo>
                        <a:pt x="554" y="956"/>
                      </a:lnTo>
                      <a:lnTo>
                        <a:pt x="554" y="955"/>
                      </a:lnTo>
                      <a:lnTo>
                        <a:pt x="554" y="953"/>
                      </a:lnTo>
                      <a:lnTo>
                        <a:pt x="555" y="952"/>
                      </a:lnTo>
                      <a:lnTo>
                        <a:pt x="555" y="952"/>
                      </a:lnTo>
                      <a:lnTo>
                        <a:pt x="556" y="951"/>
                      </a:lnTo>
                      <a:lnTo>
                        <a:pt x="556" y="950"/>
                      </a:lnTo>
                      <a:lnTo>
                        <a:pt x="556" y="950"/>
                      </a:lnTo>
                      <a:lnTo>
                        <a:pt x="555" y="949"/>
                      </a:lnTo>
                      <a:lnTo>
                        <a:pt x="557" y="949"/>
                      </a:lnTo>
                      <a:lnTo>
                        <a:pt x="557" y="948"/>
                      </a:lnTo>
                      <a:lnTo>
                        <a:pt x="557" y="947"/>
                      </a:lnTo>
                      <a:lnTo>
                        <a:pt x="558" y="947"/>
                      </a:lnTo>
                      <a:lnTo>
                        <a:pt x="558" y="946"/>
                      </a:lnTo>
                      <a:lnTo>
                        <a:pt x="559" y="946"/>
                      </a:lnTo>
                      <a:lnTo>
                        <a:pt x="559" y="945"/>
                      </a:lnTo>
                      <a:lnTo>
                        <a:pt x="558" y="945"/>
                      </a:lnTo>
                      <a:lnTo>
                        <a:pt x="558" y="945"/>
                      </a:lnTo>
                      <a:lnTo>
                        <a:pt x="558" y="944"/>
                      </a:lnTo>
                      <a:lnTo>
                        <a:pt x="558" y="944"/>
                      </a:lnTo>
                      <a:lnTo>
                        <a:pt x="559" y="943"/>
                      </a:lnTo>
                      <a:lnTo>
                        <a:pt x="559" y="943"/>
                      </a:lnTo>
                      <a:lnTo>
                        <a:pt x="558" y="942"/>
                      </a:lnTo>
                      <a:lnTo>
                        <a:pt x="558" y="941"/>
                      </a:lnTo>
                      <a:lnTo>
                        <a:pt x="558" y="941"/>
                      </a:lnTo>
                      <a:lnTo>
                        <a:pt x="560" y="940"/>
                      </a:lnTo>
                      <a:lnTo>
                        <a:pt x="560" y="939"/>
                      </a:lnTo>
                      <a:lnTo>
                        <a:pt x="560" y="938"/>
                      </a:lnTo>
                      <a:lnTo>
                        <a:pt x="560" y="937"/>
                      </a:lnTo>
                      <a:lnTo>
                        <a:pt x="559" y="937"/>
                      </a:lnTo>
                      <a:lnTo>
                        <a:pt x="559" y="935"/>
                      </a:lnTo>
                      <a:lnTo>
                        <a:pt x="560" y="935"/>
                      </a:lnTo>
                      <a:lnTo>
                        <a:pt x="560" y="934"/>
                      </a:lnTo>
                      <a:lnTo>
                        <a:pt x="560" y="933"/>
                      </a:lnTo>
                      <a:lnTo>
                        <a:pt x="560" y="933"/>
                      </a:lnTo>
                      <a:lnTo>
                        <a:pt x="559" y="931"/>
                      </a:lnTo>
                      <a:lnTo>
                        <a:pt x="559" y="931"/>
                      </a:lnTo>
                      <a:lnTo>
                        <a:pt x="559" y="929"/>
                      </a:lnTo>
                      <a:lnTo>
                        <a:pt x="560" y="929"/>
                      </a:lnTo>
                      <a:lnTo>
                        <a:pt x="560" y="928"/>
                      </a:lnTo>
                      <a:lnTo>
                        <a:pt x="560" y="928"/>
                      </a:lnTo>
                      <a:lnTo>
                        <a:pt x="560" y="927"/>
                      </a:lnTo>
                      <a:lnTo>
                        <a:pt x="561" y="926"/>
                      </a:lnTo>
                      <a:lnTo>
                        <a:pt x="561" y="926"/>
                      </a:lnTo>
                      <a:lnTo>
                        <a:pt x="562" y="926"/>
                      </a:lnTo>
                      <a:lnTo>
                        <a:pt x="563" y="926"/>
                      </a:lnTo>
                      <a:lnTo>
                        <a:pt x="563" y="926"/>
                      </a:lnTo>
                      <a:lnTo>
                        <a:pt x="563" y="927"/>
                      </a:lnTo>
                      <a:lnTo>
                        <a:pt x="564" y="927"/>
                      </a:lnTo>
                      <a:lnTo>
                        <a:pt x="564" y="928"/>
                      </a:lnTo>
                      <a:lnTo>
                        <a:pt x="567" y="929"/>
                      </a:lnTo>
                      <a:lnTo>
                        <a:pt x="568" y="930"/>
                      </a:lnTo>
                      <a:lnTo>
                        <a:pt x="571" y="931"/>
                      </a:lnTo>
                      <a:lnTo>
                        <a:pt x="571" y="932"/>
                      </a:lnTo>
                      <a:lnTo>
                        <a:pt x="571" y="932"/>
                      </a:lnTo>
                      <a:lnTo>
                        <a:pt x="572" y="932"/>
                      </a:lnTo>
                      <a:lnTo>
                        <a:pt x="572" y="932"/>
                      </a:lnTo>
                      <a:lnTo>
                        <a:pt x="573" y="932"/>
                      </a:lnTo>
                      <a:lnTo>
                        <a:pt x="573" y="932"/>
                      </a:lnTo>
                      <a:lnTo>
                        <a:pt x="573" y="932"/>
                      </a:lnTo>
                      <a:lnTo>
                        <a:pt x="573" y="931"/>
                      </a:lnTo>
                      <a:lnTo>
                        <a:pt x="574" y="931"/>
                      </a:lnTo>
                      <a:lnTo>
                        <a:pt x="575" y="931"/>
                      </a:lnTo>
                      <a:lnTo>
                        <a:pt x="575" y="930"/>
                      </a:lnTo>
                      <a:lnTo>
                        <a:pt x="575" y="930"/>
                      </a:lnTo>
                      <a:lnTo>
                        <a:pt x="576" y="930"/>
                      </a:lnTo>
                      <a:lnTo>
                        <a:pt x="578" y="931"/>
                      </a:lnTo>
                      <a:lnTo>
                        <a:pt x="579" y="931"/>
                      </a:lnTo>
                      <a:lnTo>
                        <a:pt x="580" y="931"/>
                      </a:lnTo>
                      <a:lnTo>
                        <a:pt x="581" y="931"/>
                      </a:lnTo>
                      <a:lnTo>
                        <a:pt x="586" y="932"/>
                      </a:lnTo>
                      <a:lnTo>
                        <a:pt x="586" y="931"/>
                      </a:lnTo>
                      <a:lnTo>
                        <a:pt x="588" y="931"/>
                      </a:lnTo>
                      <a:lnTo>
                        <a:pt x="589" y="930"/>
                      </a:lnTo>
                      <a:lnTo>
                        <a:pt x="589" y="932"/>
                      </a:lnTo>
                      <a:lnTo>
                        <a:pt x="590" y="932"/>
                      </a:lnTo>
                      <a:lnTo>
                        <a:pt x="590" y="932"/>
                      </a:lnTo>
                      <a:lnTo>
                        <a:pt x="590" y="932"/>
                      </a:lnTo>
                      <a:lnTo>
                        <a:pt x="591" y="933"/>
                      </a:lnTo>
                      <a:lnTo>
                        <a:pt x="592" y="933"/>
                      </a:lnTo>
                      <a:lnTo>
                        <a:pt x="594" y="936"/>
                      </a:lnTo>
                      <a:lnTo>
                        <a:pt x="595" y="936"/>
                      </a:lnTo>
                      <a:lnTo>
                        <a:pt x="595" y="936"/>
                      </a:lnTo>
                      <a:lnTo>
                        <a:pt x="596" y="936"/>
                      </a:lnTo>
                      <a:lnTo>
                        <a:pt x="596" y="936"/>
                      </a:lnTo>
                      <a:lnTo>
                        <a:pt x="597" y="936"/>
                      </a:lnTo>
                      <a:lnTo>
                        <a:pt x="597" y="937"/>
                      </a:lnTo>
                      <a:lnTo>
                        <a:pt x="599" y="937"/>
                      </a:lnTo>
                      <a:lnTo>
                        <a:pt x="600" y="938"/>
                      </a:lnTo>
                      <a:lnTo>
                        <a:pt x="599" y="938"/>
                      </a:lnTo>
                      <a:lnTo>
                        <a:pt x="599" y="939"/>
                      </a:lnTo>
                      <a:lnTo>
                        <a:pt x="600" y="940"/>
                      </a:lnTo>
                      <a:lnTo>
                        <a:pt x="600" y="940"/>
                      </a:lnTo>
                      <a:lnTo>
                        <a:pt x="601" y="940"/>
                      </a:lnTo>
                      <a:lnTo>
                        <a:pt x="601" y="942"/>
                      </a:lnTo>
                      <a:lnTo>
                        <a:pt x="601" y="943"/>
                      </a:lnTo>
                      <a:lnTo>
                        <a:pt x="601" y="943"/>
                      </a:lnTo>
                      <a:lnTo>
                        <a:pt x="601" y="944"/>
                      </a:lnTo>
                      <a:lnTo>
                        <a:pt x="600" y="944"/>
                      </a:lnTo>
                      <a:lnTo>
                        <a:pt x="600" y="944"/>
                      </a:lnTo>
                      <a:lnTo>
                        <a:pt x="601" y="945"/>
                      </a:lnTo>
                      <a:lnTo>
                        <a:pt x="601" y="945"/>
                      </a:lnTo>
                      <a:lnTo>
                        <a:pt x="600" y="945"/>
                      </a:lnTo>
                      <a:lnTo>
                        <a:pt x="600" y="948"/>
                      </a:lnTo>
                      <a:lnTo>
                        <a:pt x="600" y="948"/>
                      </a:lnTo>
                      <a:lnTo>
                        <a:pt x="600" y="948"/>
                      </a:lnTo>
                      <a:lnTo>
                        <a:pt x="601" y="947"/>
                      </a:lnTo>
                      <a:lnTo>
                        <a:pt x="601" y="948"/>
                      </a:lnTo>
                      <a:lnTo>
                        <a:pt x="601" y="948"/>
                      </a:lnTo>
                      <a:lnTo>
                        <a:pt x="600" y="951"/>
                      </a:lnTo>
                      <a:lnTo>
                        <a:pt x="601" y="952"/>
                      </a:lnTo>
                      <a:lnTo>
                        <a:pt x="602" y="954"/>
                      </a:lnTo>
                      <a:lnTo>
                        <a:pt x="602" y="954"/>
                      </a:lnTo>
                      <a:lnTo>
                        <a:pt x="603" y="955"/>
                      </a:lnTo>
                      <a:lnTo>
                        <a:pt x="603" y="955"/>
                      </a:lnTo>
                      <a:lnTo>
                        <a:pt x="605" y="956"/>
                      </a:lnTo>
                      <a:lnTo>
                        <a:pt x="605" y="956"/>
                      </a:lnTo>
                      <a:lnTo>
                        <a:pt x="605" y="956"/>
                      </a:lnTo>
                      <a:lnTo>
                        <a:pt x="606" y="957"/>
                      </a:lnTo>
                      <a:lnTo>
                        <a:pt x="606" y="958"/>
                      </a:lnTo>
                      <a:lnTo>
                        <a:pt x="606" y="958"/>
                      </a:lnTo>
                      <a:lnTo>
                        <a:pt x="606" y="959"/>
                      </a:lnTo>
                      <a:lnTo>
                        <a:pt x="606" y="959"/>
                      </a:lnTo>
                      <a:lnTo>
                        <a:pt x="606" y="959"/>
                      </a:lnTo>
                      <a:lnTo>
                        <a:pt x="605" y="961"/>
                      </a:lnTo>
                      <a:lnTo>
                        <a:pt x="605" y="961"/>
                      </a:lnTo>
                      <a:lnTo>
                        <a:pt x="604" y="962"/>
                      </a:lnTo>
                      <a:lnTo>
                        <a:pt x="603" y="962"/>
                      </a:lnTo>
                      <a:lnTo>
                        <a:pt x="601" y="965"/>
                      </a:lnTo>
                      <a:lnTo>
                        <a:pt x="601" y="966"/>
                      </a:lnTo>
                      <a:lnTo>
                        <a:pt x="600" y="966"/>
                      </a:lnTo>
                      <a:lnTo>
                        <a:pt x="600" y="966"/>
                      </a:lnTo>
                      <a:lnTo>
                        <a:pt x="600" y="966"/>
                      </a:lnTo>
                      <a:lnTo>
                        <a:pt x="600" y="967"/>
                      </a:lnTo>
                      <a:lnTo>
                        <a:pt x="600" y="967"/>
                      </a:lnTo>
                      <a:lnTo>
                        <a:pt x="602" y="966"/>
                      </a:lnTo>
                      <a:lnTo>
                        <a:pt x="602" y="968"/>
                      </a:lnTo>
                      <a:lnTo>
                        <a:pt x="602" y="969"/>
                      </a:lnTo>
                      <a:lnTo>
                        <a:pt x="602" y="968"/>
                      </a:lnTo>
                      <a:lnTo>
                        <a:pt x="603" y="968"/>
                      </a:lnTo>
                      <a:lnTo>
                        <a:pt x="603" y="968"/>
                      </a:lnTo>
                      <a:lnTo>
                        <a:pt x="603" y="967"/>
                      </a:lnTo>
                      <a:lnTo>
                        <a:pt x="604" y="967"/>
                      </a:lnTo>
                      <a:lnTo>
                        <a:pt x="604" y="967"/>
                      </a:lnTo>
                      <a:lnTo>
                        <a:pt x="604" y="966"/>
                      </a:lnTo>
                      <a:lnTo>
                        <a:pt x="605" y="966"/>
                      </a:lnTo>
                      <a:lnTo>
                        <a:pt x="605" y="965"/>
                      </a:lnTo>
                      <a:lnTo>
                        <a:pt x="605" y="965"/>
                      </a:lnTo>
                      <a:lnTo>
                        <a:pt x="605" y="964"/>
                      </a:lnTo>
                      <a:lnTo>
                        <a:pt x="606" y="964"/>
                      </a:lnTo>
                      <a:lnTo>
                        <a:pt x="606" y="962"/>
                      </a:lnTo>
                      <a:lnTo>
                        <a:pt x="608" y="961"/>
                      </a:lnTo>
                      <a:lnTo>
                        <a:pt x="608" y="959"/>
                      </a:lnTo>
                      <a:lnTo>
                        <a:pt x="608" y="959"/>
                      </a:lnTo>
                      <a:lnTo>
                        <a:pt x="608" y="957"/>
                      </a:lnTo>
                      <a:lnTo>
                        <a:pt x="609" y="955"/>
                      </a:lnTo>
                      <a:lnTo>
                        <a:pt x="606" y="955"/>
                      </a:lnTo>
                      <a:lnTo>
                        <a:pt x="605" y="954"/>
                      </a:lnTo>
                      <a:lnTo>
                        <a:pt x="604" y="954"/>
                      </a:lnTo>
                      <a:lnTo>
                        <a:pt x="605" y="953"/>
                      </a:lnTo>
                      <a:lnTo>
                        <a:pt x="603" y="952"/>
                      </a:lnTo>
                      <a:lnTo>
                        <a:pt x="603" y="952"/>
                      </a:lnTo>
                      <a:lnTo>
                        <a:pt x="603" y="951"/>
                      </a:lnTo>
                      <a:lnTo>
                        <a:pt x="603" y="951"/>
                      </a:lnTo>
                      <a:lnTo>
                        <a:pt x="604" y="950"/>
                      </a:lnTo>
                      <a:lnTo>
                        <a:pt x="604" y="949"/>
                      </a:lnTo>
                      <a:lnTo>
                        <a:pt x="603" y="949"/>
                      </a:lnTo>
                      <a:lnTo>
                        <a:pt x="604" y="949"/>
                      </a:lnTo>
                      <a:lnTo>
                        <a:pt x="604" y="947"/>
                      </a:lnTo>
                      <a:lnTo>
                        <a:pt x="605" y="945"/>
                      </a:lnTo>
                      <a:lnTo>
                        <a:pt x="604" y="944"/>
                      </a:lnTo>
                      <a:lnTo>
                        <a:pt x="605" y="944"/>
                      </a:lnTo>
                      <a:lnTo>
                        <a:pt x="605" y="945"/>
                      </a:lnTo>
                      <a:lnTo>
                        <a:pt x="605" y="945"/>
                      </a:lnTo>
                      <a:lnTo>
                        <a:pt x="607" y="945"/>
                      </a:lnTo>
                      <a:lnTo>
                        <a:pt x="609" y="945"/>
                      </a:lnTo>
                      <a:lnTo>
                        <a:pt x="611" y="946"/>
                      </a:lnTo>
                      <a:lnTo>
                        <a:pt x="611" y="944"/>
                      </a:lnTo>
                      <a:lnTo>
                        <a:pt x="611" y="944"/>
                      </a:lnTo>
                      <a:lnTo>
                        <a:pt x="611" y="943"/>
                      </a:lnTo>
                      <a:lnTo>
                        <a:pt x="610" y="942"/>
                      </a:lnTo>
                      <a:lnTo>
                        <a:pt x="610" y="941"/>
                      </a:lnTo>
                      <a:lnTo>
                        <a:pt x="609" y="940"/>
                      </a:lnTo>
                      <a:lnTo>
                        <a:pt x="609" y="939"/>
                      </a:lnTo>
                      <a:lnTo>
                        <a:pt x="607" y="939"/>
                      </a:lnTo>
                      <a:lnTo>
                        <a:pt x="607" y="939"/>
                      </a:lnTo>
                      <a:lnTo>
                        <a:pt x="606" y="937"/>
                      </a:lnTo>
                      <a:lnTo>
                        <a:pt x="606" y="937"/>
                      </a:lnTo>
                      <a:lnTo>
                        <a:pt x="605" y="936"/>
                      </a:lnTo>
                      <a:lnTo>
                        <a:pt x="607" y="936"/>
                      </a:lnTo>
                      <a:lnTo>
                        <a:pt x="607" y="936"/>
                      </a:lnTo>
                      <a:lnTo>
                        <a:pt x="607" y="936"/>
                      </a:lnTo>
                      <a:lnTo>
                        <a:pt x="608" y="936"/>
                      </a:lnTo>
                      <a:lnTo>
                        <a:pt x="608" y="935"/>
                      </a:lnTo>
                      <a:lnTo>
                        <a:pt x="608" y="936"/>
                      </a:lnTo>
                      <a:lnTo>
                        <a:pt x="609" y="935"/>
                      </a:lnTo>
                      <a:lnTo>
                        <a:pt x="609" y="935"/>
                      </a:lnTo>
                      <a:lnTo>
                        <a:pt x="610" y="935"/>
                      </a:lnTo>
                      <a:lnTo>
                        <a:pt x="610" y="934"/>
                      </a:lnTo>
                      <a:lnTo>
                        <a:pt x="611" y="934"/>
                      </a:lnTo>
                      <a:lnTo>
                        <a:pt x="611" y="935"/>
                      </a:lnTo>
                      <a:lnTo>
                        <a:pt x="610" y="935"/>
                      </a:lnTo>
                      <a:lnTo>
                        <a:pt x="610" y="936"/>
                      </a:lnTo>
                      <a:lnTo>
                        <a:pt x="612" y="937"/>
                      </a:lnTo>
                      <a:lnTo>
                        <a:pt x="612" y="936"/>
                      </a:lnTo>
                      <a:lnTo>
                        <a:pt x="613" y="936"/>
                      </a:lnTo>
                      <a:lnTo>
                        <a:pt x="613" y="937"/>
                      </a:lnTo>
                      <a:lnTo>
                        <a:pt x="613" y="937"/>
                      </a:lnTo>
                      <a:lnTo>
                        <a:pt x="613" y="937"/>
                      </a:lnTo>
                      <a:lnTo>
                        <a:pt x="612" y="937"/>
                      </a:lnTo>
                      <a:lnTo>
                        <a:pt x="612" y="938"/>
                      </a:lnTo>
                      <a:lnTo>
                        <a:pt x="612" y="938"/>
                      </a:lnTo>
                      <a:lnTo>
                        <a:pt x="611" y="939"/>
                      </a:lnTo>
                      <a:lnTo>
                        <a:pt x="612" y="941"/>
                      </a:lnTo>
                      <a:lnTo>
                        <a:pt x="612" y="941"/>
                      </a:lnTo>
                      <a:lnTo>
                        <a:pt x="613" y="940"/>
                      </a:lnTo>
                      <a:lnTo>
                        <a:pt x="613" y="941"/>
                      </a:lnTo>
                      <a:lnTo>
                        <a:pt x="614" y="941"/>
                      </a:lnTo>
                      <a:lnTo>
                        <a:pt x="614" y="943"/>
                      </a:lnTo>
                      <a:lnTo>
                        <a:pt x="614" y="943"/>
                      </a:lnTo>
                      <a:lnTo>
                        <a:pt x="615" y="942"/>
                      </a:lnTo>
                      <a:lnTo>
                        <a:pt x="615" y="942"/>
                      </a:lnTo>
                      <a:lnTo>
                        <a:pt x="616" y="942"/>
                      </a:lnTo>
                      <a:lnTo>
                        <a:pt x="617" y="943"/>
                      </a:lnTo>
                      <a:lnTo>
                        <a:pt x="617" y="945"/>
                      </a:lnTo>
                      <a:lnTo>
                        <a:pt x="617" y="945"/>
                      </a:lnTo>
                      <a:lnTo>
                        <a:pt x="616" y="946"/>
                      </a:lnTo>
                      <a:lnTo>
                        <a:pt x="616" y="948"/>
                      </a:lnTo>
                      <a:lnTo>
                        <a:pt x="617" y="948"/>
                      </a:lnTo>
                      <a:lnTo>
                        <a:pt x="616" y="949"/>
                      </a:lnTo>
                      <a:lnTo>
                        <a:pt x="617" y="949"/>
                      </a:lnTo>
                      <a:lnTo>
                        <a:pt x="617" y="949"/>
                      </a:lnTo>
                      <a:lnTo>
                        <a:pt x="617" y="949"/>
                      </a:lnTo>
                      <a:lnTo>
                        <a:pt x="617" y="949"/>
                      </a:lnTo>
                      <a:lnTo>
                        <a:pt x="618" y="950"/>
                      </a:lnTo>
                      <a:lnTo>
                        <a:pt x="618" y="949"/>
                      </a:lnTo>
                      <a:lnTo>
                        <a:pt x="618" y="949"/>
                      </a:lnTo>
                      <a:lnTo>
                        <a:pt x="619" y="948"/>
                      </a:lnTo>
                      <a:lnTo>
                        <a:pt x="620" y="948"/>
                      </a:lnTo>
                      <a:lnTo>
                        <a:pt x="623" y="949"/>
                      </a:lnTo>
                      <a:lnTo>
                        <a:pt x="624" y="949"/>
                      </a:lnTo>
                      <a:lnTo>
                        <a:pt x="624" y="950"/>
                      </a:lnTo>
                      <a:lnTo>
                        <a:pt x="625" y="950"/>
                      </a:lnTo>
                      <a:lnTo>
                        <a:pt x="625" y="951"/>
                      </a:lnTo>
                      <a:lnTo>
                        <a:pt x="624" y="951"/>
                      </a:lnTo>
                      <a:lnTo>
                        <a:pt x="624" y="952"/>
                      </a:lnTo>
                      <a:lnTo>
                        <a:pt x="624" y="952"/>
                      </a:lnTo>
                      <a:lnTo>
                        <a:pt x="625" y="954"/>
                      </a:lnTo>
                      <a:lnTo>
                        <a:pt x="625" y="954"/>
                      </a:lnTo>
                      <a:lnTo>
                        <a:pt x="626" y="953"/>
                      </a:lnTo>
                      <a:lnTo>
                        <a:pt x="627" y="954"/>
                      </a:lnTo>
                      <a:lnTo>
                        <a:pt x="628" y="954"/>
                      </a:lnTo>
                      <a:lnTo>
                        <a:pt x="630" y="954"/>
                      </a:lnTo>
                      <a:lnTo>
                        <a:pt x="630" y="955"/>
                      </a:lnTo>
                      <a:lnTo>
                        <a:pt x="630" y="956"/>
                      </a:lnTo>
                      <a:lnTo>
                        <a:pt x="630" y="956"/>
                      </a:lnTo>
                      <a:lnTo>
                        <a:pt x="631" y="956"/>
                      </a:lnTo>
                      <a:lnTo>
                        <a:pt x="632" y="955"/>
                      </a:lnTo>
                      <a:lnTo>
                        <a:pt x="632" y="955"/>
                      </a:lnTo>
                      <a:lnTo>
                        <a:pt x="633" y="955"/>
                      </a:lnTo>
                      <a:lnTo>
                        <a:pt x="634" y="955"/>
                      </a:lnTo>
                      <a:lnTo>
                        <a:pt x="635" y="955"/>
                      </a:lnTo>
                      <a:lnTo>
                        <a:pt x="635" y="955"/>
                      </a:lnTo>
                      <a:lnTo>
                        <a:pt x="635" y="956"/>
                      </a:lnTo>
                      <a:lnTo>
                        <a:pt x="635" y="956"/>
                      </a:lnTo>
                      <a:lnTo>
                        <a:pt x="635" y="957"/>
                      </a:lnTo>
                      <a:lnTo>
                        <a:pt x="634" y="957"/>
                      </a:lnTo>
                      <a:lnTo>
                        <a:pt x="634" y="957"/>
                      </a:lnTo>
                      <a:lnTo>
                        <a:pt x="634" y="957"/>
                      </a:lnTo>
                      <a:lnTo>
                        <a:pt x="635" y="958"/>
                      </a:lnTo>
                      <a:lnTo>
                        <a:pt x="635" y="958"/>
                      </a:lnTo>
                      <a:lnTo>
                        <a:pt x="635" y="959"/>
                      </a:lnTo>
                      <a:lnTo>
                        <a:pt x="635" y="959"/>
                      </a:lnTo>
                      <a:lnTo>
                        <a:pt x="635" y="959"/>
                      </a:lnTo>
                      <a:lnTo>
                        <a:pt x="636" y="961"/>
                      </a:lnTo>
                      <a:lnTo>
                        <a:pt x="636" y="964"/>
                      </a:lnTo>
                      <a:lnTo>
                        <a:pt x="635" y="964"/>
                      </a:lnTo>
                      <a:lnTo>
                        <a:pt x="634" y="967"/>
                      </a:lnTo>
                      <a:lnTo>
                        <a:pt x="633" y="967"/>
                      </a:lnTo>
                      <a:lnTo>
                        <a:pt x="633" y="967"/>
                      </a:lnTo>
                      <a:lnTo>
                        <a:pt x="632" y="967"/>
                      </a:lnTo>
                      <a:lnTo>
                        <a:pt x="632" y="967"/>
                      </a:lnTo>
                      <a:lnTo>
                        <a:pt x="631" y="968"/>
                      </a:lnTo>
                      <a:lnTo>
                        <a:pt x="631" y="969"/>
                      </a:lnTo>
                      <a:lnTo>
                        <a:pt x="631" y="969"/>
                      </a:lnTo>
                      <a:lnTo>
                        <a:pt x="630" y="969"/>
                      </a:lnTo>
                      <a:lnTo>
                        <a:pt x="631" y="969"/>
                      </a:lnTo>
                      <a:lnTo>
                        <a:pt x="631" y="970"/>
                      </a:lnTo>
                      <a:lnTo>
                        <a:pt x="630" y="970"/>
                      </a:lnTo>
                      <a:lnTo>
                        <a:pt x="630" y="970"/>
                      </a:lnTo>
                      <a:lnTo>
                        <a:pt x="630" y="970"/>
                      </a:lnTo>
                      <a:lnTo>
                        <a:pt x="629" y="971"/>
                      </a:lnTo>
                      <a:lnTo>
                        <a:pt x="630" y="971"/>
                      </a:lnTo>
                      <a:lnTo>
                        <a:pt x="630" y="972"/>
                      </a:lnTo>
                      <a:lnTo>
                        <a:pt x="630" y="972"/>
                      </a:lnTo>
                      <a:lnTo>
                        <a:pt x="630" y="972"/>
                      </a:lnTo>
                      <a:lnTo>
                        <a:pt x="628" y="974"/>
                      </a:lnTo>
                      <a:lnTo>
                        <a:pt x="627" y="974"/>
                      </a:lnTo>
                      <a:lnTo>
                        <a:pt x="627" y="975"/>
                      </a:lnTo>
                      <a:lnTo>
                        <a:pt x="627" y="975"/>
                      </a:lnTo>
                      <a:lnTo>
                        <a:pt x="626" y="976"/>
                      </a:lnTo>
                      <a:lnTo>
                        <a:pt x="626" y="976"/>
                      </a:lnTo>
                      <a:lnTo>
                        <a:pt x="625" y="977"/>
                      </a:lnTo>
                      <a:lnTo>
                        <a:pt x="624" y="977"/>
                      </a:lnTo>
                      <a:lnTo>
                        <a:pt x="623" y="979"/>
                      </a:lnTo>
                      <a:lnTo>
                        <a:pt x="621" y="981"/>
                      </a:lnTo>
                      <a:lnTo>
                        <a:pt x="621" y="982"/>
                      </a:lnTo>
                      <a:lnTo>
                        <a:pt x="621" y="982"/>
                      </a:lnTo>
                      <a:lnTo>
                        <a:pt x="620" y="982"/>
                      </a:lnTo>
                      <a:lnTo>
                        <a:pt x="621" y="983"/>
                      </a:lnTo>
                      <a:lnTo>
                        <a:pt x="619" y="985"/>
                      </a:lnTo>
                      <a:lnTo>
                        <a:pt x="619" y="986"/>
                      </a:lnTo>
                      <a:lnTo>
                        <a:pt x="618" y="987"/>
                      </a:lnTo>
                      <a:lnTo>
                        <a:pt x="618" y="988"/>
                      </a:lnTo>
                      <a:lnTo>
                        <a:pt x="618" y="988"/>
                      </a:lnTo>
                      <a:lnTo>
                        <a:pt x="617" y="989"/>
                      </a:lnTo>
                      <a:lnTo>
                        <a:pt x="616" y="992"/>
                      </a:lnTo>
                      <a:lnTo>
                        <a:pt x="616" y="993"/>
                      </a:lnTo>
                      <a:lnTo>
                        <a:pt x="615" y="994"/>
                      </a:lnTo>
                      <a:lnTo>
                        <a:pt x="615" y="993"/>
                      </a:lnTo>
                      <a:lnTo>
                        <a:pt x="615" y="993"/>
                      </a:lnTo>
                      <a:lnTo>
                        <a:pt x="614" y="994"/>
                      </a:lnTo>
                      <a:lnTo>
                        <a:pt x="615" y="996"/>
                      </a:lnTo>
                      <a:lnTo>
                        <a:pt x="616" y="996"/>
                      </a:lnTo>
                      <a:lnTo>
                        <a:pt x="616" y="997"/>
                      </a:lnTo>
                      <a:lnTo>
                        <a:pt x="617" y="997"/>
                      </a:lnTo>
                      <a:lnTo>
                        <a:pt x="618" y="997"/>
                      </a:lnTo>
                      <a:lnTo>
                        <a:pt x="618" y="996"/>
                      </a:lnTo>
                      <a:lnTo>
                        <a:pt x="619" y="995"/>
                      </a:lnTo>
                      <a:lnTo>
                        <a:pt x="619" y="994"/>
                      </a:lnTo>
                      <a:lnTo>
                        <a:pt x="619" y="993"/>
                      </a:lnTo>
                      <a:lnTo>
                        <a:pt x="619" y="993"/>
                      </a:lnTo>
                      <a:lnTo>
                        <a:pt x="620" y="991"/>
                      </a:lnTo>
                      <a:lnTo>
                        <a:pt x="620" y="991"/>
                      </a:lnTo>
                      <a:lnTo>
                        <a:pt x="623" y="991"/>
                      </a:lnTo>
                      <a:lnTo>
                        <a:pt x="624" y="990"/>
                      </a:lnTo>
                      <a:lnTo>
                        <a:pt x="624" y="990"/>
                      </a:lnTo>
                      <a:lnTo>
                        <a:pt x="626" y="989"/>
                      </a:lnTo>
                      <a:lnTo>
                        <a:pt x="626" y="988"/>
                      </a:lnTo>
                      <a:lnTo>
                        <a:pt x="627" y="985"/>
                      </a:lnTo>
                      <a:lnTo>
                        <a:pt x="628" y="985"/>
                      </a:lnTo>
                      <a:lnTo>
                        <a:pt x="629" y="985"/>
                      </a:lnTo>
                      <a:lnTo>
                        <a:pt x="629" y="985"/>
                      </a:lnTo>
                      <a:lnTo>
                        <a:pt x="630" y="983"/>
                      </a:lnTo>
                      <a:lnTo>
                        <a:pt x="632" y="983"/>
                      </a:lnTo>
                      <a:lnTo>
                        <a:pt x="633" y="983"/>
                      </a:lnTo>
                      <a:lnTo>
                        <a:pt x="633" y="983"/>
                      </a:lnTo>
                      <a:lnTo>
                        <a:pt x="634" y="981"/>
                      </a:lnTo>
                      <a:lnTo>
                        <a:pt x="633" y="980"/>
                      </a:lnTo>
                      <a:lnTo>
                        <a:pt x="634" y="979"/>
                      </a:lnTo>
                      <a:lnTo>
                        <a:pt x="634" y="978"/>
                      </a:lnTo>
                      <a:lnTo>
                        <a:pt x="633" y="978"/>
                      </a:lnTo>
                      <a:lnTo>
                        <a:pt x="632" y="978"/>
                      </a:lnTo>
                      <a:lnTo>
                        <a:pt x="632" y="978"/>
                      </a:lnTo>
                      <a:lnTo>
                        <a:pt x="633" y="977"/>
                      </a:lnTo>
                      <a:lnTo>
                        <a:pt x="634" y="977"/>
                      </a:lnTo>
                      <a:lnTo>
                        <a:pt x="634" y="976"/>
                      </a:lnTo>
                      <a:lnTo>
                        <a:pt x="634" y="975"/>
                      </a:lnTo>
                      <a:lnTo>
                        <a:pt x="634" y="974"/>
                      </a:lnTo>
                      <a:lnTo>
                        <a:pt x="635" y="973"/>
                      </a:lnTo>
                      <a:lnTo>
                        <a:pt x="636" y="971"/>
                      </a:lnTo>
                      <a:lnTo>
                        <a:pt x="636" y="971"/>
                      </a:lnTo>
                      <a:lnTo>
                        <a:pt x="636" y="970"/>
                      </a:lnTo>
                      <a:lnTo>
                        <a:pt x="637" y="969"/>
                      </a:lnTo>
                      <a:lnTo>
                        <a:pt x="638" y="968"/>
                      </a:lnTo>
                      <a:lnTo>
                        <a:pt x="638" y="968"/>
                      </a:lnTo>
                      <a:lnTo>
                        <a:pt x="640" y="968"/>
                      </a:lnTo>
                      <a:lnTo>
                        <a:pt x="640" y="968"/>
                      </a:lnTo>
                      <a:lnTo>
                        <a:pt x="641" y="968"/>
                      </a:lnTo>
                      <a:lnTo>
                        <a:pt x="641" y="967"/>
                      </a:lnTo>
                      <a:lnTo>
                        <a:pt x="643" y="967"/>
                      </a:lnTo>
                      <a:lnTo>
                        <a:pt x="643" y="968"/>
                      </a:lnTo>
                      <a:lnTo>
                        <a:pt x="643" y="968"/>
                      </a:lnTo>
                      <a:lnTo>
                        <a:pt x="644" y="968"/>
                      </a:lnTo>
                      <a:lnTo>
                        <a:pt x="644" y="967"/>
                      </a:lnTo>
                      <a:lnTo>
                        <a:pt x="645" y="966"/>
                      </a:lnTo>
                      <a:lnTo>
                        <a:pt x="646" y="966"/>
                      </a:lnTo>
                      <a:lnTo>
                        <a:pt x="646" y="964"/>
                      </a:lnTo>
                      <a:lnTo>
                        <a:pt x="647" y="963"/>
                      </a:lnTo>
                      <a:lnTo>
                        <a:pt x="647" y="962"/>
                      </a:lnTo>
                      <a:lnTo>
                        <a:pt x="648" y="962"/>
                      </a:lnTo>
                      <a:lnTo>
                        <a:pt x="647" y="957"/>
                      </a:lnTo>
                      <a:lnTo>
                        <a:pt x="646" y="956"/>
                      </a:lnTo>
                      <a:lnTo>
                        <a:pt x="646" y="956"/>
                      </a:lnTo>
                      <a:lnTo>
                        <a:pt x="646" y="955"/>
                      </a:lnTo>
                      <a:lnTo>
                        <a:pt x="646" y="954"/>
                      </a:lnTo>
                      <a:lnTo>
                        <a:pt x="647" y="952"/>
                      </a:lnTo>
                      <a:lnTo>
                        <a:pt x="647" y="952"/>
                      </a:lnTo>
                      <a:lnTo>
                        <a:pt x="647" y="951"/>
                      </a:lnTo>
                      <a:lnTo>
                        <a:pt x="647" y="951"/>
                      </a:lnTo>
                      <a:lnTo>
                        <a:pt x="647" y="950"/>
                      </a:lnTo>
                      <a:lnTo>
                        <a:pt x="647" y="949"/>
                      </a:lnTo>
                      <a:lnTo>
                        <a:pt x="647" y="949"/>
                      </a:lnTo>
                      <a:lnTo>
                        <a:pt x="647" y="948"/>
                      </a:lnTo>
                      <a:lnTo>
                        <a:pt x="648" y="947"/>
                      </a:lnTo>
                      <a:lnTo>
                        <a:pt x="648" y="946"/>
                      </a:lnTo>
                      <a:lnTo>
                        <a:pt x="649" y="946"/>
                      </a:lnTo>
                      <a:lnTo>
                        <a:pt x="649" y="944"/>
                      </a:lnTo>
                      <a:lnTo>
                        <a:pt x="650" y="944"/>
                      </a:lnTo>
                      <a:lnTo>
                        <a:pt x="650" y="945"/>
                      </a:lnTo>
                      <a:lnTo>
                        <a:pt x="650" y="944"/>
                      </a:lnTo>
                      <a:lnTo>
                        <a:pt x="651" y="944"/>
                      </a:lnTo>
                      <a:lnTo>
                        <a:pt x="651" y="944"/>
                      </a:lnTo>
                      <a:lnTo>
                        <a:pt x="652" y="944"/>
                      </a:lnTo>
                      <a:lnTo>
                        <a:pt x="652" y="945"/>
                      </a:lnTo>
                      <a:lnTo>
                        <a:pt x="652" y="945"/>
                      </a:lnTo>
                      <a:lnTo>
                        <a:pt x="653" y="946"/>
                      </a:lnTo>
                      <a:lnTo>
                        <a:pt x="653" y="945"/>
                      </a:lnTo>
                      <a:lnTo>
                        <a:pt x="654" y="945"/>
                      </a:lnTo>
                      <a:lnTo>
                        <a:pt x="655" y="945"/>
                      </a:lnTo>
                      <a:lnTo>
                        <a:pt x="655" y="944"/>
                      </a:lnTo>
                      <a:lnTo>
                        <a:pt x="655" y="944"/>
                      </a:lnTo>
                      <a:lnTo>
                        <a:pt x="655" y="945"/>
                      </a:lnTo>
                      <a:lnTo>
                        <a:pt x="655" y="945"/>
                      </a:lnTo>
                      <a:lnTo>
                        <a:pt x="656" y="945"/>
                      </a:lnTo>
                      <a:lnTo>
                        <a:pt x="657" y="944"/>
                      </a:lnTo>
                      <a:lnTo>
                        <a:pt x="658" y="944"/>
                      </a:lnTo>
                      <a:lnTo>
                        <a:pt x="658" y="944"/>
                      </a:lnTo>
                      <a:lnTo>
                        <a:pt x="660" y="944"/>
                      </a:lnTo>
                      <a:lnTo>
                        <a:pt x="661" y="944"/>
                      </a:lnTo>
                      <a:lnTo>
                        <a:pt x="661" y="944"/>
                      </a:lnTo>
                      <a:lnTo>
                        <a:pt x="661" y="944"/>
                      </a:lnTo>
                      <a:lnTo>
                        <a:pt x="662" y="944"/>
                      </a:lnTo>
                      <a:lnTo>
                        <a:pt x="662" y="944"/>
                      </a:lnTo>
                      <a:lnTo>
                        <a:pt x="663" y="945"/>
                      </a:lnTo>
                      <a:lnTo>
                        <a:pt x="663" y="945"/>
                      </a:lnTo>
                      <a:lnTo>
                        <a:pt x="663" y="945"/>
                      </a:lnTo>
                      <a:lnTo>
                        <a:pt x="664" y="945"/>
                      </a:lnTo>
                      <a:lnTo>
                        <a:pt x="665" y="945"/>
                      </a:lnTo>
                      <a:lnTo>
                        <a:pt x="667" y="946"/>
                      </a:lnTo>
                      <a:lnTo>
                        <a:pt x="668" y="946"/>
                      </a:lnTo>
                      <a:lnTo>
                        <a:pt x="669" y="946"/>
                      </a:lnTo>
                      <a:lnTo>
                        <a:pt x="669" y="947"/>
                      </a:lnTo>
                      <a:lnTo>
                        <a:pt x="670" y="947"/>
                      </a:lnTo>
                      <a:lnTo>
                        <a:pt x="670" y="949"/>
                      </a:lnTo>
                      <a:lnTo>
                        <a:pt x="671" y="949"/>
                      </a:lnTo>
                      <a:lnTo>
                        <a:pt x="671" y="950"/>
                      </a:lnTo>
                      <a:lnTo>
                        <a:pt x="673" y="950"/>
                      </a:lnTo>
                      <a:lnTo>
                        <a:pt x="673" y="951"/>
                      </a:lnTo>
                      <a:lnTo>
                        <a:pt x="674" y="951"/>
                      </a:lnTo>
                      <a:lnTo>
                        <a:pt x="674" y="950"/>
                      </a:lnTo>
                      <a:lnTo>
                        <a:pt x="675" y="951"/>
                      </a:lnTo>
                      <a:lnTo>
                        <a:pt x="677" y="952"/>
                      </a:lnTo>
                      <a:lnTo>
                        <a:pt x="677" y="953"/>
                      </a:lnTo>
                      <a:lnTo>
                        <a:pt x="678" y="954"/>
                      </a:lnTo>
                      <a:lnTo>
                        <a:pt x="678" y="956"/>
                      </a:lnTo>
                      <a:lnTo>
                        <a:pt x="678" y="957"/>
                      </a:lnTo>
                      <a:lnTo>
                        <a:pt x="678" y="957"/>
                      </a:lnTo>
                      <a:lnTo>
                        <a:pt x="678" y="956"/>
                      </a:lnTo>
                      <a:lnTo>
                        <a:pt x="678" y="955"/>
                      </a:lnTo>
                      <a:lnTo>
                        <a:pt x="679" y="954"/>
                      </a:lnTo>
                      <a:lnTo>
                        <a:pt x="679" y="955"/>
                      </a:lnTo>
                      <a:lnTo>
                        <a:pt x="680" y="955"/>
                      </a:lnTo>
                      <a:lnTo>
                        <a:pt x="680" y="955"/>
                      </a:lnTo>
                      <a:lnTo>
                        <a:pt x="679" y="954"/>
                      </a:lnTo>
                      <a:lnTo>
                        <a:pt x="680" y="954"/>
                      </a:lnTo>
                      <a:lnTo>
                        <a:pt x="681" y="954"/>
                      </a:lnTo>
                      <a:lnTo>
                        <a:pt x="681" y="954"/>
                      </a:lnTo>
                      <a:lnTo>
                        <a:pt x="682" y="955"/>
                      </a:lnTo>
                      <a:lnTo>
                        <a:pt x="682" y="956"/>
                      </a:lnTo>
                      <a:lnTo>
                        <a:pt x="683" y="956"/>
                      </a:lnTo>
                      <a:lnTo>
                        <a:pt x="684" y="955"/>
                      </a:lnTo>
                      <a:lnTo>
                        <a:pt x="684" y="956"/>
                      </a:lnTo>
                      <a:lnTo>
                        <a:pt x="684" y="957"/>
                      </a:lnTo>
                      <a:lnTo>
                        <a:pt x="683" y="957"/>
                      </a:lnTo>
                      <a:lnTo>
                        <a:pt x="683" y="958"/>
                      </a:lnTo>
                      <a:lnTo>
                        <a:pt x="683" y="961"/>
                      </a:lnTo>
                      <a:lnTo>
                        <a:pt x="683" y="961"/>
                      </a:lnTo>
                      <a:lnTo>
                        <a:pt x="683" y="962"/>
                      </a:lnTo>
                      <a:lnTo>
                        <a:pt x="684" y="963"/>
                      </a:lnTo>
                      <a:lnTo>
                        <a:pt x="683" y="963"/>
                      </a:lnTo>
                      <a:lnTo>
                        <a:pt x="683" y="964"/>
                      </a:lnTo>
                      <a:lnTo>
                        <a:pt x="682" y="964"/>
                      </a:lnTo>
                      <a:lnTo>
                        <a:pt x="682" y="965"/>
                      </a:lnTo>
                      <a:lnTo>
                        <a:pt x="684" y="966"/>
                      </a:lnTo>
                      <a:lnTo>
                        <a:pt x="684" y="966"/>
                      </a:lnTo>
                      <a:lnTo>
                        <a:pt x="684" y="966"/>
                      </a:lnTo>
                      <a:lnTo>
                        <a:pt x="684" y="967"/>
                      </a:lnTo>
                      <a:lnTo>
                        <a:pt x="684" y="967"/>
                      </a:lnTo>
                      <a:lnTo>
                        <a:pt x="684" y="967"/>
                      </a:lnTo>
                      <a:lnTo>
                        <a:pt x="686" y="967"/>
                      </a:lnTo>
                      <a:lnTo>
                        <a:pt x="686" y="967"/>
                      </a:lnTo>
                      <a:lnTo>
                        <a:pt x="686" y="967"/>
                      </a:lnTo>
                      <a:lnTo>
                        <a:pt x="687" y="968"/>
                      </a:lnTo>
                      <a:lnTo>
                        <a:pt x="686" y="969"/>
                      </a:lnTo>
                      <a:lnTo>
                        <a:pt x="686" y="969"/>
                      </a:lnTo>
                      <a:lnTo>
                        <a:pt x="685" y="970"/>
                      </a:lnTo>
                      <a:lnTo>
                        <a:pt x="685" y="970"/>
                      </a:lnTo>
                      <a:lnTo>
                        <a:pt x="683" y="972"/>
                      </a:lnTo>
                      <a:lnTo>
                        <a:pt x="683" y="972"/>
                      </a:lnTo>
                      <a:lnTo>
                        <a:pt x="683" y="972"/>
                      </a:lnTo>
                      <a:lnTo>
                        <a:pt x="683" y="972"/>
                      </a:lnTo>
                      <a:lnTo>
                        <a:pt x="684" y="971"/>
                      </a:lnTo>
                      <a:lnTo>
                        <a:pt x="684" y="972"/>
                      </a:lnTo>
                      <a:lnTo>
                        <a:pt x="684" y="972"/>
                      </a:lnTo>
                      <a:lnTo>
                        <a:pt x="684" y="973"/>
                      </a:lnTo>
                      <a:lnTo>
                        <a:pt x="683" y="973"/>
                      </a:lnTo>
                      <a:lnTo>
                        <a:pt x="681" y="974"/>
                      </a:lnTo>
                      <a:lnTo>
                        <a:pt x="680" y="975"/>
                      </a:lnTo>
                      <a:lnTo>
                        <a:pt x="679" y="976"/>
                      </a:lnTo>
                      <a:lnTo>
                        <a:pt x="679" y="977"/>
                      </a:lnTo>
                      <a:lnTo>
                        <a:pt x="678" y="978"/>
                      </a:lnTo>
                      <a:lnTo>
                        <a:pt x="678" y="978"/>
                      </a:lnTo>
                      <a:lnTo>
                        <a:pt x="678" y="979"/>
                      </a:lnTo>
                      <a:lnTo>
                        <a:pt x="677" y="979"/>
                      </a:lnTo>
                      <a:lnTo>
                        <a:pt x="677" y="980"/>
                      </a:lnTo>
                      <a:lnTo>
                        <a:pt x="678" y="981"/>
                      </a:lnTo>
                      <a:lnTo>
                        <a:pt x="678" y="983"/>
                      </a:lnTo>
                      <a:lnTo>
                        <a:pt x="677" y="983"/>
                      </a:lnTo>
                      <a:lnTo>
                        <a:pt x="677" y="984"/>
                      </a:lnTo>
                      <a:lnTo>
                        <a:pt x="676" y="985"/>
                      </a:lnTo>
                      <a:lnTo>
                        <a:pt x="676" y="985"/>
                      </a:lnTo>
                      <a:lnTo>
                        <a:pt x="676" y="986"/>
                      </a:lnTo>
                      <a:lnTo>
                        <a:pt x="675" y="988"/>
                      </a:lnTo>
                      <a:lnTo>
                        <a:pt x="675" y="989"/>
                      </a:lnTo>
                      <a:lnTo>
                        <a:pt x="675" y="989"/>
                      </a:lnTo>
                      <a:lnTo>
                        <a:pt x="675" y="990"/>
                      </a:lnTo>
                      <a:lnTo>
                        <a:pt x="675" y="990"/>
                      </a:lnTo>
                      <a:lnTo>
                        <a:pt x="675" y="993"/>
                      </a:lnTo>
                      <a:lnTo>
                        <a:pt x="675" y="993"/>
                      </a:lnTo>
                      <a:lnTo>
                        <a:pt x="674" y="994"/>
                      </a:lnTo>
                      <a:lnTo>
                        <a:pt x="674" y="994"/>
                      </a:lnTo>
                      <a:lnTo>
                        <a:pt x="673" y="995"/>
                      </a:lnTo>
                      <a:lnTo>
                        <a:pt x="672" y="995"/>
                      </a:lnTo>
                      <a:lnTo>
                        <a:pt x="672" y="996"/>
                      </a:lnTo>
                      <a:lnTo>
                        <a:pt x="672" y="997"/>
                      </a:lnTo>
                      <a:lnTo>
                        <a:pt x="673" y="999"/>
                      </a:lnTo>
                      <a:lnTo>
                        <a:pt x="673" y="1000"/>
                      </a:lnTo>
                      <a:lnTo>
                        <a:pt x="673" y="1000"/>
                      </a:lnTo>
                      <a:lnTo>
                        <a:pt x="673" y="999"/>
                      </a:lnTo>
                      <a:lnTo>
                        <a:pt x="674" y="997"/>
                      </a:lnTo>
                      <a:lnTo>
                        <a:pt x="674" y="997"/>
                      </a:lnTo>
                      <a:lnTo>
                        <a:pt x="675" y="996"/>
                      </a:lnTo>
                      <a:lnTo>
                        <a:pt x="675" y="996"/>
                      </a:lnTo>
                      <a:lnTo>
                        <a:pt x="676" y="994"/>
                      </a:lnTo>
                      <a:lnTo>
                        <a:pt x="676" y="994"/>
                      </a:lnTo>
                      <a:lnTo>
                        <a:pt x="677" y="993"/>
                      </a:lnTo>
                      <a:lnTo>
                        <a:pt x="677" y="992"/>
                      </a:lnTo>
                      <a:lnTo>
                        <a:pt x="677" y="992"/>
                      </a:lnTo>
                      <a:lnTo>
                        <a:pt x="677" y="991"/>
                      </a:lnTo>
                      <a:lnTo>
                        <a:pt x="679" y="990"/>
                      </a:lnTo>
                      <a:lnTo>
                        <a:pt x="679" y="989"/>
                      </a:lnTo>
                      <a:lnTo>
                        <a:pt x="679" y="989"/>
                      </a:lnTo>
                      <a:lnTo>
                        <a:pt x="680" y="987"/>
                      </a:lnTo>
                      <a:lnTo>
                        <a:pt x="681" y="986"/>
                      </a:lnTo>
                      <a:lnTo>
                        <a:pt x="681" y="985"/>
                      </a:lnTo>
                      <a:lnTo>
                        <a:pt x="682" y="985"/>
                      </a:lnTo>
                      <a:lnTo>
                        <a:pt x="682" y="985"/>
                      </a:lnTo>
                      <a:lnTo>
                        <a:pt x="683" y="984"/>
                      </a:lnTo>
                      <a:lnTo>
                        <a:pt x="683" y="981"/>
                      </a:lnTo>
                      <a:lnTo>
                        <a:pt x="682" y="980"/>
                      </a:lnTo>
                      <a:lnTo>
                        <a:pt x="682" y="980"/>
                      </a:lnTo>
                      <a:lnTo>
                        <a:pt x="680" y="980"/>
                      </a:lnTo>
                      <a:lnTo>
                        <a:pt x="681" y="979"/>
                      </a:lnTo>
                      <a:lnTo>
                        <a:pt x="684" y="979"/>
                      </a:lnTo>
                      <a:lnTo>
                        <a:pt x="686" y="977"/>
                      </a:lnTo>
                      <a:lnTo>
                        <a:pt x="687" y="976"/>
                      </a:lnTo>
                      <a:lnTo>
                        <a:pt x="688" y="974"/>
                      </a:lnTo>
                      <a:lnTo>
                        <a:pt x="689" y="973"/>
                      </a:lnTo>
                      <a:lnTo>
                        <a:pt x="691" y="973"/>
                      </a:lnTo>
                      <a:lnTo>
                        <a:pt x="691" y="973"/>
                      </a:lnTo>
                      <a:lnTo>
                        <a:pt x="692" y="971"/>
                      </a:lnTo>
                      <a:lnTo>
                        <a:pt x="692" y="970"/>
                      </a:lnTo>
                      <a:lnTo>
                        <a:pt x="693" y="969"/>
                      </a:lnTo>
                      <a:lnTo>
                        <a:pt x="694" y="968"/>
                      </a:lnTo>
                      <a:lnTo>
                        <a:pt x="694" y="967"/>
                      </a:lnTo>
                      <a:lnTo>
                        <a:pt x="695" y="966"/>
                      </a:lnTo>
                      <a:lnTo>
                        <a:pt x="695" y="965"/>
                      </a:lnTo>
                      <a:lnTo>
                        <a:pt x="696" y="965"/>
                      </a:lnTo>
                      <a:lnTo>
                        <a:pt x="696" y="963"/>
                      </a:lnTo>
                      <a:lnTo>
                        <a:pt x="698" y="963"/>
                      </a:lnTo>
                      <a:lnTo>
                        <a:pt x="698" y="962"/>
                      </a:lnTo>
                      <a:lnTo>
                        <a:pt x="700" y="961"/>
                      </a:lnTo>
                      <a:lnTo>
                        <a:pt x="701" y="961"/>
                      </a:lnTo>
                      <a:lnTo>
                        <a:pt x="702" y="959"/>
                      </a:lnTo>
                      <a:lnTo>
                        <a:pt x="703" y="961"/>
                      </a:lnTo>
                      <a:lnTo>
                        <a:pt x="703" y="961"/>
                      </a:lnTo>
                      <a:lnTo>
                        <a:pt x="703" y="959"/>
                      </a:lnTo>
                      <a:lnTo>
                        <a:pt x="704" y="959"/>
                      </a:lnTo>
                      <a:lnTo>
                        <a:pt x="705" y="961"/>
                      </a:lnTo>
                      <a:lnTo>
                        <a:pt x="706" y="959"/>
                      </a:lnTo>
                      <a:lnTo>
                        <a:pt x="707" y="959"/>
                      </a:lnTo>
                      <a:lnTo>
                        <a:pt x="709" y="958"/>
                      </a:lnTo>
                      <a:lnTo>
                        <a:pt x="709" y="958"/>
                      </a:lnTo>
                      <a:lnTo>
                        <a:pt x="711" y="959"/>
                      </a:lnTo>
                      <a:lnTo>
                        <a:pt x="712" y="961"/>
                      </a:lnTo>
                      <a:lnTo>
                        <a:pt x="714" y="961"/>
                      </a:lnTo>
                      <a:lnTo>
                        <a:pt x="714" y="961"/>
                      </a:lnTo>
                      <a:lnTo>
                        <a:pt x="714" y="961"/>
                      </a:lnTo>
                      <a:lnTo>
                        <a:pt x="715" y="961"/>
                      </a:lnTo>
                      <a:lnTo>
                        <a:pt x="715" y="961"/>
                      </a:lnTo>
                      <a:lnTo>
                        <a:pt x="717" y="962"/>
                      </a:lnTo>
                      <a:lnTo>
                        <a:pt x="717" y="963"/>
                      </a:lnTo>
                      <a:lnTo>
                        <a:pt x="718" y="964"/>
                      </a:lnTo>
                      <a:lnTo>
                        <a:pt x="718" y="964"/>
                      </a:lnTo>
                      <a:lnTo>
                        <a:pt x="718" y="965"/>
                      </a:lnTo>
                      <a:lnTo>
                        <a:pt x="718" y="965"/>
                      </a:lnTo>
                      <a:lnTo>
                        <a:pt x="717" y="966"/>
                      </a:lnTo>
                      <a:lnTo>
                        <a:pt x="717" y="966"/>
                      </a:lnTo>
                      <a:lnTo>
                        <a:pt x="716" y="966"/>
                      </a:lnTo>
                      <a:lnTo>
                        <a:pt x="716" y="967"/>
                      </a:lnTo>
                      <a:lnTo>
                        <a:pt x="717" y="967"/>
                      </a:lnTo>
                      <a:lnTo>
                        <a:pt x="717" y="967"/>
                      </a:lnTo>
                      <a:lnTo>
                        <a:pt x="717" y="968"/>
                      </a:lnTo>
                      <a:lnTo>
                        <a:pt x="718" y="968"/>
                      </a:lnTo>
                      <a:lnTo>
                        <a:pt x="718" y="967"/>
                      </a:lnTo>
                      <a:lnTo>
                        <a:pt x="719" y="967"/>
                      </a:lnTo>
                      <a:lnTo>
                        <a:pt x="721" y="967"/>
                      </a:lnTo>
                      <a:lnTo>
                        <a:pt x="722" y="967"/>
                      </a:lnTo>
                      <a:lnTo>
                        <a:pt x="722" y="967"/>
                      </a:lnTo>
                      <a:lnTo>
                        <a:pt x="722" y="968"/>
                      </a:lnTo>
                      <a:lnTo>
                        <a:pt x="723" y="968"/>
                      </a:lnTo>
                      <a:lnTo>
                        <a:pt x="724" y="968"/>
                      </a:lnTo>
                      <a:lnTo>
                        <a:pt x="724" y="968"/>
                      </a:lnTo>
                      <a:lnTo>
                        <a:pt x="724" y="967"/>
                      </a:lnTo>
                      <a:lnTo>
                        <a:pt x="723" y="967"/>
                      </a:lnTo>
                      <a:lnTo>
                        <a:pt x="723" y="966"/>
                      </a:lnTo>
                      <a:lnTo>
                        <a:pt x="723" y="966"/>
                      </a:lnTo>
                      <a:lnTo>
                        <a:pt x="722" y="964"/>
                      </a:lnTo>
                      <a:lnTo>
                        <a:pt x="722" y="964"/>
                      </a:lnTo>
                      <a:lnTo>
                        <a:pt x="722" y="964"/>
                      </a:lnTo>
                      <a:lnTo>
                        <a:pt x="721" y="963"/>
                      </a:lnTo>
                      <a:lnTo>
                        <a:pt x="722" y="962"/>
                      </a:lnTo>
                      <a:lnTo>
                        <a:pt x="722" y="962"/>
                      </a:lnTo>
                      <a:lnTo>
                        <a:pt x="724" y="962"/>
                      </a:lnTo>
                      <a:lnTo>
                        <a:pt x="725" y="963"/>
                      </a:lnTo>
                      <a:lnTo>
                        <a:pt x="725" y="963"/>
                      </a:lnTo>
                      <a:lnTo>
                        <a:pt x="726" y="964"/>
                      </a:lnTo>
                      <a:lnTo>
                        <a:pt x="727" y="964"/>
                      </a:lnTo>
                      <a:lnTo>
                        <a:pt x="728" y="964"/>
                      </a:lnTo>
                      <a:lnTo>
                        <a:pt x="728" y="965"/>
                      </a:lnTo>
                      <a:lnTo>
                        <a:pt x="729" y="964"/>
                      </a:lnTo>
                      <a:lnTo>
                        <a:pt x="727" y="963"/>
                      </a:lnTo>
                      <a:lnTo>
                        <a:pt x="727" y="962"/>
                      </a:lnTo>
                      <a:lnTo>
                        <a:pt x="726" y="962"/>
                      </a:lnTo>
                      <a:lnTo>
                        <a:pt x="726" y="961"/>
                      </a:lnTo>
                      <a:lnTo>
                        <a:pt x="728" y="961"/>
                      </a:lnTo>
                      <a:lnTo>
                        <a:pt x="728" y="958"/>
                      </a:lnTo>
                      <a:lnTo>
                        <a:pt x="728" y="958"/>
                      </a:lnTo>
                      <a:lnTo>
                        <a:pt x="728" y="955"/>
                      </a:lnTo>
                      <a:lnTo>
                        <a:pt x="728" y="955"/>
                      </a:lnTo>
                      <a:lnTo>
                        <a:pt x="729" y="955"/>
                      </a:lnTo>
                      <a:lnTo>
                        <a:pt x="731" y="955"/>
                      </a:lnTo>
                      <a:lnTo>
                        <a:pt x="731" y="956"/>
                      </a:lnTo>
                      <a:lnTo>
                        <a:pt x="731" y="956"/>
                      </a:lnTo>
                      <a:lnTo>
                        <a:pt x="732" y="957"/>
                      </a:lnTo>
                      <a:lnTo>
                        <a:pt x="733" y="957"/>
                      </a:lnTo>
                      <a:lnTo>
                        <a:pt x="735" y="957"/>
                      </a:lnTo>
                      <a:lnTo>
                        <a:pt x="735" y="958"/>
                      </a:lnTo>
                      <a:lnTo>
                        <a:pt x="736" y="959"/>
                      </a:lnTo>
                      <a:lnTo>
                        <a:pt x="736" y="959"/>
                      </a:lnTo>
                      <a:lnTo>
                        <a:pt x="736" y="958"/>
                      </a:lnTo>
                      <a:lnTo>
                        <a:pt x="738" y="958"/>
                      </a:lnTo>
                      <a:lnTo>
                        <a:pt x="738" y="956"/>
                      </a:lnTo>
                      <a:lnTo>
                        <a:pt x="739" y="956"/>
                      </a:lnTo>
                      <a:lnTo>
                        <a:pt x="740" y="957"/>
                      </a:lnTo>
                      <a:lnTo>
                        <a:pt x="740" y="956"/>
                      </a:lnTo>
                      <a:lnTo>
                        <a:pt x="740" y="955"/>
                      </a:lnTo>
                      <a:lnTo>
                        <a:pt x="740" y="955"/>
                      </a:lnTo>
                      <a:lnTo>
                        <a:pt x="740" y="955"/>
                      </a:lnTo>
                      <a:lnTo>
                        <a:pt x="740" y="954"/>
                      </a:lnTo>
                      <a:lnTo>
                        <a:pt x="741" y="952"/>
                      </a:lnTo>
                      <a:lnTo>
                        <a:pt x="741" y="951"/>
                      </a:lnTo>
                      <a:lnTo>
                        <a:pt x="741" y="951"/>
                      </a:lnTo>
                      <a:lnTo>
                        <a:pt x="742" y="951"/>
                      </a:lnTo>
                      <a:lnTo>
                        <a:pt x="742" y="950"/>
                      </a:lnTo>
                      <a:lnTo>
                        <a:pt x="743" y="950"/>
                      </a:lnTo>
                      <a:lnTo>
                        <a:pt x="743" y="950"/>
                      </a:lnTo>
                      <a:lnTo>
                        <a:pt x="744" y="950"/>
                      </a:lnTo>
                      <a:lnTo>
                        <a:pt x="745" y="951"/>
                      </a:lnTo>
                      <a:lnTo>
                        <a:pt x="746" y="949"/>
                      </a:lnTo>
                      <a:lnTo>
                        <a:pt x="746" y="949"/>
                      </a:lnTo>
                      <a:lnTo>
                        <a:pt x="746" y="948"/>
                      </a:lnTo>
                      <a:lnTo>
                        <a:pt x="747" y="948"/>
                      </a:lnTo>
                      <a:lnTo>
                        <a:pt x="748" y="949"/>
                      </a:lnTo>
                      <a:lnTo>
                        <a:pt x="748" y="948"/>
                      </a:lnTo>
                      <a:lnTo>
                        <a:pt x="749" y="948"/>
                      </a:lnTo>
                      <a:lnTo>
                        <a:pt x="749" y="949"/>
                      </a:lnTo>
                      <a:lnTo>
                        <a:pt x="750" y="950"/>
                      </a:lnTo>
                      <a:lnTo>
                        <a:pt x="749" y="951"/>
                      </a:lnTo>
                      <a:lnTo>
                        <a:pt x="750" y="952"/>
                      </a:lnTo>
                      <a:lnTo>
                        <a:pt x="750" y="951"/>
                      </a:lnTo>
                      <a:lnTo>
                        <a:pt x="750" y="950"/>
                      </a:lnTo>
                      <a:lnTo>
                        <a:pt x="751" y="950"/>
                      </a:lnTo>
                      <a:lnTo>
                        <a:pt x="751" y="951"/>
                      </a:lnTo>
                      <a:lnTo>
                        <a:pt x="752" y="951"/>
                      </a:lnTo>
                      <a:lnTo>
                        <a:pt x="753" y="953"/>
                      </a:lnTo>
                      <a:lnTo>
                        <a:pt x="754" y="953"/>
                      </a:lnTo>
                      <a:lnTo>
                        <a:pt x="754" y="952"/>
                      </a:lnTo>
                      <a:lnTo>
                        <a:pt x="754" y="952"/>
                      </a:lnTo>
                      <a:lnTo>
                        <a:pt x="754" y="952"/>
                      </a:lnTo>
                      <a:lnTo>
                        <a:pt x="754" y="951"/>
                      </a:lnTo>
                      <a:lnTo>
                        <a:pt x="754" y="951"/>
                      </a:lnTo>
                      <a:lnTo>
                        <a:pt x="755" y="952"/>
                      </a:lnTo>
                      <a:lnTo>
                        <a:pt x="755" y="952"/>
                      </a:lnTo>
                      <a:lnTo>
                        <a:pt x="756" y="955"/>
                      </a:lnTo>
                      <a:lnTo>
                        <a:pt x="758" y="956"/>
                      </a:lnTo>
                      <a:lnTo>
                        <a:pt x="758" y="955"/>
                      </a:lnTo>
                      <a:lnTo>
                        <a:pt x="758" y="955"/>
                      </a:lnTo>
                      <a:lnTo>
                        <a:pt x="758" y="954"/>
                      </a:lnTo>
                      <a:lnTo>
                        <a:pt x="758" y="954"/>
                      </a:lnTo>
                      <a:lnTo>
                        <a:pt x="758" y="953"/>
                      </a:lnTo>
                      <a:lnTo>
                        <a:pt x="757" y="951"/>
                      </a:lnTo>
                      <a:lnTo>
                        <a:pt x="758" y="950"/>
                      </a:lnTo>
                      <a:lnTo>
                        <a:pt x="759" y="950"/>
                      </a:lnTo>
                      <a:lnTo>
                        <a:pt x="760" y="949"/>
                      </a:lnTo>
                      <a:lnTo>
                        <a:pt x="760" y="949"/>
                      </a:lnTo>
                      <a:lnTo>
                        <a:pt x="761" y="949"/>
                      </a:lnTo>
                      <a:lnTo>
                        <a:pt x="762" y="947"/>
                      </a:lnTo>
                      <a:lnTo>
                        <a:pt x="762" y="947"/>
                      </a:lnTo>
                      <a:lnTo>
                        <a:pt x="762" y="946"/>
                      </a:lnTo>
                      <a:lnTo>
                        <a:pt x="762" y="946"/>
                      </a:lnTo>
                      <a:lnTo>
                        <a:pt x="762" y="946"/>
                      </a:lnTo>
                      <a:lnTo>
                        <a:pt x="762" y="945"/>
                      </a:lnTo>
                      <a:lnTo>
                        <a:pt x="762" y="945"/>
                      </a:lnTo>
                      <a:lnTo>
                        <a:pt x="761" y="945"/>
                      </a:lnTo>
                      <a:lnTo>
                        <a:pt x="761" y="944"/>
                      </a:lnTo>
                      <a:lnTo>
                        <a:pt x="762" y="944"/>
                      </a:lnTo>
                      <a:lnTo>
                        <a:pt x="762" y="944"/>
                      </a:lnTo>
                      <a:lnTo>
                        <a:pt x="762" y="944"/>
                      </a:lnTo>
                      <a:lnTo>
                        <a:pt x="762" y="943"/>
                      </a:lnTo>
                      <a:lnTo>
                        <a:pt x="762" y="943"/>
                      </a:lnTo>
                      <a:lnTo>
                        <a:pt x="763" y="943"/>
                      </a:lnTo>
                      <a:lnTo>
                        <a:pt x="763" y="942"/>
                      </a:lnTo>
                      <a:lnTo>
                        <a:pt x="763" y="940"/>
                      </a:lnTo>
                      <a:lnTo>
                        <a:pt x="764" y="939"/>
                      </a:lnTo>
                      <a:lnTo>
                        <a:pt x="765" y="940"/>
                      </a:lnTo>
                      <a:lnTo>
                        <a:pt x="766" y="940"/>
                      </a:lnTo>
                      <a:lnTo>
                        <a:pt x="766" y="939"/>
                      </a:lnTo>
                      <a:lnTo>
                        <a:pt x="765" y="939"/>
                      </a:lnTo>
                      <a:lnTo>
                        <a:pt x="766" y="938"/>
                      </a:lnTo>
                      <a:lnTo>
                        <a:pt x="767" y="939"/>
                      </a:lnTo>
                      <a:lnTo>
                        <a:pt x="768" y="939"/>
                      </a:lnTo>
                      <a:lnTo>
                        <a:pt x="768" y="938"/>
                      </a:lnTo>
                      <a:lnTo>
                        <a:pt x="768" y="938"/>
                      </a:lnTo>
                      <a:lnTo>
                        <a:pt x="768" y="937"/>
                      </a:lnTo>
                      <a:lnTo>
                        <a:pt x="768" y="936"/>
                      </a:lnTo>
                      <a:lnTo>
                        <a:pt x="768" y="936"/>
                      </a:lnTo>
                      <a:lnTo>
                        <a:pt x="768" y="936"/>
                      </a:lnTo>
                      <a:lnTo>
                        <a:pt x="768" y="936"/>
                      </a:lnTo>
                      <a:lnTo>
                        <a:pt x="769" y="936"/>
                      </a:lnTo>
                      <a:lnTo>
                        <a:pt x="769" y="938"/>
                      </a:lnTo>
                      <a:lnTo>
                        <a:pt x="769" y="939"/>
                      </a:lnTo>
                      <a:lnTo>
                        <a:pt x="770" y="940"/>
                      </a:lnTo>
                      <a:lnTo>
                        <a:pt x="770" y="940"/>
                      </a:lnTo>
                      <a:lnTo>
                        <a:pt x="770" y="941"/>
                      </a:lnTo>
                      <a:lnTo>
                        <a:pt x="770" y="942"/>
                      </a:lnTo>
                      <a:lnTo>
                        <a:pt x="770" y="943"/>
                      </a:lnTo>
                      <a:lnTo>
                        <a:pt x="770" y="944"/>
                      </a:lnTo>
                      <a:lnTo>
                        <a:pt x="770" y="945"/>
                      </a:lnTo>
                      <a:lnTo>
                        <a:pt x="772" y="947"/>
                      </a:lnTo>
                      <a:lnTo>
                        <a:pt x="772" y="948"/>
                      </a:lnTo>
                      <a:lnTo>
                        <a:pt x="772" y="950"/>
                      </a:lnTo>
                      <a:lnTo>
                        <a:pt x="773" y="950"/>
                      </a:lnTo>
                      <a:lnTo>
                        <a:pt x="774" y="950"/>
                      </a:lnTo>
                      <a:lnTo>
                        <a:pt x="774" y="949"/>
                      </a:lnTo>
                      <a:lnTo>
                        <a:pt x="775" y="949"/>
                      </a:lnTo>
                      <a:lnTo>
                        <a:pt x="777" y="948"/>
                      </a:lnTo>
                      <a:lnTo>
                        <a:pt x="779" y="948"/>
                      </a:lnTo>
                      <a:lnTo>
                        <a:pt x="779" y="948"/>
                      </a:lnTo>
                      <a:lnTo>
                        <a:pt x="780" y="948"/>
                      </a:lnTo>
                      <a:lnTo>
                        <a:pt x="781" y="947"/>
                      </a:lnTo>
                      <a:lnTo>
                        <a:pt x="783" y="946"/>
                      </a:lnTo>
                      <a:lnTo>
                        <a:pt x="783" y="947"/>
                      </a:lnTo>
                      <a:lnTo>
                        <a:pt x="784" y="948"/>
                      </a:lnTo>
                      <a:lnTo>
                        <a:pt x="784" y="948"/>
                      </a:lnTo>
                      <a:lnTo>
                        <a:pt x="784" y="949"/>
                      </a:lnTo>
                      <a:lnTo>
                        <a:pt x="785" y="949"/>
                      </a:lnTo>
                      <a:lnTo>
                        <a:pt x="785" y="949"/>
                      </a:lnTo>
                      <a:lnTo>
                        <a:pt x="785" y="948"/>
                      </a:lnTo>
                      <a:lnTo>
                        <a:pt x="785" y="947"/>
                      </a:lnTo>
                      <a:lnTo>
                        <a:pt x="786" y="947"/>
                      </a:lnTo>
                      <a:lnTo>
                        <a:pt x="787" y="947"/>
                      </a:lnTo>
                      <a:lnTo>
                        <a:pt x="787" y="947"/>
                      </a:lnTo>
                      <a:lnTo>
                        <a:pt x="788" y="947"/>
                      </a:lnTo>
                      <a:lnTo>
                        <a:pt x="788" y="947"/>
                      </a:lnTo>
                      <a:lnTo>
                        <a:pt x="787" y="948"/>
                      </a:lnTo>
                      <a:lnTo>
                        <a:pt x="788" y="948"/>
                      </a:lnTo>
                      <a:lnTo>
                        <a:pt x="789" y="949"/>
                      </a:lnTo>
                      <a:lnTo>
                        <a:pt x="790" y="952"/>
                      </a:lnTo>
                      <a:lnTo>
                        <a:pt x="791" y="953"/>
                      </a:lnTo>
                      <a:lnTo>
                        <a:pt x="792" y="952"/>
                      </a:lnTo>
                      <a:lnTo>
                        <a:pt x="792" y="950"/>
                      </a:lnTo>
                      <a:lnTo>
                        <a:pt x="793" y="950"/>
                      </a:lnTo>
                      <a:lnTo>
                        <a:pt x="793" y="950"/>
                      </a:lnTo>
                      <a:lnTo>
                        <a:pt x="794" y="949"/>
                      </a:lnTo>
                      <a:lnTo>
                        <a:pt x="796" y="949"/>
                      </a:lnTo>
                      <a:lnTo>
                        <a:pt x="796" y="949"/>
                      </a:lnTo>
                      <a:lnTo>
                        <a:pt x="799" y="950"/>
                      </a:lnTo>
                      <a:lnTo>
                        <a:pt x="801" y="950"/>
                      </a:lnTo>
                      <a:lnTo>
                        <a:pt x="802" y="950"/>
                      </a:lnTo>
                      <a:lnTo>
                        <a:pt x="803" y="950"/>
                      </a:lnTo>
                      <a:lnTo>
                        <a:pt x="805" y="950"/>
                      </a:lnTo>
                      <a:lnTo>
                        <a:pt x="805" y="949"/>
                      </a:lnTo>
                      <a:lnTo>
                        <a:pt x="806" y="949"/>
                      </a:lnTo>
                      <a:lnTo>
                        <a:pt x="811" y="949"/>
                      </a:lnTo>
                      <a:lnTo>
                        <a:pt x="815" y="947"/>
                      </a:lnTo>
                      <a:lnTo>
                        <a:pt x="817" y="947"/>
                      </a:lnTo>
                      <a:lnTo>
                        <a:pt x="817" y="949"/>
                      </a:lnTo>
                      <a:lnTo>
                        <a:pt x="817" y="949"/>
                      </a:lnTo>
                      <a:lnTo>
                        <a:pt x="817" y="950"/>
                      </a:lnTo>
                      <a:lnTo>
                        <a:pt x="817" y="950"/>
                      </a:lnTo>
                      <a:lnTo>
                        <a:pt x="818" y="951"/>
                      </a:lnTo>
                      <a:lnTo>
                        <a:pt x="820" y="951"/>
                      </a:lnTo>
                      <a:lnTo>
                        <a:pt x="820" y="950"/>
                      </a:lnTo>
                      <a:lnTo>
                        <a:pt x="820" y="949"/>
                      </a:lnTo>
                      <a:lnTo>
                        <a:pt x="820" y="948"/>
                      </a:lnTo>
                      <a:lnTo>
                        <a:pt x="821" y="946"/>
                      </a:lnTo>
                      <a:lnTo>
                        <a:pt x="822" y="946"/>
                      </a:lnTo>
                      <a:lnTo>
                        <a:pt x="823" y="945"/>
                      </a:lnTo>
                      <a:lnTo>
                        <a:pt x="823" y="945"/>
                      </a:lnTo>
                      <a:lnTo>
                        <a:pt x="825" y="944"/>
                      </a:lnTo>
                      <a:lnTo>
                        <a:pt x="826" y="943"/>
                      </a:lnTo>
                      <a:lnTo>
                        <a:pt x="827" y="943"/>
                      </a:lnTo>
                      <a:lnTo>
                        <a:pt x="830" y="938"/>
                      </a:lnTo>
                      <a:lnTo>
                        <a:pt x="834" y="936"/>
                      </a:lnTo>
                      <a:lnTo>
                        <a:pt x="837" y="934"/>
                      </a:lnTo>
                      <a:lnTo>
                        <a:pt x="838" y="934"/>
                      </a:lnTo>
                      <a:lnTo>
                        <a:pt x="839" y="933"/>
                      </a:lnTo>
                      <a:lnTo>
                        <a:pt x="840" y="933"/>
                      </a:lnTo>
                      <a:lnTo>
                        <a:pt x="841" y="933"/>
                      </a:lnTo>
                      <a:lnTo>
                        <a:pt x="841" y="931"/>
                      </a:lnTo>
                      <a:lnTo>
                        <a:pt x="842" y="930"/>
                      </a:lnTo>
                      <a:lnTo>
                        <a:pt x="843" y="929"/>
                      </a:lnTo>
                      <a:lnTo>
                        <a:pt x="843" y="929"/>
                      </a:lnTo>
                      <a:lnTo>
                        <a:pt x="847" y="927"/>
                      </a:lnTo>
                      <a:lnTo>
                        <a:pt x="847" y="927"/>
                      </a:lnTo>
                      <a:lnTo>
                        <a:pt x="848" y="929"/>
                      </a:lnTo>
                      <a:lnTo>
                        <a:pt x="849" y="929"/>
                      </a:lnTo>
                      <a:lnTo>
                        <a:pt x="849" y="930"/>
                      </a:lnTo>
                      <a:lnTo>
                        <a:pt x="852" y="930"/>
                      </a:lnTo>
                      <a:lnTo>
                        <a:pt x="855" y="930"/>
                      </a:lnTo>
                      <a:lnTo>
                        <a:pt x="857" y="930"/>
                      </a:lnTo>
                      <a:lnTo>
                        <a:pt x="860" y="929"/>
                      </a:lnTo>
                      <a:lnTo>
                        <a:pt x="861" y="929"/>
                      </a:lnTo>
                      <a:lnTo>
                        <a:pt x="865" y="928"/>
                      </a:lnTo>
                      <a:lnTo>
                        <a:pt x="866" y="927"/>
                      </a:lnTo>
                      <a:lnTo>
                        <a:pt x="870" y="927"/>
                      </a:lnTo>
                      <a:lnTo>
                        <a:pt x="871" y="928"/>
                      </a:lnTo>
                      <a:lnTo>
                        <a:pt x="870" y="930"/>
                      </a:lnTo>
                      <a:lnTo>
                        <a:pt x="870" y="931"/>
                      </a:lnTo>
                      <a:lnTo>
                        <a:pt x="869" y="931"/>
                      </a:lnTo>
                      <a:lnTo>
                        <a:pt x="869" y="932"/>
                      </a:lnTo>
                      <a:lnTo>
                        <a:pt x="868" y="932"/>
                      </a:lnTo>
                      <a:lnTo>
                        <a:pt x="868" y="933"/>
                      </a:lnTo>
                      <a:lnTo>
                        <a:pt x="867" y="933"/>
                      </a:lnTo>
                      <a:lnTo>
                        <a:pt x="868" y="934"/>
                      </a:lnTo>
                      <a:lnTo>
                        <a:pt x="868" y="935"/>
                      </a:lnTo>
                      <a:lnTo>
                        <a:pt x="869" y="936"/>
                      </a:lnTo>
                      <a:lnTo>
                        <a:pt x="870" y="936"/>
                      </a:lnTo>
                      <a:lnTo>
                        <a:pt x="872" y="936"/>
                      </a:lnTo>
                      <a:lnTo>
                        <a:pt x="873" y="938"/>
                      </a:lnTo>
                      <a:lnTo>
                        <a:pt x="875" y="937"/>
                      </a:lnTo>
                      <a:lnTo>
                        <a:pt x="874" y="937"/>
                      </a:lnTo>
                      <a:lnTo>
                        <a:pt x="875" y="936"/>
                      </a:lnTo>
                      <a:lnTo>
                        <a:pt x="875" y="937"/>
                      </a:lnTo>
                      <a:lnTo>
                        <a:pt x="876" y="937"/>
                      </a:lnTo>
                      <a:lnTo>
                        <a:pt x="876" y="935"/>
                      </a:lnTo>
                      <a:lnTo>
                        <a:pt x="876" y="935"/>
                      </a:lnTo>
                      <a:lnTo>
                        <a:pt x="877" y="935"/>
                      </a:lnTo>
                      <a:lnTo>
                        <a:pt x="880" y="933"/>
                      </a:lnTo>
                      <a:lnTo>
                        <a:pt x="883" y="932"/>
                      </a:lnTo>
                      <a:lnTo>
                        <a:pt x="888" y="932"/>
                      </a:lnTo>
                      <a:lnTo>
                        <a:pt x="889" y="932"/>
                      </a:lnTo>
                      <a:lnTo>
                        <a:pt x="889" y="933"/>
                      </a:lnTo>
                      <a:lnTo>
                        <a:pt x="889" y="933"/>
                      </a:lnTo>
                      <a:lnTo>
                        <a:pt x="890" y="932"/>
                      </a:lnTo>
                      <a:lnTo>
                        <a:pt x="891" y="932"/>
                      </a:lnTo>
                      <a:lnTo>
                        <a:pt x="892" y="932"/>
                      </a:lnTo>
                      <a:lnTo>
                        <a:pt x="892" y="932"/>
                      </a:lnTo>
                      <a:lnTo>
                        <a:pt x="892" y="932"/>
                      </a:lnTo>
                      <a:lnTo>
                        <a:pt x="893" y="932"/>
                      </a:lnTo>
                      <a:lnTo>
                        <a:pt x="894" y="932"/>
                      </a:lnTo>
                      <a:lnTo>
                        <a:pt x="894" y="934"/>
                      </a:lnTo>
                      <a:lnTo>
                        <a:pt x="892" y="934"/>
                      </a:lnTo>
                      <a:lnTo>
                        <a:pt x="892" y="935"/>
                      </a:lnTo>
                      <a:lnTo>
                        <a:pt x="893" y="935"/>
                      </a:lnTo>
                      <a:lnTo>
                        <a:pt x="894" y="935"/>
                      </a:lnTo>
                      <a:lnTo>
                        <a:pt x="894" y="935"/>
                      </a:lnTo>
                      <a:lnTo>
                        <a:pt x="894" y="935"/>
                      </a:lnTo>
                      <a:lnTo>
                        <a:pt x="894" y="935"/>
                      </a:lnTo>
                      <a:lnTo>
                        <a:pt x="895" y="935"/>
                      </a:lnTo>
                      <a:lnTo>
                        <a:pt x="895" y="935"/>
                      </a:lnTo>
                      <a:lnTo>
                        <a:pt x="896" y="935"/>
                      </a:lnTo>
                      <a:lnTo>
                        <a:pt x="898" y="935"/>
                      </a:lnTo>
                      <a:lnTo>
                        <a:pt x="899" y="935"/>
                      </a:lnTo>
                      <a:lnTo>
                        <a:pt x="901" y="935"/>
                      </a:lnTo>
                      <a:lnTo>
                        <a:pt x="902" y="936"/>
                      </a:lnTo>
                      <a:lnTo>
                        <a:pt x="904" y="938"/>
                      </a:lnTo>
                      <a:lnTo>
                        <a:pt x="905" y="939"/>
                      </a:lnTo>
                      <a:lnTo>
                        <a:pt x="906" y="938"/>
                      </a:lnTo>
                      <a:lnTo>
                        <a:pt x="907" y="938"/>
                      </a:lnTo>
                      <a:lnTo>
                        <a:pt x="907" y="937"/>
                      </a:lnTo>
                      <a:lnTo>
                        <a:pt x="909" y="936"/>
                      </a:lnTo>
                      <a:lnTo>
                        <a:pt x="909" y="934"/>
                      </a:lnTo>
                      <a:lnTo>
                        <a:pt x="909" y="934"/>
                      </a:lnTo>
                      <a:lnTo>
                        <a:pt x="910" y="932"/>
                      </a:lnTo>
                      <a:lnTo>
                        <a:pt x="910" y="931"/>
                      </a:lnTo>
                      <a:lnTo>
                        <a:pt x="910" y="930"/>
                      </a:lnTo>
                      <a:lnTo>
                        <a:pt x="910" y="929"/>
                      </a:lnTo>
                      <a:lnTo>
                        <a:pt x="909" y="929"/>
                      </a:lnTo>
                      <a:lnTo>
                        <a:pt x="909" y="929"/>
                      </a:lnTo>
                      <a:lnTo>
                        <a:pt x="908" y="929"/>
                      </a:lnTo>
                      <a:lnTo>
                        <a:pt x="907" y="929"/>
                      </a:lnTo>
                      <a:lnTo>
                        <a:pt x="907" y="928"/>
                      </a:lnTo>
                      <a:lnTo>
                        <a:pt x="905" y="928"/>
                      </a:lnTo>
                      <a:lnTo>
                        <a:pt x="905" y="926"/>
                      </a:lnTo>
                      <a:lnTo>
                        <a:pt x="903" y="926"/>
                      </a:lnTo>
                      <a:lnTo>
                        <a:pt x="902" y="925"/>
                      </a:lnTo>
                      <a:lnTo>
                        <a:pt x="897" y="921"/>
                      </a:lnTo>
                      <a:lnTo>
                        <a:pt x="896" y="919"/>
                      </a:lnTo>
                      <a:lnTo>
                        <a:pt x="897" y="918"/>
                      </a:lnTo>
                      <a:lnTo>
                        <a:pt x="896" y="917"/>
                      </a:lnTo>
                      <a:lnTo>
                        <a:pt x="897" y="917"/>
                      </a:lnTo>
                      <a:lnTo>
                        <a:pt x="897" y="916"/>
                      </a:lnTo>
                      <a:lnTo>
                        <a:pt x="898" y="912"/>
                      </a:lnTo>
                      <a:lnTo>
                        <a:pt x="898" y="911"/>
                      </a:lnTo>
                      <a:lnTo>
                        <a:pt x="898" y="911"/>
                      </a:lnTo>
                      <a:lnTo>
                        <a:pt x="899" y="911"/>
                      </a:lnTo>
                      <a:lnTo>
                        <a:pt x="900" y="909"/>
                      </a:lnTo>
                      <a:lnTo>
                        <a:pt x="901" y="909"/>
                      </a:lnTo>
                      <a:lnTo>
                        <a:pt x="901" y="909"/>
                      </a:lnTo>
                      <a:lnTo>
                        <a:pt x="902" y="908"/>
                      </a:lnTo>
                      <a:lnTo>
                        <a:pt x="904" y="907"/>
                      </a:lnTo>
                      <a:lnTo>
                        <a:pt x="905" y="907"/>
                      </a:lnTo>
                      <a:lnTo>
                        <a:pt x="907" y="908"/>
                      </a:lnTo>
                      <a:lnTo>
                        <a:pt x="908" y="910"/>
                      </a:lnTo>
                      <a:lnTo>
                        <a:pt x="909" y="912"/>
                      </a:lnTo>
                      <a:lnTo>
                        <a:pt x="909" y="913"/>
                      </a:lnTo>
                      <a:lnTo>
                        <a:pt x="910" y="914"/>
                      </a:lnTo>
                      <a:lnTo>
                        <a:pt x="911" y="916"/>
                      </a:lnTo>
                      <a:lnTo>
                        <a:pt x="911" y="916"/>
                      </a:lnTo>
                      <a:lnTo>
                        <a:pt x="911" y="916"/>
                      </a:lnTo>
                      <a:lnTo>
                        <a:pt x="911" y="916"/>
                      </a:lnTo>
                      <a:lnTo>
                        <a:pt x="911" y="917"/>
                      </a:lnTo>
                      <a:lnTo>
                        <a:pt x="912" y="917"/>
                      </a:lnTo>
                      <a:lnTo>
                        <a:pt x="913" y="916"/>
                      </a:lnTo>
                      <a:lnTo>
                        <a:pt x="915" y="917"/>
                      </a:lnTo>
                      <a:lnTo>
                        <a:pt x="915" y="916"/>
                      </a:lnTo>
                      <a:lnTo>
                        <a:pt x="916" y="916"/>
                      </a:lnTo>
                      <a:lnTo>
                        <a:pt x="917" y="916"/>
                      </a:lnTo>
                      <a:lnTo>
                        <a:pt x="917" y="917"/>
                      </a:lnTo>
                      <a:lnTo>
                        <a:pt x="918" y="917"/>
                      </a:lnTo>
                      <a:lnTo>
                        <a:pt x="918" y="917"/>
                      </a:lnTo>
                      <a:lnTo>
                        <a:pt x="918" y="919"/>
                      </a:lnTo>
                      <a:lnTo>
                        <a:pt x="922" y="918"/>
                      </a:lnTo>
                      <a:lnTo>
                        <a:pt x="923" y="918"/>
                      </a:lnTo>
                      <a:lnTo>
                        <a:pt x="924" y="917"/>
                      </a:lnTo>
                      <a:lnTo>
                        <a:pt x="925" y="916"/>
                      </a:lnTo>
                      <a:lnTo>
                        <a:pt x="926" y="916"/>
                      </a:lnTo>
                      <a:lnTo>
                        <a:pt x="925" y="915"/>
                      </a:lnTo>
                      <a:lnTo>
                        <a:pt x="926" y="915"/>
                      </a:lnTo>
                      <a:lnTo>
                        <a:pt x="927" y="915"/>
                      </a:lnTo>
                      <a:lnTo>
                        <a:pt x="927" y="915"/>
                      </a:lnTo>
                      <a:lnTo>
                        <a:pt x="927" y="915"/>
                      </a:lnTo>
                      <a:lnTo>
                        <a:pt x="929" y="916"/>
                      </a:lnTo>
                      <a:lnTo>
                        <a:pt x="931" y="915"/>
                      </a:lnTo>
                      <a:lnTo>
                        <a:pt x="932" y="915"/>
                      </a:lnTo>
                      <a:lnTo>
                        <a:pt x="934" y="915"/>
                      </a:lnTo>
                      <a:lnTo>
                        <a:pt x="934" y="916"/>
                      </a:lnTo>
                      <a:lnTo>
                        <a:pt x="934" y="916"/>
                      </a:lnTo>
                      <a:lnTo>
                        <a:pt x="934" y="916"/>
                      </a:lnTo>
                      <a:lnTo>
                        <a:pt x="935" y="916"/>
                      </a:lnTo>
                      <a:lnTo>
                        <a:pt x="936" y="916"/>
                      </a:lnTo>
                      <a:lnTo>
                        <a:pt x="936" y="916"/>
                      </a:lnTo>
                      <a:lnTo>
                        <a:pt x="937" y="915"/>
                      </a:lnTo>
                      <a:lnTo>
                        <a:pt x="937" y="915"/>
                      </a:lnTo>
                      <a:lnTo>
                        <a:pt x="937" y="914"/>
                      </a:lnTo>
                      <a:lnTo>
                        <a:pt x="942" y="914"/>
                      </a:lnTo>
                      <a:lnTo>
                        <a:pt x="942" y="914"/>
                      </a:lnTo>
                      <a:lnTo>
                        <a:pt x="943" y="913"/>
                      </a:lnTo>
                      <a:lnTo>
                        <a:pt x="944" y="913"/>
                      </a:lnTo>
                      <a:lnTo>
                        <a:pt x="945" y="914"/>
                      </a:lnTo>
                      <a:lnTo>
                        <a:pt x="946" y="916"/>
                      </a:lnTo>
                      <a:lnTo>
                        <a:pt x="946" y="916"/>
                      </a:lnTo>
                      <a:lnTo>
                        <a:pt x="946" y="915"/>
                      </a:lnTo>
                      <a:lnTo>
                        <a:pt x="947" y="916"/>
                      </a:lnTo>
                      <a:lnTo>
                        <a:pt x="947" y="916"/>
                      </a:lnTo>
                      <a:lnTo>
                        <a:pt x="948" y="919"/>
                      </a:lnTo>
                      <a:lnTo>
                        <a:pt x="948" y="919"/>
                      </a:lnTo>
                      <a:lnTo>
                        <a:pt x="949" y="920"/>
                      </a:lnTo>
                      <a:lnTo>
                        <a:pt x="949" y="921"/>
                      </a:lnTo>
                      <a:lnTo>
                        <a:pt x="950" y="921"/>
                      </a:lnTo>
                      <a:lnTo>
                        <a:pt x="950" y="921"/>
                      </a:lnTo>
                      <a:lnTo>
                        <a:pt x="952" y="921"/>
                      </a:lnTo>
                      <a:lnTo>
                        <a:pt x="952" y="921"/>
                      </a:lnTo>
                      <a:lnTo>
                        <a:pt x="954" y="921"/>
                      </a:lnTo>
                      <a:lnTo>
                        <a:pt x="956" y="919"/>
                      </a:lnTo>
                      <a:lnTo>
                        <a:pt x="960" y="920"/>
                      </a:lnTo>
                      <a:lnTo>
                        <a:pt x="961" y="919"/>
                      </a:lnTo>
                      <a:lnTo>
                        <a:pt x="962" y="918"/>
                      </a:lnTo>
                      <a:lnTo>
                        <a:pt x="962" y="918"/>
                      </a:lnTo>
                      <a:lnTo>
                        <a:pt x="965" y="918"/>
                      </a:lnTo>
                      <a:lnTo>
                        <a:pt x="970" y="919"/>
                      </a:lnTo>
                      <a:lnTo>
                        <a:pt x="972" y="918"/>
                      </a:lnTo>
                      <a:lnTo>
                        <a:pt x="972" y="918"/>
                      </a:lnTo>
                      <a:lnTo>
                        <a:pt x="973" y="917"/>
                      </a:lnTo>
                      <a:lnTo>
                        <a:pt x="976" y="919"/>
                      </a:lnTo>
                      <a:lnTo>
                        <a:pt x="976" y="918"/>
                      </a:lnTo>
                      <a:lnTo>
                        <a:pt x="977" y="918"/>
                      </a:lnTo>
                      <a:lnTo>
                        <a:pt x="979" y="919"/>
                      </a:lnTo>
                      <a:lnTo>
                        <a:pt x="979" y="919"/>
                      </a:lnTo>
                      <a:lnTo>
                        <a:pt x="979" y="921"/>
                      </a:lnTo>
                      <a:lnTo>
                        <a:pt x="977" y="921"/>
                      </a:lnTo>
                      <a:lnTo>
                        <a:pt x="977" y="922"/>
                      </a:lnTo>
                      <a:lnTo>
                        <a:pt x="977" y="924"/>
                      </a:lnTo>
                      <a:lnTo>
                        <a:pt x="976" y="925"/>
                      </a:lnTo>
                      <a:lnTo>
                        <a:pt x="976" y="928"/>
                      </a:lnTo>
                      <a:lnTo>
                        <a:pt x="976" y="930"/>
                      </a:lnTo>
                      <a:lnTo>
                        <a:pt x="976" y="932"/>
                      </a:lnTo>
                      <a:lnTo>
                        <a:pt x="976" y="933"/>
                      </a:lnTo>
                      <a:lnTo>
                        <a:pt x="976" y="934"/>
                      </a:lnTo>
                      <a:lnTo>
                        <a:pt x="975" y="936"/>
                      </a:lnTo>
                      <a:lnTo>
                        <a:pt x="975" y="938"/>
                      </a:lnTo>
                      <a:lnTo>
                        <a:pt x="974" y="939"/>
                      </a:lnTo>
                      <a:lnTo>
                        <a:pt x="971" y="939"/>
                      </a:lnTo>
                      <a:lnTo>
                        <a:pt x="970" y="940"/>
                      </a:lnTo>
                      <a:lnTo>
                        <a:pt x="969" y="940"/>
                      </a:lnTo>
                      <a:lnTo>
                        <a:pt x="969" y="942"/>
                      </a:lnTo>
                      <a:lnTo>
                        <a:pt x="970" y="942"/>
                      </a:lnTo>
                      <a:lnTo>
                        <a:pt x="970" y="943"/>
                      </a:lnTo>
                      <a:lnTo>
                        <a:pt x="971" y="945"/>
                      </a:lnTo>
                      <a:lnTo>
                        <a:pt x="970" y="949"/>
                      </a:lnTo>
                      <a:lnTo>
                        <a:pt x="970" y="952"/>
                      </a:lnTo>
                      <a:lnTo>
                        <a:pt x="969" y="952"/>
                      </a:lnTo>
                      <a:lnTo>
                        <a:pt x="968" y="953"/>
                      </a:lnTo>
                      <a:lnTo>
                        <a:pt x="967" y="955"/>
                      </a:lnTo>
                      <a:lnTo>
                        <a:pt x="967" y="957"/>
                      </a:lnTo>
                      <a:lnTo>
                        <a:pt x="966" y="958"/>
                      </a:lnTo>
                      <a:lnTo>
                        <a:pt x="966" y="958"/>
                      </a:lnTo>
                      <a:lnTo>
                        <a:pt x="964" y="961"/>
                      </a:lnTo>
                      <a:lnTo>
                        <a:pt x="963" y="962"/>
                      </a:lnTo>
                      <a:lnTo>
                        <a:pt x="962" y="963"/>
                      </a:lnTo>
                      <a:lnTo>
                        <a:pt x="962" y="964"/>
                      </a:lnTo>
                      <a:lnTo>
                        <a:pt x="961" y="965"/>
                      </a:lnTo>
                      <a:lnTo>
                        <a:pt x="959" y="965"/>
                      </a:lnTo>
                      <a:lnTo>
                        <a:pt x="957" y="968"/>
                      </a:lnTo>
                      <a:lnTo>
                        <a:pt x="956" y="971"/>
                      </a:lnTo>
                      <a:lnTo>
                        <a:pt x="955" y="975"/>
                      </a:lnTo>
                      <a:lnTo>
                        <a:pt x="956" y="977"/>
                      </a:lnTo>
                      <a:lnTo>
                        <a:pt x="957" y="983"/>
                      </a:lnTo>
                      <a:lnTo>
                        <a:pt x="959" y="986"/>
                      </a:lnTo>
                      <a:lnTo>
                        <a:pt x="961" y="987"/>
                      </a:lnTo>
                      <a:lnTo>
                        <a:pt x="962" y="988"/>
                      </a:lnTo>
                      <a:lnTo>
                        <a:pt x="963" y="988"/>
                      </a:lnTo>
                      <a:lnTo>
                        <a:pt x="963" y="988"/>
                      </a:lnTo>
                      <a:lnTo>
                        <a:pt x="967" y="987"/>
                      </a:lnTo>
                      <a:lnTo>
                        <a:pt x="968" y="987"/>
                      </a:lnTo>
                      <a:lnTo>
                        <a:pt x="971" y="986"/>
                      </a:lnTo>
                      <a:lnTo>
                        <a:pt x="972" y="986"/>
                      </a:lnTo>
                      <a:lnTo>
                        <a:pt x="974" y="985"/>
                      </a:lnTo>
                      <a:lnTo>
                        <a:pt x="974" y="987"/>
                      </a:lnTo>
                      <a:lnTo>
                        <a:pt x="974" y="990"/>
                      </a:lnTo>
                      <a:lnTo>
                        <a:pt x="973" y="994"/>
                      </a:lnTo>
                      <a:lnTo>
                        <a:pt x="974" y="997"/>
                      </a:lnTo>
                      <a:lnTo>
                        <a:pt x="973" y="1000"/>
                      </a:lnTo>
                      <a:lnTo>
                        <a:pt x="973" y="1000"/>
                      </a:lnTo>
                      <a:lnTo>
                        <a:pt x="972" y="1000"/>
                      </a:lnTo>
                      <a:lnTo>
                        <a:pt x="972" y="1000"/>
                      </a:lnTo>
                      <a:lnTo>
                        <a:pt x="971" y="1000"/>
                      </a:lnTo>
                      <a:lnTo>
                        <a:pt x="972" y="1001"/>
                      </a:lnTo>
                      <a:lnTo>
                        <a:pt x="972" y="1002"/>
                      </a:lnTo>
                      <a:lnTo>
                        <a:pt x="966" y="1001"/>
                      </a:lnTo>
                      <a:lnTo>
                        <a:pt x="967" y="1002"/>
                      </a:lnTo>
                      <a:lnTo>
                        <a:pt x="967" y="1002"/>
                      </a:lnTo>
                      <a:lnTo>
                        <a:pt x="967" y="1003"/>
                      </a:lnTo>
                      <a:lnTo>
                        <a:pt x="969" y="1005"/>
                      </a:lnTo>
                      <a:lnTo>
                        <a:pt x="970" y="1006"/>
                      </a:lnTo>
                      <a:lnTo>
                        <a:pt x="970" y="1007"/>
                      </a:lnTo>
                      <a:lnTo>
                        <a:pt x="969" y="1008"/>
                      </a:lnTo>
                      <a:lnTo>
                        <a:pt x="968" y="1009"/>
                      </a:lnTo>
                      <a:lnTo>
                        <a:pt x="967" y="1010"/>
                      </a:lnTo>
                      <a:lnTo>
                        <a:pt x="967" y="1011"/>
                      </a:lnTo>
                      <a:lnTo>
                        <a:pt x="967" y="1012"/>
                      </a:lnTo>
                      <a:lnTo>
                        <a:pt x="966" y="1015"/>
                      </a:lnTo>
                      <a:lnTo>
                        <a:pt x="965" y="1017"/>
                      </a:lnTo>
                      <a:lnTo>
                        <a:pt x="964" y="1019"/>
                      </a:lnTo>
                      <a:lnTo>
                        <a:pt x="963" y="1020"/>
                      </a:lnTo>
                      <a:lnTo>
                        <a:pt x="964" y="1020"/>
                      </a:lnTo>
                      <a:lnTo>
                        <a:pt x="964" y="1023"/>
                      </a:lnTo>
                      <a:lnTo>
                        <a:pt x="962" y="1026"/>
                      </a:lnTo>
                      <a:lnTo>
                        <a:pt x="962" y="1029"/>
                      </a:lnTo>
                      <a:lnTo>
                        <a:pt x="962" y="1029"/>
                      </a:lnTo>
                      <a:lnTo>
                        <a:pt x="960" y="1031"/>
                      </a:lnTo>
                      <a:lnTo>
                        <a:pt x="959" y="1032"/>
                      </a:lnTo>
                      <a:lnTo>
                        <a:pt x="957" y="1033"/>
                      </a:lnTo>
                      <a:lnTo>
                        <a:pt x="956" y="1034"/>
                      </a:lnTo>
                      <a:lnTo>
                        <a:pt x="956" y="1034"/>
                      </a:lnTo>
                      <a:lnTo>
                        <a:pt x="954" y="1035"/>
                      </a:lnTo>
                      <a:lnTo>
                        <a:pt x="953" y="1038"/>
                      </a:lnTo>
                      <a:lnTo>
                        <a:pt x="952" y="1038"/>
                      </a:lnTo>
                      <a:lnTo>
                        <a:pt x="952" y="1038"/>
                      </a:lnTo>
                      <a:lnTo>
                        <a:pt x="952" y="1038"/>
                      </a:lnTo>
                      <a:lnTo>
                        <a:pt x="951" y="1040"/>
                      </a:lnTo>
                      <a:lnTo>
                        <a:pt x="951" y="1040"/>
                      </a:lnTo>
                      <a:lnTo>
                        <a:pt x="950" y="1041"/>
                      </a:lnTo>
                      <a:lnTo>
                        <a:pt x="950" y="1042"/>
                      </a:lnTo>
                      <a:lnTo>
                        <a:pt x="948" y="1043"/>
                      </a:lnTo>
                      <a:lnTo>
                        <a:pt x="948" y="1044"/>
                      </a:lnTo>
                      <a:lnTo>
                        <a:pt x="946" y="1045"/>
                      </a:lnTo>
                      <a:lnTo>
                        <a:pt x="945" y="1046"/>
                      </a:lnTo>
                      <a:lnTo>
                        <a:pt x="945" y="1047"/>
                      </a:lnTo>
                      <a:lnTo>
                        <a:pt x="944" y="1047"/>
                      </a:lnTo>
                      <a:lnTo>
                        <a:pt x="944" y="1048"/>
                      </a:lnTo>
                      <a:lnTo>
                        <a:pt x="944" y="1049"/>
                      </a:lnTo>
                      <a:lnTo>
                        <a:pt x="943" y="1050"/>
                      </a:lnTo>
                      <a:lnTo>
                        <a:pt x="941" y="1052"/>
                      </a:lnTo>
                      <a:lnTo>
                        <a:pt x="940" y="1053"/>
                      </a:lnTo>
                      <a:lnTo>
                        <a:pt x="938" y="1055"/>
                      </a:lnTo>
                      <a:lnTo>
                        <a:pt x="937" y="1056"/>
                      </a:lnTo>
                      <a:lnTo>
                        <a:pt x="936" y="1056"/>
                      </a:lnTo>
                      <a:lnTo>
                        <a:pt x="936" y="1057"/>
                      </a:lnTo>
                      <a:lnTo>
                        <a:pt x="934" y="1057"/>
                      </a:lnTo>
                      <a:lnTo>
                        <a:pt x="934" y="1057"/>
                      </a:lnTo>
                      <a:lnTo>
                        <a:pt x="933" y="1058"/>
                      </a:lnTo>
                      <a:lnTo>
                        <a:pt x="933" y="1058"/>
                      </a:lnTo>
                      <a:lnTo>
                        <a:pt x="930" y="1059"/>
                      </a:lnTo>
                      <a:lnTo>
                        <a:pt x="930" y="1058"/>
                      </a:lnTo>
                      <a:lnTo>
                        <a:pt x="927" y="1059"/>
                      </a:lnTo>
                      <a:lnTo>
                        <a:pt x="926" y="1059"/>
                      </a:lnTo>
                      <a:lnTo>
                        <a:pt x="926" y="1059"/>
                      </a:lnTo>
                      <a:lnTo>
                        <a:pt x="925" y="1060"/>
                      </a:lnTo>
                      <a:lnTo>
                        <a:pt x="924" y="1060"/>
                      </a:lnTo>
                      <a:lnTo>
                        <a:pt x="923" y="1060"/>
                      </a:lnTo>
                      <a:lnTo>
                        <a:pt x="923" y="1062"/>
                      </a:lnTo>
                      <a:lnTo>
                        <a:pt x="922" y="1062"/>
                      </a:lnTo>
                      <a:lnTo>
                        <a:pt x="916" y="1063"/>
                      </a:lnTo>
                      <a:lnTo>
                        <a:pt x="914" y="1063"/>
                      </a:lnTo>
                      <a:lnTo>
                        <a:pt x="914" y="1064"/>
                      </a:lnTo>
                      <a:lnTo>
                        <a:pt x="915" y="1065"/>
                      </a:lnTo>
                      <a:lnTo>
                        <a:pt x="914" y="1065"/>
                      </a:lnTo>
                      <a:lnTo>
                        <a:pt x="914" y="1065"/>
                      </a:lnTo>
                      <a:lnTo>
                        <a:pt x="912" y="1066"/>
                      </a:lnTo>
                      <a:lnTo>
                        <a:pt x="910" y="1066"/>
                      </a:lnTo>
                      <a:lnTo>
                        <a:pt x="906" y="1068"/>
                      </a:lnTo>
                      <a:lnTo>
                        <a:pt x="903" y="1070"/>
                      </a:lnTo>
                      <a:lnTo>
                        <a:pt x="902" y="1072"/>
                      </a:lnTo>
                      <a:lnTo>
                        <a:pt x="901" y="1072"/>
                      </a:lnTo>
                      <a:lnTo>
                        <a:pt x="901" y="1073"/>
                      </a:lnTo>
                      <a:lnTo>
                        <a:pt x="900" y="1075"/>
                      </a:lnTo>
                      <a:lnTo>
                        <a:pt x="900" y="1076"/>
                      </a:lnTo>
                      <a:lnTo>
                        <a:pt x="898" y="1078"/>
                      </a:lnTo>
                      <a:lnTo>
                        <a:pt x="897" y="1080"/>
                      </a:lnTo>
                      <a:lnTo>
                        <a:pt x="896" y="1080"/>
                      </a:lnTo>
                      <a:lnTo>
                        <a:pt x="894" y="1080"/>
                      </a:lnTo>
                      <a:lnTo>
                        <a:pt x="894" y="1083"/>
                      </a:lnTo>
                      <a:lnTo>
                        <a:pt x="892" y="1086"/>
                      </a:lnTo>
                      <a:lnTo>
                        <a:pt x="892" y="1087"/>
                      </a:lnTo>
                      <a:lnTo>
                        <a:pt x="892" y="1087"/>
                      </a:lnTo>
                      <a:lnTo>
                        <a:pt x="891" y="1088"/>
                      </a:lnTo>
                      <a:lnTo>
                        <a:pt x="890" y="1089"/>
                      </a:lnTo>
                      <a:lnTo>
                        <a:pt x="888" y="1090"/>
                      </a:lnTo>
                      <a:lnTo>
                        <a:pt x="888" y="1092"/>
                      </a:lnTo>
                      <a:lnTo>
                        <a:pt x="888" y="1092"/>
                      </a:lnTo>
                      <a:lnTo>
                        <a:pt x="887" y="1094"/>
                      </a:lnTo>
                      <a:lnTo>
                        <a:pt x="887" y="1094"/>
                      </a:lnTo>
                      <a:lnTo>
                        <a:pt x="887" y="1094"/>
                      </a:lnTo>
                      <a:lnTo>
                        <a:pt x="886" y="1095"/>
                      </a:lnTo>
                      <a:lnTo>
                        <a:pt x="885" y="1096"/>
                      </a:lnTo>
                      <a:lnTo>
                        <a:pt x="885" y="1098"/>
                      </a:lnTo>
                      <a:lnTo>
                        <a:pt x="885" y="1099"/>
                      </a:lnTo>
                      <a:lnTo>
                        <a:pt x="885" y="1099"/>
                      </a:lnTo>
                      <a:lnTo>
                        <a:pt x="882" y="1100"/>
                      </a:lnTo>
                      <a:lnTo>
                        <a:pt x="881" y="1101"/>
                      </a:lnTo>
                      <a:lnTo>
                        <a:pt x="880" y="1103"/>
                      </a:lnTo>
                      <a:lnTo>
                        <a:pt x="879" y="1106"/>
                      </a:lnTo>
                      <a:lnTo>
                        <a:pt x="878" y="1106"/>
                      </a:lnTo>
                      <a:lnTo>
                        <a:pt x="877" y="1108"/>
                      </a:lnTo>
                      <a:lnTo>
                        <a:pt x="877" y="1108"/>
                      </a:lnTo>
                      <a:lnTo>
                        <a:pt x="876" y="1109"/>
                      </a:lnTo>
                      <a:lnTo>
                        <a:pt x="876" y="1110"/>
                      </a:lnTo>
                      <a:lnTo>
                        <a:pt x="875" y="1110"/>
                      </a:lnTo>
                      <a:lnTo>
                        <a:pt x="872" y="1111"/>
                      </a:lnTo>
                      <a:lnTo>
                        <a:pt x="870" y="1114"/>
                      </a:lnTo>
                      <a:lnTo>
                        <a:pt x="869" y="1115"/>
                      </a:lnTo>
                      <a:lnTo>
                        <a:pt x="866" y="1118"/>
                      </a:lnTo>
                      <a:lnTo>
                        <a:pt x="864" y="1120"/>
                      </a:lnTo>
                      <a:lnTo>
                        <a:pt x="864" y="1120"/>
                      </a:lnTo>
                      <a:lnTo>
                        <a:pt x="860" y="1123"/>
                      </a:lnTo>
                      <a:lnTo>
                        <a:pt x="859" y="1124"/>
                      </a:lnTo>
                      <a:lnTo>
                        <a:pt x="858" y="1124"/>
                      </a:lnTo>
                      <a:lnTo>
                        <a:pt x="857" y="1124"/>
                      </a:lnTo>
                      <a:lnTo>
                        <a:pt x="855" y="1125"/>
                      </a:lnTo>
                      <a:lnTo>
                        <a:pt x="855" y="1126"/>
                      </a:lnTo>
                      <a:lnTo>
                        <a:pt x="854" y="1126"/>
                      </a:lnTo>
                      <a:lnTo>
                        <a:pt x="854" y="1127"/>
                      </a:lnTo>
                      <a:lnTo>
                        <a:pt x="853" y="1128"/>
                      </a:lnTo>
                      <a:lnTo>
                        <a:pt x="852" y="1129"/>
                      </a:lnTo>
                      <a:lnTo>
                        <a:pt x="851" y="1130"/>
                      </a:lnTo>
                      <a:lnTo>
                        <a:pt x="850" y="1130"/>
                      </a:lnTo>
                      <a:lnTo>
                        <a:pt x="849" y="1131"/>
                      </a:lnTo>
                      <a:lnTo>
                        <a:pt x="845" y="1132"/>
                      </a:lnTo>
                      <a:lnTo>
                        <a:pt x="844" y="1132"/>
                      </a:lnTo>
                      <a:lnTo>
                        <a:pt x="842" y="1136"/>
                      </a:lnTo>
                      <a:lnTo>
                        <a:pt x="840" y="1137"/>
                      </a:lnTo>
                      <a:lnTo>
                        <a:pt x="838" y="1140"/>
                      </a:lnTo>
                      <a:lnTo>
                        <a:pt x="836" y="1141"/>
                      </a:lnTo>
                      <a:lnTo>
                        <a:pt x="835" y="1142"/>
                      </a:lnTo>
                      <a:lnTo>
                        <a:pt x="835" y="1143"/>
                      </a:lnTo>
                      <a:lnTo>
                        <a:pt x="833" y="1143"/>
                      </a:lnTo>
                      <a:lnTo>
                        <a:pt x="833" y="1144"/>
                      </a:lnTo>
                      <a:lnTo>
                        <a:pt x="831" y="1144"/>
                      </a:lnTo>
                      <a:lnTo>
                        <a:pt x="829" y="1145"/>
                      </a:lnTo>
                      <a:lnTo>
                        <a:pt x="828" y="1147"/>
                      </a:lnTo>
                      <a:lnTo>
                        <a:pt x="827" y="1149"/>
                      </a:lnTo>
                      <a:lnTo>
                        <a:pt x="827" y="1151"/>
                      </a:lnTo>
                      <a:lnTo>
                        <a:pt x="824" y="1151"/>
                      </a:lnTo>
                      <a:lnTo>
                        <a:pt x="824" y="1151"/>
                      </a:lnTo>
                      <a:lnTo>
                        <a:pt x="823" y="1153"/>
                      </a:lnTo>
                      <a:lnTo>
                        <a:pt x="821" y="1152"/>
                      </a:lnTo>
                      <a:lnTo>
                        <a:pt x="820" y="1152"/>
                      </a:lnTo>
                      <a:lnTo>
                        <a:pt x="819" y="1152"/>
                      </a:lnTo>
                      <a:lnTo>
                        <a:pt x="817" y="1153"/>
                      </a:lnTo>
                      <a:lnTo>
                        <a:pt x="816" y="1154"/>
                      </a:lnTo>
                      <a:lnTo>
                        <a:pt x="815" y="1155"/>
                      </a:lnTo>
                      <a:lnTo>
                        <a:pt x="813" y="1158"/>
                      </a:lnTo>
                      <a:lnTo>
                        <a:pt x="812" y="1160"/>
                      </a:lnTo>
                      <a:lnTo>
                        <a:pt x="810" y="1160"/>
                      </a:lnTo>
                      <a:lnTo>
                        <a:pt x="808" y="1162"/>
                      </a:lnTo>
                      <a:lnTo>
                        <a:pt x="806" y="1170"/>
                      </a:lnTo>
                      <a:lnTo>
                        <a:pt x="807" y="1172"/>
                      </a:lnTo>
                      <a:lnTo>
                        <a:pt x="806" y="1172"/>
                      </a:lnTo>
                      <a:lnTo>
                        <a:pt x="806" y="1172"/>
                      </a:lnTo>
                      <a:lnTo>
                        <a:pt x="805" y="1173"/>
                      </a:lnTo>
                      <a:lnTo>
                        <a:pt x="805" y="1174"/>
                      </a:lnTo>
                      <a:lnTo>
                        <a:pt x="802" y="1175"/>
                      </a:lnTo>
                      <a:lnTo>
                        <a:pt x="801" y="1176"/>
                      </a:lnTo>
                      <a:lnTo>
                        <a:pt x="800" y="1176"/>
                      </a:lnTo>
                      <a:lnTo>
                        <a:pt x="799" y="1177"/>
                      </a:lnTo>
                      <a:lnTo>
                        <a:pt x="799" y="1177"/>
                      </a:lnTo>
                      <a:lnTo>
                        <a:pt x="798" y="1178"/>
                      </a:lnTo>
                      <a:lnTo>
                        <a:pt x="798" y="1178"/>
                      </a:lnTo>
                      <a:lnTo>
                        <a:pt x="797" y="1179"/>
                      </a:lnTo>
                      <a:lnTo>
                        <a:pt x="797" y="1180"/>
                      </a:lnTo>
                      <a:lnTo>
                        <a:pt x="796" y="1181"/>
                      </a:lnTo>
                      <a:lnTo>
                        <a:pt x="796" y="1181"/>
                      </a:lnTo>
                      <a:lnTo>
                        <a:pt x="795" y="1182"/>
                      </a:lnTo>
                      <a:lnTo>
                        <a:pt x="793" y="1182"/>
                      </a:lnTo>
                      <a:lnTo>
                        <a:pt x="791" y="1183"/>
                      </a:lnTo>
                      <a:lnTo>
                        <a:pt x="787" y="1183"/>
                      </a:lnTo>
                      <a:lnTo>
                        <a:pt x="786" y="1184"/>
                      </a:lnTo>
                      <a:lnTo>
                        <a:pt x="786" y="1184"/>
                      </a:lnTo>
                      <a:lnTo>
                        <a:pt x="785" y="1185"/>
                      </a:lnTo>
                      <a:lnTo>
                        <a:pt x="784" y="1186"/>
                      </a:lnTo>
                      <a:lnTo>
                        <a:pt x="782" y="1186"/>
                      </a:lnTo>
                      <a:lnTo>
                        <a:pt x="782" y="1186"/>
                      </a:lnTo>
                      <a:lnTo>
                        <a:pt x="781" y="1187"/>
                      </a:lnTo>
                      <a:lnTo>
                        <a:pt x="781" y="1187"/>
                      </a:lnTo>
                      <a:lnTo>
                        <a:pt x="781" y="1187"/>
                      </a:lnTo>
                      <a:lnTo>
                        <a:pt x="780" y="1187"/>
                      </a:lnTo>
                      <a:lnTo>
                        <a:pt x="779" y="1187"/>
                      </a:lnTo>
                      <a:lnTo>
                        <a:pt x="778" y="1189"/>
                      </a:lnTo>
                      <a:lnTo>
                        <a:pt x="778" y="1189"/>
                      </a:lnTo>
                      <a:lnTo>
                        <a:pt x="777" y="1189"/>
                      </a:lnTo>
                      <a:lnTo>
                        <a:pt x="776" y="1190"/>
                      </a:lnTo>
                      <a:lnTo>
                        <a:pt x="776" y="1191"/>
                      </a:lnTo>
                      <a:lnTo>
                        <a:pt x="776" y="1191"/>
                      </a:lnTo>
                      <a:lnTo>
                        <a:pt x="775" y="1194"/>
                      </a:lnTo>
                      <a:lnTo>
                        <a:pt x="775" y="1194"/>
                      </a:lnTo>
                      <a:lnTo>
                        <a:pt x="775" y="1197"/>
                      </a:lnTo>
                      <a:lnTo>
                        <a:pt x="775" y="1197"/>
                      </a:lnTo>
                      <a:lnTo>
                        <a:pt x="774" y="1199"/>
                      </a:lnTo>
                      <a:lnTo>
                        <a:pt x="774" y="1199"/>
                      </a:lnTo>
                      <a:lnTo>
                        <a:pt x="773" y="1202"/>
                      </a:lnTo>
                      <a:lnTo>
                        <a:pt x="773" y="1202"/>
                      </a:lnTo>
                      <a:lnTo>
                        <a:pt x="773" y="1203"/>
                      </a:lnTo>
                      <a:lnTo>
                        <a:pt x="772" y="1203"/>
                      </a:lnTo>
                      <a:lnTo>
                        <a:pt x="772" y="1203"/>
                      </a:lnTo>
                      <a:lnTo>
                        <a:pt x="772" y="1203"/>
                      </a:lnTo>
                      <a:lnTo>
                        <a:pt x="770" y="1203"/>
                      </a:lnTo>
                      <a:lnTo>
                        <a:pt x="768" y="1203"/>
                      </a:lnTo>
                      <a:lnTo>
                        <a:pt x="767" y="1203"/>
                      </a:lnTo>
                      <a:lnTo>
                        <a:pt x="766" y="1204"/>
                      </a:lnTo>
                      <a:lnTo>
                        <a:pt x="766" y="1203"/>
                      </a:lnTo>
                      <a:lnTo>
                        <a:pt x="766" y="1202"/>
                      </a:lnTo>
                      <a:lnTo>
                        <a:pt x="767" y="1202"/>
                      </a:lnTo>
                      <a:lnTo>
                        <a:pt x="768" y="1202"/>
                      </a:lnTo>
                      <a:lnTo>
                        <a:pt x="768" y="1200"/>
                      </a:lnTo>
                      <a:lnTo>
                        <a:pt x="769" y="1199"/>
                      </a:lnTo>
                      <a:lnTo>
                        <a:pt x="770" y="1199"/>
                      </a:lnTo>
                      <a:lnTo>
                        <a:pt x="770" y="1198"/>
                      </a:lnTo>
                      <a:lnTo>
                        <a:pt x="770" y="1198"/>
                      </a:lnTo>
                      <a:lnTo>
                        <a:pt x="770" y="1197"/>
                      </a:lnTo>
                      <a:lnTo>
                        <a:pt x="768" y="1197"/>
                      </a:lnTo>
                      <a:lnTo>
                        <a:pt x="767" y="1198"/>
                      </a:lnTo>
                      <a:lnTo>
                        <a:pt x="765" y="1198"/>
                      </a:lnTo>
                      <a:lnTo>
                        <a:pt x="764" y="1199"/>
                      </a:lnTo>
                      <a:lnTo>
                        <a:pt x="764" y="1199"/>
                      </a:lnTo>
                      <a:lnTo>
                        <a:pt x="763" y="1199"/>
                      </a:lnTo>
                      <a:lnTo>
                        <a:pt x="762" y="1198"/>
                      </a:lnTo>
                      <a:lnTo>
                        <a:pt x="762" y="1198"/>
                      </a:lnTo>
                      <a:lnTo>
                        <a:pt x="762" y="1197"/>
                      </a:lnTo>
                      <a:lnTo>
                        <a:pt x="761" y="1197"/>
                      </a:lnTo>
                      <a:lnTo>
                        <a:pt x="761" y="1196"/>
                      </a:lnTo>
                      <a:lnTo>
                        <a:pt x="760" y="1196"/>
                      </a:lnTo>
                      <a:lnTo>
                        <a:pt x="759" y="1196"/>
                      </a:lnTo>
                      <a:lnTo>
                        <a:pt x="759" y="1196"/>
                      </a:lnTo>
                      <a:lnTo>
                        <a:pt x="758" y="1195"/>
                      </a:lnTo>
                      <a:lnTo>
                        <a:pt x="757" y="1194"/>
                      </a:lnTo>
                      <a:lnTo>
                        <a:pt x="756" y="1194"/>
                      </a:lnTo>
                      <a:lnTo>
                        <a:pt x="756" y="1194"/>
                      </a:lnTo>
                      <a:lnTo>
                        <a:pt x="756" y="1194"/>
                      </a:lnTo>
                      <a:lnTo>
                        <a:pt x="757" y="1195"/>
                      </a:lnTo>
                      <a:lnTo>
                        <a:pt x="757" y="1195"/>
                      </a:lnTo>
                      <a:lnTo>
                        <a:pt x="756" y="1197"/>
                      </a:lnTo>
                      <a:lnTo>
                        <a:pt x="756" y="1199"/>
                      </a:lnTo>
                      <a:lnTo>
                        <a:pt x="757" y="1199"/>
                      </a:lnTo>
                      <a:lnTo>
                        <a:pt x="758" y="1201"/>
                      </a:lnTo>
                      <a:lnTo>
                        <a:pt x="759" y="1202"/>
                      </a:lnTo>
                      <a:lnTo>
                        <a:pt x="761" y="1203"/>
                      </a:lnTo>
                      <a:lnTo>
                        <a:pt x="764" y="1204"/>
                      </a:lnTo>
                      <a:lnTo>
                        <a:pt x="764" y="1204"/>
                      </a:lnTo>
                      <a:lnTo>
                        <a:pt x="764" y="1204"/>
                      </a:lnTo>
                      <a:lnTo>
                        <a:pt x="766" y="1205"/>
                      </a:lnTo>
                      <a:lnTo>
                        <a:pt x="766" y="1205"/>
                      </a:lnTo>
                      <a:lnTo>
                        <a:pt x="766" y="1206"/>
                      </a:lnTo>
                      <a:lnTo>
                        <a:pt x="766" y="1206"/>
                      </a:lnTo>
                      <a:lnTo>
                        <a:pt x="768" y="1205"/>
                      </a:lnTo>
                      <a:lnTo>
                        <a:pt x="769" y="1204"/>
                      </a:lnTo>
                      <a:lnTo>
                        <a:pt x="769" y="1204"/>
                      </a:lnTo>
                      <a:lnTo>
                        <a:pt x="770" y="1204"/>
                      </a:lnTo>
                      <a:lnTo>
                        <a:pt x="770" y="1204"/>
                      </a:lnTo>
                      <a:lnTo>
                        <a:pt x="770" y="1204"/>
                      </a:lnTo>
                      <a:lnTo>
                        <a:pt x="772" y="1204"/>
                      </a:lnTo>
                      <a:lnTo>
                        <a:pt x="772" y="1204"/>
                      </a:lnTo>
                      <a:lnTo>
                        <a:pt x="773" y="1206"/>
                      </a:lnTo>
                      <a:lnTo>
                        <a:pt x="774" y="1211"/>
                      </a:lnTo>
                      <a:lnTo>
                        <a:pt x="774" y="1212"/>
                      </a:lnTo>
                      <a:lnTo>
                        <a:pt x="775" y="1215"/>
                      </a:lnTo>
                      <a:lnTo>
                        <a:pt x="774" y="1215"/>
                      </a:lnTo>
                      <a:lnTo>
                        <a:pt x="774" y="1216"/>
                      </a:lnTo>
                      <a:lnTo>
                        <a:pt x="773" y="1216"/>
                      </a:lnTo>
                      <a:lnTo>
                        <a:pt x="773" y="1219"/>
                      </a:lnTo>
                      <a:lnTo>
                        <a:pt x="770" y="1219"/>
                      </a:lnTo>
                      <a:lnTo>
                        <a:pt x="770" y="1220"/>
                      </a:lnTo>
                      <a:lnTo>
                        <a:pt x="770" y="1221"/>
                      </a:lnTo>
                      <a:lnTo>
                        <a:pt x="770" y="1222"/>
                      </a:lnTo>
                      <a:lnTo>
                        <a:pt x="770" y="1222"/>
                      </a:lnTo>
                      <a:lnTo>
                        <a:pt x="770" y="1223"/>
                      </a:lnTo>
                      <a:lnTo>
                        <a:pt x="770" y="1224"/>
                      </a:lnTo>
                      <a:lnTo>
                        <a:pt x="769" y="1227"/>
                      </a:lnTo>
                      <a:lnTo>
                        <a:pt x="770" y="1228"/>
                      </a:lnTo>
                      <a:lnTo>
                        <a:pt x="770" y="1228"/>
                      </a:lnTo>
                      <a:lnTo>
                        <a:pt x="770" y="1231"/>
                      </a:lnTo>
                      <a:lnTo>
                        <a:pt x="770" y="1232"/>
                      </a:lnTo>
                      <a:lnTo>
                        <a:pt x="770" y="1233"/>
                      </a:lnTo>
                      <a:lnTo>
                        <a:pt x="770" y="1233"/>
                      </a:lnTo>
                      <a:lnTo>
                        <a:pt x="768" y="1234"/>
                      </a:lnTo>
                      <a:lnTo>
                        <a:pt x="768" y="1233"/>
                      </a:lnTo>
                      <a:lnTo>
                        <a:pt x="769" y="1233"/>
                      </a:lnTo>
                      <a:lnTo>
                        <a:pt x="770" y="1233"/>
                      </a:lnTo>
                      <a:lnTo>
                        <a:pt x="770" y="1232"/>
                      </a:lnTo>
                      <a:lnTo>
                        <a:pt x="769" y="1232"/>
                      </a:lnTo>
                      <a:lnTo>
                        <a:pt x="769" y="1232"/>
                      </a:lnTo>
                      <a:lnTo>
                        <a:pt x="769" y="1231"/>
                      </a:lnTo>
                      <a:lnTo>
                        <a:pt x="768" y="1231"/>
                      </a:lnTo>
                      <a:lnTo>
                        <a:pt x="767" y="1231"/>
                      </a:lnTo>
                      <a:lnTo>
                        <a:pt x="765" y="1230"/>
                      </a:lnTo>
                      <a:lnTo>
                        <a:pt x="762" y="1230"/>
                      </a:lnTo>
                      <a:lnTo>
                        <a:pt x="761" y="1230"/>
                      </a:lnTo>
                      <a:lnTo>
                        <a:pt x="760" y="1230"/>
                      </a:lnTo>
                      <a:lnTo>
                        <a:pt x="759" y="1230"/>
                      </a:lnTo>
                      <a:lnTo>
                        <a:pt x="757" y="1230"/>
                      </a:lnTo>
                      <a:lnTo>
                        <a:pt x="754" y="1231"/>
                      </a:lnTo>
                      <a:lnTo>
                        <a:pt x="752" y="1233"/>
                      </a:lnTo>
                      <a:lnTo>
                        <a:pt x="752" y="1234"/>
                      </a:lnTo>
                      <a:lnTo>
                        <a:pt x="750" y="1235"/>
                      </a:lnTo>
                      <a:lnTo>
                        <a:pt x="750" y="1237"/>
                      </a:lnTo>
                      <a:lnTo>
                        <a:pt x="750" y="1237"/>
                      </a:lnTo>
                      <a:lnTo>
                        <a:pt x="749" y="1236"/>
                      </a:lnTo>
                      <a:lnTo>
                        <a:pt x="749" y="1235"/>
                      </a:lnTo>
                      <a:lnTo>
                        <a:pt x="747" y="1234"/>
                      </a:lnTo>
                      <a:lnTo>
                        <a:pt x="747" y="1235"/>
                      </a:lnTo>
                      <a:lnTo>
                        <a:pt x="745" y="1234"/>
                      </a:lnTo>
                      <a:lnTo>
                        <a:pt x="743" y="1235"/>
                      </a:lnTo>
                      <a:lnTo>
                        <a:pt x="742" y="1234"/>
                      </a:lnTo>
                      <a:lnTo>
                        <a:pt x="742" y="1233"/>
                      </a:lnTo>
                      <a:lnTo>
                        <a:pt x="739" y="1233"/>
                      </a:lnTo>
                      <a:lnTo>
                        <a:pt x="738" y="1233"/>
                      </a:lnTo>
                      <a:lnTo>
                        <a:pt x="738" y="1233"/>
                      </a:lnTo>
                      <a:lnTo>
                        <a:pt x="737" y="1233"/>
                      </a:lnTo>
                      <a:lnTo>
                        <a:pt x="737" y="1232"/>
                      </a:lnTo>
                      <a:lnTo>
                        <a:pt x="737" y="1230"/>
                      </a:lnTo>
                      <a:lnTo>
                        <a:pt x="737" y="1230"/>
                      </a:lnTo>
                      <a:lnTo>
                        <a:pt x="736" y="1229"/>
                      </a:lnTo>
                      <a:lnTo>
                        <a:pt x="736" y="1230"/>
                      </a:lnTo>
                      <a:lnTo>
                        <a:pt x="733" y="1230"/>
                      </a:lnTo>
                      <a:lnTo>
                        <a:pt x="732" y="1230"/>
                      </a:lnTo>
                      <a:lnTo>
                        <a:pt x="731" y="1229"/>
                      </a:lnTo>
                      <a:lnTo>
                        <a:pt x="730" y="1228"/>
                      </a:lnTo>
                      <a:lnTo>
                        <a:pt x="728" y="1228"/>
                      </a:lnTo>
                      <a:lnTo>
                        <a:pt x="727" y="1228"/>
                      </a:lnTo>
                      <a:lnTo>
                        <a:pt x="724" y="1227"/>
                      </a:lnTo>
                      <a:lnTo>
                        <a:pt x="724" y="1228"/>
                      </a:lnTo>
                      <a:lnTo>
                        <a:pt x="716" y="1229"/>
                      </a:lnTo>
                      <a:lnTo>
                        <a:pt x="716" y="1230"/>
                      </a:lnTo>
                      <a:lnTo>
                        <a:pt x="716" y="1230"/>
                      </a:lnTo>
                      <a:lnTo>
                        <a:pt x="717" y="1232"/>
                      </a:lnTo>
                      <a:lnTo>
                        <a:pt x="714" y="1232"/>
                      </a:lnTo>
                      <a:lnTo>
                        <a:pt x="712" y="1232"/>
                      </a:lnTo>
                      <a:lnTo>
                        <a:pt x="709" y="1228"/>
                      </a:lnTo>
                      <a:lnTo>
                        <a:pt x="709" y="1228"/>
                      </a:lnTo>
                      <a:lnTo>
                        <a:pt x="709" y="1228"/>
                      </a:lnTo>
                      <a:lnTo>
                        <a:pt x="707" y="1227"/>
                      </a:lnTo>
                      <a:lnTo>
                        <a:pt x="705" y="1225"/>
                      </a:lnTo>
                      <a:lnTo>
                        <a:pt x="704" y="1225"/>
                      </a:lnTo>
                      <a:lnTo>
                        <a:pt x="704" y="1224"/>
                      </a:lnTo>
                      <a:lnTo>
                        <a:pt x="703" y="1224"/>
                      </a:lnTo>
                      <a:lnTo>
                        <a:pt x="702" y="1222"/>
                      </a:lnTo>
                      <a:lnTo>
                        <a:pt x="702" y="1222"/>
                      </a:lnTo>
                      <a:lnTo>
                        <a:pt x="702" y="1222"/>
                      </a:lnTo>
                      <a:lnTo>
                        <a:pt x="701" y="1221"/>
                      </a:lnTo>
                      <a:lnTo>
                        <a:pt x="700" y="1218"/>
                      </a:lnTo>
                      <a:lnTo>
                        <a:pt x="700" y="1217"/>
                      </a:lnTo>
                      <a:lnTo>
                        <a:pt x="698" y="1215"/>
                      </a:lnTo>
                      <a:lnTo>
                        <a:pt x="696" y="1214"/>
                      </a:lnTo>
                      <a:lnTo>
                        <a:pt x="694" y="1212"/>
                      </a:lnTo>
                      <a:lnTo>
                        <a:pt x="694" y="1212"/>
                      </a:lnTo>
                      <a:lnTo>
                        <a:pt x="693" y="1212"/>
                      </a:lnTo>
                      <a:lnTo>
                        <a:pt x="693" y="1212"/>
                      </a:lnTo>
                      <a:lnTo>
                        <a:pt x="692" y="1213"/>
                      </a:lnTo>
                      <a:lnTo>
                        <a:pt x="692" y="1212"/>
                      </a:lnTo>
                      <a:lnTo>
                        <a:pt x="689" y="1211"/>
                      </a:lnTo>
                      <a:lnTo>
                        <a:pt x="689" y="1209"/>
                      </a:lnTo>
                      <a:lnTo>
                        <a:pt x="689" y="1209"/>
                      </a:lnTo>
                      <a:lnTo>
                        <a:pt x="689" y="1211"/>
                      </a:lnTo>
                      <a:lnTo>
                        <a:pt x="690" y="1211"/>
                      </a:lnTo>
                      <a:lnTo>
                        <a:pt x="690" y="1212"/>
                      </a:lnTo>
                      <a:lnTo>
                        <a:pt x="690" y="1212"/>
                      </a:lnTo>
                      <a:lnTo>
                        <a:pt x="690" y="1212"/>
                      </a:lnTo>
                      <a:lnTo>
                        <a:pt x="690" y="1213"/>
                      </a:lnTo>
                      <a:lnTo>
                        <a:pt x="691" y="1214"/>
                      </a:lnTo>
                      <a:lnTo>
                        <a:pt x="693" y="1216"/>
                      </a:lnTo>
                      <a:lnTo>
                        <a:pt x="693" y="1216"/>
                      </a:lnTo>
                      <a:lnTo>
                        <a:pt x="693" y="1216"/>
                      </a:lnTo>
                      <a:lnTo>
                        <a:pt x="694" y="1215"/>
                      </a:lnTo>
                      <a:lnTo>
                        <a:pt x="695" y="1216"/>
                      </a:lnTo>
                      <a:lnTo>
                        <a:pt x="696" y="1216"/>
                      </a:lnTo>
                      <a:lnTo>
                        <a:pt x="699" y="1217"/>
                      </a:lnTo>
                      <a:lnTo>
                        <a:pt x="700" y="1218"/>
                      </a:lnTo>
                      <a:lnTo>
                        <a:pt x="700" y="1221"/>
                      </a:lnTo>
                      <a:lnTo>
                        <a:pt x="700" y="1221"/>
                      </a:lnTo>
                      <a:lnTo>
                        <a:pt x="700" y="1221"/>
                      </a:lnTo>
                      <a:lnTo>
                        <a:pt x="699" y="1221"/>
                      </a:lnTo>
                      <a:lnTo>
                        <a:pt x="698" y="1222"/>
                      </a:lnTo>
                      <a:lnTo>
                        <a:pt x="698" y="1223"/>
                      </a:lnTo>
                      <a:lnTo>
                        <a:pt x="698" y="1225"/>
                      </a:lnTo>
                      <a:lnTo>
                        <a:pt x="699" y="1225"/>
                      </a:lnTo>
                      <a:lnTo>
                        <a:pt x="700" y="1225"/>
                      </a:lnTo>
                      <a:lnTo>
                        <a:pt x="700" y="1228"/>
                      </a:lnTo>
                      <a:lnTo>
                        <a:pt x="703" y="1229"/>
                      </a:lnTo>
                      <a:lnTo>
                        <a:pt x="703" y="1229"/>
                      </a:lnTo>
                      <a:lnTo>
                        <a:pt x="703" y="1230"/>
                      </a:lnTo>
                      <a:lnTo>
                        <a:pt x="705" y="1231"/>
                      </a:lnTo>
                      <a:lnTo>
                        <a:pt x="705" y="1231"/>
                      </a:lnTo>
                      <a:lnTo>
                        <a:pt x="707" y="1232"/>
                      </a:lnTo>
                      <a:lnTo>
                        <a:pt x="708" y="1232"/>
                      </a:lnTo>
                      <a:lnTo>
                        <a:pt x="709" y="1232"/>
                      </a:lnTo>
                      <a:lnTo>
                        <a:pt x="710" y="1234"/>
                      </a:lnTo>
                      <a:lnTo>
                        <a:pt x="710" y="1234"/>
                      </a:lnTo>
                      <a:lnTo>
                        <a:pt x="710" y="1235"/>
                      </a:lnTo>
                      <a:lnTo>
                        <a:pt x="712" y="1236"/>
                      </a:lnTo>
                      <a:lnTo>
                        <a:pt x="712" y="1235"/>
                      </a:lnTo>
                      <a:lnTo>
                        <a:pt x="712" y="1235"/>
                      </a:lnTo>
                      <a:lnTo>
                        <a:pt x="712" y="1234"/>
                      </a:lnTo>
                      <a:lnTo>
                        <a:pt x="714" y="1234"/>
                      </a:lnTo>
                      <a:lnTo>
                        <a:pt x="714" y="1234"/>
                      </a:lnTo>
                      <a:lnTo>
                        <a:pt x="714" y="1234"/>
                      </a:lnTo>
                      <a:lnTo>
                        <a:pt x="715" y="1235"/>
                      </a:lnTo>
                      <a:lnTo>
                        <a:pt x="716" y="1236"/>
                      </a:lnTo>
                      <a:lnTo>
                        <a:pt x="716" y="1236"/>
                      </a:lnTo>
                      <a:lnTo>
                        <a:pt x="717" y="1236"/>
                      </a:lnTo>
                      <a:lnTo>
                        <a:pt x="720" y="1234"/>
                      </a:lnTo>
                      <a:lnTo>
                        <a:pt x="723" y="1233"/>
                      </a:lnTo>
                      <a:lnTo>
                        <a:pt x="726" y="1233"/>
                      </a:lnTo>
                      <a:lnTo>
                        <a:pt x="726" y="1233"/>
                      </a:lnTo>
                      <a:lnTo>
                        <a:pt x="728" y="1233"/>
                      </a:lnTo>
                      <a:lnTo>
                        <a:pt x="729" y="1232"/>
                      </a:lnTo>
                      <a:lnTo>
                        <a:pt x="729" y="1232"/>
                      </a:lnTo>
                      <a:lnTo>
                        <a:pt x="731" y="1232"/>
                      </a:lnTo>
                      <a:lnTo>
                        <a:pt x="732" y="1232"/>
                      </a:lnTo>
                      <a:lnTo>
                        <a:pt x="733" y="1236"/>
                      </a:lnTo>
                      <a:lnTo>
                        <a:pt x="733" y="1236"/>
                      </a:lnTo>
                      <a:lnTo>
                        <a:pt x="733" y="1235"/>
                      </a:lnTo>
                      <a:lnTo>
                        <a:pt x="733" y="1234"/>
                      </a:lnTo>
                      <a:lnTo>
                        <a:pt x="735" y="1234"/>
                      </a:lnTo>
                      <a:lnTo>
                        <a:pt x="736" y="1235"/>
                      </a:lnTo>
                      <a:lnTo>
                        <a:pt x="736" y="1237"/>
                      </a:lnTo>
                      <a:lnTo>
                        <a:pt x="738" y="1238"/>
                      </a:lnTo>
                      <a:lnTo>
                        <a:pt x="739" y="1243"/>
                      </a:lnTo>
                      <a:lnTo>
                        <a:pt x="741" y="1243"/>
                      </a:lnTo>
                      <a:lnTo>
                        <a:pt x="742" y="1244"/>
                      </a:lnTo>
                      <a:lnTo>
                        <a:pt x="744" y="1245"/>
                      </a:lnTo>
                      <a:lnTo>
                        <a:pt x="745" y="1245"/>
                      </a:lnTo>
                      <a:lnTo>
                        <a:pt x="745" y="1245"/>
                      </a:lnTo>
                      <a:lnTo>
                        <a:pt x="746" y="1245"/>
                      </a:lnTo>
                      <a:lnTo>
                        <a:pt x="748" y="1244"/>
                      </a:lnTo>
                      <a:lnTo>
                        <a:pt x="748" y="1244"/>
                      </a:lnTo>
                      <a:lnTo>
                        <a:pt x="748" y="1243"/>
                      </a:lnTo>
                      <a:lnTo>
                        <a:pt x="747" y="1242"/>
                      </a:lnTo>
                      <a:lnTo>
                        <a:pt x="746" y="1242"/>
                      </a:lnTo>
                      <a:lnTo>
                        <a:pt x="746" y="1242"/>
                      </a:lnTo>
                      <a:lnTo>
                        <a:pt x="745" y="1241"/>
                      </a:lnTo>
                      <a:lnTo>
                        <a:pt x="745" y="1240"/>
                      </a:lnTo>
                      <a:lnTo>
                        <a:pt x="744" y="1239"/>
                      </a:lnTo>
                      <a:lnTo>
                        <a:pt x="744" y="1239"/>
                      </a:lnTo>
                      <a:lnTo>
                        <a:pt x="745" y="1238"/>
                      </a:lnTo>
                      <a:lnTo>
                        <a:pt x="745" y="1239"/>
                      </a:lnTo>
                      <a:lnTo>
                        <a:pt x="746" y="1240"/>
                      </a:lnTo>
                      <a:lnTo>
                        <a:pt x="746" y="1240"/>
                      </a:lnTo>
                      <a:lnTo>
                        <a:pt x="749" y="1242"/>
                      </a:lnTo>
                      <a:lnTo>
                        <a:pt x="750" y="1243"/>
                      </a:lnTo>
                      <a:lnTo>
                        <a:pt x="751" y="1242"/>
                      </a:lnTo>
                      <a:lnTo>
                        <a:pt x="752" y="1241"/>
                      </a:lnTo>
                      <a:lnTo>
                        <a:pt x="753" y="1242"/>
                      </a:lnTo>
                      <a:lnTo>
                        <a:pt x="752" y="1243"/>
                      </a:lnTo>
                      <a:lnTo>
                        <a:pt x="752" y="1243"/>
                      </a:lnTo>
                      <a:lnTo>
                        <a:pt x="757" y="1245"/>
                      </a:lnTo>
                      <a:lnTo>
                        <a:pt x="758" y="1246"/>
                      </a:lnTo>
                      <a:lnTo>
                        <a:pt x="759" y="1246"/>
                      </a:lnTo>
                      <a:lnTo>
                        <a:pt x="759" y="1247"/>
                      </a:lnTo>
                      <a:lnTo>
                        <a:pt x="760" y="1247"/>
                      </a:lnTo>
                      <a:lnTo>
                        <a:pt x="760" y="1248"/>
                      </a:lnTo>
                      <a:lnTo>
                        <a:pt x="761" y="1249"/>
                      </a:lnTo>
                      <a:lnTo>
                        <a:pt x="762" y="1249"/>
                      </a:lnTo>
                      <a:lnTo>
                        <a:pt x="762" y="1250"/>
                      </a:lnTo>
                      <a:lnTo>
                        <a:pt x="763" y="1250"/>
                      </a:lnTo>
                      <a:lnTo>
                        <a:pt x="764" y="1249"/>
                      </a:lnTo>
                      <a:lnTo>
                        <a:pt x="765" y="1249"/>
                      </a:lnTo>
                      <a:lnTo>
                        <a:pt x="767" y="1248"/>
                      </a:lnTo>
                      <a:lnTo>
                        <a:pt x="768" y="1247"/>
                      </a:lnTo>
                      <a:lnTo>
                        <a:pt x="768" y="1246"/>
                      </a:lnTo>
                      <a:lnTo>
                        <a:pt x="769" y="1246"/>
                      </a:lnTo>
                      <a:lnTo>
                        <a:pt x="769" y="1246"/>
                      </a:lnTo>
                      <a:lnTo>
                        <a:pt x="770" y="1245"/>
                      </a:lnTo>
                      <a:lnTo>
                        <a:pt x="773" y="1244"/>
                      </a:lnTo>
                      <a:lnTo>
                        <a:pt x="776" y="1241"/>
                      </a:lnTo>
                      <a:lnTo>
                        <a:pt x="777" y="1241"/>
                      </a:lnTo>
                      <a:lnTo>
                        <a:pt x="780" y="1238"/>
                      </a:lnTo>
                      <a:lnTo>
                        <a:pt x="781" y="1238"/>
                      </a:lnTo>
                      <a:lnTo>
                        <a:pt x="783" y="1238"/>
                      </a:lnTo>
                      <a:lnTo>
                        <a:pt x="784" y="1239"/>
                      </a:lnTo>
                      <a:lnTo>
                        <a:pt x="784" y="1239"/>
                      </a:lnTo>
                      <a:lnTo>
                        <a:pt x="786" y="1240"/>
                      </a:lnTo>
                      <a:lnTo>
                        <a:pt x="786" y="1240"/>
                      </a:lnTo>
                      <a:lnTo>
                        <a:pt x="787" y="1241"/>
                      </a:lnTo>
                      <a:lnTo>
                        <a:pt x="787" y="1242"/>
                      </a:lnTo>
                      <a:lnTo>
                        <a:pt x="788" y="1242"/>
                      </a:lnTo>
                      <a:lnTo>
                        <a:pt x="788" y="1242"/>
                      </a:lnTo>
                      <a:lnTo>
                        <a:pt x="790" y="1242"/>
                      </a:lnTo>
                      <a:lnTo>
                        <a:pt x="790" y="1241"/>
                      </a:lnTo>
                      <a:lnTo>
                        <a:pt x="790" y="1241"/>
                      </a:lnTo>
                      <a:lnTo>
                        <a:pt x="793" y="1243"/>
                      </a:lnTo>
                      <a:lnTo>
                        <a:pt x="793" y="1244"/>
                      </a:lnTo>
                      <a:lnTo>
                        <a:pt x="794" y="1245"/>
                      </a:lnTo>
                      <a:lnTo>
                        <a:pt x="795" y="1246"/>
                      </a:lnTo>
                      <a:lnTo>
                        <a:pt x="794" y="1246"/>
                      </a:lnTo>
                      <a:lnTo>
                        <a:pt x="793" y="1245"/>
                      </a:lnTo>
                      <a:lnTo>
                        <a:pt x="792" y="1245"/>
                      </a:lnTo>
                      <a:lnTo>
                        <a:pt x="791" y="1245"/>
                      </a:lnTo>
                      <a:lnTo>
                        <a:pt x="791" y="1245"/>
                      </a:lnTo>
                      <a:lnTo>
                        <a:pt x="791" y="1246"/>
                      </a:lnTo>
                      <a:lnTo>
                        <a:pt x="789" y="1246"/>
                      </a:lnTo>
                      <a:lnTo>
                        <a:pt x="789" y="1247"/>
                      </a:lnTo>
                      <a:lnTo>
                        <a:pt x="789" y="1248"/>
                      </a:lnTo>
                      <a:lnTo>
                        <a:pt x="786" y="1248"/>
                      </a:lnTo>
                      <a:lnTo>
                        <a:pt x="785" y="1249"/>
                      </a:lnTo>
                      <a:lnTo>
                        <a:pt x="785" y="1249"/>
                      </a:lnTo>
                      <a:lnTo>
                        <a:pt x="785" y="1250"/>
                      </a:lnTo>
                      <a:lnTo>
                        <a:pt x="785" y="1250"/>
                      </a:lnTo>
                      <a:lnTo>
                        <a:pt x="784" y="1251"/>
                      </a:lnTo>
                      <a:lnTo>
                        <a:pt x="784" y="1250"/>
                      </a:lnTo>
                      <a:lnTo>
                        <a:pt x="784" y="1250"/>
                      </a:lnTo>
                      <a:lnTo>
                        <a:pt x="783" y="1250"/>
                      </a:lnTo>
                      <a:lnTo>
                        <a:pt x="783" y="1250"/>
                      </a:lnTo>
                      <a:lnTo>
                        <a:pt x="783" y="1251"/>
                      </a:lnTo>
                      <a:lnTo>
                        <a:pt x="784" y="1251"/>
                      </a:lnTo>
                      <a:lnTo>
                        <a:pt x="785" y="1251"/>
                      </a:lnTo>
                      <a:lnTo>
                        <a:pt x="786" y="1251"/>
                      </a:lnTo>
                      <a:lnTo>
                        <a:pt x="786" y="1251"/>
                      </a:lnTo>
                      <a:lnTo>
                        <a:pt x="786" y="1251"/>
                      </a:lnTo>
                      <a:lnTo>
                        <a:pt x="786" y="1250"/>
                      </a:lnTo>
                      <a:lnTo>
                        <a:pt x="786" y="1250"/>
                      </a:lnTo>
                      <a:lnTo>
                        <a:pt x="787" y="1249"/>
                      </a:lnTo>
                      <a:lnTo>
                        <a:pt x="788" y="1250"/>
                      </a:lnTo>
                      <a:lnTo>
                        <a:pt x="790" y="1249"/>
                      </a:lnTo>
                      <a:lnTo>
                        <a:pt x="790" y="1248"/>
                      </a:lnTo>
                      <a:lnTo>
                        <a:pt x="792" y="1247"/>
                      </a:lnTo>
                      <a:lnTo>
                        <a:pt x="792" y="1247"/>
                      </a:lnTo>
                      <a:lnTo>
                        <a:pt x="792" y="1247"/>
                      </a:lnTo>
                      <a:lnTo>
                        <a:pt x="795" y="1248"/>
                      </a:lnTo>
                      <a:lnTo>
                        <a:pt x="796" y="1248"/>
                      </a:lnTo>
                      <a:lnTo>
                        <a:pt x="797" y="1247"/>
                      </a:lnTo>
                      <a:lnTo>
                        <a:pt x="799" y="1247"/>
                      </a:lnTo>
                      <a:lnTo>
                        <a:pt x="800" y="1247"/>
                      </a:lnTo>
                      <a:lnTo>
                        <a:pt x="800" y="1247"/>
                      </a:lnTo>
                      <a:lnTo>
                        <a:pt x="800" y="1247"/>
                      </a:lnTo>
                      <a:lnTo>
                        <a:pt x="803" y="1246"/>
                      </a:lnTo>
                      <a:lnTo>
                        <a:pt x="803" y="1246"/>
                      </a:lnTo>
                      <a:lnTo>
                        <a:pt x="804" y="1245"/>
                      </a:lnTo>
                      <a:lnTo>
                        <a:pt x="804" y="1244"/>
                      </a:lnTo>
                      <a:lnTo>
                        <a:pt x="805" y="1244"/>
                      </a:lnTo>
                      <a:lnTo>
                        <a:pt x="806" y="1243"/>
                      </a:lnTo>
                      <a:lnTo>
                        <a:pt x="808" y="1243"/>
                      </a:lnTo>
                      <a:lnTo>
                        <a:pt x="808" y="1243"/>
                      </a:lnTo>
                      <a:lnTo>
                        <a:pt x="810" y="1242"/>
                      </a:lnTo>
                      <a:lnTo>
                        <a:pt x="808" y="1242"/>
                      </a:lnTo>
                      <a:lnTo>
                        <a:pt x="810" y="1240"/>
                      </a:lnTo>
                      <a:lnTo>
                        <a:pt x="811" y="1239"/>
                      </a:lnTo>
                      <a:lnTo>
                        <a:pt x="811" y="1237"/>
                      </a:lnTo>
                      <a:lnTo>
                        <a:pt x="811" y="1237"/>
                      </a:lnTo>
                      <a:lnTo>
                        <a:pt x="812" y="1236"/>
                      </a:lnTo>
                      <a:lnTo>
                        <a:pt x="812" y="1235"/>
                      </a:lnTo>
                      <a:lnTo>
                        <a:pt x="813" y="1234"/>
                      </a:lnTo>
                      <a:lnTo>
                        <a:pt x="812" y="1234"/>
                      </a:lnTo>
                      <a:lnTo>
                        <a:pt x="812" y="1233"/>
                      </a:lnTo>
                      <a:lnTo>
                        <a:pt x="813" y="1233"/>
                      </a:lnTo>
                      <a:lnTo>
                        <a:pt x="816" y="1231"/>
                      </a:lnTo>
                      <a:lnTo>
                        <a:pt x="818" y="1231"/>
                      </a:lnTo>
                      <a:lnTo>
                        <a:pt x="819" y="1230"/>
                      </a:lnTo>
                      <a:lnTo>
                        <a:pt x="821" y="1230"/>
                      </a:lnTo>
                      <a:lnTo>
                        <a:pt x="821" y="1230"/>
                      </a:lnTo>
                      <a:lnTo>
                        <a:pt x="821" y="1231"/>
                      </a:lnTo>
                      <a:lnTo>
                        <a:pt x="821" y="1231"/>
                      </a:lnTo>
                      <a:lnTo>
                        <a:pt x="820" y="1233"/>
                      </a:lnTo>
                      <a:lnTo>
                        <a:pt x="820" y="1233"/>
                      </a:lnTo>
                      <a:lnTo>
                        <a:pt x="820" y="1234"/>
                      </a:lnTo>
                      <a:lnTo>
                        <a:pt x="820" y="1234"/>
                      </a:lnTo>
                      <a:lnTo>
                        <a:pt x="820" y="1236"/>
                      </a:lnTo>
                      <a:lnTo>
                        <a:pt x="818" y="1242"/>
                      </a:lnTo>
                      <a:lnTo>
                        <a:pt x="816" y="1243"/>
                      </a:lnTo>
                      <a:lnTo>
                        <a:pt x="815" y="1244"/>
                      </a:lnTo>
                      <a:lnTo>
                        <a:pt x="815" y="1245"/>
                      </a:lnTo>
                      <a:lnTo>
                        <a:pt x="813" y="1247"/>
                      </a:lnTo>
                      <a:lnTo>
                        <a:pt x="813" y="1249"/>
                      </a:lnTo>
                      <a:lnTo>
                        <a:pt x="812" y="1249"/>
                      </a:lnTo>
                      <a:lnTo>
                        <a:pt x="811" y="1251"/>
                      </a:lnTo>
                      <a:lnTo>
                        <a:pt x="811" y="1252"/>
                      </a:lnTo>
                      <a:lnTo>
                        <a:pt x="810" y="1253"/>
                      </a:lnTo>
                      <a:lnTo>
                        <a:pt x="808" y="1254"/>
                      </a:lnTo>
                      <a:lnTo>
                        <a:pt x="808" y="1254"/>
                      </a:lnTo>
                      <a:lnTo>
                        <a:pt x="807" y="1255"/>
                      </a:lnTo>
                      <a:lnTo>
                        <a:pt x="806" y="1256"/>
                      </a:lnTo>
                      <a:lnTo>
                        <a:pt x="806" y="1257"/>
                      </a:lnTo>
                      <a:lnTo>
                        <a:pt x="804" y="1260"/>
                      </a:lnTo>
                      <a:lnTo>
                        <a:pt x="804" y="1260"/>
                      </a:lnTo>
                      <a:lnTo>
                        <a:pt x="803" y="1261"/>
                      </a:lnTo>
                      <a:lnTo>
                        <a:pt x="803" y="1262"/>
                      </a:lnTo>
                      <a:lnTo>
                        <a:pt x="801" y="1265"/>
                      </a:lnTo>
                      <a:lnTo>
                        <a:pt x="800" y="1267"/>
                      </a:lnTo>
                      <a:lnTo>
                        <a:pt x="799" y="1268"/>
                      </a:lnTo>
                      <a:lnTo>
                        <a:pt x="797" y="1268"/>
                      </a:lnTo>
                      <a:lnTo>
                        <a:pt x="797" y="1269"/>
                      </a:lnTo>
                      <a:lnTo>
                        <a:pt x="795" y="1270"/>
                      </a:lnTo>
                      <a:lnTo>
                        <a:pt x="795" y="1272"/>
                      </a:lnTo>
                      <a:lnTo>
                        <a:pt x="793" y="1273"/>
                      </a:lnTo>
                      <a:lnTo>
                        <a:pt x="793" y="1274"/>
                      </a:lnTo>
                      <a:lnTo>
                        <a:pt x="792" y="1275"/>
                      </a:lnTo>
                      <a:lnTo>
                        <a:pt x="791" y="1275"/>
                      </a:lnTo>
                      <a:lnTo>
                        <a:pt x="790" y="1276"/>
                      </a:lnTo>
                      <a:lnTo>
                        <a:pt x="791" y="1278"/>
                      </a:lnTo>
                      <a:lnTo>
                        <a:pt x="790" y="1279"/>
                      </a:lnTo>
                      <a:lnTo>
                        <a:pt x="789" y="1282"/>
                      </a:lnTo>
                      <a:lnTo>
                        <a:pt x="788" y="1282"/>
                      </a:lnTo>
                      <a:lnTo>
                        <a:pt x="788" y="1283"/>
                      </a:lnTo>
                      <a:lnTo>
                        <a:pt x="788" y="1285"/>
                      </a:lnTo>
                      <a:lnTo>
                        <a:pt x="787" y="1286"/>
                      </a:lnTo>
                      <a:lnTo>
                        <a:pt x="786" y="1288"/>
                      </a:lnTo>
                      <a:lnTo>
                        <a:pt x="785" y="1289"/>
                      </a:lnTo>
                      <a:lnTo>
                        <a:pt x="785" y="1290"/>
                      </a:lnTo>
                      <a:lnTo>
                        <a:pt x="784" y="1290"/>
                      </a:lnTo>
                      <a:lnTo>
                        <a:pt x="784" y="1291"/>
                      </a:lnTo>
                      <a:lnTo>
                        <a:pt x="782" y="1292"/>
                      </a:lnTo>
                      <a:lnTo>
                        <a:pt x="782" y="1293"/>
                      </a:lnTo>
                      <a:lnTo>
                        <a:pt x="780" y="1295"/>
                      </a:lnTo>
                      <a:lnTo>
                        <a:pt x="780" y="1297"/>
                      </a:lnTo>
                      <a:lnTo>
                        <a:pt x="779" y="1297"/>
                      </a:lnTo>
                      <a:lnTo>
                        <a:pt x="779" y="1298"/>
                      </a:lnTo>
                      <a:lnTo>
                        <a:pt x="778" y="1298"/>
                      </a:lnTo>
                      <a:lnTo>
                        <a:pt x="776" y="1299"/>
                      </a:lnTo>
                      <a:lnTo>
                        <a:pt x="774" y="1298"/>
                      </a:lnTo>
                      <a:lnTo>
                        <a:pt x="772" y="1298"/>
                      </a:lnTo>
                      <a:lnTo>
                        <a:pt x="768" y="1299"/>
                      </a:lnTo>
                      <a:lnTo>
                        <a:pt x="768" y="1298"/>
                      </a:lnTo>
                      <a:lnTo>
                        <a:pt x="767" y="1298"/>
                      </a:lnTo>
                      <a:lnTo>
                        <a:pt x="765" y="1298"/>
                      </a:lnTo>
                      <a:lnTo>
                        <a:pt x="765" y="1296"/>
                      </a:lnTo>
                      <a:lnTo>
                        <a:pt x="765" y="1296"/>
                      </a:lnTo>
                      <a:lnTo>
                        <a:pt x="765" y="1294"/>
                      </a:lnTo>
                      <a:lnTo>
                        <a:pt x="766" y="1292"/>
                      </a:lnTo>
                      <a:lnTo>
                        <a:pt x="767" y="1290"/>
                      </a:lnTo>
                      <a:lnTo>
                        <a:pt x="767" y="1290"/>
                      </a:lnTo>
                      <a:lnTo>
                        <a:pt x="767" y="1289"/>
                      </a:lnTo>
                      <a:lnTo>
                        <a:pt x="767" y="1289"/>
                      </a:lnTo>
                      <a:lnTo>
                        <a:pt x="767" y="1288"/>
                      </a:lnTo>
                      <a:lnTo>
                        <a:pt x="768" y="1287"/>
                      </a:lnTo>
                      <a:lnTo>
                        <a:pt x="770" y="1285"/>
                      </a:lnTo>
                      <a:lnTo>
                        <a:pt x="770" y="1284"/>
                      </a:lnTo>
                      <a:lnTo>
                        <a:pt x="770" y="1284"/>
                      </a:lnTo>
                      <a:lnTo>
                        <a:pt x="770" y="1283"/>
                      </a:lnTo>
                      <a:lnTo>
                        <a:pt x="770" y="1282"/>
                      </a:lnTo>
                      <a:lnTo>
                        <a:pt x="770" y="1281"/>
                      </a:lnTo>
                      <a:lnTo>
                        <a:pt x="770" y="1282"/>
                      </a:lnTo>
                      <a:lnTo>
                        <a:pt x="769" y="1282"/>
                      </a:lnTo>
                      <a:lnTo>
                        <a:pt x="769" y="1282"/>
                      </a:lnTo>
                      <a:lnTo>
                        <a:pt x="769" y="1281"/>
                      </a:lnTo>
                      <a:lnTo>
                        <a:pt x="768" y="1281"/>
                      </a:lnTo>
                      <a:lnTo>
                        <a:pt x="768" y="1281"/>
                      </a:lnTo>
                      <a:lnTo>
                        <a:pt x="765" y="1281"/>
                      </a:lnTo>
                      <a:lnTo>
                        <a:pt x="764" y="1282"/>
                      </a:lnTo>
                      <a:lnTo>
                        <a:pt x="763" y="1283"/>
                      </a:lnTo>
                      <a:lnTo>
                        <a:pt x="763" y="1284"/>
                      </a:lnTo>
                      <a:lnTo>
                        <a:pt x="760" y="1284"/>
                      </a:lnTo>
                      <a:lnTo>
                        <a:pt x="757" y="1283"/>
                      </a:lnTo>
                      <a:lnTo>
                        <a:pt x="756" y="1284"/>
                      </a:lnTo>
                      <a:lnTo>
                        <a:pt x="755" y="1285"/>
                      </a:lnTo>
                      <a:lnTo>
                        <a:pt x="755" y="1285"/>
                      </a:lnTo>
                      <a:lnTo>
                        <a:pt x="754" y="1286"/>
                      </a:lnTo>
                      <a:lnTo>
                        <a:pt x="754" y="1286"/>
                      </a:lnTo>
                      <a:lnTo>
                        <a:pt x="753" y="1286"/>
                      </a:lnTo>
                      <a:lnTo>
                        <a:pt x="753" y="1287"/>
                      </a:lnTo>
                      <a:lnTo>
                        <a:pt x="752" y="1288"/>
                      </a:lnTo>
                      <a:lnTo>
                        <a:pt x="751" y="1288"/>
                      </a:lnTo>
                      <a:lnTo>
                        <a:pt x="750" y="1288"/>
                      </a:lnTo>
                      <a:lnTo>
                        <a:pt x="750" y="1289"/>
                      </a:lnTo>
                      <a:lnTo>
                        <a:pt x="749" y="1290"/>
                      </a:lnTo>
                      <a:lnTo>
                        <a:pt x="749" y="1291"/>
                      </a:lnTo>
                      <a:lnTo>
                        <a:pt x="747" y="1292"/>
                      </a:lnTo>
                      <a:lnTo>
                        <a:pt x="746" y="1293"/>
                      </a:lnTo>
                      <a:lnTo>
                        <a:pt x="746" y="1293"/>
                      </a:lnTo>
                      <a:lnTo>
                        <a:pt x="745" y="1294"/>
                      </a:lnTo>
                      <a:lnTo>
                        <a:pt x="745" y="1294"/>
                      </a:lnTo>
                      <a:lnTo>
                        <a:pt x="744" y="1295"/>
                      </a:lnTo>
                      <a:lnTo>
                        <a:pt x="744" y="1295"/>
                      </a:lnTo>
                      <a:lnTo>
                        <a:pt x="743" y="1297"/>
                      </a:lnTo>
                      <a:lnTo>
                        <a:pt x="742" y="1297"/>
                      </a:lnTo>
                      <a:lnTo>
                        <a:pt x="742" y="1297"/>
                      </a:lnTo>
                      <a:lnTo>
                        <a:pt x="740" y="1299"/>
                      </a:lnTo>
                      <a:lnTo>
                        <a:pt x="738" y="1300"/>
                      </a:lnTo>
                      <a:lnTo>
                        <a:pt x="738" y="1301"/>
                      </a:lnTo>
                      <a:lnTo>
                        <a:pt x="738" y="1301"/>
                      </a:lnTo>
                      <a:lnTo>
                        <a:pt x="736" y="1301"/>
                      </a:lnTo>
                      <a:lnTo>
                        <a:pt x="736" y="1301"/>
                      </a:lnTo>
                      <a:lnTo>
                        <a:pt x="735" y="1300"/>
                      </a:lnTo>
                      <a:lnTo>
                        <a:pt x="735" y="1300"/>
                      </a:lnTo>
                      <a:lnTo>
                        <a:pt x="729" y="1298"/>
                      </a:lnTo>
                      <a:lnTo>
                        <a:pt x="728" y="1299"/>
                      </a:lnTo>
                      <a:lnTo>
                        <a:pt x="724" y="1299"/>
                      </a:lnTo>
                      <a:lnTo>
                        <a:pt x="724" y="1300"/>
                      </a:lnTo>
                      <a:lnTo>
                        <a:pt x="722" y="1300"/>
                      </a:lnTo>
                      <a:lnTo>
                        <a:pt x="722" y="1301"/>
                      </a:lnTo>
                      <a:lnTo>
                        <a:pt x="722" y="1301"/>
                      </a:lnTo>
                      <a:lnTo>
                        <a:pt x="722" y="1303"/>
                      </a:lnTo>
                      <a:lnTo>
                        <a:pt x="719" y="1305"/>
                      </a:lnTo>
                      <a:lnTo>
                        <a:pt x="717" y="1305"/>
                      </a:lnTo>
                      <a:lnTo>
                        <a:pt x="716" y="1304"/>
                      </a:lnTo>
                      <a:lnTo>
                        <a:pt x="716" y="1304"/>
                      </a:lnTo>
                      <a:lnTo>
                        <a:pt x="715" y="1303"/>
                      </a:lnTo>
                      <a:lnTo>
                        <a:pt x="714" y="1303"/>
                      </a:lnTo>
                      <a:lnTo>
                        <a:pt x="712" y="1304"/>
                      </a:lnTo>
                      <a:lnTo>
                        <a:pt x="711" y="1304"/>
                      </a:lnTo>
                      <a:lnTo>
                        <a:pt x="711" y="1305"/>
                      </a:lnTo>
                      <a:lnTo>
                        <a:pt x="710" y="1305"/>
                      </a:lnTo>
                      <a:lnTo>
                        <a:pt x="710" y="1306"/>
                      </a:lnTo>
                      <a:lnTo>
                        <a:pt x="709" y="1308"/>
                      </a:lnTo>
                      <a:lnTo>
                        <a:pt x="710" y="1309"/>
                      </a:lnTo>
                      <a:lnTo>
                        <a:pt x="710" y="1310"/>
                      </a:lnTo>
                      <a:lnTo>
                        <a:pt x="710" y="1310"/>
                      </a:lnTo>
                      <a:lnTo>
                        <a:pt x="710" y="1311"/>
                      </a:lnTo>
                      <a:lnTo>
                        <a:pt x="710" y="1312"/>
                      </a:lnTo>
                      <a:lnTo>
                        <a:pt x="709" y="1312"/>
                      </a:lnTo>
                      <a:lnTo>
                        <a:pt x="709" y="1313"/>
                      </a:lnTo>
                      <a:lnTo>
                        <a:pt x="708" y="1313"/>
                      </a:lnTo>
                      <a:lnTo>
                        <a:pt x="707" y="1314"/>
                      </a:lnTo>
                      <a:lnTo>
                        <a:pt x="706" y="1314"/>
                      </a:lnTo>
                      <a:lnTo>
                        <a:pt x="705" y="1314"/>
                      </a:lnTo>
                      <a:lnTo>
                        <a:pt x="705" y="1314"/>
                      </a:lnTo>
                      <a:lnTo>
                        <a:pt x="705" y="1314"/>
                      </a:lnTo>
                      <a:lnTo>
                        <a:pt x="704" y="1314"/>
                      </a:lnTo>
                      <a:lnTo>
                        <a:pt x="703" y="1315"/>
                      </a:lnTo>
                      <a:lnTo>
                        <a:pt x="702" y="1316"/>
                      </a:lnTo>
                      <a:lnTo>
                        <a:pt x="701" y="1319"/>
                      </a:lnTo>
                      <a:lnTo>
                        <a:pt x="700" y="1319"/>
                      </a:lnTo>
                      <a:lnTo>
                        <a:pt x="700" y="1319"/>
                      </a:lnTo>
                      <a:lnTo>
                        <a:pt x="699" y="1320"/>
                      </a:lnTo>
                      <a:lnTo>
                        <a:pt x="699" y="1320"/>
                      </a:lnTo>
                      <a:lnTo>
                        <a:pt x="699" y="1320"/>
                      </a:lnTo>
                      <a:lnTo>
                        <a:pt x="696" y="1322"/>
                      </a:lnTo>
                      <a:lnTo>
                        <a:pt x="695" y="1323"/>
                      </a:lnTo>
                      <a:lnTo>
                        <a:pt x="695" y="1324"/>
                      </a:lnTo>
                      <a:lnTo>
                        <a:pt x="694" y="1325"/>
                      </a:lnTo>
                      <a:lnTo>
                        <a:pt x="693" y="1325"/>
                      </a:lnTo>
                      <a:lnTo>
                        <a:pt x="692" y="1326"/>
                      </a:lnTo>
                      <a:lnTo>
                        <a:pt x="692" y="1327"/>
                      </a:lnTo>
                      <a:lnTo>
                        <a:pt x="691" y="1327"/>
                      </a:lnTo>
                      <a:lnTo>
                        <a:pt x="691" y="1328"/>
                      </a:lnTo>
                      <a:lnTo>
                        <a:pt x="689" y="1328"/>
                      </a:lnTo>
                      <a:lnTo>
                        <a:pt x="689" y="1329"/>
                      </a:lnTo>
                      <a:lnTo>
                        <a:pt x="689" y="1329"/>
                      </a:lnTo>
                      <a:lnTo>
                        <a:pt x="688" y="1330"/>
                      </a:lnTo>
                      <a:lnTo>
                        <a:pt x="687" y="1330"/>
                      </a:lnTo>
                      <a:lnTo>
                        <a:pt x="686" y="1331"/>
                      </a:lnTo>
                      <a:lnTo>
                        <a:pt x="686" y="1332"/>
                      </a:lnTo>
                      <a:lnTo>
                        <a:pt x="685" y="1332"/>
                      </a:lnTo>
                      <a:lnTo>
                        <a:pt x="685" y="1333"/>
                      </a:lnTo>
                      <a:lnTo>
                        <a:pt x="685" y="1334"/>
                      </a:lnTo>
                      <a:lnTo>
                        <a:pt x="685" y="1334"/>
                      </a:lnTo>
                      <a:lnTo>
                        <a:pt x="685" y="1335"/>
                      </a:lnTo>
                      <a:lnTo>
                        <a:pt x="686" y="1336"/>
                      </a:lnTo>
                      <a:lnTo>
                        <a:pt x="686" y="1336"/>
                      </a:lnTo>
                      <a:lnTo>
                        <a:pt x="686" y="1337"/>
                      </a:lnTo>
                      <a:lnTo>
                        <a:pt x="687" y="1337"/>
                      </a:lnTo>
                      <a:lnTo>
                        <a:pt x="687" y="1338"/>
                      </a:lnTo>
                      <a:lnTo>
                        <a:pt x="686" y="1338"/>
                      </a:lnTo>
                      <a:lnTo>
                        <a:pt x="686" y="1339"/>
                      </a:lnTo>
                      <a:lnTo>
                        <a:pt x="685" y="1339"/>
                      </a:lnTo>
                      <a:lnTo>
                        <a:pt x="685" y="1341"/>
                      </a:lnTo>
                      <a:lnTo>
                        <a:pt x="684" y="1341"/>
                      </a:lnTo>
                      <a:lnTo>
                        <a:pt x="684" y="1342"/>
                      </a:lnTo>
                      <a:lnTo>
                        <a:pt x="684" y="1342"/>
                      </a:lnTo>
                      <a:lnTo>
                        <a:pt x="684" y="1342"/>
                      </a:lnTo>
                      <a:lnTo>
                        <a:pt x="684" y="1343"/>
                      </a:lnTo>
                      <a:lnTo>
                        <a:pt x="684" y="1343"/>
                      </a:lnTo>
                      <a:lnTo>
                        <a:pt x="685" y="1342"/>
                      </a:lnTo>
                      <a:lnTo>
                        <a:pt x="684" y="1342"/>
                      </a:lnTo>
                      <a:lnTo>
                        <a:pt x="684" y="1342"/>
                      </a:lnTo>
                      <a:lnTo>
                        <a:pt x="685" y="1342"/>
                      </a:lnTo>
                      <a:lnTo>
                        <a:pt x="685" y="1343"/>
                      </a:lnTo>
                      <a:lnTo>
                        <a:pt x="685" y="1343"/>
                      </a:lnTo>
                      <a:lnTo>
                        <a:pt x="686" y="1343"/>
                      </a:lnTo>
                      <a:lnTo>
                        <a:pt x="686" y="1343"/>
                      </a:lnTo>
                      <a:lnTo>
                        <a:pt x="688" y="1341"/>
                      </a:lnTo>
                      <a:lnTo>
                        <a:pt x="688" y="1341"/>
                      </a:lnTo>
                      <a:lnTo>
                        <a:pt x="689" y="1339"/>
                      </a:lnTo>
                      <a:lnTo>
                        <a:pt x="690" y="1338"/>
                      </a:lnTo>
                      <a:lnTo>
                        <a:pt x="691" y="1338"/>
                      </a:lnTo>
                      <a:lnTo>
                        <a:pt x="691" y="1337"/>
                      </a:lnTo>
                      <a:lnTo>
                        <a:pt x="692" y="1337"/>
                      </a:lnTo>
                      <a:lnTo>
                        <a:pt x="694" y="1335"/>
                      </a:lnTo>
                      <a:lnTo>
                        <a:pt x="695" y="1334"/>
                      </a:lnTo>
                      <a:lnTo>
                        <a:pt x="695" y="1333"/>
                      </a:lnTo>
                      <a:lnTo>
                        <a:pt x="696" y="1332"/>
                      </a:lnTo>
                      <a:lnTo>
                        <a:pt x="696" y="1332"/>
                      </a:lnTo>
                      <a:lnTo>
                        <a:pt x="699" y="1331"/>
                      </a:lnTo>
                      <a:lnTo>
                        <a:pt x="699" y="1330"/>
                      </a:lnTo>
                      <a:lnTo>
                        <a:pt x="699" y="1330"/>
                      </a:lnTo>
                      <a:lnTo>
                        <a:pt x="699" y="1330"/>
                      </a:lnTo>
                      <a:lnTo>
                        <a:pt x="699" y="1330"/>
                      </a:lnTo>
                      <a:lnTo>
                        <a:pt x="701" y="1328"/>
                      </a:lnTo>
                      <a:lnTo>
                        <a:pt x="704" y="1323"/>
                      </a:lnTo>
                      <a:lnTo>
                        <a:pt x="705" y="1322"/>
                      </a:lnTo>
                      <a:lnTo>
                        <a:pt x="707" y="1321"/>
                      </a:lnTo>
                      <a:lnTo>
                        <a:pt x="708" y="1320"/>
                      </a:lnTo>
                      <a:lnTo>
                        <a:pt x="710" y="1319"/>
                      </a:lnTo>
                      <a:lnTo>
                        <a:pt x="711" y="1318"/>
                      </a:lnTo>
                      <a:lnTo>
                        <a:pt x="712" y="1317"/>
                      </a:lnTo>
                      <a:lnTo>
                        <a:pt x="712" y="1317"/>
                      </a:lnTo>
                      <a:lnTo>
                        <a:pt x="713" y="1317"/>
                      </a:lnTo>
                      <a:lnTo>
                        <a:pt x="713" y="1316"/>
                      </a:lnTo>
                      <a:lnTo>
                        <a:pt x="714" y="1316"/>
                      </a:lnTo>
                      <a:lnTo>
                        <a:pt x="714" y="1315"/>
                      </a:lnTo>
                      <a:lnTo>
                        <a:pt x="715" y="1315"/>
                      </a:lnTo>
                      <a:lnTo>
                        <a:pt x="716" y="1314"/>
                      </a:lnTo>
                      <a:lnTo>
                        <a:pt x="717" y="1313"/>
                      </a:lnTo>
                      <a:lnTo>
                        <a:pt x="717" y="1313"/>
                      </a:lnTo>
                      <a:lnTo>
                        <a:pt x="717" y="1313"/>
                      </a:lnTo>
                      <a:lnTo>
                        <a:pt x="717" y="1312"/>
                      </a:lnTo>
                      <a:lnTo>
                        <a:pt x="719" y="1311"/>
                      </a:lnTo>
                      <a:lnTo>
                        <a:pt x="721" y="1309"/>
                      </a:lnTo>
                      <a:lnTo>
                        <a:pt x="725" y="1307"/>
                      </a:lnTo>
                      <a:lnTo>
                        <a:pt x="725" y="1307"/>
                      </a:lnTo>
                      <a:lnTo>
                        <a:pt x="726" y="1307"/>
                      </a:lnTo>
                      <a:lnTo>
                        <a:pt x="727" y="1306"/>
                      </a:lnTo>
                      <a:lnTo>
                        <a:pt x="729" y="1307"/>
                      </a:lnTo>
                      <a:lnTo>
                        <a:pt x="731" y="1306"/>
                      </a:lnTo>
                      <a:lnTo>
                        <a:pt x="732" y="1306"/>
                      </a:lnTo>
                      <a:lnTo>
                        <a:pt x="733" y="1306"/>
                      </a:lnTo>
                      <a:lnTo>
                        <a:pt x="735" y="1306"/>
                      </a:lnTo>
                      <a:lnTo>
                        <a:pt x="737" y="1306"/>
                      </a:lnTo>
                      <a:lnTo>
                        <a:pt x="738" y="1306"/>
                      </a:lnTo>
                      <a:lnTo>
                        <a:pt x="739" y="1306"/>
                      </a:lnTo>
                      <a:lnTo>
                        <a:pt x="739" y="1308"/>
                      </a:lnTo>
                      <a:lnTo>
                        <a:pt x="739" y="1309"/>
                      </a:lnTo>
                      <a:lnTo>
                        <a:pt x="738" y="1309"/>
                      </a:lnTo>
                      <a:lnTo>
                        <a:pt x="738" y="1311"/>
                      </a:lnTo>
                      <a:lnTo>
                        <a:pt x="739" y="1312"/>
                      </a:lnTo>
                      <a:lnTo>
                        <a:pt x="739" y="1313"/>
                      </a:lnTo>
                      <a:lnTo>
                        <a:pt x="740" y="1313"/>
                      </a:lnTo>
                      <a:lnTo>
                        <a:pt x="743" y="1312"/>
                      </a:lnTo>
                      <a:lnTo>
                        <a:pt x="745" y="1312"/>
                      </a:lnTo>
                      <a:lnTo>
                        <a:pt x="745" y="1312"/>
                      </a:lnTo>
                      <a:lnTo>
                        <a:pt x="746" y="1312"/>
                      </a:lnTo>
                      <a:lnTo>
                        <a:pt x="748" y="1312"/>
                      </a:lnTo>
                      <a:lnTo>
                        <a:pt x="749" y="1311"/>
                      </a:lnTo>
                      <a:lnTo>
                        <a:pt x="750" y="1311"/>
                      </a:lnTo>
                      <a:lnTo>
                        <a:pt x="751" y="1310"/>
                      </a:lnTo>
                      <a:lnTo>
                        <a:pt x="755" y="1310"/>
                      </a:lnTo>
                      <a:lnTo>
                        <a:pt x="757" y="1308"/>
                      </a:lnTo>
                      <a:lnTo>
                        <a:pt x="758" y="1308"/>
                      </a:lnTo>
                      <a:lnTo>
                        <a:pt x="759" y="1307"/>
                      </a:lnTo>
                      <a:lnTo>
                        <a:pt x="760" y="1306"/>
                      </a:lnTo>
                      <a:lnTo>
                        <a:pt x="761" y="1306"/>
                      </a:lnTo>
                      <a:lnTo>
                        <a:pt x="762" y="1306"/>
                      </a:lnTo>
                      <a:lnTo>
                        <a:pt x="763" y="1305"/>
                      </a:lnTo>
                      <a:lnTo>
                        <a:pt x="764" y="1304"/>
                      </a:lnTo>
                      <a:lnTo>
                        <a:pt x="765" y="1303"/>
                      </a:lnTo>
                      <a:lnTo>
                        <a:pt x="764" y="1303"/>
                      </a:lnTo>
                      <a:lnTo>
                        <a:pt x="764" y="1303"/>
                      </a:lnTo>
                      <a:lnTo>
                        <a:pt x="765" y="1303"/>
                      </a:lnTo>
                      <a:lnTo>
                        <a:pt x="765" y="1301"/>
                      </a:lnTo>
                      <a:lnTo>
                        <a:pt x="766" y="1303"/>
                      </a:lnTo>
                      <a:lnTo>
                        <a:pt x="766" y="1304"/>
                      </a:lnTo>
                      <a:lnTo>
                        <a:pt x="768" y="1304"/>
                      </a:lnTo>
                      <a:lnTo>
                        <a:pt x="770" y="1304"/>
                      </a:lnTo>
                      <a:lnTo>
                        <a:pt x="772" y="1304"/>
                      </a:lnTo>
                      <a:lnTo>
                        <a:pt x="773" y="1304"/>
                      </a:lnTo>
                      <a:lnTo>
                        <a:pt x="775" y="1305"/>
                      </a:lnTo>
                      <a:lnTo>
                        <a:pt x="775" y="1306"/>
                      </a:lnTo>
                      <a:lnTo>
                        <a:pt x="775" y="1306"/>
                      </a:lnTo>
                      <a:lnTo>
                        <a:pt x="775" y="1307"/>
                      </a:lnTo>
                      <a:lnTo>
                        <a:pt x="774" y="1307"/>
                      </a:lnTo>
                      <a:lnTo>
                        <a:pt x="773" y="1309"/>
                      </a:lnTo>
                      <a:lnTo>
                        <a:pt x="772" y="1310"/>
                      </a:lnTo>
                      <a:lnTo>
                        <a:pt x="772" y="1311"/>
                      </a:lnTo>
                      <a:lnTo>
                        <a:pt x="770" y="1311"/>
                      </a:lnTo>
                      <a:lnTo>
                        <a:pt x="767" y="1312"/>
                      </a:lnTo>
                      <a:lnTo>
                        <a:pt x="767" y="1313"/>
                      </a:lnTo>
                      <a:lnTo>
                        <a:pt x="767" y="1314"/>
                      </a:lnTo>
                      <a:lnTo>
                        <a:pt x="767" y="1314"/>
                      </a:lnTo>
                      <a:lnTo>
                        <a:pt x="764" y="1316"/>
                      </a:lnTo>
                      <a:lnTo>
                        <a:pt x="764" y="1317"/>
                      </a:lnTo>
                      <a:lnTo>
                        <a:pt x="763" y="1317"/>
                      </a:lnTo>
                      <a:lnTo>
                        <a:pt x="762" y="1319"/>
                      </a:lnTo>
                      <a:lnTo>
                        <a:pt x="762" y="1319"/>
                      </a:lnTo>
                      <a:lnTo>
                        <a:pt x="760" y="1322"/>
                      </a:lnTo>
                      <a:lnTo>
                        <a:pt x="759" y="1324"/>
                      </a:lnTo>
                      <a:lnTo>
                        <a:pt x="759" y="1324"/>
                      </a:lnTo>
                      <a:lnTo>
                        <a:pt x="756" y="1326"/>
                      </a:lnTo>
                      <a:lnTo>
                        <a:pt x="756" y="1328"/>
                      </a:lnTo>
                      <a:lnTo>
                        <a:pt x="755" y="1328"/>
                      </a:lnTo>
                      <a:lnTo>
                        <a:pt x="754" y="1330"/>
                      </a:lnTo>
                      <a:lnTo>
                        <a:pt x="752" y="1332"/>
                      </a:lnTo>
                      <a:lnTo>
                        <a:pt x="751" y="1336"/>
                      </a:lnTo>
                      <a:lnTo>
                        <a:pt x="750" y="1336"/>
                      </a:lnTo>
                      <a:lnTo>
                        <a:pt x="750" y="1337"/>
                      </a:lnTo>
                      <a:lnTo>
                        <a:pt x="750" y="1339"/>
                      </a:lnTo>
                      <a:lnTo>
                        <a:pt x="751" y="1342"/>
                      </a:lnTo>
                      <a:lnTo>
                        <a:pt x="751" y="1343"/>
                      </a:lnTo>
                      <a:lnTo>
                        <a:pt x="751" y="1343"/>
                      </a:lnTo>
                      <a:lnTo>
                        <a:pt x="752" y="1344"/>
                      </a:lnTo>
                      <a:lnTo>
                        <a:pt x="753" y="1345"/>
                      </a:lnTo>
                      <a:lnTo>
                        <a:pt x="754" y="1345"/>
                      </a:lnTo>
                      <a:lnTo>
                        <a:pt x="754" y="1346"/>
                      </a:lnTo>
                      <a:lnTo>
                        <a:pt x="753" y="1346"/>
                      </a:lnTo>
                      <a:lnTo>
                        <a:pt x="752" y="1345"/>
                      </a:lnTo>
                      <a:lnTo>
                        <a:pt x="749" y="1344"/>
                      </a:lnTo>
                      <a:lnTo>
                        <a:pt x="747" y="1344"/>
                      </a:lnTo>
                      <a:lnTo>
                        <a:pt x="745" y="1343"/>
                      </a:lnTo>
                      <a:lnTo>
                        <a:pt x="744" y="1344"/>
                      </a:lnTo>
                      <a:lnTo>
                        <a:pt x="744" y="1344"/>
                      </a:lnTo>
                      <a:lnTo>
                        <a:pt x="743" y="1345"/>
                      </a:lnTo>
                      <a:lnTo>
                        <a:pt x="742" y="1345"/>
                      </a:lnTo>
                      <a:lnTo>
                        <a:pt x="740" y="1346"/>
                      </a:lnTo>
                      <a:lnTo>
                        <a:pt x="740" y="1347"/>
                      </a:lnTo>
                      <a:lnTo>
                        <a:pt x="739" y="1348"/>
                      </a:lnTo>
                      <a:lnTo>
                        <a:pt x="739" y="1348"/>
                      </a:lnTo>
                      <a:lnTo>
                        <a:pt x="738" y="1348"/>
                      </a:lnTo>
                      <a:lnTo>
                        <a:pt x="738" y="1348"/>
                      </a:lnTo>
                      <a:lnTo>
                        <a:pt x="738" y="1349"/>
                      </a:lnTo>
                      <a:lnTo>
                        <a:pt x="737" y="1349"/>
                      </a:lnTo>
                      <a:lnTo>
                        <a:pt x="737" y="1350"/>
                      </a:lnTo>
                      <a:lnTo>
                        <a:pt x="736" y="1351"/>
                      </a:lnTo>
                      <a:lnTo>
                        <a:pt x="737" y="1353"/>
                      </a:lnTo>
                      <a:lnTo>
                        <a:pt x="737" y="1354"/>
                      </a:lnTo>
                      <a:lnTo>
                        <a:pt x="736" y="1354"/>
                      </a:lnTo>
                      <a:lnTo>
                        <a:pt x="735" y="1356"/>
                      </a:lnTo>
                      <a:lnTo>
                        <a:pt x="733" y="1356"/>
                      </a:lnTo>
                      <a:lnTo>
                        <a:pt x="732" y="1356"/>
                      </a:lnTo>
                      <a:lnTo>
                        <a:pt x="731" y="1356"/>
                      </a:lnTo>
                      <a:lnTo>
                        <a:pt x="731" y="1355"/>
                      </a:lnTo>
                      <a:lnTo>
                        <a:pt x="730" y="1355"/>
                      </a:lnTo>
                      <a:lnTo>
                        <a:pt x="729" y="1355"/>
                      </a:lnTo>
                      <a:lnTo>
                        <a:pt x="728" y="1355"/>
                      </a:lnTo>
                      <a:lnTo>
                        <a:pt x="725" y="1354"/>
                      </a:lnTo>
                      <a:lnTo>
                        <a:pt x="724" y="1354"/>
                      </a:lnTo>
                      <a:lnTo>
                        <a:pt x="723" y="1354"/>
                      </a:lnTo>
                      <a:lnTo>
                        <a:pt x="722" y="1354"/>
                      </a:lnTo>
                      <a:lnTo>
                        <a:pt x="722" y="1354"/>
                      </a:lnTo>
                      <a:lnTo>
                        <a:pt x="721" y="1354"/>
                      </a:lnTo>
                      <a:lnTo>
                        <a:pt x="721" y="1355"/>
                      </a:lnTo>
                      <a:lnTo>
                        <a:pt x="721" y="1355"/>
                      </a:lnTo>
                      <a:lnTo>
                        <a:pt x="721" y="1355"/>
                      </a:lnTo>
                      <a:lnTo>
                        <a:pt x="721" y="1356"/>
                      </a:lnTo>
                      <a:lnTo>
                        <a:pt x="721" y="1356"/>
                      </a:lnTo>
                      <a:lnTo>
                        <a:pt x="724" y="1356"/>
                      </a:lnTo>
                      <a:lnTo>
                        <a:pt x="725" y="1357"/>
                      </a:lnTo>
                      <a:lnTo>
                        <a:pt x="725" y="1357"/>
                      </a:lnTo>
                      <a:lnTo>
                        <a:pt x="727" y="1357"/>
                      </a:lnTo>
                      <a:lnTo>
                        <a:pt x="728" y="1357"/>
                      </a:lnTo>
                      <a:lnTo>
                        <a:pt x="729" y="1358"/>
                      </a:lnTo>
                      <a:lnTo>
                        <a:pt x="730" y="1357"/>
                      </a:lnTo>
                      <a:lnTo>
                        <a:pt x="731" y="1357"/>
                      </a:lnTo>
                      <a:lnTo>
                        <a:pt x="731" y="1358"/>
                      </a:lnTo>
                      <a:lnTo>
                        <a:pt x="732" y="1358"/>
                      </a:lnTo>
                      <a:lnTo>
                        <a:pt x="732" y="1360"/>
                      </a:lnTo>
                      <a:lnTo>
                        <a:pt x="731" y="1361"/>
                      </a:lnTo>
                      <a:lnTo>
                        <a:pt x="731" y="1363"/>
                      </a:lnTo>
                      <a:lnTo>
                        <a:pt x="730" y="1364"/>
                      </a:lnTo>
                      <a:lnTo>
                        <a:pt x="729" y="1366"/>
                      </a:lnTo>
                      <a:lnTo>
                        <a:pt x="729" y="1367"/>
                      </a:lnTo>
                      <a:lnTo>
                        <a:pt x="727" y="1367"/>
                      </a:lnTo>
                      <a:lnTo>
                        <a:pt x="727" y="1368"/>
                      </a:lnTo>
                      <a:lnTo>
                        <a:pt x="726" y="1369"/>
                      </a:lnTo>
                      <a:lnTo>
                        <a:pt x="725" y="1370"/>
                      </a:lnTo>
                      <a:lnTo>
                        <a:pt x="724" y="1371"/>
                      </a:lnTo>
                      <a:lnTo>
                        <a:pt x="724" y="1372"/>
                      </a:lnTo>
                      <a:lnTo>
                        <a:pt x="724" y="1372"/>
                      </a:lnTo>
                      <a:lnTo>
                        <a:pt x="724" y="1373"/>
                      </a:lnTo>
                      <a:lnTo>
                        <a:pt x="721" y="1374"/>
                      </a:lnTo>
                      <a:lnTo>
                        <a:pt x="718" y="1373"/>
                      </a:lnTo>
                      <a:lnTo>
                        <a:pt x="716" y="1372"/>
                      </a:lnTo>
                      <a:lnTo>
                        <a:pt x="715" y="1372"/>
                      </a:lnTo>
                      <a:lnTo>
                        <a:pt x="713" y="1372"/>
                      </a:lnTo>
                      <a:lnTo>
                        <a:pt x="708" y="1373"/>
                      </a:lnTo>
                      <a:lnTo>
                        <a:pt x="707" y="1373"/>
                      </a:lnTo>
                      <a:lnTo>
                        <a:pt x="706" y="1372"/>
                      </a:lnTo>
                      <a:lnTo>
                        <a:pt x="704" y="1372"/>
                      </a:lnTo>
                      <a:lnTo>
                        <a:pt x="703" y="1372"/>
                      </a:lnTo>
                      <a:lnTo>
                        <a:pt x="702" y="1372"/>
                      </a:lnTo>
                      <a:lnTo>
                        <a:pt x="701" y="1372"/>
                      </a:lnTo>
                      <a:lnTo>
                        <a:pt x="701" y="1372"/>
                      </a:lnTo>
                      <a:lnTo>
                        <a:pt x="700" y="1371"/>
                      </a:lnTo>
                      <a:lnTo>
                        <a:pt x="699" y="1370"/>
                      </a:lnTo>
                      <a:lnTo>
                        <a:pt x="699" y="1370"/>
                      </a:lnTo>
                      <a:lnTo>
                        <a:pt x="696" y="1369"/>
                      </a:lnTo>
                      <a:lnTo>
                        <a:pt x="695" y="1370"/>
                      </a:lnTo>
                      <a:lnTo>
                        <a:pt x="695" y="1369"/>
                      </a:lnTo>
                      <a:lnTo>
                        <a:pt x="695" y="1369"/>
                      </a:lnTo>
                      <a:lnTo>
                        <a:pt x="694" y="1370"/>
                      </a:lnTo>
                      <a:lnTo>
                        <a:pt x="693" y="1369"/>
                      </a:lnTo>
                      <a:lnTo>
                        <a:pt x="690" y="1370"/>
                      </a:lnTo>
                      <a:lnTo>
                        <a:pt x="688" y="1371"/>
                      </a:lnTo>
                      <a:lnTo>
                        <a:pt x="687" y="1372"/>
                      </a:lnTo>
                      <a:lnTo>
                        <a:pt x="685" y="1372"/>
                      </a:lnTo>
                      <a:lnTo>
                        <a:pt x="685" y="1374"/>
                      </a:lnTo>
                      <a:lnTo>
                        <a:pt x="684" y="1376"/>
                      </a:lnTo>
                      <a:lnTo>
                        <a:pt x="682" y="1378"/>
                      </a:lnTo>
                      <a:lnTo>
                        <a:pt x="682" y="1379"/>
                      </a:lnTo>
                      <a:lnTo>
                        <a:pt x="681" y="1381"/>
                      </a:lnTo>
                      <a:lnTo>
                        <a:pt x="680" y="1381"/>
                      </a:lnTo>
                      <a:lnTo>
                        <a:pt x="679" y="1381"/>
                      </a:lnTo>
                      <a:lnTo>
                        <a:pt x="679" y="1381"/>
                      </a:lnTo>
                      <a:lnTo>
                        <a:pt x="681" y="1381"/>
                      </a:lnTo>
                      <a:lnTo>
                        <a:pt x="681" y="1381"/>
                      </a:lnTo>
                      <a:lnTo>
                        <a:pt x="681" y="1381"/>
                      </a:lnTo>
                      <a:lnTo>
                        <a:pt x="682" y="1379"/>
                      </a:lnTo>
                      <a:lnTo>
                        <a:pt x="682" y="1379"/>
                      </a:lnTo>
                      <a:lnTo>
                        <a:pt x="682" y="1379"/>
                      </a:lnTo>
                      <a:lnTo>
                        <a:pt x="683" y="1378"/>
                      </a:lnTo>
                      <a:lnTo>
                        <a:pt x="684" y="1378"/>
                      </a:lnTo>
                      <a:lnTo>
                        <a:pt x="684" y="1378"/>
                      </a:lnTo>
                      <a:lnTo>
                        <a:pt x="685" y="1375"/>
                      </a:lnTo>
                      <a:lnTo>
                        <a:pt x="686" y="1375"/>
                      </a:lnTo>
                      <a:lnTo>
                        <a:pt x="687" y="1374"/>
                      </a:lnTo>
                      <a:lnTo>
                        <a:pt x="689" y="1376"/>
                      </a:lnTo>
                      <a:lnTo>
                        <a:pt x="689" y="1376"/>
                      </a:lnTo>
                      <a:lnTo>
                        <a:pt x="690" y="1378"/>
                      </a:lnTo>
                      <a:lnTo>
                        <a:pt x="690" y="1379"/>
                      </a:lnTo>
                      <a:lnTo>
                        <a:pt x="691" y="1380"/>
                      </a:lnTo>
                      <a:lnTo>
                        <a:pt x="691" y="1381"/>
                      </a:lnTo>
                      <a:lnTo>
                        <a:pt x="692" y="1381"/>
                      </a:lnTo>
                      <a:lnTo>
                        <a:pt x="692" y="1381"/>
                      </a:lnTo>
                      <a:lnTo>
                        <a:pt x="692" y="1381"/>
                      </a:lnTo>
                      <a:lnTo>
                        <a:pt x="694" y="1382"/>
                      </a:lnTo>
                      <a:lnTo>
                        <a:pt x="695" y="1382"/>
                      </a:lnTo>
                      <a:lnTo>
                        <a:pt x="696" y="1382"/>
                      </a:lnTo>
                      <a:lnTo>
                        <a:pt x="696" y="1382"/>
                      </a:lnTo>
                      <a:lnTo>
                        <a:pt x="696" y="1381"/>
                      </a:lnTo>
                      <a:lnTo>
                        <a:pt x="699" y="1381"/>
                      </a:lnTo>
                      <a:lnTo>
                        <a:pt x="705" y="1380"/>
                      </a:lnTo>
                      <a:lnTo>
                        <a:pt x="705" y="1381"/>
                      </a:lnTo>
                      <a:lnTo>
                        <a:pt x="706" y="1381"/>
                      </a:lnTo>
                      <a:lnTo>
                        <a:pt x="706" y="1382"/>
                      </a:lnTo>
                      <a:lnTo>
                        <a:pt x="707" y="1382"/>
                      </a:lnTo>
                      <a:lnTo>
                        <a:pt x="707" y="1382"/>
                      </a:lnTo>
                      <a:lnTo>
                        <a:pt x="708" y="1382"/>
                      </a:lnTo>
                      <a:lnTo>
                        <a:pt x="709" y="1381"/>
                      </a:lnTo>
                      <a:lnTo>
                        <a:pt x="709" y="1381"/>
                      </a:lnTo>
                      <a:lnTo>
                        <a:pt x="709" y="1381"/>
                      </a:lnTo>
                      <a:lnTo>
                        <a:pt x="712" y="1381"/>
                      </a:lnTo>
                      <a:lnTo>
                        <a:pt x="713" y="1381"/>
                      </a:lnTo>
                      <a:lnTo>
                        <a:pt x="714" y="1381"/>
                      </a:lnTo>
                      <a:lnTo>
                        <a:pt x="715" y="1380"/>
                      </a:lnTo>
                      <a:lnTo>
                        <a:pt x="718" y="1379"/>
                      </a:lnTo>
                      <a:lnTo>
                        <a:pt x="718" y="1379"/>
                      </a:lnTo>
                      <a:lnTo>
                        <a:pt x="717" y="1378"/>
                      </a:lnTo>
                      <a:lnTo>
                        <a:pt x="718" y="1378"/>
                      </a:lnTo>
                      <a:lnTo>
                        <a:pt x="718" y="1378"/>
                      </a:lnTo>
                      <a:lnTo>
                        <a:pt x="720" y="1378"/>
                      </a:lnTo>
                      <a:lnTo>
                        <a:pt x="721" y="1376"/>
                      </a:lnTo>
                      <a:lnTo>
                        <a:pt x="721" y="1375"/>
                      </a:lnTo>
                      <a:lnTo>
                        <a:pt x="721" y="1375"/>
                      </a:lnTo>
                      <a:lnTo>
                        <a:pt x="722" y="1375"/>
                      </a:lnTo>
                      <a:lnTo>
                        <a:pt x="723" y="1376"/>
                      </a:lnTo>
                      <a:lnTo>
                        <a:pt x="726" y="1375"/>
                      </a:lnTo>
                      <a:lnTo>
                        <a:pt x="726" y="1375"/>
                      </a:lnTo>
                      <a:lnTo>
                        <a:pt x="727" y="1375"/>
                      </a:lnTo>
                      <a:lnTo>
                        <a:pt x="728" y="1375"/>
                      </a:lnTo>
                      <a:lnTo>
                        <a:pt x="728" y="1376"/>
                      </a:lnTo>
                      <a:lnTo>
                        <a:pt x="729" y="1376"/>
                      </a:lnTo>
                      <a:lnTo>
                        <a:pt x="729" y="1376"/>
                      </a:lnTo>
                      <a:lnTo>
                        <a:pt x="730" y="1376"/>
                      </a:lnTo>
                      <a:lnTo>
                        <a:pt x="730" y="1376"/>
                      </a:lnTo>
                      <a:lnTo>
                        <a:pt x="730" y="1378"/>
                      </a:lnTo>
                      <a:lnTo>
                        <a:pt x="731" y="1379"/>
                      </a:lnTo>
                      <a:lnTo>
                        <a:pt x="732" y="1379"/>
                      </a:lnTo>
                      <a:lnTo>
                        <a:pt x="733" y="1379"/>
                      </a:lnTo>
                      <a:lnTo>
                        <a:pt x="733" y="1379"/>
                      </a:lnTo>
                      <a:lnTo>
                        <a:pt x="733" y="1380"/>
                      </a:lnTo>
                      <a:lnTo>
                        <a:pt x="735" y="1380"/>
                      </a:lnTo>
                      <a:lnTo>
                        <a:pt x="736" y="1380"/>
                      </a:lnTo>
                      <a:lnTo>
                        <a:pt x="737" y="1379"/>
                      </a:lnTo>
                      <a:lnTo>
                        <a:pt x="738" y="1378"/>
                      </a:lnTo>
                      <a:lnTo>
                        <a:pt x="739" y="1378"/>
                      </a:lnTo>
                      <a:lnTo>
                        <a:pt x="739" y="1378"/>
                      </a:lnTo>
                      <a:lnTo>
                        <a:pt x="739" y="1378"/>
                      </a:lnTo>
                      <a:lnTo>
                        <a:pt x="740" y="1376"/>
                      </a:lnTo>
                      <a:lnTo>
                        <a:pt x="740" y="1376"/>
                      </a:lnTo>
                      <a:lnTo>
                        <a:pt x="740" y="1375"/>
                      </a:lnTo>
                      <a:lnTo>
                        <a:pt x="741" y="1375"/>
                      </a:lnTo>
                      <a:lnTo>
                        <a:pt x="741" y="1374"/>
                      </a:lnTo>
                      <a:lnTo>
                        <a:pt x="742" y="1373"/>
                      </a:lnTo>
                      <a:lnTo>
                        <a:pt x="742" y="1371"/>
                      </a:lnTo>
                      <a:lnTo>
                        <a:pt x="742" y="1369"/>
                      </a:lnTo>
                      <a:lnTo>
                        <a:pt x="742" y="1367"/>
                      </a:lnTo>
                      <a:lnTo>
                        <a:pt x="743" y="1367"/>
                      </a:lnTo>
                      <a:lnTo>
                        <a:pt x="745" y="1367"/>
                      </a:lnTo>
                      <a:lnTo>
                        <a:pt x="747" y="1368"/>
                      </a:lnTo>
                      <a:lnTo>
                        <a:pt x="749" y="1367"/>
                      </a:lnTo>
                      <a:lnTo>
                        <a:pt x="750" y="1366"/>
                      </a:lnTo>
                      <a:lnTo>
                        <a:pt x="749" y="1367"/>
                      </a:lnTo>
                      <a:lnTo>
                        <a:pt x="748" y="1366"/>
                      </a:lnTo>
                      <a:lnTo>
                        <a:pt x="748" y="1366"/>
                      </a:lnTo>
                      <a:lnTo>
                        <a:pt x="749" y="1365"/>
                      </a:lnTo>
                      <a:lnTo>
                        <a:pt x="751" y="1360"/>
                      </a:lnTo>
                      <a:lnTo>
                        <a:pt x="753" y="1359"/>
                      </a:lnTo>
                      <a:lnTo>
                        <a:pt x="754" y="1358"/>
                      </a:lnTo>
                      <a:lnTo>
                        <a:pt x="754" y="1358"/>
                      </a:lnTo>
                      <a:lnTo>
                        <a:pt x="755" y="1357"/>
                      </a:lnTo>
                      <a:lnTo>
                        <a:pt x="757" y="1356"/>
                      </a:lnTo>
                      <a:lnTo>
                        <a:pt x="757" y="1356"/>
                      </a:lnTo>
                      <a:lnTo>
                        <a:pt x="760" y="1355"/>
                      </a:lnTo>
                      <a:lnTo>
                        <a:pt x="762" y="1353"/>
                      </a:lnTo>
                      <a:lnTo>
                        <a:pt x="764" y="1352"/>
                      </a:lnTo>
                      <a:lnTo>
                        <a:pt x="764" y="1351"/>
                      </a:lnTo>
                      <a:lnTo>
                        <a:pt x="764" y="1350"/>
                      </a:lnTo>
                      <a:lnTo>
                        <a:pt x="764" y="1349"/>
                      </a:lnTo>
                      <a:lnTo>
                        <a:pt x="765" y="1347"/>
                      </a:lnTo>
                      <a:lnTo>
                        <a:pt x="763" y="1344"/>
                      </a:lnTo>
                      <a:lnTo>
                        <a:pt x="761" y="1342"/>
                      </a:lnTo>
                      <a:lnTo>
                        <a:pt x="760" y="1342"/>
                      </a:lnTo>
                      <a:lnTo>
                        <a:pt x="759" y="1342"/>
                      </a:lnTo>
                      <a:lnTo>
                        <a:pt x="758" y="1343"/>
                      </a:lnTo>
                      <a:lnTo>
                        <a:pt x="757" y="1342"/>
                      </a:lnTo>
                      <a:lnTo>
                        <a:pt x="757" y="1342"/>
                      </a:lnTo>
                      <a:lnTo>
                        <a:pt x="758" y="1341"/>
                      </a:lnTo>
                      <a:lnTo>
                        <a:pt x="760" y="1339"/>
                      </a:lnTo>
                      <a:lnTo>
                        <a:pt x="760" y="1338"/>
                      </a:lnTo>
                      <a:lnTo>
                        <a:pt x="760" y="1338"/>
                      </a:lnTo>
                      <a:lnTo>
                        <a:pt x="761" y="1337"/>
                      </a:lnTo>
                      <a:lnTo>
                        <a:pt x="761" y="1337"/>
                      </a:lnTo>
                      <a:lnTo>
                        <a:pt x="762" y="1338"/>
                      </a:lnTo>
                      <a:lnTo>
                        <a:pt x="764" y="1337"/>
                      </a:lnTo>
                      <a:lnTo>
                        <a:pt x="766" y="1338"/>
                      </a:lnTo>
                      <a:lnTo>
                        <a:pt x="769" y="1337"/>
                      </a:lnTo>
                      <a:lnTo>
                        <a:pt x="772" y="1337"/>
                      </a:lnTo>
                      <a:lnTo>
                        <a:pt x="772" y="1336"/>
                      </a:lnTo>
                      <a:lnTo>
                        <a:pt x="770" y="1337"/>
                      </a:lnTo>
                      <a:lnTo>
                        <a:pt x="770" y="1336"/>
                      </a:lnTo>
                      <a:lnTo>
                        <a:pt x="769" y="1336"/>
                      </a:lnTo>
                      <a:lnTo>
                        <a:pt x="769" y="1335"/>
                      </a:lnTo>
                      <a:lnTo>
                        <a:pt x="772" y="1334"/>
                      </a:lnTo>
                      <a:lnTo>
                        <a:pt x="773" y="1334"/>
                      </a:lnTo>
                      <a:lnTo>
                        <a:pt x="773" y="1334"/>
                      </a:lnTo>
                      <a:lnTo>
                        <a:pt x="775" y="1335"/>
                      </a:lnTo>
                      <a:lnTo>
                        <a:pt x="778" y="1337"/>
                      </a:lnTo>
                      <a:lnTo>
                        <a:pt x="778" y="1336"/>
                      </a:lnTo>
                      <a:lnTo>
                        <a:pt x="777" y="1336"/>
                      </a:lnTo>
                      <a:lnTo>
                        <a:pt x="776" y="1335"/>
                      </a:lnTo>
                      <a:lnTo>
                        <a:pt x="774" y="1334"/>
                      </a:lnTo>
                      <a:lnTo>
                        <a:pt x="773" y="1334"/>
                      </a:lnTo>
                      <a:lnTo>
                        <a:pt x="772" y="1333"/>
                      </a:lnTo>
                      <a:lnTo>
                        <a:pt x="772" y="1333"/>
                      </a:lnTo>
                      <a:lnTo>
                        <a:pt x="773" y="1333"/>
                      </a:lnTo>
                      <a:lnTo>
                        <a:pt x="780" y="1337"/>
                      </a:lnTo>
                      <a:lnTo>
                        <a:pt x="783" y="1338"/>
                      </a:lnTo>
                      <a:lnTo>
                        <a:pt x="783" y="1338"/>
                      </a:lnTo>
                      <a:lnTo>
                        <a:pt x="788" y="1341"/>
                      </a:lnTo>
                      <a:lnTo>
                        <a:pt x="788" y="1341"/>
                      </a:lnTo>
                      <a:lnTo>
                        <a:pt x="789" y="1339"/>
                      </a:lnTo>
                      <a:lnTo>
                        <a:pt x="791" y="1341"/>
                      </a:lnTo>
                      <a:lnTo>
                        <a:pt x="792" y="1341"/>
                      </a:lnTo>
                      <a:lnTo>
                        <a:pt x="792" y="1339"/>
                      </a:lnTo>
                      <a:lnTo>
                        <a:pt x="793" y="1341"/>
                      </a:lnTo>
                      <a:lnTo>
                        <a:pt x="793" y="1339"/>
                      </a:lnTo>
                      <a:lnTo>
                        <a:pt x="795" y="1339"/>
                      </a:lnTo>
                      <a:lnTo>
                        <a:pt x="796" y="1339"/>
                      </a:lnTo>
                      <a:lnTo>
                        <a:pt x="798" y="1338"/>
                      </a:lnTo>
                      <a:lnTo>
                        <a:pt x="801" y="1338"/>
                      </a:lnTo>
                      <a:lnTo>
                        <a:pt x="807" y="1335"/>
                      </a:lnTo>
                      <a:lnTo>
                        <a:pt x="810" y="1335"/>
                      </a:lnTo>
                      <a:lnTo>
                        <a:pt x="812" y="1333"/>
                      </a:lnTo>
                      <a:lnTo>
                        <a:pt x="813" y="1333"/>
                      </a:lnTo>
                      <a:lnTo>
                        <a:pt x="813" y="1332"/>
                      </a:lnTo>
                      <a:lnTo>
                        <a:pt x="814" y="1332"/>
                      </a:lnTo>
                      <a:lnTo>
                        <a:pt x="814" y="1331"/>
                      </a:lnTo>
                      <a:lnTo>
                        <a:pt x="815" y="1331"/>
                      </a:lnTo>
                      <a:lnTo>
                        <a:pt x="816" y="1331"/>
                      </a:lnTo>
                      <a:lnTo>
                        <a:pt x="816" y="1329"/>
                      </a:lnTo>
                      <a:lnTo>
                        <a:pt x="817" y="1329"/>
                      </a:lnTo>
                      <a:lnTo>
                        <a:pt x="817" y="1329"/>
                      </a:lnTo>
                      <a:lnTo>
                        <a:pt x="817" y="1328"/>
                      </a:lnTo>
                      <a:lnTo>
                        <a:pt x="817" y="1328"/>
                      </a:lnTo>
                      <a:lnTo>
                        <a:pt x="819" y="1327"/>
                      </a:lnTo>
                      <a:lnTo>
                        <a:pt x="818" y="1327"/>
                      </a:lnTo>
                      <a:lnTo>
                        <a:pt x="819" y="1327"/>
                      </a:lnTo>
                      <a:lnTo>
                        <a:pt x="819" y="1326"/>
                      </a:lnTo>
                      <a:lnTo>
                        <a:pt x="819" y="1326"/>
                      </a:lnTo>
                      <a:lnTo>
                        <a:pt x="819" y="1325"/>
                      </a:lnTo>
                      <a:lnTo>
                        <a:pt x="817" y="1326"/>
                      </a:lnTo>
                      <a:lnTo>
                        <a:pt x="815" y="1327"/>
                      </a:lnTo>
                      <a:lnTo>
                        <a:pt x="815" y="1327"/>
                      </a:lnTo>
                      <a:lnTo>
                        <a:pt x="814" y="1328"/>
                      </a:lnTo>
                      <a:lnTo>
                        <a:pt x="814" y="1328"/>
                      </a:lnTo>
                      <a:lnTo>
                        <a:pt x="812" y="1330"/>
                      </a:lnTo>
                      <a:lnTo>
                        <a:pt x="811" y="1330"/>
                      </a:lnTo>
                      <a:lnTo>
                        <a:pt x="811" y="1331"/>
                      </a:lnTo>
                      <a:lnTo>
                        <a:pt x="810" y="1331"/>
                      </a:lnTo>
                      <a:lnTo>
                        <a:pt x="810" y="1330"/>
                      </a:lnTo>
                      <a:lnTo>
                        <a:pt x="812" y="1329"/>
                      </a:lnTo>
                      <a:lnTo>
                        <a:pt x="812" y="1328"/>
                      </a:lnTo>
                      <a:lnTo>
                        <a:pt x="813" y="1328"/>
                      </a:lnTo>
                      <a:lnTo>
                        <a:pt x="813" y="1327"/>
                      </a:lnTo>
                      <a:lnTo>
                        <a:pt x="816" y="1325"/>
                      </a:lnTo>
                      <a:lnTo>
                        <a:pt x="819" y="1325"/>
                      </a:lnTo>
                      <a:lnTo>
                        <a:pt x="822" y="1324"/>
                      </a:lnTo>
                      <a:lnTo>
                        <a:pt x="822" y="1323"/>
                      </a:lnTo>
                      <a:lnTo>
                        <a:pt x="826" y="1321"/>
                      </a:lnTo>
                      <a:lnTo>
                        <a:pt x="826" y="1320"/>
                      </a:lnTo>
                      <a:lnTo>
                        <a:pt x="827" y="1319"/>
                      </a:lnTo>
                      <a:lnTo>
                        <a:pt x="827" y="1319"/>
                      </a:lnTo>
                      <a:lnTo>
                        <a:pt x="829" y="1318"/>
                      </a:lnTo>
                      <a:lnTo>
                        <a:pt x="829" y="1317"/>
                      </a:lnTo>
                      <a:lnTo>
                        <a:pt x="829" y="1317"/>
                      </a:lnTo>
                      <a:lnTo>
                        <a:pt x="830" y="1317"/>
                      </a:lnTo>
                      <a:lnTo>
                        <a:pt x="830" y="1318"/>
                      </a:lnTo>
                      <a:lnTo>
                        <a:pt x="829" y="1318"/>
                      </a:lnTo>
                      <a:lnTo>
                        <a:pt x="829" y="1318"/>
                      </a:lnTo>
                      <a:lnTo>
                        <a:pt x="827" y="1320"/>
                      </a:lnTo>
                      <a:lnTo>
                        <a:pt x="827" y="1321"/>
                      </a:lnTo>
                      <a:lnTo>
                        <a:pt x="827" y="1321"/>
                      </a:lnTo>
                      <a:lnTo>
                        <a:pt x="826" y="1322"/>
                      </a:lnTo>
                      <a:lnTo>
                        <a:pt x="827" y="1322"/>
                      </a:lnTo>
                      <a:lnTo>
                        <a:pt x="828" y="1322"/>
                      </a:lnTo>
                      <a:lnTo>
                        <a:pt x="830" y="1320"/>
                      </a:lnTo>
                      <a:lnTo>
                        <a:pt x="835" y="1317"/>
                      </a:lnTo>
                      <a:lnTo>
                        <a:pt x="835" y="1317"/>
                      </a:lnTo>
                      <a:lnTo>
                        <a:pt x="836" y="1317"/>
                      </a:lnTo>
                      <a:lnTo>
                        <a:pt x="836" y="1315"/>
                      </a:lnTo>
                      <a:lnTo>
                        <a:pt x="836" y="1315"/>
                      </a:lnTo>
                      <a:lnTo>
                        <a:pt x="836" y="1314"/>
                      </a:lnTo>
                      <a:lnTo>
                        <a:pt x="836" y="1314"/>
                      </a:lnTo>
                      <a:lnTo>
                        <a:pt x="836" y="1313"/>
                      </a:lnTo>
                      <a:lnTo>
                        <a:pt x="836" y="1313"/>
                      </a:lnTo>
                      <a:lnTo>
                        <a:pt x="838" y="1313"/>
                      </a:lnTo>
                      <a:lnTo>
                        <a:pt x="837" y="1312"/>
                      </a:lnTo>
                      <a:lnTo>
                        <a:pt x="836" y="1313"/>
                      </a:lnTo>
                      <a:lnTo>
                        <a:pt x="835" y="1313"/>
                      </a:lnTo>
                      <a:lnTo>
                        <a:pt x="833" y="1314"/>
                      </a:lnTo>
                      <a:lnTo>
                        <a:pt x="833" y="1314"/>
                      </a:lnTo>
                      <a:lnTo>
                        <a:pt x="832" y="1315"/>
                      </a:lnTo>
                      <a:lnTo>
                        <a:pt x="831" y="1314"/>
                      </a:lnTo>
                      <a:lnTo>
                        <a:pt x="834" y="1313"/>
                      </a:lnTo>
                      <a:lnTo>
                        <a:pt x="836" y="1312"/>
                      </a:lnTo>
                      <a:lnTo>
                        <a:pt x="839" y="1312"/>
                      </a:lnTo>
                      <a:lnTo>
                        <a:pt x="839" y="1312"/>
                      </a:lnTo>
                      <a:lnTo>
                        <a:pt x="842" y="1311"/>
                      </a:lnTo>
                      <a:lnTo>
                        <a:pt x="849" y="1310"/>
                      </a:lnTo>
                      <a:lnTo>
                        <a:pt x="851" y="1311"/>
                      </a:lnTo>
                      <a:lnTo>
                        <a:pt x="851" y="1311"/>
                      </a:lnTo>
                      <a:lnTo>
                        <a:pt x="853" y="1312"/>
                      </a:lnTo>
                      <a:lnTo>
                        <a:pt x="853" y="1313"/>
                      </a:lnTo>
                      <a:lnTo>
                        <a:pt x="854" y="1313"/>
                      </a:lnTo>
                      <a:lnTo>
                        <a:pt x="853" y="1314"/>
                      </a:lnTo>
                      <a:lnTo>
                        <a:pt x="853" y="1315"/>
                      </a:lnTo>
                      <a:lnTo>
                        <a:pt x="852" y="1316"/>
                      </a:lnTo>
                      <a:lnTo>
                        <a:pt x="852" y="1317"/>
                      </a:lnTo>
                      <a:lnTo>
                        <a:pt x="852" y="1317"/>
                      </a:lnTo>
                      <a:lnTo>
                        <a:pt x="852" y="1317"/>
                      </a:lnTo>
                      <a:lnTo>
                        <a:pt x="851" y="1318"/>
                      </a:lnTo>
                      <a:lnTo>
                        <a:pt x="850" y="1317"/>
                      </a:lnTo>
                      <a:lnTo>
                        <a:pt x="849" y="1318"/>
                      </a:lnTo>
                      <a:lnTo>
                        <a:pt x="849" y="1318"/>
                      </a:lnTo>
                      <a:lnTo>
                        <a:pt x="848" y="1319"/>
                      </a:lnTo>
                      <a:lnTo>
                        <a:pt x="848" y="1319"/>
                      </a:lnTo>
                      <a:lnTo>
                        <a:pt x="851" y="1320"/>
                      </a:lnTo>
                      <a:lnTo>
                        <a:pt x="851" y="1320"/>
                      </a:lnTo>
                      <a:lnTo>
                        <a:pt x="851" y="1319"/>
                      </a:lnTo>
                      <a:lnTo>
                        <a:pt x="851" y="1319"/>
                      </a:lnTo>
                      <a:lnTo>
                        <a:pt x="851" y="1320"/>
                      </a:lnTo>
                      <a:lnTo>
                        <a:pt x="852" y="1320"/>
                      </a:lnTo>
                      <a:lnTo>
                        <a:pt x="852" y="1320"/>
                      </a:lnTo>
                      <a:lnTo>
                        <a:pt x="853" y="1321"/>
                      </a:lnTo>
                      <a:lnTo>
                        <a:pt x="853" y="1320"/>
                      </a:lnTo>
                      <a:lnTo>
                        <a:pt x="853" y="1321"/>
                      </a:lnTo>
                      <a:lnTo>
                        <a:pt x="855" y="1321"/>
                      </a:lnTo>
                      <a:lnTo>
                        <a:pt x="856" y="1321"/>
                      </a:lnTo>
                      <a:lnTo>
                        <a:pt x="856" y="1321"/>
                      </a:lnTo>
                      <a:lnTo>
                        <a:pt x="857" y="1322"/>
                      </a:lnTo>
                      <a:lnTo>
                        <a:pt x="860" y="1322"/>
                      </a:lnTo>
                      <a:lnTo>
                        <a:pt x="860" y="1322"/>
                      </a:lnTo>
                      <a:lnTo>
                        <a:pt x="860" y="1322"/>
                      </a:lnTo>
                      <a:lnTo>
                        <a:pt x="860" y="1321"/>
                      </a:lnTo>
                      <a:lnTo>
                        <a:pt x="861" y="1321"/>
                      </a:lnTo>
                      <a:lnTo>
                        <a:pt x="861" y="1321"/>
                      </a:lnTo>
                      <a:lnTo>
                        <a:pt x="861" y="1319"/>
                      </a:lnTo>
                      <a:lnTo>
                        <a:pt x="861" y="1319"/>
                      </a:lnTo>
                      <a:lnTo>
                        <a:pt x="861" y="1318"/>
                      </a:lnTo>
                      <a:lnTo>
                        <a:pt x="861" y="1317"/>
                      </a:lnTo>
                      <a:lnTo>
                        <a:pt x="861" y="1317"/>
                      </a:lnTo>
                      <a:lnTo>
                        <a:pt x="861" y="1317"/>
                      </a:lnTo>
                      <a:lnTo>
                        <a:pt x="860" y="1316"/>
                      </a:lnTo>
                      <a:lnTo>
                        <a:pt x="860" y="1316"/>
                      </a:lnTo>
                      <a:lnTo>
                        <a:pt x="859" y="1315"/>
                      </a:lnTo>
                      <a:lnTo>
                        <a:pt x="858" y="1315"/>
                      </a:lnTo>
                      <a:lnTo>
                        <a:pt x="857" y="1315"/>
                      </a:lnTo>
                      <a:lnTo>
                        <a:pt x="857" y="1314"/>
                      </a:lnTo>
                      <a:lnTo>
                        <a:pt x="856" y="1313"/>
                      </a:lnTo>
                      <a:lnTo>
                        <a:pt x="855" y="1312"/>
                      </a:lnTo>
                      <a:lnTo>
                        <a:pt x="854" y="1311"/>
                      </a:lnTo>
                      <a:lnTo>
                        <a:pt x="853" y="1310"/>
                      </a:lnTo>
                      <a:lnTo>
                        <a:pt x="853" y="1311"/>
                      </a:lnTo>
                      <a:lnTo>
                        <a:pt x="853" y="1310"/>
                      </a:lnTo>
                      <a:lnTo>
                        <a:pt x="854" y="1310"/>
                      </a:lnTo>
                      <a:lnTo>
                        <a:pt x="855" y="1310"/>
                      </a:lnTo>
                      <a:lnTo>
                        <a:pt x="859" y="1310"/>
                      </a:lnTo>
                      <a:lnTo>
                        <a:pt x="859" y="1310"/>
                      </a:lnTo>
                      <a:lnTo>
                        <a:pt x="860" y="1311"/>
                      </a:lnTo>
                      <a:lnTo>
                        <a:pt x="861" y="1310"/>
                      </a:lnTo>
                      <a:lnTo>
                        <a:pt x="862" y="1311"/>
                      </a:lnTo>
                      <a:lnTo>
                        <a:pt x="864" y="1311"/>
                      </a:lnTo>
                      <a:lnTo>
                        <a:pt x="865" y="1311"/>
                      </a:lnTo>
                      <a:lnTo>
                        <a:pt x="868" y="1311"/>
                      </a:lnTo>
                      <a:lnTo>
                        <a:pt x="872" y="1310"/>
                      </a:lnTo>
                      <a:lnTo>
                        <a:pt x="875" y="1309"/>
                      </a:lnTo>
                      <a:lnTo>
                        <a:pt x="876" y="1307"/>
                      </a:lnTo>
                      <a:lnTo>
                        <a:pt x="879" y="1304"/>
                      </a:lnTo>
                      <a:lnTo>
                        <a:pt x="880" y="1297"/>
                      </a:lnTo>
                      <a:lnTo>
                        <a:pt x="880" y="1295"/>
                      </a:lnTo>
                      <a:lnTo>
                        <a:pt x="878" y="1295"/>
                      </a:lnTo>
                      <a:lnTo>
                        <a:pt x="878" y="1294"/>
                      </a:lnTo>
                      <a:lnTo>
                        <a:pt x="878" y="1294"/>
                      </a:lnTo>
                      <a:lnTo>
                        <a:pt x="880" y="1293"/>
                      </a:lnTo>
                      <a:lnTo>
                        <a:pt x="881" y="1294"/>
                      </a:lnTo>
                      <a:lnTo>
                        <a:pt x="886" y="1293"/>
                      </a:lnTo>
                      <a:lnTo>
                        <a:pt x="887" y="1293"/>
                      </a:lnTo>
                      <a:lnTo>
                        <a:pt x="888" y="1293"/>
                      </a:lnTo>
                      <a:lnTo>
                        <a:pt x="888" y="1293"/>
                      </a:lnTo>
                      <a:lnTo>
                        <a:pt x="890" y="1292"/>
                      </a:lnTo>
                      <a:lnTo>
                        <a:pt x="890" y="1291"/>
                      </a:lnTo>
                      <a:lnTo>
                        <a:pt x="891" y="1291"/>
                      </a:lnTo>
                      <a:lnTo>
                        <a:pt x="892" y="1292"/>
                      </a:lnTo>
                      <a:lnTo>
                        <a:pt x="892" y="1290"/>
                      </a:lnTo>
                      <a:lnTo>
                        <a:pt x="892" y="1291"/>
                      </a:lnTo>
                      <a:lnTo>
                        <a:pt x="892" y="1291"/>
                      </a:lnTo>
                      <a:lnTo>
                        <a:pt x="893" y="1291"/>
                      </a:lnTo>
                      <a:lnTo>
                        <a:pt x="894" y="1291"/>
                      </a:lnTo>
                      <a:lnTo>
                        <a:pt x="894" y="1290"/>
                      </a:lnTo>
                      <a:lnTo>
                        <a:pt x="895" y="1290"/>
                      </a:lnTo>
                      <a:lnTo>
                        <a:pt x="895" y="1289"/>
                      </a:lnTo>
                      <a:lnTo>
                        <a:pt x="896" y="1289"/>
                      </a:lnTo>
                      <a:lnTo>
                        <a:pt x="896" y="1290"/>
                      </a:lnTo>
                      <a:lnTo>
                        <a:pt x="897" y="1290"/>
                      </a:lnTo>
                      <a:lnTo>
                        <a:pt x="900" y="1288"/>
                      </a:lnTo>
                      <a:lnTo>
                        <a:pt x="900" y="1289"/>
                      </a:lnTo>
                      <a:lnTo>
                        <a:pt x="901" y="1289"/>
                      </a:lnTo>
                      <a:lnTo>
                        <a:pt x="902" y="1287"/>
                      </a:lnTo>
                      <a:lnTo>
                        <a:pt x="904" y="1287"/>
                      </a:lnTo>
                      <a:lnTo>
                        <a:pt x="904" y="1287"/>
                      </a:lnTo>
                      <a:lnTo>
                        <a:pt x="907" y="1286"/>
                      </a:lnTo>
                      <a:lnTo>
                        <a:pt x="910" y="1286"/>
                      </a:lnTo>
                      <a:lnTo>
                        <a:pt x="912" y="1286"/>
                      </a:lnTo>
                      <a:lnTo>
                        <a:pt x="913" y="1285"/>
                      </a:lnTo>
                      <a:lnTo>
                        <a:pt x="914" y="1286"/>
                      </a:lnTo>
                      <a:lnTo>
                        <a:pt x="917" y="1287"/>
                      </a:lnTo>
                      <a:lnTo>
                        <a:pt x="919" y="1287"/>
                      </a:lnTo>
                      <a:lnTo>
                        <a:pt x="919" y="1286"/>
                      </a:lnTo>
                      <a:lnTo>
                        <a:pt x="920" y="1286"/>
                      </a:lnTo>
                      <a:lnTo>
                        <a:pt x="922" y="1285"/>
                      </a:lnTo>
                      <a:lnTo>
                        <a:pt x="923" y="1285"/>
                      </a:lnTo>
                      <a:lnTo>
                        <a:pt x="925" y="1285"/>
                      </a:lnTo>
                      <a:lnTo>
                        <a:pt x="926" y="1286"/>
                      </a:lnTo>
                      <a:lnTo>
                        <a:pt x="925" y="1287"/>
                      </a:lnTo>
                      <a:lnTo>
                        <a:pt x="925" y="1288"/>
                      </a:lnTo>
                      <a:lnTo>
                        <a:pt x="925" y="1290"/>
                      </a:lnTo>
                      <a:lnTo>
                        <a:pt x="926" y="1290"/>
                      </a:lnTo>
                      <a:lnTo>
                        <a:pt x="926" y="1289"/>
                      </a:lnTo>
                      <a:lnTo>
                        <a:pt x="926" y="1289"/>
                      </a:lnTo>
                      <a:lnTo>
                        <a:pt x="925" y="1288"/>
                      </a:lnTo>
                      <a:lnTo>
                        <a:pt x="926" y="1288"/>
                      </a:lnTo>
                      <a:lnTo>
                        <a:pt x="926" y="1289"/>
                      </a:lnTo>
                      <a:lnTo>
                        <a:pt x="927" y="1290"/>
                      </a:lnTo>
                      <a:lnTo>
                        <a:pt x="930" y="1291"/>
                      </a:lnTo>
                      <a:lnTo>
                        <a:pt x="931" y="1292"/>
                      </a:lnTo>
                      <a:lnTo>
                        <a:pt x="932" y="1293"/>
                      </a:lnTo>
                      <a:lnTo>
                        <a:pt x="937" y="1295"/>
                      </a:lnTo>
                      <a:lnTo>
                        <a:pt x="942" y="1297"/>
                      </a:lnTo>
                      <a:lnTo>
                        <a:pt x="942" y="1298"/>
                      </a:lnTo>
                      <a:lnTo>
                        <a:pt x="943" y="1298"/>
                      </a:lnTo>
                      <a:lnTo>
                        <a:pt x="947" y="1300"/>
                      </a:lnTo>
                      <a:lnTo>
                        <a:pt x="956" y="1304"/>
                      </a:lnTo>
                      <a:lnTo>
                        <a:pt x="961" y="1305"/>
                      </a:lnTo>
                      <a:lnTo>
                        <a:pt x="963" y="1305"/>
                      </a:lnTo>
                      <a:lnTo>
                        <a:pt x="964" y="1305"/>
                      </a:lnTo>
                      <a:lnTo>
                        <a:pt x="965" y="1306"/>
                      </a:lnTo>
                      <a:lnTo>
                        <a:pt x="970" y="1308"/>
                      </a:lnTo>
                      <a:lnTo>
                        <a:pt x="971" y="1308"/>
                      </a:lnTo>
                      <a:lnTo>
                        <a:pt x="971" y="1308"/>
                      </a:lnTo>
                      <a:lnTo>
                        <a:pt x="972" y="1308"/>
                      </a:lnTo>
                      <a:lnTo>
                        <a:pt x="972" y="1308"/>
                      </a:lnTo>
                      <a:lnTo>
                        <a:pt x="977" y="1310"/>
                      </a:lnTo>
                      <a:lnTo>
                        <a:pt x="979" y="1310"/>
                      </a:lnTo>
                      <a:lnTo>
                        <a:pt x="981" y="1309"/>
                      </a:lnTo>
                      <a:lnTo>
                        <a:pt x="982" y="1309"/>
                      </a:lnTo>
                      <a:lnTo>
                        <a:pt x="984" y="1308"/>
                      </a:lnTo>
                      <a:lnTo>
                        <a:pt x="984" y="1307"/>
                      </a:lnTo>
                      <a:lnTo>
                        <a:pt x="986" y="1306"/>
                      </a:lnTo>
                      <a:lnTo>
                        <a:pt x="987" y="1305"/>
                      </a:lnTo>
                      <a:lnTo>
                        <a:pt x="988" y="1305"/>
                      </a:lnTo>
                      <a:lnTo>
                        <a:pt x="988" y="1305"/>
                      </a:lnTo>
                      <a:lnTo>
                        <a:pt x="989" y="1304"/>
                      </a:lnTo>
                      <a:lnTo>
                        <a:pt x="989" y="1304"/>
                      </a:lnTo>
                      <a:lnTo>
                        <a:pt x="991" y="1304"/>
                      </a:lnTo>
                      <a:lnTo>
                        <a:pt x="991" y="1304"/>
                      </a:lnTo>
                      <a:lnTo>
                        <a:pt x="992" y="1303"/>
                      </a:lnTo>
                      <a:lnTo>
                        <a:pt x="993" y="1303"/>
                      </a:lnTo>
                      <a:lnTo>
                        <a:pt x="993" y="1301"/>
                      </a:lnTo>
                      <a:lnTo>
                        <a:pt x="994" y="1301"/>
                      </a:lnTo>
                      <a:lnTo>
                        <a:pt x="994" y="1301"/>
                      </a:lnTo>
                      <a:lnTo>
                        <a:pt x="998" y="1300"/>
                      </a:lnTo>
                      <a:lnTo>
                        <a:pt x="999" y="1299"/>
                      </a:lnTo>
                      <a:lnTo>
                        <a:pt x="999" y="1298"/>
                      </a:lnTo>
                      <a:lnTo>
                        <a:pt x="999" y="1297"/>
                      </a:lnTo>
                      <a:lnTo>
                        <a:pt x="1000" y="1296"/>
                      </a:lnTo>
                      <a:lnTo>
                        <a:pt x="1001" y="1296"/>
                      </a:lnTo>
                      <a:lnTo>
                        <a:pt x="1002" y="1295"/>
                      </a:lnTo>
                      <a:lnTo>
                        <a:pt x="1004" y="1295"/>
                      </a:lnTo>
                      <a:lnTo>
                        <a:pt x="1004" y="1295"/>
                      </a:lnTo>
                      <a:lnTo>
                        <a:pt x="1004" y="1295"/>
                      </a:lnTo>
                      <a:lnTo>
                        <a:pt x="1005" y="1294"/>
                      </a:lnTo>
                      <a:lnTo>
                        <a:pt x="1006" y="1294"/>
                      </a:lnTo>
                      <a:lnTo>
                        <a:pt x="1006" y="1295"/>
                      </a:lnTo>
                      <a:lnTo>
                        <a:pt x="1007" y="1295"/>
                      </a:lnTo>
                      <a:lnTo>
                        <a:pt x="1008" y="1294"/>
                      </a:lnTo>
                      <a:lnTo>
                        <a:pt x="1009" y="1293"/>
                      </a:lnTo>
                      <a:lnTo>
                        <a:pt x="1009" y="1293"/>
                      </a:lnTo>
                      <a:lnTo>
                        <a:pt x="1010" y="1293"/>
                      </a:lnTo>
                      <a:lnTo>
                        <a:pt x="1011" y="1293"/>
                      </a:lnTo>
                      <a:lnTo>
                        <a:pt x="1012" y="1293"/>
                      </a:lnTo>
                      <a:lnTo>
                        <a:pt x="1012" y="1293"/>
                      </a:lnTo>
                      <a:lnTo>
                        <a:pt x="1014" y="1293"/>
                      </a:lnTo>
                      <a:lnTo>
                        <a:pt x="1015" y="1292"/>
                      </a:lnTo>
                      <a:lnTo>
                        <a:pt x="1015" y="1293"/>
                      </a:lnTo>
                      <a:lnTo>
                        <a:pt x="1016" y="1293"/>
                      </a:lnTo>
                      <a:lnTo>
                        <a:pt x="1016" y="1296"/>
                      </a:lnTo>
                      <a:lnTo>
                        <a:pt x="1017" y="1297"/>
                      </a:lnTo>
                      <a:lnTo>
                        <a:pt x="1018" y="1297"/>
                      </a:lnTo>
                      <a:lnTo>
                        <a:pt x="1019" y="1297"/>
                      </a:lnTo>
                      <a:lnTo>
                        <a:pt x="1020" y="1297"/>
                      </a:lnTo>
                      <a:lnTo>
                        <a:pt x="1020" y="1297"/>
                      </a:lnTo>
                      <a:lnTo>
                        <a:pt x="1021" y="1297"/>
                      </a:lnTo>
                      <a:lnTo>
                        <a:pt x="1021" y="1297"/>
                      </a:lnTo>
                      <a:lnTo>
                        <a:pt x="1024" y="1296"/>
                      </a:lnTo>
                      <a:lnTo>
                        <a:pt x="1024" y="1296"/>
                      </a:lnTo>
                      <a:lnTo>
                        <a:pt x="1025" y="1296"/>
                      </a:lnTo>
                      <a:lnTo>
                        <a:pt x="1026" y="1296"/>
                      </a:lnTo>
                      <a:lnTo>
                        <a:pt x="1026" y="1295"/>
                      </a:lnTo>
                      <a:lnTo>
                        <a:pt x="1027" y="1295"/>
                      </a:lnTo>
                      <a:lnTo>
                        <a:pt x="1028" y="1295"/>
                      </a:lnTo>
                      <a:lnTo>
                        <a:pt x="1028" y="1296"/>
                      </a:lnTo>
                      <a:lnTo>
                        <a:pt x="1028" y="1296"/>
                      </a:lnTo>
                      <a:lnTo>
                        <a:pt x="1029" y="1297"/>
                      </a:lnTo>
                      <a:lnTo>
                        <a:pt x="1029" y="1297"/>
                      </a:lnTo>
                      <a:lnTo>
                        <a:pt x="1029" y="1297"/>
                      </a:lnTo>
                      <a:lnTo>
                        <a:pt x="1031" y="1298"/>
                      </a:lnTo>
                      <a:lnTo>
                        <a:pt x="1032" y="1297"/>
                      </a:lnTo>
                      <a:lnTo>
                        <a:pt x="1035" y="1297"/>
                      </a:lnTo>
                      <a:lnTo>
                        <a:pt x="1035" y="1298"/>
                      </a:lnTo>
                      <a:lnTo>
                        <a:pt x="1037" y="1298"/>
                      </a:lnTo>
                      <a:lnTo>
                        <a:pt x="1037" y="1301"/>
                      </a:lnTo>
                      <a:lnTo>
                        <a:pt x="1037" y="1303"/>
                      </a:lnTo>
                      <a:lnTo>
                        <a:pt x="1037" y="1303"/>
                      </a:lnTo>
                      <a:lnTo>
                        <a:pt x="1037" y="1303"/>
                      </a:lnTo>
                      <a:lnTo>
                        <a:pt x="1038" y="1303"/>
                      </a:lnTo>
                      <a:lnTo>
                        <a:pt x="1039" y="1303"/>
                      </a:lnTo>
                      <a:lnTo>
                        <a:pt x="1039" y="1301"/>
                      </a:lnTo>
                      <a:lnTo>
                        <a:pt x="1042" y="1299"/>
                      </a:lnTo>
                      <a:lnTo>
                        <a:pt x="1042" y="1299"/>
                      </a:lnTo>
                      <a:lnTo>
                        <a:pt x="1043" y="1298"/>
                      </a:lnTo>
                      <a:lnTo>
                        <a:pt x="1044" y="1298"/>
                      </a:lnTo>
                      <a:lnTo>
                        <a:pt x="1044" y="1298"/>
                      </a:lnTo>
                      <a:lnTo>
                        <a:pt x="1046" y="1300"/>
                      </a:lnTo>
                      <a:lnTo>
                        <a:pt x="1047" y="1300"/>
                      </a:lnTo>
                      <a:lnTo>
                        <a:pt x="1048" y="1300"/>
                      </a:lnTo>
                      <a:lnTo>
                        <a:pt x="1049" y="1300"/>
                      </a:lnTo>
                      <a:lnTo>
                        <a:pt x="1050" y="1300"/>
                      </a:lnTo>
                      <a:lnTo>
                        <a:pt x="1050" y="1301"/>
                      </a:lnTo>
                      <a:lnTo>
                        <a:pt x="1050" y="1301"/>
                      </a:lnTo>
                      <a:lnTo>
                        <a:pt x="1050" y="1301"/>
                      </a:lnTo>
                      <a:lnTo>
                        <a:pt x="1051" y="1300"/>
                      </a:lnTo>
                      <a:lnTo>
                        <a:pt x="1052" y="1300"/>
                      </a:lnTo>
                      <a:lnTo>
                        <a:pt x="1053" y="1299"/>
                      </a:lnTo>
                      <a:lnTo>
                        <a:pt x="1054" y="1299"/>
                      </a:lnTo>
                      <a:lnTo>
                        <a:pt x="1055" y="1299"/>
                      </a:lnTo>
                      <a:lnTo>
                        <a:pt x="1055" y="1300"/>
                      </a:lnTo>
                      <a:lnTo>
                        <a:pt x="1055" y="1300"/>
                      </a:lnTo>
                      <a:lnTo>
                        <a:pt x="1058" y="1300"/>
                      </a:lnTo>
                      <a:lnTo>
                        <a:pt x="1058" y="1301"/>
                      </a:lnTo>
                      <a:lnTo>
                        <a:pt x="1058" y="1301"/>
                      </a:lnTo>
                      <a:lnTo>
                        <a:pt x="1058" y="1301"/>
                      </a:lnTo>
                      <a:lnTo>
                        <a:pt x="1060" y="1303"/>
                      </a:lnTo>
                      <a:lnTo>
                        <a:pt x="1061" y="1303"/>
                      </a:lnTo>
                      <a:lnTo>
                        <a:pt x="1061" y="1303"/>
                      </a:lnTo>
                      <a:lnTo>
                        <a:pt x="1062" y="1303"/>
                      </a:lnTo>
                      <a:lnTo>
                        <a:pt x="1062" y="1303"/>
                      </a:lnTo>
                      <a:lnTo>
                        <a:pt x="1064" y="1303"/>
                      </a:lnTo>
                      <a:lnTo>
                        <a:pt x="1064" y="1304"/>
                      </a:lnTo>
                      <a:lnTo>
                        <a:pt x="1065" y="1304"/>
                      </a:lnTo>
                      <a:lnTo>
                        <a:pt x="1065" y="1303"/>
                      </a:lnTo>
                      <a:lnTo>
                        <a:pt x="1065" y="1303"/>
                      </a:lnTo>
                      <a:lnTo>
                        <a:pt x="1067" y="1303"/>
                      </a:lnTo>
                      <a:lnTo>
                        <a:pt x="1068" y="1303"/>
                      </a:lnTo>
                      <a:lnTo>
                        <a:pt x="1069" y="1304"/>
                      </a:lnTo>
                      <a:lnTo>
                        <a:pt x="1072" y="1304"/>
                      </a:lnTo>
                      <a:lnTo>
                        <a:pt x="1072" y="1304"/>
                      </a:lnTo>
                      <a:lnTo>
                        <a:pt x="1074" y="1303"/>
                      </a:lnTo>
                      <a:lnTo>
                        <a:pt x="1075" y="1303"/>
                      </a:lnTo>
                      <a:lnTo>
                        <a:pt x="1075" y="1304"/>
                      </a:lnTo>
                      <a:lnTo>
                        <a:pt x="1075" y="1305"/>
                      </a:lnTo>
                      <a:lnTo>
                        <a:pt x="1077" y="1307"/>
                      </a:lnTo>
                      <a:lnTo>
                        <a:pt x="1078" y="1307"/>
                      </a:lnTo>
                      <a:lnTo>
                        <a:pt x="1081" y="1307"/>
                      </a:lnTo>
                      <a:lnTo>
                        <a:pt x="1082" y="1307"/>
                      </a:lnTo>
                      <a:lnTo>
                        <a:pt x="1084" y="1307"/>
                      </a:lnTo>
                      <a:lnTo>
                        <a:pt x="1085" y="1307"/>
                      </a:lnTo>
                      <a:lnTo>
                        <a:pt x="1085" y="1308"/>
                      </a:lnTo>
                      <a:lnTo>
                        <a:pt x="1085" y="1309"/>
                      </a:lnTo>
                      <a:lnTo>
                        <a:pt x="1086" y="1309"/>
                      </a:lnTo>
                      <a:lnTo>
                        <a:pt x="1087" y="1309"/>
                      </a:lnTo>
                      <a:lnTo>
                        <a:pt x="1087" y="1308"/>
                      </a:lnTo>
                      <a:lnTo>
                        <a:pt x="1089" y="1307"/>
                      </a:lnTo>
                      <a:lnTo>
                        <a:pt x="1089" y="1307"/>
                      </a:lnTo>
                      <a:lnTo>
                        <a:pt x="1089" y="1306"/>
                      </a:lnTo>
                      <a:lnTo>
                        <a:pt x="1090" y="1306"/>
                      </a:lnTo>
                      <a:lnTo>
                        <a:pt x="1091" y="1306"/>
                      </a:lnTo>
                      <a:lnTo>
                        <a:pt x="1092" y="1306"/>
                      </a:lnTo>
                      <a:lnTo>
                        <a:pt x="1094" y="1306"/>
                      </a:lnTo>
                      <a:lnTo>
                        <a:pt x="1094" y="1306"/>
                      </a:lnTo>
                      <a:lnTo>
                        <a:pt x="1094" y="1307"/>
                      </a:lnTo>
                      <a:lnTo>
                        <a:pt x="1094" y="1307"/>
                      </a:lnTo>
                      <a:lnTo>
                        <a:pt x="1095" y="1307"/>
                      </a:lnTo>
                      <a:lnTo>
                        <a:pt x="1096" y="1306"/>
                      </a:lnTo>
                      <a:lnTo>
                        <a:pt x="1096" y="1307"/>
                      </a:lnTo>
                      <a:lnTo>
                        <a:pt x="1097" y="1307"/>
                      </a:lnTo>
                      <a:lnTo>
                        <a:pt x="1098" y="1307"/>
                      </a:lnTo>
                      <a:lnTo>
                        <a:pt x="1100" y="1307"/>
                      </a:lnTo>
                      <a:lnTo>
                        <a:pt x="1100" y="1307"/>
                      </a:lnTo>
                      <a:lnTo>
                        <a:pt x="1102" y="1307"/>
                      </a:lnTo>
                      <a:lnTo>
                        <a:pt x="1104" y="1306"/>
                      </a:lnTo>
                      <a:lnTo>
                        <a:pt x="1104" y="1306"/>
                      </a:lnTo>
                      <a:lnTo>
                        <a:pt x="1105" y="1307"/>
                      </a:lnTo>
                      <a:lnTo>
                        <a:pt x="1107" y="1307"/>
                      </a:lnTo>
                      <a:lnTo>
                        <a:pt x="1109" y="1307"/>
                      </a:lnTo>
                      <a:lnTo>
                        <a:pt x="1109" y="1308"/>
                      </a:lnTo>
                      <a:lnTo>
                        <a:pt x="1111" y="1308"/>
                      </a:lnTo>
                      <a:lnTo>
                        <a:pt x="1114" y="1308"/>
                      </a:lnTo>
                      <a:lnTo>
                        <a:pt x="1117" y="1305"/>
                      </a:lnTo>
                      <a:lnTo>
                        <a:pt x="1118" y="1305"/>
                      </a:lnTo>
                      <a:lnTo>
                        <a:pt x="1120" y="1306"/>
                      </a:lnTo>
                      <a:lnTo>
                        <a:pt x="1120" y="1307"/>
                      </a:lnTo>
                      <a:lnTo>
                        <a:pt x="1121" y="1307"/>
                      </a:lnTo>
                      <a:lnTo>
                        <a:pt x="1122" y="1307"/>
                      </a:lnTo>
                      <a:lnTo>
                        <a:pt x="1123" y="1306"/>
                      </a:lnTo>
                      <a:lnTo>
                        <a:pt x="1124" y="1306"/>
                      </a:lnTo>
                      <a:lnTo>
                        <a:pt x="1124" y="1305"/>
                      </a:lnTo>
                      <a:lnTo>
                        <a:pt x="1125" y="1305"/>
                      </a:lnTo>
                      <a:lnTo>
                        <a:pt x="1126" y="1304"/>
                      </a:lnTo>
                      <a:lnTo>
                        <a:pt x="1125" y="1303"/>
                      </a:lnTo>
                      <a:lnTo>
                        <a:pt x="1125" y="1303"/>
                      </a:lnTo>
                      <a:lnTo>
                        <a:pt x="1125" y="1300"/>
                      </a:lnTo>
                      <a:lnTo>
                        <a:pt x="1127" y="1299"/>
                      </a:lnTo>
                      <a:lnTo>
                        <a:pt x="1127" y="1298"/>
                      </a:lnTo>
                      <a:lnTo>
                        <a:pt x="1128" y="1298"/>
                      </a:lnTo>
                      <a:lnTo>
                        <a:pt x="1128" y="1298"/>
                      </a:lnTo>
                      <a:lnTo>
                        <a:pt x="1129" y="1298"/>
                      </a:lnTo>
                      <a:lnTo>
                        <a:pt x="1131" y="1297"/>
                      </a:lnTo>
                      <a:lnTo>
                        <a:pt x="1132" y="1297"/>
                      </a:lnTo>
                      <a:lnTo>
                        <a:pt x="1133" y="1297"/>
                      </a:lnTo>
                      <a:lnTo>
                        <a:pt x="1133" y="1298"/>
                      </a:lnTo>
                      <a:lnTo>
                        <a:pt x="1133" y="1299"/>
                      </a:lnTo>
                      <a:lnTo>
                        <a:pt x="1134" y="1299"/>
                      </a:lnTo>
                      <a:lnTo>
                        <a:pt x="1135" y="1299"/>
                      </a:lnTo>
                      <a:lnTo>
                        <a:pt x="1137" y="1300"/>
                      </a:lnTo>
                      <a:lnTo>
                        <a:pt x="1137" y="1303"/>
                      </a:lnTo>
                      <a:lnTo>
                        <a:pt x="1138" y="1303"/>
                      </a:lnTo>
                      <a:lnTo>
                        <a:pt x="1138" y="1303"/>
                      </a:lnTo>
                      <a:lnTo>
                        <a:pt x="1138" y="1303"/>
                      </a:lnTo>
                      <a:lnTo>
                        <a:pt x="1139" y="1304"/>
                      </a:lnTo>
                      <a:lnTo>
                        <a:pt x="1139" y="1304"/>
                      </a:lnTo>
                      <a:lnTo>
                        <a:pt x="1140" y="1303"/>
                      </a:lnTo>
                      <a:lnTo>
                        <a:pt x="1140" y="1303"/>
                      </a:lnTo>
                      <a:lnTo>
                        <a:pt x="1142" y="1303"/>
                      </a:lnTo>
                      <a:lnTo>
                        <a:pt x="1144" y="1303"/>
                      </a:lnTo>
                      <a:lnTo>
                        <a:pt x="1146" y="1303"/>
                      </a:lnTo>
                      <a:lnTo>
                        <a:pt x="1149" y="1304"/>
                      </a:lnTo>
                      <a:lnTo>
                        <a:pt x="1150" y="1304"/>
                      </a:lnTo>
                      <a:lnTo>
                        <a:pt x="1153" y="1306"/>
                      </a:lnTo>
                      <a:lnTo>
                        <a:pt x="1155" y="1307"/>
                      </a:lnTo>
                      <a:lnTo>
                        <a:pt x="1157" y="1306"/>
                      </a:lnTo>
                      <a:lnTo>
                        <a:pt x="1158" y="1305"/>
                      </a:lnTo>
                      <a:lnTo>
                        <a:pt x="1159" y="1304"/>
                      </a:lnTo>
                      <a:lnTo>
                        <a:pt x="1159" y="1304"/>
                      </a:lnTo>
                      <a:lnTo>
                        <a:pt x="1160" y="1301"/>
                      </a:lnTo>
                      <a:lnTo>
                        <a:pt x="1161" y="1301"/>
                      </a:lnTo>
                      <a:lnTo>
                        <a:pt x="1161" y="1303"/>
                      </a:lnTo>
                      <a:lnTo>
                        <a:pt x="1161" y="1303"/>
                      </a:lnTo>
                      <a:lnTo>
                        <a:pt x="1161" y="1301"/>
                      </a:lnTo>
                      <a:lnTo>
                        <a:pt x="1163" y="1301"/>
                      </a:lnTo>
                      <a:lnTo>
                        <a:pt x="1163" y="1300"/>
                      </a:lnTo>
                      <a:lnTo>
                        <a:pt x="1163" y="1300"/>
                      </a:lnTo>
                      <a:lnTo>
                        <a:pt x="1164" y="1299"/>
                      </a:lnTo>
                      <a:lnTo>
                        <a:pt x="1164" y="1299"/>
                      </a:lnTo>
                      <a:lnTo>
                        <a:pt x="1166" y="1297"/>
                      </a:lnTo>
                      <a:lnTo>
                        <a:pt x="1167" y="1297"/>
                      </a:lnTo>
                      <a:lnTo>
                        <a:pt x="1167" y="1296"/>
                      </a:lnTo>
                      <a:lnTo>
                        <a:pt x="1169" y="1295"/>
                      </a:lnTo>
                      <a:lnTo>
                        <a:pt x="1170" y="1295"/>
                      </a:lnTo>
                      <a:lnTo>
                        <a:pt x="1170" y="1296"/>
                      </a:lnTo>
                      <a:lnTo>
                        <a:pt x="1171" y="1296"/>
                      </a:lnTo>
                      <a:lnTo>
                        <a:pt x="1177" y="1295"/>
                      </a:lnTo>
                      <a:lnTo>
                        <a:pt x="1182" y="1296"/>
                      </a:lnTo>
                      <a:lnTo>
                        <a:pt x="1182" y="1297"/>
                      </a:lnTo>
                      <a:lnTo>
                        <a:pt x="1185" y="1297"/>
                      </a:lnTo>
                      <a:lnTo>
                        <a:pt x="1186" y="1298"/>
                      </a:lnTo>
                      <a:lnTo>
                        <a:pt x="1186" y="1298"/>
                      </a:lnTo>
                      <a:lnTo>
                        <a:pt x="1190" y="1296"/>
                      </a:lnTo>
                      <a:lnTo>
                        <a:pt x="1191" y="1296"/>
                      </a:lnTo>
                      <a:lnTo>
                        <a:pt x="1192" y="1296"/>
                      </a:lnTo>
                      <a:lnTo>
                        <a:pt x="1191" y="1296"/>
                      </a:lnTo>
                      <a:lnTo>
                        <a:pt x="1192" y="1297"/>
                      </a:lnTo>
                      <a:lnTo>
                        <a:pt x="1192" y="1296"/>
                      </a:lnTo>
                      <a:lnTo>
                        <a:pt x="1194" y="1296"/>
                      </a:lnTo>
                      <a:lnTo>
                        <a:pt x="1194" y="1296"/>
                      </a:lnTo>
                      <a:lnTo>
                        <a:pt x="1194" y="1297"/>
                      </a:lnTo>
                      <a:lnTo>
                        <a:pt x="1195" y="1298"/>
                      </a:lnTo>
                      <a:lnTo>
                        <a:pt x="1195" y="1298"/>
                      </a:lnTo>
                      <a:lnTo>
                        <a:pt x="1195" y="1298"/>
                      </a:lnTo>
                      <a:lnTo>
                        <a:pt x="1195" y="1300"/>
                      </a:lnTo>
                      <a:lnTo>
                        <a:pt x="1194" y="1300"/>
                      </a:lnTo>
                      <a:lnTo>
                        <a:pt x="1194" y="1301"/>
                      </a:lnTo>
                      <a:lnTo>
                        <a:pt x="1195" y="1303"/>
                      </a:lnTo>
                      <a:lnTo>
                        <a:pt x="1196" y="1303"/>
                      </a:lnTo>
                      <a:lnTo>
                        <a:pt x="1200" y="1305"/>
                      </a:lnTo>
                      <a:lnTo>
                        <a:pt x="1203" y="1306"/>
                      </a:lnTo>
                      <a:lnTo>
                        <a:pt x="1204" y="1306"/>
                      </a:lnTo>
                      <a:lnTo>
                        <a:pt x="1204" y="1305"/>
                      </a:lnTo>
                      <a:lnTo>
                        <a:pt x="1204" y="1305"/>
                      </a:lnTo>
                      <a:lnTo>
                        <a:pt x="1204" y="1304"/>
                      </a:lnTo>
                      <a:lnTo>
                        <a:pt x="1205" y="1304"/>
                      </a:lnTo>
                      <a:lnTo>
                        <a:pt x="1205" y="1303"/>
                      </a:lnTo>
                      <a:lnTo>
                        <a:pt x="1206" y="1303"/>
                      </a:lnTo>
                      <a:lnTo>
                        <a:pt x="1206" y="1303"/>
                      </a:lnTo>
                      <a:lnTo>
                        <a:pt x="1209" y="1304"/>
                      </a:lnTo>
                      <a:lnTo>
                        <a:pt x="1211" y="1306"/>
                      </a:lnTo>
                      <a:lnTo>
                        <a:pt x="1212" y="1307"/>
                      </a:lnTo>
                      <a:lnTo>
                        <a:pt x="1211" y="1307"/>
                      </a:lnTo>
                      <a:lnTo>
                        <a:pt x="1211" y="1308"/>
                      </a:lnTo>
                      <a:lnTo>
                        <a:pt x="1212" y="1309"/>
                      </a:lnTo>
                      <a:lnTo>
                        <a:pt x="1213" y="1310"/>
                      </a:lnTo>
                      <a:lnTo>
                        <a:pt x="1213" y="1311"/>
                      </a:lnTo>
                      <a:lnTo>
                        <a:pt x="1214" y="1312"/>
                      </a:lnTo>
                      <a:lnTo>
                        <a:pt x="1215" y="1313"/>
                      </a:lnTo>
                      <a:lnTo>
                        <a:pt x="1215" y="1313"/>
                      </a:lnTo>
                      <a:lnTo>
                        <a:pt x="1215" y="1314"/>
                      </a:lnTo>
                      <a:lnTo>
                        <a:pt x="1215" y="1315"/>
                      </a:lnTo>
                      <a:lnTo>
                        <a:pt x="1216" y="1316"/>
                      </a:lnTo>
                      <a:lnTo>
                        <a:pt x="1216" y="1317"/>
                      </a:lnTo>
                      <a:lnTo>
                        <a:pt x="1217" y="1320"/>
                      </a:lnTo>
                      <a:lnTo>
                        <a:pt x="1222" y="1324"/>
                      </a:lnTo>
                      <a:lnTo>
                        <a:pt x="1226" y="1326"/>
                      </a:lnTo>
                      <a:lnTo>
                        <a:pt x="1228" y="1327"/>
                      </a:lnTo>
                      <a:lnTo>
                        <a:pt x="1231" y="1329"/>
                      </a:lnTo>
                      <a:lnTo>
                        <a:pt x="1232" y="1331"/>
                      </a:lnTo>
                      <a:lnTo>
                        <a:pt x="1231" y="1334"/>
                      </a:lnTo>
                      <a:lnTo>
                        <a:pt x="1231" y="1334"/>
                      </a:lnTo>
                      <a:lnTo>
                        <a:pt x="1230" y="1338"/>
                      </a:lnTo>
                      <a:lnTo>
                        <a:pt x="1231" y="1344"/>
                      </a:lnTo>
                      <a:lnTo>
                        <a:pt x="1232" y="1347"/>
                      </a:lnTo>
                      <a:lnTo>
                        <a:pt x="1232" y="1348"/>
                      </a:lnTo>
                      <a:lnTo>
                        <a:pt x="1233" y="1350"/>
                      </a:lnTo>
                      <a:lnTo>
                        <a:pt x="1234" y="1351"/>
                      </a:lnTo>
                      <a:lnTo>
                        <a:pt x="1236" y="1352"/>
                      </a:lnTo>
                      <a:lnTo>
                        <a:pt x="1236" y="1352"/>
                      </a:lnTo>
                      <a:lnTo>
                        <a:pt x="1235" y="1353"/>
                      </a:lnTo>
                      <a:lnTo>
                        <a:pt x="1235" y="1353"/>
                      </a:lnTo>
                      <a:lnTo>
                        <a:pt x="1235" y="1353"/>
                      </a:lnTo>
                      <a:lnTo>
                        <a:pt x="1235" y="1354"/>
                      </a:lnTo>
                      <a:lnTo>
                        <a:pt x="1236" y="1357"/>
                      </a:lnTo>
                      <a:lnTo>
                        <a:pt x="1235" y="1359"/>
                      </a:lnTo>
                      <a:lnTo>
                        <a:pt x="1235" y="1362"/>
                      </a:lnTo>
                      <a:lnTo>
                        <a:pt x="1236" y="1364"/>
                      </a:lnTo>
                      <a:lnTo>
                        <a:pt x="1236" y="1364"/>
                      </a:lnTo>
                      <a:lnTo>
                        <a:pt x="1236" y="1366"/>
                      </a:lnTo>
                      <a:lnTo>
                        <a:pt x="1237" y="1367"/>
                      </a:lnTo>
                      <a:lnTo>
                        <a:pt x="1237" y="1367"/>
                      </a:lnTo>
                      <a:lnTo>
                        <a:pt x="1239" y="1368"/>
                      </a:lnTo>
                      <a:lnTo>
                        <a:pt x="1240" y="1368"/>
                      </a:lnTo>
                      <a:lnTo>
                        <a:pt x="1240" y="1369"/>
                      </a:lnTo>
                      <a:lnTo>
                        <a:pt x="1242" y="1369"/>
                      </a:lnTo>
                      <a:lnTo>
                        <a:pt x="1242" y="1370"/>
                      </a:lnTo>
                      <a:lnTo>
                        <a:pt x="1243" y="1371"/>
                      </a:lnTo>
                      <a:lnTo>
                        <a:pt x="1243" y="1372"/>
                      </a:lnTo>
                      <a:lnTo>
                        <a:pt x="1243" y="1372"/>
                      </a:lnTo>
                      <a:lnTo>
                        <a:pt x="1243" y="1373"/>
                      </a:lnTo>
                      <a:lnTo>
                        <a:pt x="1242" y="1373"/>
                      </a:lnTo>
                      <a:lnTo>
                        <a:pt x="1241" y="1374"/>
                      </a:lnTo>
                      <a:lnTo>
                        <a:pt x="1241" y="1373"/>
                      </a:lnTo>
                      <a:lnTo>
                        <a:pt x="1240" y="1373"/>
                      </a:lnTo>
                      <a:lnTo>
                        <a:pt x="1239" y="1372"/>
                      </a:lnTo>
                      <a:lnTo>
                        <a:pt x="1239" y="1373"/>
                      </a:lnTo>
                      <a:lnTo>
                        <a:pt x="1239" y="1374"/>
                      </a:lnTo>
                      <a:lnTo>
                        <a:pt x="1238" y="1374"/>
                      </a:lnTo>
                      <a:lnTo>
                        <a:pt x="1238" y="1375"/>
                      </a:lnTo>
                      <a:lnTo>
                        <a:pt x="1239" y="1375"/>
                      </a:lnTo>
                      <a:lnTo>
                        <a:pt x="1239" y="1376"/>
                      </a:lnTo>
                      <a:lnTo>
                        <a:pt x="1240" y="1376"/>
                      </a:lnTo>
                      <a:lnTo>
                        <a:pt x="1240" y="1376"/>
                      </a:lnTo>
                      <a:lnTo>
                        <a:pt x="1240" y="1375"/>
                      </a:lnTo>
                      <a:lnTo>
                        <a:pt x="1240" y="1376"/>
                      </a:lnTo>
                      <a:lnTo>
                        <a:pt x="1240" y="1376"/>
                      </a:lnTo>
                      <a:lnTo>
                        <a:pt x="1240" y="1378"/>
                      </a:lnTo>
                      <a:lnTo>
                        <a:pt x="1240" y="1378"/>
                      </a:lnTo>
                      <a:lnTo>
                        <a:pt x="1240" y="1379"/>
                      </a:lnTo>
                      <a:lnTo>
                        <a:pt x="1238" y="1380"/>
                      </a:lnTo>
                      <a:lnTo>
                        <a:pt x="1238" y="1380"/>
                      </a:lnTo>
                      <a:lnTo>
                        <a:pt x="1237" y="1380"/>
                      </a:lnTo>
                      <a:lnTo>
                        <a:pt x="1237" y="1381"/>
                      </a:lnTo>
                      <a:lnTo>
                        <a:pt x="1238" y="1382"/>
                      </a:lnTo>
                      <a:lnTo>
                        <a:pt x="1239" y="1382"/>
                      </a:lnTo>
                      <a:lnTo>
                        <a:pt x="1239" y="1383"/>
                      </a:lnTo>
                      <a:lnTo>
                        <a:pt x="1240" y="1383"/>
                      </a:lnTo>
                      <a:lnTo>
                        <a:pt x="1242" y="1384"/>
                      </a:lnTo>
                      <a:lnTo>
                        <a:pt x="1242" y="1385"/>
                      </a:lnTo>
                      <a:lnTo>
                        <a:pt x="1241" y="1385"/>
                      </a:lnTo>
                      <a:lnTo>
                        <a:pt x="1242" y="1385"/>
                      </a:lnTo>
                      <a:lnTo>
                        <a:pt x="1242" y="1386"/>
                      </a:lnTo>
                      <a:lnTo>
                        <a:pt x="1241" y="1386"/>
                      </a:lnTo>
                      <a:lnTo>
                        <a:pt x="1240" y="1389"/>
                      </a:lnTo>
                      <a:lnTo>
                        <a:pt x="1240" y="1389"/>
                      </a:lnTo>
                      <a:lnTo>
                        <a:pt x="1240" y="1390"/>
                      </a:lnTo>
                      <a:lnTo>
                        <a:pt x="1239" y="1390"/>
                      </a:lnTo>
                      <a:lnTo>
                        <a:pt x="1238" y="1391"/>
                      </a:lnTo>
                      <a:lnTo>
                        <a:pt x="1237" y="1392"/>
                      </a:lnTo>
                      <a:lnTo>
                        <a:pt x="1237" y="1392"/>
                      </a:lnTo>
                      <a:lnTo>
                        <a:pt x="1237" y="1393"/>
                      </a:lnTo>
                      <a:lnTo>
                        <a:pt x="1237" y="1395"/>
                      </a:lnTo>
                      <a:lnTo>
                        <a:pt x="1235" y="1396"/>
                      </a:lnTo>
                      <a:lnTo>
                        <a:pt x="1235" y="1398"/>
                      </a:lnTo>
                      <a:lnTo>
                        <a:pt x="1234" y="1398"/>
                      </a:lnTo>
                      <a:lnTo>
                        <a:pt x="1233" y="1399"/>
                      </a:lnTo>
                      <a:lnTo>
                        <a:pt x="1233" y="1400"/>
                      </a:lnTo>
                      <a:lnTo>
                        <a:pt x="1233" y="1400"/>
                      </a:lnTo>
                      <a:lnTo>
                        <a:pt x="1233" y="1400"/>
                      </a:lnTo>
                      <a:lnTo>
                        <a:pt x="1233" y="1401"/>
                      </a:lnTo>
                      <a:lnTo>
                        <a:pt x="1233" y="1402"/>
                      </a:lnTo>
                      <a:lnTo>
                        <a:pt x="1233" y="1402"/>
                      </a:lnTo>
                      <a:lnTo>
                        <a:pt x="1233" y="1402"/>
                      </a:lnTo>
                      <a:lnTo>
                        <a:pt x="1233" y="1404"/>
                      </a:lnTo>
                      <a:lnTo>
                        <a:pt x="1232" y="1404"/>
                      </a:lnTo>
                      <a:lnTo>
                        <a:pt x="1230" y="1405"/>
                      </a:lnTo>
                      <a:lnTo>
                        <a:pt x="1230" y="1406"/>
                      </a:lnTo>
                      <a:lnTo>
                        <a:pt x="1230" y="1406"/>
                      </a:lnTo>
                      <a:lnTo>
                        <a:pt x="1230" y="1407"/>
                      </a:lnTo>
                      <a:lnTo>
                        <a:pt x="1229" y="1408"/>
                      </a:lnTo>
                      <a:lnTo>
                        <a:pt x="1229" y="1409"/>
                      </a:lnTo>
                      <a:lnTo>
                        <a:pt x="1228" y="1409"/>
                      </a:lnTo>
                      <a:lnTo>
                        <a:pt x="1227" y="1409"/>
                      </a:lnTo>
                      <a:lnTo>
                        <a:pt x="1227" y="1409"/>
                      </a:lnTo>
                      <a:lnTo>
                        <a:pt x="1226" y="1408"/>
                      </a:lnTo>
                      <a:lnTo>
                        <a:pt x="1226" y="1408"/>
                      </a:lnTo>
                      <a:lnTo>
                        <a:pt x="1224" y="1409"/>
                      </a:lnTo>
                      <a:lnTo>
                        <a:pt x="1224" y="1410"/>
                      </a:lnTo>
                      <a:lnTo>
                        <a:pt x="1223" y="1411"/>
                      </a:lnTo>
                      <a:lnTo>
                        <a:pt x="1223" y="1413"/>
                      </a:lnTo>
                      <a:lnTo>
                        <a:pt x="1223" y="1414"/>
                      </a:lnTo>
                      <a:lnTo>
                        <a:pt x="1224" y="1416"/>
                      </a:lnTo>
                      <a:lnTo>
                        <a:pt x="1224" y="1418"/>
                      </a:lnTo>
                      <a:lnTo>
                        <a:pt x="1222" y="1419"/>
                      </a:lnTo>
                      <a:lnTo>
                        <a:pt x="1222" y="1420"/>
                      </a:lnTo>
                      <a:lnTo>
                        <a:pt x="1218" y="1423"/>
                      </a:lnTo>
                      <a:lnTo>
                        <a:pt x="1218" y="1423"/>
                      </a:lnTo>
                      <a:lnTo>
                        <a:pt x="1218" y="1423"/>
                      </a:lnTo>
                      <a:lnTo>
                        <a:pt x="1217" y="1424"/>
                      </a:lnTo>
                      <a:lnTo>
                        <a:pt x="1216" y="1424"/>
                      </a:lnTo>
                      <a:lnTo>
                        <a:pt x="1216" y="1424"/>
                      </a:lnTo>
                      <a:lnTo>
                        <a:pt x="1215" y="1426"/>
                      </a:lnTo>
                      <a:lnTo>
                        <a:pt x="1214" y="1426"/>
                      </a:lnTo>
                      <a:lnTo>
                        <a:pt x="1213" y="1427"/>
                      </a:lnTo>
                      <a:lnTo>
                        <a:pt x="1213" y="1427"/>
                      </a:lnTo>
                      <a:lnTo>
                        <a:pt x="1213" y="1427"/>
                      </a:lnTo>
                      <a:lnTo>
                        <a:pt x="1212" y="1428"/>
                      </a:lnTo>
                      <a:lnTo>
                        <a:pt x="1212" y="1428"/>
                      </a:lnTo>
                      <a:lnTo>
                        <a:pt x="1213" y="1428"/>
                      </a:lnTo>
                      <a:lnTo>
                        <a:pt x="1213" y="1429"/>
                      </a:lnTo>
                      <a:lnTo>
                        <a:pt x="1212" y="1429"/>
                      </a:lnTo>
                      <a:lnTo>
                        <a:pt x="1211" y="1431"/>
                      </a:lnTo>
                      <a:lnTo>
                        <a:pt x="1211" y="1432"/>
                      </a:lnTo>
                      <a:lnTo>
                        <a:pt x="1209" y="1433"/>
                      </a:lnTo>
                      <a:lnTo>
                        <a:pt x="1209" y="1433"/>
                      </a:lnTo>
                      <a:lnTo>
                        <a:pt x="1208" y="1434"/>
                      </a:lnTo>
                      <a:lnTo>
                        <a:pt x="1208" y="1435"/>
                      </a:lnTo>
                      <a:lnTo>
                        <a:pt x="1207" y="1435"/>
                      </a:lnTo>
                      <a:lnTo>
                        <a:pt x="1207" y="1436"/>
                      </a:lnTo>
                      <a:lnTo>
                        <a:pt x="1206" y="1437"/>
                      </a:lnTo>
                      <a:lnTo>
                        <a:pt x="1204" y="1438"/>
                      </a:lnTo>
                      <a:lnTo>
                        <a:pt x="1204" y="1439"/>
                      </a:lnTo>
                      <a:lnTo>
                        <a:pt x="1204" y="1440"/>
                      </a:lnTo>
                      <a:lnTo>
                        <a:pt x="1203" y="1441"/>
                      </a:lnTo>
                      <a:lnTo>
                        <a:pt x="1202" y="1441"/>
                      </a:lnTo>
                      <a:lnTo>
                        <a:pt x="1201" y="1441"/>
                      </a:lnTo>
                      <a:lnTo>
                        <a:pt x="1200" y="1442"/>
                      </a:lnTo>
                      <a:lnTo>
                        <a:pt x="1199" y="1444"/>
                      </a:lnTo>
                      <a:lnTo>
                        <a:pt x="1199" y="1445"/>
                      </a:lnTo>
                      <a:lnTo>
                        <a:pt x="1198" y="1446"/>
                      </a:lnTo>
                      <a:lnTo>
                        <a:pt x="1197" y="1447"/>
                      </a:lnTo>
                      <a:lnTo>
                        <a:pt x="1197" y="1448"/>
                      </a:lnTo>
                      <a:lnTo>
                        <a:pt x="1196" y="1450"/>
                      </a:lnTo>
                      <a:lnTo>
                        <a:pt x="1196" y="1451"/>
                      </a:lnTo>
                      <a:lnTo>
                        <a:pt x="1193" y="1456"/>
                      </a:lnTo>
                      <a:lnTo>
                        <a:pt x="1192" y="1459"/>
                      </a:lnTo>
                      <a:lnTo>
                        <a:pt x="1191" y="1460"/>
                      </a:lnTo>
                      <a:lnTo>
                        <a:pt x="1188" y="1468"/>
                      </a:lnTo>
                      <a:lnTo>
                        <a:pt x="1188" y="1468"/>
                      </a:lnTo>
                      <a:lnTo>
                        <a:pt x="1188" y="1469"/>
                      </a:lnTo>
                      <a:lnTo>
                        <a:pt x="1187" y="1471"/>
                      </a:lnTo>
                      <a:lnTo>
                        <a:pt x="1187" y="1471"/>
                      </a:lnTo>
                      <a:lnTo>
                        <a:pt x="1186" y="1472"/>
                      </a:lnTo>
                      <a:lnTo>
                        <a:pt x="1186" y="1472"/>
                      </a:lnTo>
                      <a:lnTo>
                        <a:pt x="1185" y="1476"/>
                      </a:lnTo>
                      <a:lnTo>
                        <a:pt x="1184" y="1478"/>
                      </a:lnTo>
                      <a:lnTo>
                        <a:pt x="1184" y="1478"/>
                      </a:lnTo>
                      <a:lnTo>
                        <a:pt x="1184" y="1479"/>
                      </a:lnTo>
                      <a:lnTo>
                        <a:pt x="1182" y="1483"/>
                      </a:lnTo>
                      <a:lnTo>
                        <a:pt x="1181" y="1487"/>
                      </a:lnTo>
                      <a:lnTo>
                        <a:pt x="1179" y="1492"/>
                      </a:lnTo>
                      <a:lnTo>
                        <a:pt x="1178" y="1496"/>
                      </a:lnTo>
                      <a:lnTo>
                        <a:pt x="1178" y="1500"/>
                      </a:lnTo>
                      <a:lnTo>
                        <a:pt x="1177" y="1507"/>
                      </a:lnTo>
                      <a:lnTo>
                        <a:pt x="1177" y="1509"/>
                      </a:lnTo>
                      <a:lnTo>
                        <a:pt x="1179" y="1512"/>
                      </a:lnTo>
                      <a:lnTo>
                        <a:pt x="1179" y="1513"/>
                      </a:lnTo>
                      <a:lnTo>
                        <a:pt x="1180" y="1513"/>
                      </a:lnTo>
                      <a:lnTo>
                        <a:pt x="1181" y="1513"/>
                      </a:lnTo>
                      <a:lnTo>
                        <a:pt x="1182" y="1513"/>
                      </a:lnTo>
                      <a:lnTo>
                        <a:pt x="1184" y="1514"/>
                      </a:lnTo>
                      <a:lnTo>
                        <a:pt x="1185" y="1514"/>
                      </a:lnTo>
                      <a:lnTo>
                        <a:pt x="1185" y="1514"/>
                      </a:lnTo>
                      <a:lnTo>
                        <a:pt x="1185" y="1515"/>
                      </a:lnTo>
                      <a:lnTo>
                        <a:pt x="1185" y="1515"/>
                      </a:lnTo>
                      <a:lnTo>
                        <a:pt x="1182" y="1516"/>
                      </a:lnTo>
                      <a:lnTo>
                        <a:pt x="1181" y="1516"/>
                      </a:lnTo>
                      <a:lnTo>
                        <a:pt x="1181" y="1517"/>
                      </a:lnTo>
                      <a:lnTo>
                        <a:pt x="1181" y="1517"/>
                      </a:lnTo>
                      <a:lnTo>
                        <a:pt x="1181" y="1517"/>
                      </a:lnTo>
                      <a:lnTo>
                        <a:pt x="1182" y="1518"/>
                      </a:lnTo>
                      <a:lnTo>
                        <a:pt x="1184" y="1518"/>
                      </a:lnTo>
                      <a:lnTo>
                        <a:pt x="1184" y="1519"/>
                      </a:lnTo>
                      <a:lnTo>
                        <a:pt x="1184" y="1519"/>
                      </a:lnTo>
                      <a:lnTo>
                        <a:pt x="1184" y="1520"/>
                      </a:lnTo>
                      <a:lnTo>
                        <a:pt x="1184" y="1520"/>
                      </a:lnTo>
                      <a:lnTo>
                        <a:pt x="1182" y="1521"/>
                      </a:lnTo>
                      <a:lnTo>
                        <a:pt x="1182" y="1523"/>
                      </a:lnTo>
                      <a:lnTo>
                        <a:pt x="1180" y="1526"/>
                      </a:lnTo>
                      <a:lnTo>
                        <a:pt x="1180" y="1527"/>
                      </a:lnTo>
                      <a:lnTo>
                        <a:pt x="1179" y="1528"/>
                      </a:lnTo>
                      <a:lnTo>
                        <a:pt x="1178" y="1531"/>
                      </a:lnTo>
                      <a:lnTo>
                        <a:pt x="1179" y="1531"/>
                      </a:lnTo>
                      <a:lnTo>
                        <a:pt x="1179" y="1531"/>
                      </a:lnTo>
                      <a:lnTo>
                        <a:pt x="1178" y="1532"/>
                      </a:lnTo>
                      <a:lnTo>
                        <a:pt x="1178" y="1532"/>
                      </a:lnTo>
                      <a:lnTo>
                        <a:pt x="1177" y="1533"/>
                      </a:lnTo>
                      <a:lnTo>
                        <a:pt x="1176" y="1535"/>
                      </a:lnTo>
                      <a:lnTo>
                        <a:pt x="1176" y="1535"/>
                      </a:lnTo>
                      <a:lnTo>
                        <a:pt x="1175" y="1537"/>
                      </a:lnTo>
                      <a:lnTo>
                        <a:pt x="1175" y="1538"/>
                      </a:lnTo>
                      <a:lnTo>
                        <a:pt x="1175" y="1538"/>
                      </a:lnTo>
                      <a:lnTo>
                        <a:pt x="1174" y="1539"/>
                      </a:lnTo>
                      <a:lnTo>
                        <a:pt x="1174" y="1540"/>
                      </a:lnTo>
                      <a:lnTo>
                        <a:pt x="1174" y="1542"/>
                      </a:lnTo>
                      <a:lnTo>
                        <a:pt x="1172" y="1543"/>
                      </a:lnTo>
                      <a:lnTo>
                        <a:pt x="1172" y="1545"/>
                      </a:lnTo>
                      <a:lnTo>
                        <a:pt x="1172" y="1545"/>
                      </a:lnTo>
                      <a:lnTo>
                        <a:pt x="1172" y="1545"/>
                      </a:lnTo>
                      <a:lnTo>
                        <a:pt x="1172" y="1545"/>
                      </a:lnTo>
                      <a:lnTo>
                        <a:pt x="1172" y="1546"/>
                      </a:lnTo>
                      <a:lnTo>
                        <a:pt x="1171" y="1546"/>
                      </a:lnTo>
                      <a:lnTo>
                        <a:pt x="1171" y="1547"/>
                      </a:lnTo>
                      <a:lnTo>
                        <a:pt x="1170" y="1547"/>
                      </a:lnTo>
                      <a:lnTo>
                        <a:pt x="1170" y="1548"/>
                      </a:lnTo>
                      <a:lnTo>
                        <a:pt x="1170" y="1548"/>
                      </a:lnTo>
                      <a:lnTo>
                        <a:pt x="1170" y="1549"/>
                      </a:lnTo>
                      <a:lnTo>
                        <a:pt x="1168" y="1550"/>
                      </a:lnTo>
                      <a:lnTo>
                        <a:pt x="1168" y="1550"/>
                      </a:lnTo>
                      <a:lnTo>
                        <a:pt x="1169" y="1551"/>
                      </a:lnTo>
                      <a:lnTo>
                        <a:pt x="1169" y="1551"/>
                      </a:lnTo>
                      <a:lnTo>
                        <a:pt x="1167" y="1552"/>
                      </a:lnTo>
                      <a:lnTo>
                        <a:pt x="1167" y="1553"/>
                      </a:lnTo>
                      <a:lnTo>
                        <a:pt x="1167" y="1553"/>
                      </a:lnTo>
                      <a:lnTo>
                        <a:pt x="1167" y="1554"/>
                      </a:lnTo>
                      <a:lnTo>
                        <a:pt x="1166" y="1554"/>
                      </a:lnTo>
                      <a:lnTo>
                        <a:pt x="1166" y="1555"/>
                      </a:lnTo>
                      <a:lnTo>
                        <a:pt x="1164" y="1556"/>
                      </a:lnTo>
                      <a:lnTo>
                        <a:pt x="1164" y="1557"/>
                      </a:lnTo>
                      <a:lnTo>
                        <a:pt x="1164" y="1557"/>
                      </a:lnTo>
                      <a:lnTo>
                        <a:pt x="1163" y="1559"/>
                      </a:lnTo>
                      <a:lnTo>
                        <a:pt x="1161" y="1561"/>
                      </a:lnTo>
                      <a:lnTo>
                        <a:pt x="1160" y="1561"/>
                      </a:lnTo>
                      <a:lnTo>
                        <a:pt x="1161" y="1562"/>
                      </a:lnTo>
                      <a:lnTo>
                        <a:pt x="1160" y="1563"/>
                      </a:lnTo>
                      <a:lnTo>
                        <a:pt x="1160" y="1564"/>
                      </a:lnTo>
                      <a:lnTo>
                        <a:pt x="1159" y="1565"/>
                      </a:lnTo>
                      <a:lnTo>
                        <a:pt x="1159" y="1568"/>
                      </a:lnTo>
                      <a:lnTo>
                        <a:pt x="1159" y="1568"/>
                      </a:lnTo>
                      <a:lnTo>
                        <a:pt x="1159" y="1569"/>
                      </a:lnTo>
                      <a:lnTo>
                        <a:pt x="1158" y="1570"/>
                      </a:lnTo>
                      <a:lnTo>
                        <a:pt x="1157" y="1570"/>
                      </a:lnTo>
                      <a:lnTo>
                        <a:pt x="1157" y="1572"/>
                      </a:lnTo>
                      <a:lnTo>
                        <a:pt x="1157" y="1572"/>
                      </a:lnTo>
                      <a:lnTo>
                        <a:pt x="1156" y="1574"/>
                      </a:lnTo>
                      <a:lnTo>
                        <a:pt x="1156" y="1575"/>
                      </a:lnTo>
                      <a:lnTo>
                        <a:pt x="1156" y="1575"/>
                      </a:lnTo>
                      <a:lnTo>
                        <a:pt x="1156" y="1576"/>
                      </a:lnTo>
                      <a:lnTo>
                        <a:pt x="1157" y="1576"/>
                      </a:lnTo>
                      <a:lnTo>
                        <a:pt x="1157" y="1577"/>
                      </a:lnTo>
                      <a:lnTo>
                        <a:pt x="1155" y="1577"/>
                      </a:lnTo>
                      <a:lnTo>
                        <a:pt x="1155" y="1577"/>
                      </a:lnTo>
                      <a:lnTo>
                        <a:pt x="1155" y="1578"/>
                      </a:lnTo>
                      <a:lnTo>
                        <a:pt x="1154" y="1578"/>
                      </a:lnTo>
                      <a:lnTo>
                        <a:pt x="1154" y="1578"/>
                      </a:lnTo>
                      <a:lnTo>
                        <a:pt x="1153" y="1579"/>
                      </a:lnTo>
                      <a:lnTo>
                        <a:pt x="1153" y="1580"/>
                      </a:lnTo>
                      <a:lnTo>
                        <a:pt x="1152" y="1580"/>
                      </a:lnTo>
                      <a:lnTo>
                        <a:pt x="1151" y="1581"/>
                      </a:lnTo>
                      <a:lnTo>
                        <a:pt x="1151" y="1583"/>
                      </a:lnTo>
                      <a:lnTo>
                        <a:pt x="1152" y="1583"/>
                      </a:lnTo>
                      <a:lnTo>
                        <a:pt x="1152" y="1584"/>
                      </a:lnTo>
                      <a:lnTo>
                        <a:pt x="1152" y="1585"/>
                      </a:lnTo>
                      <a:lnTo>
                        <a:pt x="1153" y="1584"/>
                      </a:lnTo>
                      <a:lnTo>
                        <a:pt x="1153" y="1585"/>
                      </a:lnTo>
                      <a:lnTo>
                        <a:pt x="1153" y="1585"/>
                      </a:lnTo>
                      <a:lnTo>
                        <a:pt x="1152" y="1586"/>
                      </a:lnTo>
                      <a:lnTo>
                        <a:pt x="1153" y="1586"/>
                      </a:lnTo>
                      <a:lnTo>
                        <a:pt x="1154" y="1586"/>
                      </a:lnTo>
                      <a:lnTo>
                        <a:pt x="1154" y="1588"/>
                      </a:lnTo>
                      <a:lnTo>
                        <a:pt x="1153" y="1588"/>
                      </a:lnTo>
                      <a:lnTo>
                        <a:pt x="1152" y="1588"/>
                      </a:lnTo>
                      <a:lnTo>
                        <a:pt x="1152" y="1588"/>
                      </a:lnTo>
                      <a:lnTo>
                        <a:pt x="1153" y="1589"/>
                      </a:lnTo>
                      <a:lnTo>
                        <a:pt x="1153" y="1589"/>
                      </a:lnTo>
                      <a:lnTo>
                        <a:pt x="1154" y="1589"/>
                      </a:lnTo>
                      <a:lnTo>
                        <a:pt x="1153" y="1589"/>
                      </a:lnTo>
                      <a:lnTo>
                        <a:pt x="1153" y="1589"/>
                      </a:lnTo>
                      <a:lnTo>
                        <a:pt x="1152" y="1590"/>
                      </a:lnTo>
                      <a:lnTo>
                        <a:pt x="1153" y="1590"/>
                      </a:lnTo>
                      <a:lnTo>
                        <a:pt x="1153" y="1591"/>
                      </a:lnTo>
                      <a:lnTo>
                        <a:pt x="1153" y="1592"/>
                      </a:lnTo>
                      <a:lnTo>
                        <a:pt x="1153" y="1592"/>
                      </a:lnTo>
                      <a:lnTo>
                        <a:pt x="1152" y="1592"/>
                      </a:lnTo>
                      <a:lnTo>
                        <a:pt x="1152" y="1593"/>
                      </a:lnTo>
                      <a:lnTo>
                        <a:pt x="1153" y="1593"/>
                      </a:lnTo>
                      <a:lnTo>
                        <a:pt x="1152" y="1594"/>
                      </a:lnTo>
                      <a:lnTo>
                        <a:pt x="1152" y="1594"/>
                      </a:lnTo>
                      <a:lnTo>
                        <a:pt x="1153" y="1595"/>
                      </a:lnTo>
                      <a:lnTo>
                        <a:pt x="1153" y="1596"/>
                      </a:lnTo>
                      <a:lnTo>
                        <a:pt x="1153" y="1596"/>
                      </a:lnTo>
                      <a:lnTo>
                        <a:pt x="1153" y="1597"/>
                      </a:lnTo>
                      <a:lnTo>
                        <a:pt x="1152" y="1597"/>
                      </a:lnTo>
                      <a:lnTo>
                        <a:pt x="1152" y="1599"/>
                      </a:lnTo>
                      <a:lnTo>
                        <a:pt x="1153" y="1602"/>
                      </a:lnTo>
                      <a:lnTo>
                        <a:pt x="1153" y="1602"/>
                      </a:lnTo>
                      <a:lnTo>
                        <a:pt x="1153" y="1603"/>
                      </a:lnTo>
                      <a:lnTo>
                        <a:pt x="1153" y="1603"/>
                      </a:lnTo>
                      <a:lnTo>
                        <a:pt x="1152" y="1604"/>
                      </a:lnTo>
                      <a:lnTo>
                        <a:pt x="1152" y="1604"/>
                      </a:lnTo>
                      <a:lnTo>
                        <a:pt x="1152" y="1607"/>
                      </a:lnTo>
                      <a:lnTo>
                        <a:pt x="1151" y="1607"/>
                      </a:lnTo>
                      <a:lnTo>
                        <a:pt x="1151" y="1607"/>
                      </a:lnTo>
                      <a:lnTo>
                        <a:pt x="1151" y="1608"/>
                      </a:lnTo>
                      <a:lnTo>
                        <a:pt x="1149" y="1609"/>
                      </a:lnTo>
                      <a:lnTo>
                        <a:pt x="1149" y="1610"/>
                      </a:lnTo>
                      <a:lnTo>
                        <a:pt x="1150" y="1610"/>
                      </a:lnTo>
                      <a:lnTo>
                        <a:pt x="1150" y="1610"/>
                      </a:lnTo>
                      <a:lnTo>
                        <a:pt x="1150" y="1610"/>
                      </a:lnTo>
                      <a:lnTo>
                        <a:pt x="1149" y="1612"/>
                      </a:lnTo>
                      <a:lnTo>
                        <a:pt x="1148" y="1612"/>
                      </a:lnTo>
                      <a:lnTo>
                        <a:pt x="1148" y="1612"/>
                      </a:lnTo>
                      <a:lnTo>
                        <a:pt x="1149" y="1613"/>
                      </a:lnTo>
                      <a:lnTo>
                        <a:pt x="1149" y="1613"/>
                      </a:lnTo>
                      <a:lnTo>
                        <a:pt x="1150" y="1613"/>
                      </a:lnTo>
                      <a:lnTo>
                        <a:pt x="1149" y="1614"/>
                      </a:lnTo>
                      <a:lnTo>
                        <a:pt x="1149" y="1615"/>
                      </a:lnTo>
                      <a:lnTo>
                        <a:pt x="1148" y="1617"/>
                      </a:lnTo>
                      <a:lnTo>
                        <a:pt x="1147" y="1619"/>
                      </a:lnTo>
                      <a:lnTo>
                        <a:pt x="1147" y="1619"/>
                      </a:lnTo>
                      <a:lnTo>
                        <a:pt x="1146" y="1621"/>
                      </a:lnTo>
                      <a:lnTo>
                        <a:pt x="1146" y="1621"/>
                      </a:lnTo>
                      <a:lnTo>
                        <a:pt x="1144" y="1621"/>
                      </a:lnTo>
                      <a:lnTo>
                        <a:pt x="1144" y="1622"/>
                      </a:lnTo>
                      <a:lnTo>
                        <a:pt x="1143" y="1622"/>
                      </a:lnTo>
                      <a:lnTo>
                        <a:pt x="1143" y="1622"/>
                      </a:lnTo>
                      <a:lnTo>
                        <a:pt x="1143" y="1623"/>
                      </a:lnTo>
                      <a:lnTo>
                        <a:pt x="1142" y="1624"/>
                      </a:lnTo>
                      <a:lnTo>
                        <a:pt x="1141" y="1626"/>
                      </a:lnTo>
                      <a:lnTo>
                        <a:pt x="1140" y="1626"/>
                      </a:lnTo>
                      <a:lnTo>
                        <a:pt x="1140" y="1627"/>
                      </a:lnTo>
                      <a:lnTo>
                        <a:pt x="1140" y="1628"/>
                      </a:lnTo>
                      <a:lnTo>
                        <a:pt x="1136" y="1629"/>
                      </a:lnTo>
                      <a:lnTo>
                        <a:pt x="1136" y="1630"/>
                      </a:lnTo>
                      <a:lnTo>
                        <a:pt x="1136" y="1630"/>
                      </a:lnTo>
                      <a:lnTo>
                        <a:pt x="1137" y="1632"/>
                      </a:lnTo>
                      <a:lnTo>
                        <a:pt x="1136" y="1632"/>
                      </a:lnTo>
                      <a:lnTo>
                        <a:pt x="1136" y="1633"/>
                      </a:lnTo>
                      <a:lnTo>
                        <a:pt x="1136" y="1634"/>
                      </a:lnTo>
                      <a:lnTo>
                        <a:pt x="1134" y="1635"/>
                      </a:lnTo>
                      <a:lnTo>
                        <a:pt x="1133" y="1635"/>
                      </a:lnTo>
                      <a:lnTo>
                        <a:pt x="1133" y="1635"/>
                      </a:lnTo>
                      <a:lnTo>
                        <a:pt x="1133" y="1636"/>
                      </a:lnTo>
                      <a:lnTo>
                        <a:pt x="1132" y="1637"/>
                      </a:lnTo>
                      <a:lnTo>
                        <a:pt x="1132" y="1638"/>
                      </a:lnTo>
                      <a:lnTo>
                        <a:pt x="1131" y="1640"/>
                      </a:lnTo>
                      <a:lnTo>
                        <a:pt x="1130" y="1641"/>
                      </a:lnTo>
                      <a:lnTo>
                        <a:pt x="1130" y="1642"/>
                      </a:lnTo>
                      <a:lnTo>
                        <a:pt x="1129" y="1644"/>
                      </a:lnTo>
                      <a:lnTo>
                        <a:pt x="1128" y="1644"/>
                      </a:lnTo>
                      <a:lnTo>
                        <a:pt x="1128" y="1645"/>
                      </a:lnTo>
                      <a:lnTo>
                        <a:pt x="1128" y="1645"/>
                      </a:lnTo>
                      <a:lnTo>
                        <a:pt x="1128" y="1645"/>
                      </a:lnTo>
                      <a:lnTo>
                        <a:pt x="1127" y="1647"/>
                      </a:lnTo>
                      <a:lnTo>
                        <a:pt x="1126" y="1648"/>
                      </a:lnTo>
                      <a:lnTo>
                        <a:pt x="1124" y="1648"/>
                      </a:lnTo>
                      <a:lnTo>
                        <a:pt x="1124" y="1648"/>
                      </a:lnTo>
                      <a:lnTo>
                        <a:pt x="1123" y="1649"/>
                      </a:lnTo>
                      <a:lnTo>
                        <a:pt x="1123" y="1649"/>
                      </a:lnTo>
                      <a:lnTo>
                        <a:pt x="1122" y="1649"/>
                      </a:lnTo>
                      <a:lnTo>
                        <a:pt x="1121" y="1649"/>
                      </a:lnTo>
                      <a:lnTo>
                        <a:pt x="1121" y="1650"/>
                      </a:lnTo>
                      <a:lnTo>
                        <a:pt x="1119" y="1650"/>
                      </a:lnTo>
                      <a:lnTo>
                        <a:pt x="1118" y="1652"/>
                      </a:lnTo>
                      <a:lnTo>
                        <a:pt x="1118" y="1652"/>
                      </a:lnTo>
                      <a:lnTo>
                        <a:pt x="1117" y="1653"/>
                      </a:lnTo>
                      <a:lnTo>
                        <a:pt x="1117" y="1653"/>
                      </a:lnTo>
                      <a:lnTo>
                        <a:pt x="1117" y="1654"/>
                      </a:lnTo>
                      <a:lnTo>
                        <a:pt x="1116" y="1654"/>
                      </a:lnTo>
                      <a:lnTo>
                        <a:pt x="1116" y="1655"/>
                      </a:lnTo>
                      <a:lnTo>
                        <a:pt x="1114" y="1655"/>
                      </a:lnTo>
                      <a:lnTo>
                        <a:pt x="1113" y="1655"/>
                      </a:lnTo>
                      <a:lnTo>
                        <a:pt x="1110" y="1655"/>
                      </a:lnTo>
                      <a:lnTo>
                        <a:pt x="1109" y="1657"/>
                      </a:lnTo>
                      <a:lnTo>
                        <a:pt x="1107" y="1658"/>
                      </a:lnTo>
                      <a:lnTo>
                        <a:pt x="1107" y="1658"/>
                      </a:lnTo>
                      <a:lnTo>
                        <a:pt x="1106" y="1660"/>
                      </a:lnTo>
                      <a:lnTo>
                        <a:pt x="1106" y="1661"/>
                      </a:lnTo>
                      <a:lnTo>
                        <a:pt x="1105" y="1662"/>
                      </a:lnTo>
                      <a:lnTo>
                        <a:pt x="1104" y="1663"/>
                      </a:lnTo>
                      <a:lnTo>
                        <a:pt x="1104" y="1663"/>
                      </a:lnTo>
                      <a:lnTo>
                        <a:pt x="1104" y="1663"/>
                      </a:lnTo>
                      <a:lnTo>
                        <a:pt x="1103" y="1667"/>
                      </a:lnTo>
                      <a:lnTo>
                        <a:pt x="1102" y="1667"/>
                      </a:lnTo>
                      <a:lnTo>
                        <a:pt x="1102" y="1670"/>
                      </a:lnTo>
                      <a:lnTo>
                        <a:pt x="1101" y="1673"/>
                      </a:lnTo>
                      <a:lnTo>
                        <a:pt x="1101" y="1674"/>
                      </a:lnTo>
                      <a:lnTo>
                        <a:pt x="1100" y="1674"/>
                      </a:lnTo>
                      <a:lnTo>
                        <a:pt x="1100" y="1676"/>
                      </a:lnTo>
                      <a:lnTo>
                        <a:pt x="1100" y="1676"/>
                      </a:lnTo>
                      <a:lnTo>
                        <a:pt x="1100" y="1678"/>
                      </a:lnTo>
                      <a:lnTo>
                        <a:pt x="1099" y="1680"/>
                      </a:lnTo>
                      <a:lnTo>
                        <a:pt x="1099" y="1682"/>
                      </a:lnTo>
                      <a:lnTo>
                        <a:pt x="1099" y="1682"/>
                      </a:lnTo>
                      <a:lnTo>
                        <a:pt x="1096" y="1683"/>
                      </a:lnTo>
                      <a:lnTo>
                        <a:pt x="1095" y="1682"/>
                      </a:lnTo>
                      <a:lnTo>
                        <a:pt x="1094" y="1680"/>
                      </a:lnTo>
                      <a:lnTo>
                        <a:pt x="1094" y="1680"/>
                      </a:lnTo>
                      <a:lnTo>
                        <a:pt x="1094" y="1680"/>
                      </a:lnTo>
                      <a:lnTo>
                        <a:pt x="1095" y="1678"/>
                      </a:lnTo>
                      <a:lnTo>
                        <a:pt x="1094" y="1677"/>
                      </a:lnTo>
                      <a:lnTo>
                        <a:pt x="1094" y="1676"/>
                      </a:lnTo>
                      <a:lnTo>
                        <a:pt x="1094" y="1676"/>
                      </a:lnTo>
                      <a:lnTo>
                        <a:pt x="1094" y="1675"/>
                      </a:lnTo>
                      <a:lnTo>
                        <a:pt x="1093" y="1675"/>
                      </a:lnTo>
                      <a:lnTo>
                        <a:pt x="1092" y="1675"/>
                      </a:lnTo>
                      <a:lnTo>
                        <a:pt x="1091" y="1675"/>
                      </a:lnTo>
                      <a:lnTo>
                        <a:pt x="1090" y="1675"/>
                      </a:lnTo>
                      <a:lnTo>
                        <a:pt x="1088" y="1674"/>
                      </a:lnTo>
                      <a:lnTo>
                        <a:pt x="1086" y="1674"/>
                      </a:lnTo>
                      <a:lnTo>
                        <a:pt x="1085" y="1675"/>
                      </a:lnTo>
                      <a:lnTo>
                        <a:pt x="1085" y="1676"/>
                      </a:lnTo>
                      <a:lnTo>
                        <a:pt x="1084" y="1677"/>
                      </a:lnTo>
                      <a:lnTo>
                        <a:pt x="1084" y="1677"/>
                      </a:lnTo>
                      <a:lnTo>
                        <a:pt x="1084" y="1677"/>
                      </a:lnTo>
                      <a:lnTo>
                        <a:pt x="1083" y="1679"/>
                      </a:lnTo>
                      <a:lnTo>
                        <a:pt x="1082" y="1679"/>
                      </a:lnTo>
                      <a:lnTo>
                        <a:pt x="1082" y="1679"/>
                      </a:lnTo>
                      <a:lnTo>
                        <a:pt x="1082" y="1680"/>
                      </a:lnTo>
                      <a:lnTo>
                        <a:pt x="1083" y="1682"/>
                      </a:lnTo>
                      <a:lnTo>
                        <a:pt x="1084" y="1682"/>
                      </a:lnTo>
                      <a:lnTo>
                        <a:pt x="1084" y="1683"/>
                      </a:lnTo>
                      <a:lnTo>
                        <a:pt x="1085" y="1684"/>
                      </a:lnTo>
                      <a:lnTo>
                        <a:pt x="1086" y="1684"/>
                      </a:lnTo>
                      <a:lnTo>
                        <a:pt x="1088" y="1684"/>
                      </a:lnTo>
                      <a:lnTo>
                        <a:pt x="1089" y="1684"/>
                      </a:lnTo>
                      <a:lnTo>
                        <a:pt x="1090" y="1684"/>
                      </a:lnTo>
                      <a:lnTo>
                        <a:pt x="1092" y="1684"/>
                      </a:lnTo>
                      <a:lnTo>
                        <a:pt x="1092" y="1683"/>
                      </a:lnTo>
                      <a:lnTo>
                        <a:pt x="1092" y="1683"/>
                      </a:lnTo>
                      <a:lnTo>
                        <a:pt x="1092" y="1684"/>
                      </a:lnTo>
                      <a:lnTo>
                        <a:pt x="1093" y="1684"/>
                      </a:lnTo>
                      <a:lnTo>
                        <a:pt x="1093" y="1682"/>
                      </a:lnTo>
                      <a:lnTo>
                        <a:pt x="1094" y="1682"/>
                      </a:lnTo>
                      <a:lnTo>
                        <a:pt x="1095" y="1682"/>
                      </a:lnTo>
                      <a:lnTo>
                        <a:pt x="1095" y="1683"/>
                      </a:lnTo>
                      <a:lnTo>
                        <a:pt x="1097" y="1683"/>
                      </a:lnTo>
                      <a:lnTo>
                        <a:pt x="1100" y="1683"/>
                      </a:lnTo>
                      <a:lnTo>
                        <a:pt x="1102" y="1683"/>
                      </a:lnTo>
                      <a:lnTo>
                        <a:pt x="1103" y="1683"/>
                      </a:lnTo>
                      <a:lnTo>
                        <a:pt x="1103" y="1684"/>
                      </a:lnTo>
                      <a:lnTo>
                        <a:pt x="1102" y="1684"/>
                      </a:lnTo>
                      <a:lnTo>
                        <a:pt x="1101" y="1685"/>
                      </a:lnTo>
                      <a:lnTo>
                        <a:pt x="1101" y="1687"/>
                      </a:lnTo>
                      <a:lnTo>
                        <a:pt x="1102" y="1687"/>
                      </a:lnTo>
                      <a:lnTo>
                        <a:pt x="1102" y="1688"/>
                      </a:lnTo>
                      <a:lnTo>
                        <a:pt x="1102" y="1689"/>
                      </a:lnTo>
                      <a:lnTo>
                        <a:pt x="1101" y="1689"/>
                      </a:lnTo>
                      <a:lnTo>
                        <a:pt x="1101" y="1690"/>
                      </a:lnTo>
                      <a:lnTo>
                        <a:pt x="1100" y="1690"/>
                      </a:lnTo>
                      <a:lnTo>
                        <a:pt x="1100" y="1690"/>
                      </a:lnTo>
                      <a:lnTo>
                        <a:pt x="1100" y="1691"/>
                      </a:lnTo>
                      <a:lnTo>
                        <a:pt x="1099" y="1692"/>
                      </a:lnTo>
                      <a:lnTo>
                        <a:pt x="1098" y="1692"/>
                      </a:lnTo>
                      <a:lnTo>
                        <a:pt x="1097" y="1693"/>
                      </a:lnTo>
                      <a:lnTo>
                        <a:pt x="1096" y="1693"/>
                      </a:lnTo>
                      <a:lnTo>
                        <a:pt x="1096" y="1694"/>
                      </a:lnTo>
                      <a:lnTo>
                        <a:pt x="1096" y="1695"/>
                      </a:lnTo>
                      <a:lnTo>
                        <a:pt x="1095" y="1695"/>
                      </a:lnTo>
                      <a:lnTo>
                        <a:pt x="1095" y="1695"/>
                      </a:lnTo>
                      <a:lnTo>
                        <a:pt x="1094" y="1694"/>
                      </a:lnTo>
                      <a:lnTo>
                        <a:pt x="1093" y="1695"/>
                      </a:lnTo>
                      <a:lnTo>
                        <a:pt x="1092" y="1696"/>
                      </a:lnTo>
                      <a:lnTo>
                        <a:pt x="1089" y="1698"/>
                      </a:lnTo>
                      <a:lnTo>
                        <a:pt x="1089" y="1700"/>
                      </a:lnTo>
                      <a:lnTo>
                        <a:pt x="1088" y="1700"/>
                      </a:lnTo>
                      <a:lnTo>
                        <a:pt x="1088" y="1701"/>
                      </a:lnTo>
                      <a:lnTo>
                        <a:pt x="1088" y="1701"/>
                      </a:lnTo>
                      <a:lnTo>
                        <a:pt x="1088" y="1701"/>
                      </a:lnTo>
                      <a:lnTo>
                        <a:pt x="1088" y="1702"/>
                      </a:lnTo>
                      <a:lnTo>
                        <a:pt x="1087" y="1702"/>
                      </a:lnTo>
                      <a:lnTo>
                        <a:pt x="1088" y="1709"/>
                      </a:lnTo>
                      <a:lnTo>
                        <a:pt x="1089" y="1710"/>
                      </a:lnTo>
                      <a:lnTo>
                        <a:pt x="1092" y="1710"/>
                      </a:lnTo>
                      <a:lnTo>
                        <a:pt x="1092" y="1710"/>
                      </a:lnTo>
                      <a:lnTo>
                        <a:pt x="1093" y="1711"/>
                      </a:lnTo>
                      <a:lnTo>
                        <a:pt x="1093" y="1711"/>
                      </a:lnTo>
                      <a:lnTo>
                        <a:pt x="1093" y="1712"/>
                      </a:lnTo>
                      <a:lnTo>
                        <a:pt x="1093" y="1713"/>
                      </a:lnTo>
                      <a:lnTo>
                        <a:pt x="1092" y="1714"/>
                      </a:lnTo>
                      <a:lnTo>
                        <a:pt x="1092" y="1714"/>
                      </a:lnTo>
                      <a:lnTo>
                        <a:pt x="1092" y="1714"/>
                      </a:lnTo>
                      <a:lnTo>
                        <a:pt x="1092" y="1716"/>
                      </a:lnTo>
                      <a:lnTo>
                        <a:pt x="1091" y="1717"/>
                      </a:lnTo>
                      <a:lnTo>
                        <a:pt x="1090" y="1718"/>
                      </a:lnTo>
                      <a:lnTo>
                        <a:pt x="1090" y="1720"/>
                      </a:lnTo>
                      <a:lnTo>
                        <a:pt x="1090" y="1720"/>
                      </a:lnTo>
                      <a:lnTo>
                        <a:pt x="1089" y="1720"/>
                      </a:lnTo>
                      <a:lnTo>
                        <a:pt x="1088" y="1722"/>
                      </a:lnTo>
                      <a:lnTo>
                        <a:pt x="1088" y="1723"/>
                      </a:lnTo>
                      <a:lnTo>
                        <a:pt x="1087" y="1724"/>
                      </a:lnTo>
                      <a:lnTo>
                        <a:pt x="1087" y="1724"/>
                      </a:lnTo>
                      <a:lnTo>
                        <a:pt x="1086" y="1725"/>
                      </a:lnTo>
                      <a:lnTo>
                        <a:pt x="1085" y="1725"/>
                      </a:lnTo>
                      <a:lnTo>
                        <a:pt x="1085" y="1726"/>
                      </a:lnTo>
                      <a:lnTo>
                        <a:pt x="1086" y="1726"/>
                      </a:lnTo>
                      <a:lnTo>
                        <a:pt x="1086" y="1728"/>
                      </a:lnTo>
                      <a:lnTo>
                        <a:pt x="1084" y="1728"/>
                      </a:lnTo>
                      <a:lnTo>
                        <a:pt x="1084" y="1729"/>
                      </a:lnTo>
                      <a:lnTo>
                        <a:pt x="1085" y="1729"/>
                      </a:lnTo>
                      <a:lnTo>
                        <a:pt x="1084" y="1730"/>
                      </a:lnTo>
                      <a:lnTo>
                        <a:pt x="1082" y="1730"/>
                      </a:lnTo>
                      <a:lnTo>
                        <a:pt x="1082" y="1731"/>
                      </a:lnTo>
                      <a:lnTo>
                        <a:pt x="1082" y="1731"/>
                      </a:lnTo>
                      <a:lnTo>
                        <a:pt x="1082" y="1731"/>
                      </a:lnTo>
                      <a:lnTo>
                        <a:pt x="1082" y="1732"/>
                      </a:lnTo>
                      <a:lnTo>
                        <a:pt x="1081" y="1732"/>
                      </a:lnTo>
                      <a:lnTo>
                        <a:pt x="1082" y="1733"/>
                      </a:lnTo>
                      <a:lnTo>
                        <a:pt x="1082" y="1733"/>
                      </a:lnTo>
                      <a:lnTo>
                        <a:pt x="1081" y="1733"/>
                      </a:lnTo>
                      <a:lnTo>
                        <a:pt x="1081" y="1735"/>
                      </a:lnTo>
                      <a:lnTo>
                        <a:pt x="1080" y="1736"/>
                      </a:lnTo>
                      <a:lnTo>
                        <a:pt x="1077" y="1737"/>
                      </a:lnTo>
                      <a:lnTo>
                        <a:pt x="1076" y="1737"/>
                      </a:lnTo>
                      <a:lnTo>
                        <a:pt x="1075" y="1737"/>
                      </a:lnTo>
                      <a:lnTo>
                        <a:pt x="1074" y="1738"/>
                      </a:lnTo>
                      <a:lnTo>
                        <a:pt x="1074" y="1739"/>
                      </a:lnTo>
                      <a:lnTo>
                        <a:pt x="1073" y="1739"/>
                      </a:lnTo>
                      <a:lnTo>
                        <a:pt x="1072" y="1739"/>
                      </a:lnTo>
                      <a:lnTo>
                        <a:pt x="1071" y="1739"/>
                      </a:lnTo>
                      <a:lnTo>
                        <a:pt x="1072" y="1740"/>
                      </a:lnTo>
                      <a:lnTo>
                        <a:pt x="1071" y="1740"/>
                      </a:lnTo>
                      <a:lnTo>
                        <a:pt x="1069" y="1740"/>
                      </a:lnTo>
                      <a:lnTo>
                        <a:pt x="1068" y="1741"/>
                      </a:lnTo>
                      <a:lnTo>
                        <a:pt x="1067" y="1740"/>
                      </a:lnTo>
                      <a:lnTo>
                        <a:pt x="1066" y="1741"/>
                      </a:lnTo>
                      <a:lnTo>
                        <a:pt x="1065" y="1742"/>
                      </a:lnTo>
                      <a:lnTo>
                        <a:pt x="1064" y="1743"/>
                      </a:lnTo>
                      <a:lnTo>
                        <a:pt x="1064" y="1743"/>
                      </a:lnTo>
                      <a:lnTo>
                        <a:pt x="1063" y="1745"/>
                      </a:lnTo>
                      <a:lnTo>
                        <a:pt x="1062" y="1745"/>
                      </a:lnTo>
                      <a:lnTo>
                        <a:pt x="1061" y="1748"/>
                      </a:lnTo>
                      <a:lnTo>
                        <a:pt x="1060" y="1748"/>
                      </a:lnTo>
                      <a:lnTo>
                        <a:pt x="1060" y="1749"/>
                      </a:lnTo>
                      <a:lnTo>
                        <a:pt x="1061" y="1749"/>
                      </a:lnTo>
                      <a:lnTo>
                        <a:pt x="1059" y="1750"/>
                      </a:lnTo>
                      <a:lnTo>
                        <a:pt x="1059" y="1751"/>
                      </a:lnTo>
                      <a:lnTo>
                        <a:pt x="1057" y="1751"/>
                      </a:lnTo>
                      <a:lnTo>
                        <a:pt x="1056" y="1752"/>
                      </a:lnTo>
                      <a:lnTo>
                        <a:pt x="1056" y="1752"/>
                      </a:lnTo>
                      <a:lnTo>
                        <a:pt x="1055" y="1753"/>
                      </a:lnTo>
                      <a:lnTo>
                        <a:pt x="1055" y="1753"/>
                      </a:lnTo>
                      <a:lnTo>
                        <a:pt x="1054" y="1753"/>
                      </a:lnTo>
                      <a:lnTo>
                        <a:pt x="1054" y="1753"/>
                      </a:lnTo>
                      <a:lnTo>
                        <a:pt x="1054" y="1754"/>
                      </a:lnTo>
                      <a:lnTo>
                        <a:pt x="1053" y="1756"/>
                      </a:lnTo>
                      <a:lnTo>
                        <a:pt x="1053" y="1756"/>
                      </a:lnTo>
                      <a:lnTo>
                        <a:pt x="1051" y="1758"/>
                      </a:lnTo>
                      <a:lnTo>
                        <a:pt x="1051" y="1758"/>
                      </a:lnTo>
                      <a:lnTo>
                        <a:pt x="1050" y="1758"/>
                      </a:lnTo>
                      <a:lnTo>
                        <a:pt x="1049" y="1759"/>
                      </a:lnTo>
                      <a:lnTo>
                        <a:pt x="1049" y="1760"/>
                      </a:lnTo>
                      <a:lnTo>
                        <a:pt x="1048" y="1760"/>
                      </a:lnTo>
                      <a:lnTo>
                        <a:pt x="1047" y="1760"/>
                      </a:lnTo>
                      <a:lnTo>
                        <a:pt x="1046" y="1760"/>
                      </a:lnTo>
                      <a:lnTo>
                        <a:pt x="1045" y="1761"/>
                      </a:lnTo>
                      <a:lnTo>
                        <a:pt x="1044" y="1763"/>
                      </a:lnTo>
                      <a:lnTo>
                        <a:pt x="1043" y="1768"/>
                      </a:lnTo>
                      <a:lnTo>
                        <a:pt x="1043" y="1769"/>
                      </a:lnTo>
                      <a:lnTo>
                        <a:pt x="1042" y="1770"/>
                      </a:lnTo>
                      <a:lnTo>
                        <a:pt x="1041" y="1772"/>
                      </a:lnTo>
                      <a:lnTo>
                        <a:pt x="1041" y="1773"/>
                      </a:lnTo>
                      <a:lnTo>
                        <a:pt x="1040" y="1773"/>
                      </a:lnTo>
                      <a:lnTo>
                        <a:pt x="1040" y="1773"/>
                      </a:lnTo>
                      <a:lnTo>
                        <a:pt x="1039" y="1774"/>
                      </a:lnTo>
                      <a:lnTo>
                        <a:pt x="1037" y="1773"/>
                      </a:lnTo>
                      <a:lnTo>
                        <a:pt x="1036" y="1772"/>
                      </a:lnTo>
                      <a:lnTo>
                        <a:pt x="1035" y="1772"/>
                      </a:lnTo>
                      <a:lnTo>
                        <a:pt x="1035" y="1772"/>
                      </a:lnTo>
                      <a:lnTo>
                        <a:pt x="1032" y="1771"/>
                      </a:lnTo>
                      <a:lnTo>
                        <a:pt x="1028" y="1768"/>
                      </a:lnTo>
                      <a:lnTo>
                        <a:pt x="1025" y="1768"/>
                      </a:lnTo>
                      <a:lnTo>
                        <a:pt x="1020" y="1769"/>
                      </a:lnTo>
                      <a:lnTo>
                        <a:pt x="1020" y="1769"/>
                      </a:lnTo>
                      <a:lnTo>
                        <a:pt x="1019" y="1769"/>
                      </a:lnTo>
                      <a:lnTo>
                        <a:pt x="1019" y="1770"/>
                      </a:lnTo>
                      <a:lnTo>
                        <a:pt x="1019" y="1770"/>
                      </a:lnTo>
                      <a:lnTo>
                        <a:pt x="1019" y="1770"/>
                      </a:lnTo>
                      <a:lnTo>
                        <a:pt x="1017" y="1771"/>
                      </a:lnTo>
                      <a:lnTo>
                        <a:pt x="1016" y="1772"/>
                      </a:lnTo>
                      <a:lnTo>
                        <a:pt x="1013" y="1772"/>
                      </a:lnTo>
                      <a:lnTo>
                        <a:pt x="1013" y="1773"/>
                      </a:lnTo>
                      <a:lnTo>
                        <a:pt x="1012" y="1773"/>
                      </a:lnTo>
                      <a:lnTo>
                        <a:pt x="1011" y="1774"/>
                      </a:lnTo>
                      <a:lnTo>
                        <a:pt x="1011" y="1773"/>
                      </a:lnTo>
                      <a:lnTo>
                        <a:pt x="1009" y="1773"/>
                      </a:lnTo>
                      <a:lnTo>
                        <a:pt x="1008" y="1772"/>
                      </a:lnTo>
                      <a:lnTo>
                        <a:pt x="1007" y="1772"/>
                      </a:lnTo>
                      <a:lnTo>
                        <a:pt x="1006" y="1772"/>
                      </a:lnTo>
                      <a:lnTo>
                        <a:pt x="1003" y="1772"/>
                      </a:lnTo>
                      <a:lnTo>
                        <a:pt x="1003" y="1772"/>
                      </a:lnTo>
                      <a:lnTo>
                        <a:pt x="1002" y="1772"/>
                      </a:lnTo>
                      <a:lnTo>
                        <a:pt x="1002" y="1773"/>
                      </a:lnTo>
                      <a:lnTo>
                        <a:pt x="1002" y="1773"/>
                      </a:lnTo>
                      <a:lnTo>
                        <a:pt x="1000" y="1773"/>
                      </a:lnTo>
                      <a:lnTo>
                        <a:pt x="998" y="1773"/>
                      </a:lnTo>
                      <a:lnTo>
                        <a:pt x="993" y="1774"/>
                      </a:lnTo>
                      <a:lnTo>
                        <a:pt x="993" y="1774"/>
                      </a:lnTo>
                      <a:lnTo>
                        <a:pt x="992" y="1775"/>
                      </a:lnTo>
                      <a:lnTo>
                        <a:pt x="989" y="1777"/>
                      </a:lnTo>
                      <a:lnTo>
                        <a:pt x="987" y="1778"/>
                      </a:lnTo>
                      <a:lnTo>
                        <a:pt x="985" y="1778"/>
                      </a:lnTo>
                      <a:lnTo>
                        <a:pt x="975" y="1778"/>
                      </a:lnTo>
                      <a:lnTo>
                        <a:pt x="974" y="1778"/>
                      </a:lnTo>
                      <a:lnTo>
                        <a:pt x="973" y="1776"/>
                      </a:lnTo>
                      <a:lnTo>
                        <a:pt x="973" y="1776"/>
                      </a:lnTo>
                      <a:lnTo>
                        <a:pt x="972" y="1776"/>
                      </a:lnTo>
                      <a:lnTo>
                        <a:pt x="972" y="1777"/>
                      </a:lnTo>
                      <a:lnTo>
                        <a:pt x="971" y="1778"/>
                      </a:lnTo>
                      <a:lnTo>
                        <a:pt x="970" y="1778"/>
                      </a:lnTo>
                      <a:lnTo>
                        <a:pt x="970" y="1779"/>
                      </a:lnTo>
                      <a:lnTo>
                        <a:pt x="967" y="1778"/>
                      </a:lnTo>
                      <a:lnTo>
                        <a:pt x="965" y="1781"/>
                      </a:lnTo>
                      <a:lnTo>
                        <a:pt x="964" y="1782"/>
                      </a:lnTo>
                      <a:lnTo>
                        <a:pt x="963" y="1783"/>
                      </a:lnTo>
                      <a:lnTo>
                        <a:pt x="961" y="1784"/>
                      </a:lnTo>
                      <a:lnTo>
                        <a:pt x="960" y="1785"/>
                      </a:lnTo>
                      <a:lnTo>
                        <a:pt x="957" y="1786"/>
                      </a:lnTo>
                      <a:lnTo>
                        <a:pt x="956" y="1788"/>
                      </a:lnTo>
                      <a:lnTo>
                        <a:pt x="955" y="1790"/>
                      </a:lnTo>
                      <a:lnTo>
                        <a:pt x="953" y="1791"/>
                      </a:lnTo>
                      <a:lnTo>
                        <a:pt x="952" y="1793"/>
                      </a:lnTo>
                      <a:lnTo>
                        <a:pt x="951" y="1794"/>
                      </a:lnTo>
                      <a:lnTo>
                        <a:pt x="951" y="1796"/>
                      </a:lnTo>
                      <a:lnTo>
                        <a:pt x="948" y="1799"/>
                      </a:lnTo>
                      <a:lnTo>
                        <a:pt x="947" y="1800"/>
                      </a:lnTo>
                      <a:lnTo>
                        <a:pt x="947" y="1801"/>
                      </a:lnTo>
                      <a:lnTo>
                        <a:pt x="945" y="1802"/>
                      </a:lnTo>
                      <a:lnTo>
                        <a:pt x="943" y="1804"/>
                      </a:lnTo>
                      <a:lnTo>
                        <a:pt x="941" y="1806"/>
                      </a:lnTo>
                      <a:lnTo>
                        <a:pt x="937" y="1808"/>
                      </a:lnTo>
                      <a:lnTo>
                        <a:pt x="936" y="1809"/>
                      </a:lnTo>
                      <a:lnTo>
                        <a:pt x="935" y="1810"/>
                      </a:lnTo>
                      <a:lnTo>
                        <a:pt x="931" y="1811"/>
                      </a:lnTo>
                      <a:lnTo>
                        <a:pt x="930" y="1810"/>
                      </a:lnTo>
                      <a:lnTo>
                        <a:pt x="928" y="1812"/>
                      </a:lnTo>
                      <a:lnTo>
                        <a:pt x="926" y="1813"/>
                      </a:lnTo>
                      <a:lnTo>
                        <a:pt x="924" y="1814"/>
                      </a:lnTo>
                      <a:lnTo>
                        <a:pt x="924" y="1816"/>
                      </a:lnTo>
                      <a:lnTo>
                        <a:pt x="929" y="1816"/>
                      </a:lnTo>
                      <a:lnTo>
                        <a:pt x="934" y="1815"/>
                      </a:lnTo>
                      <a:lnTo>
                        <a:pt x="936" y="1814"/>
                      </a:lnTo>
                      <a:lnTo>
                        <a:pt x="939" y="1813"/>
                      </a:lnTo>
                      <a:lnTo>
                        <a:pt x="941" y="1812"/>
                      </a:lnTo>
                      <a:lnTo>
                        <a:pt x="943" y="1811"/>
                      </a:lnTo>
                      <a:lnTo>
                        <a:pt x="944" y="1810"/>
                      </a:lnTo>
                      <a:lnTo>
                        <a:pt x="946" y="1808"/>
                      </a:lnTo>
                      <a:lnTo>
                        <a:pt x="949" y="1807"/>
                      </a:lnTo>
                      <a:lnTo>
                        <a:pt x="952" y="1805"/>
                      </a:lnTo>
                      <a:lnTo>
                        <a:pt x="952" y="1805"/>
                      </a:lnTo>
                      <a:lnTo>
                        <a:pt x="956" y="1803"/>
                      </a:lnTo>
                      <a:lnTo>
                        <a:pt x="959" y="1802"/>
                      </a:lnTo>
                      <a:lnTo>
                        <a:pt x="959" y="1802"/>
                      </a:lnTo>
                      <a:lnTo>
                        <a:pt x="964" y="1801"/>
                      </a:lnTo>
                      <a:lnTo>
                        <a:pt x="967" y="1798"/>
                      </a:lnTo>
                      <a:lnTo>
                        <a:pt x="971" y="1797"/>
                      </a:lnTo>
                      <a:lnTo>
                        <a:pt x="974" y="1794"/>
                      </a:lnTo>
                      <a:lnTo>
                        <a:pt x="974" y="1792"/>
                      </a:lnTo>
                      <a:lnTo>
                        <a:pt x="975" y="1792"/>
                      </a:lnTo>
                      <a:lnTo>
                        <a:pt x="976" y="1791"/>
                      </a:lnTo>
                      <a:lnTo>
                        <a:pt x="979" y="1791"/>
                      </a:lnTo>
                      <a:lnTo>
                        <a:pt x="980" y="1791"/>
                      </a:lnTo>
                      <a:lnTo>
                        <a:pt x="982" y="1790"/>
                      </a:lnTo>
                      <a:lnTo>
                        <a:pt x="985" y="1790"/>
                      </a:lnTo>
                      <a:lnTo>
                        <a:pt x="985" y="1790"/>
                      </a:lnTo>
                      <a:lnTo>
                        <a:pt x="986" y="1789"/>
                      </a:lnTo>
                      <a:lnTo>
                        <a:pt x="987" y="1788"/>
                      </a:lnTo>
                      <a:lnTo>
                        <a:pt x="987" y="1788"/>
                      </a:lnTo>
                      <a:lnTo>
                        <a:pt x="989" y="1787"/>
                      </a:lnTo>
                      <a:lnTo>
                        <a:pt x="989" y="1787"/>
                      </a:lnTo>
                      <a:lnTo>
                        <a:pt x="990" y="1786"/>
                      </a:lnTo>
                      <a:lnTo>
                        <a:pt x="992" y="1785"/>
                      </a:lnTo>
                      <a:lnTo>
                        <a:pt x="993" y="1784"/>
                      </a:lnTo>
                      <a:lnTo>
                        <a:pt x="994" y="1784"/>
                      </a:lnTo>
                      <a:lnTo>
                        <a:pt x="994" y="1783"/>
                      </a:lnTo>
                      <a:lnTo>
                        <a:pt x="995" y="1783"/>
                      </a:lnTo>
                      <a:lnTo>
                        <a:pt x="995" y="1782"/>
                      </a:lnTo>
                      <a:lnTo>
                        <a:pt x="995" y="1782"/>
                      </a:lnTo>
                      <a:lnTo>
                        <a:pt x="995" y="1781"/>
                      </a:lnTo>
                      <a:lnTo>
                        <a:pt x="997" y="1780"/>
                      </a:lnTo>
                      <a:lnTo>
                        <a:pt x="1000" y="1779"/>
                      </a:lnTo>
                      <a:lnTo>
                        <a:pt x="1000" y="1778"/>
                      </a:lnTo>
                      <a:lnTo>
                        <a:pt x="1003" y="1778"/>
                      </a:lnTo>
                      <a:lnTo>
                        <a:pt x="1004" y="1778"/>
                      </a:lnTo>
                      <a:lnTo>
                        <a:pt x="1006" y="1778"/>
                      </a:lnTo>
                      <a:lnTo>
                        <a:pt x="1008" y="1778"/>
                      </a:lnTo>
                      <a:lnTo>
                        <a:pt x="1009" y="1778"/>
                      </a:lnTo>
                      <a:lnTo>
                        <a:pt x="1010" y="1779"/>
                      </a:lnTo>
                      <a:lnTo>
                        <a:pt x="1011" y="1780"/>
                      </a:lnTo>
                      <a:lnTo>
                        <a:pt x="1012" y="1780"/>
                      </a:lnTo>
                      <a:lnTo>
                        <a:pt x="1012" y="1780"/>
                      </a:lnTo>
                      <a:lnTo>
                        <a:pt x="1012" y="1780"/>
                      </a:lnTo>
                      <a:lnTo>
                        <a:pt x="1013" y="1781"/>
                      </a:lnTo>
                      <a:lnTo>
                        <a:pt x="1012" y="1781"/>
                      </a:lnTo>
                      <a:lnTo>
                        <a:pt x="1012" y="1782"/>
                      </a:lnTo>
                      <a:lnTo>
                        <a:pt x="1012" y="1781"/>
                      </a:lnTo>
                      <a:lnTo>
                        <a:pt x="1013" y="1781"/>
                      </a:lnTo>
                      <a:lnTo>
                        <a:pt x="1013" y="1782"/>
                      </a:lnTo>
                      <a:lnTo>
                        <a:pt x="1012" y="1782"/>
                      </a:lnTo>
                      <a:lnTo>
                        <a:pt x="1012" y="1782"/>
                      </a:lnTo>
                      <a:lnTo>
                        <a:pt x="1013" y="1782"/>
                      </a:lnTo>
                      <a:lnTo>
                        <a:pt x="1013" y="1782"/>
                      </a:lnTo>
                      <a:lnTo>
                        <a:pt x="1015" y="1783"/>
                      </a:lnTo>
                      <a:lnTo>
                        <a:pt x="1017" y="1782"/>
                      </a:lnTo>
                      <a:lnTo>
                        <a:pt x="1019" y="1781"/>
                      </a:lnTo>
                      <a:lnTo>
                        <a:pt x="1022" y="1781"/>
                      </a:lnTo>
                      <a:lnTo>
                        <a:pt x="1022" y="1780"/>
                      </a:lnTo>
                      <a:lnTo>
                        <a:pt x="1023" y="1780"/>
                      </a:lnTo>
                      <a:lnTo>
                        <a:pt x="1024" y="1781"/>
                      </a:lnTo>
                      <a:lnTo>
                        <a:pt x="1023" y="1781"/>
                      </a:lnTo>
                      <a:lnTo>
                        <a:pt x="1023" y="1782"/>
                      </a:lnTo>
                      <a:lnTo>
                        <a:pt x="1024" y="1782"/>
                      </a:lnTo>
                      <a:lnTo>
                        <a:pt x="1024" y="1782"/>
                      </a:lnTo>
                      <a:lnTo>
                        <a:pt x="1023" y="1781"/>
                      </a:lnTo>
                      <a:lnTo>
                        <a:pt x="1024" y="1781"/>
                      </a:lnTo>
                      <a:lnTo>
                        <a:pt x="1024" y="1781"/>
                      </a:lnTo>
                      <a:lnTo>
                        <a:pt x="1025" y="1782"/>
                      </a:lnTo>
                      <a:lnTo>
                        <a:pt x="1025" y="1784"/>
                      </a:lnTo>
                      <a:lnTo>
                        <a:pt x="1024" y="1789"/>
                      </a:lnTo>
                      <a:lnTo>
                        <a:pt x="1024" y="1789"/>
                      </a:lnTo>
                      <a:lnTo>
                        <a:pt x="1024" y="1791"/>
                      </a:lnTo>
                      <a:lnTo>
                        <a:pt x="1024" y="1793"/>
                      </a:lnTo>
                      <a:lnTo>
                        <a:pt x="1023" y="1803"/>
                      </a:lnTo>
                      <a:lnTo>
                        <a:pt x="1022" y="1803"/>
                      </a:lnTo>
                      <a:lnTo>
                        <a:pt x="1021" y="1805"/>
                      </a:lnTo>
                      <a:lnTo>
                        <a:pt x="1020" y="1807"/>
                      </a:lnTo>
                      <a:lnTo>
                        <a:pt x="1019" y="1807"/>
                      </a:lnTo>
                      <a:lnTo>
                        <a:pt x="1018" y="1808"/>
                      </a:lnTo>
                      <a:lnTo>
                        <a:pt x="1018" y="1808"/>
                      </a:lnTo>
                      <a:lnTo>
                        <a:pt x="1016" y="1809"/>
                      </a:lnTo>
                      <a:lnTo>
                        <a:pt x="1014" y="1810"/>
                      </a:lnTo>
                      <a:lnTo>
                        <a:pt x="1014" y="1810"/>
                      </a:lnTo>
                      <a:lnTo>
                        <a:pt x="1014" y="1809"/>
                      </a:lnTo>
                      <a:lnTo>
                        <a:pt x="1012" y="1810"/>
                      </a:lnTo>
                      <a:lnTo>
                        <a:pt x="1012" y="1810"/>
                      </a:lnTo>
                      <a:lnTo>
                        <a:pt x="1011" y="1810"/>
                      </a:lnTo>
                      <a:lnTo>
                        <a:pt x="1011" y="1810"/>
                      </a:lnTo>
                      <a:lnTo>
                        <a:pt x="1010" y="1810"/>
                      </a:lnTo>
                      <a:lnTo>
                        <a:pt x="1009" y="1810"/>
                      </a:lnTo>
                      <a:lnTo>
                        <a:pt x="1008" y="1811"/>
                      </a:lnTo>
                      <a:lnTo>
                        <a:pt x="1008" y="1811"/>
                      </a:lnTo>
                      <a:lnTo>
                        <a:pt x="1007" y="1813"/>
                      </a:lnTo>
                      <a:lnTo>
                        <a:pt x="1008" y="1812"/>
                      </a:lnTo>
                      <a:lnTo>
                        <a:pt x="1009" y="1812"/>
                      </a:lnTo>
                      <a:lnTo>
                        <a:pt x="1009" y="1813"/>
                      </a:lnTo>
                      <a:lnTo>
                        <a:pt x="1011" y="1813"/>
                      </a:lnTo>
                      <a:lnTo>
                        <a:pt x="1013" y="1812"/>
                      </a:lnTo>
                      <a:lnTo>
                        <a:pt x="1013" y="1813"/>
                      </a:lnTo>
                      <a:lnTo>
                        <a:pt x="1015" y="1814"/>
                      </a:lnTo>
                      <a:lnTo>
                        <a:pt x="1016" y="1814"/>
                      </a:lnTo>
                      <a:lnTo>
                        <a:pt x="1017" y="1815"/>
                      </a:lnTo>
                      <a:lnTo>
                        <a:pt x="1017" y="1816"/>
                      </a:lnTo>
                      <a:lnTo>
                        <a:pt x="1018" y="1816"/>
                      </a:lnTo>
                      <a:lnTo>
                        <a:pt x="1020" y="1814"/>
                      </a:lnTo>
                      <a:lnTo>
                        <a:pt x="1020" y="1812"/>
                      </a:lnTo>
                      <a:lnTo>
                        <a:pt x="1021" y="1811"/>
                      </a:lnTo>
                      <a:lnTo>
                        <a:pt x="1022" y="1810"/>
                      </a:lnTo>
                      <a:lnTo>
                        <a:pt x="1023" y="1812"/>
                      </a:lnTo>
                      <a:lnTo>
                        <a:pt x="1023" y="1813"/>
                      </a:lnTo>
                      <a:lnTo>
                        <a:pt x="1025" y="1819"/>
                      </a:lnTo>
                      <a:lnTo>
                        <a:pt x="1026" y="1819"/>
                      </a:lnTo>
                      <a:lnTo>
                        <a:pt x="1027" y="1819"/>
                      </a:lnTo>
                      <a:lnTo>
                        <a:pt x="1028" y="1819"/>
                      </a:lnTo>
                      <a:lnTo>
                        <a:pt x="1029" y="1820"/>
                      </a:lnTo>
                      <a:lnTo>
                        <a:pt x="1029" y="1822"/>
                      </a:lnTo>
                      <a:lnTo>
                        <a:pt x="1030" y="1823"/>
                      </a:lnTo>
                      <a:lnTo>
                        <a:pt x="1030" y="1823"/>
                      </a:lnTo>
                      <a:lnTo>
                        <a:pt x="1032" y="1823"/>
                      </a:lnTo>
                      <a:lnTo>
                        <a:pt x="1034" y="1823"/>
                      </a:lnTo>
                      <a:lnTo>
                        <a:pt x="1035" y="1823"/>
                      </a:lnTo>
                      <a:lnTo>
                        <a:pt x="1036" y="1823"/>
                      </a:lnTo>
                      <a:lnTo>
                        <a:pt x="1037" y="1823"/>
                      </a:lnTo>
                      <a:lnTo>
                        <a:pt x="1038" y="1824"/>
                      </a:lnTo>
                      <a:lnTo>
                        <a:pt x="1039" y="1825"/>
                      </a:lnTo>
                      <a:lnTo>
                        <a:pt x="1042" y="1825"/>
                      </a:lnTo>
                      <a:lnTo>
                        <a:pt x="1042" y="1825"/>
                      </a:lnTo>
                      <a:lnTo>
                        <a:pt x="1043" y="1825"/>
                      </a:lnTo>
                      <a:lnTo>
                        <a:pt x="1044" y="1825"/>
                      </a:lnTo>
                      <a:lnTo>
                        <a:pt x="1045" y="1825"/>
                      </a:lnTo>
                      <a:lnTo>
                        <a:pt x="1045" y="1825"/>
                      </a:lnTo>
                      <a:lnTo>
                        <a:pt x="1046" y="1826"/>
                      </a:lnTo>
                      <a:lnTo>
                        <a:pt x="1048" y="1826"/>
                      </a:lnTo>
                      <a:lnTo>
                        <a:pt x="1049" y="1825"/>
                      </a:lnTo>
                      <a:lnTo>
                        <a:pt x="1050" y="1826"/>
                      </a:lnTo>
                      <a:lnTo>
                        <a:pt x="1051" y="1827"/>
                      </a:lnTo>
                      <a:lnTo>
                        <a:pt x="1052" y="1827"/>
                      </a:lnTo>
                      <a:lnTo>
                        <a:pt x="1052" y="1828"/>
                      </a:lnTo>
                      <a:lnTo>
                        <a:pt x="1052" y="1828"/>
                      </a:lnTo>
                      <a:lnTo>
                        <a:pt x="1053" y="1827"/>
                      </a:lnTo>
                      <a:lnTo>
                        <a:pt x="1053" y="1828"/>
                      </a:lnTo>
                      <a:lnTo>
                        <a:pt x="1055" y="1828"/>
                      </a:lnTo>
                      <a:lnTo>
                        <a:pt x="1056" y="1829"/>
                      </a:lnTo>
                      <a:lnTo>
                        <a:pt x="1056" y="1830"/>
                      </a:lnTo>
                      <a:lnTo>
                        <a:pt x="1056" y="1831"/>
                      </a:lnTo>
                      <a:lnTo>
                        <a:pt x="1057" y="1831"/>
                      </a:lnTo>
                      <a:lnTo>
                        <a:pt x="1058" y="1834"/>
                      </a:lnTo>
                      <a:lnTo>
                        <a:pt x="1059" y="1834"/>
                      </a:lnTo>
                      <a:lnTo>
                        <a:pt x="1059" y="1834"/>
                      </a:lnTo>
                      <a:lnTo>
                        <a:pt x="1059" y="1835"/>
                      </a:lnTo>
                      <a:lnTo>
                        <a:pt x="1059" y="1836"/>
                      </a:lnTo>
                      <a:lnTo>
                        <a:pt x="1060" y="1837"/>
                      </a:lnTo>
                      <a:lnTo>
                        <a:pt x="1061" y="1837"/>
                      </a:lnTo>
                      <a:lnTo>
                        <a:pt x="1061" y="1838"/>
                      </a:lnTo>
                      <a:lnTo>
                        <a:pt x="1061" y="1838"/>
                      </a:lnTo>
                      <a:lnTo>
                        <a:pt x="1063" y="1839"/>
                      </a:lnTo>
                      <a:lnTo>
                        <a:pt x="1063" y="1839"/>
                      </a:lnTo>
                      <a:lnTo>
                        <a:pt x="1064" y="1839"/>
                      </a:lnTo>
                      <a:lnTo>
                        <a:pt x="1064" y="1840"/>
                      </a:lnTo>
                      <a:lnTo>
                        <a:pt x="1065" y="1840"/>
                      </a:lnTo>
                      <a:lnTo>
                        <a:pt x="1065" y="1840"/>
                      </a:lnTo>
                      <a:lnTo>
                        <a:pt x="1066" y="1840"/>
                      </a:lnTo>
                      <a:lnTo>
                        <a:pt x="1066" y="1840"/>
                      </a:lnTo>
                      <a:lnTo>
                        <a:pt x="1068" y="1841"/>
                      </a:lnTo>
                      <a:lnTo>
                        <a:pt x="1068" y="1842"/>
                      </a:lnTo>
                      <a:lnTo>
                        <a:pt x="1069" y="1843"/>
                      </a:lnTo>
                      <a:lnTo>
                        <a:pt x="1069" y="1843"/>
                      </a:lnTo>
                      <a:lnTo>
                        <a:pt x="1071" y="1843"/>
                      </a:lnTo>
                      <a:lnTo>
                        <a:pt x="1072" y="1844"/>
                      </a:lnTo>
                      <a:lnTo>
                        <a:pt x="1072" y="1844"/>
                      </a:lnTo>
                      <a:lnTo>
                        <a:pt x="1072" y="1844"/>
                      </a:lnTo>
                      <a:lnTo>
                        <a:pt x="1071" y="1846"/>
                      </a:lnTo>
                      <a:lnTo>
                        <a:pt x="1069" y="1847"/>
                      </a:lnTo>
                      <a:lnTo>
                        <a:pt x="1069" y="1847"/>
                      </a:lnTo>
                      <a:lnTo>
                        <a:pt x="1068" y="1848"/>
                      </a:lnTo>
                      <a:lnTo>
                        <a:pt x="1067" y="1850"/>
                      </a:lnTo>
                      <a:lnTo>
                        <a:pt x="1065" y="1851"/>
                      </a:lnTo>
                      <a:lnTo>
                        <a:pt x="1064" y="1851"/>
                      </a:lnTo>
                      <a:lnTo>
                        <a:pt x="1063" y="1851"/>
                      </a:lnTo>
                      <a:lnTo>
                        <a:pt x="1063" y="1852"/>
                      </a:lnTo>
                      <a:lnTo>
                        <a:pt x="1062" y="1852"/>
                      </a:lnTo>
                      <a:lnTo>
                        <a:pt x="1062" y="1853"/>
                      </a:lnTo>
                      <a:lnTo>
                        <a:pt x="1062" y="1854"/>
                      </a:lnTo>
                      <a:lnTo>
                        <a:pt x="1060" y="1855"/>
                      </a:lnTo>
                      <a:lnTo>
                        <a:pt x="1059" y="1856"/>
                      </a:lnTo>
                      <a:lnTo>
                        <a:pt x="1058" y="1857"/>
                      </a:lnTo>
                      <a:lnTo>
                        <a:pt x="1058" y="1858"/>
                      </a:lnTo>
                      <a:lnTo>
                        <a:pt x="1056" y="1859"/>
                      </a:lnTo>
                      <a:lnTo>
                        <a:pt x="1053" y="1861"/>
                      </a:lnTo>
                      <a:lnTo>
                        <a:pt x="1052" y="1862"/>
                      </a:lnTo>
                      <a:lnTo>
                        <a:pt x="1051" y="1862"/>
                      </a:lnTo>
                      <a:lnTo>
                        <a:pt x="1051" y="1864"/>
                      </a:lnTo>
                      <a:lnTo>
                        <a:pt x="1049" y="1865"/>
                      </a:lnTo>
                      <a:lnTo>
                        <a:pt x="1047" y="1865"/>
                      </a:lnTo>
                      <a:lnTo>
                        <a:pt x="1047" y="1865"/>
                      </a:lnTo>
                      <a:lnTo>
                        <a:pt x="1046" y="1865"/>
                      </a:lnTo>
                      <a:lnTo>
                        <a:pt x="1046" y="1866"/>
                      </a:lnTo>
                      <a:lnTo>
                        <a:pt x="1046" y="1867"/>
                      </a:lnTo>
                      <a:lnTo>
                        <a:pt x="1045" y="1867"/>
                      </a:lnTo>
                      <a:lnTo>
                        <a:pt x="1044" y="1867"/>
                      </a:lnTo>
                      <a:lnTo>
                        <a:pt x="1044" y="1868"/>
                      </a:lnTo>
                      <a:lnTo>
                        <a:pt x="1043" y="1868"/>
                      </a:lnTo>
                      <a:lnTo>
                        <a:pt x="1042" y="1868"/>
                      </a:lnTo>
                      <a:lnTo>
                        <a:pt x="1041" y="1869"/>
                      </a:lnTo>
                      <a:lnTo>
                        <a:pt x="1038" y="1869"/>
                      </a:lnTo>
                      <a:lnTo>
                        <a:pt x="1037" y="1871"/>
                      </a:lnTo>
                      <a:lnTo>
                        <a:pt x="1036" y="1872"/>
                      </a:lnTo>
                      <a:lnTo>
                        <a:pt x="1034" y="1873"/>
                      </a:lnTo>
                      <a:lnTo>
                        <a:pt x="1032" y="1873"/>
                      </a:lnTo>
                      <a:lnTo>
                        <a:pt x="1031" y="1874"/>
                      </a:lnTo>
                      <a:lnTo>
                        <a:pt x="1029" y="1874"/>
                      </a:lnTo>
                      <a:lnTo>
                        <a:pt x="1028" y="1876"/>
                      </a:lnTo>
                      <a:lnTo>
                        <a:pt x="1027" y="1875"/>
                      </a:lnTo>
                      <a:lnTo>
                        <a:pt x="1027" y="1876"/>
                      </a:lnTo>
                      <a:lnTo>
                        <a:pt x="1026" y="1876"/>
                      </a:lnTo>
                      <a:lnTo>
                        <a:pt x="1026" y="1877"/>
                      </a:lnTo>
                      <a:lnTo>
                        <a:pt x="1025" y="1877"/>
                      </a:lnTo>
                      <a:lnTo>
                        <a:pt x="1025" y="1878"/>
                      </a:lnTo>
                      <a:lnTo>
                        <a:pt x="1024" y="1880"/>
                      </a:lnTo>
                      <a:lnTo>
                        <a:pt x="1024" y="1880"/>
                      </a:lnTo>
                      <a:lnTo>
                        <a:pt x="1023" y="1880"/>
                      </a:lnTo>
                      <a:lnTo>
                        <a:pt x="1022" y="1880"/>
                      </a:lnTo>
                      <a:lnTo>
                        <a:pt x="1023" y="1879"/>
                      </a:lnTo>
                      <a:lnTo>
                        <a:pt x="1022" y="1879"/>
                      </a:lnTo>
                      <a:lnTo>
                        <a:pt x="1022" y="1879"/>
                      </a:lnTo>
                      <a:lnTo>
                        <a:pt x="1021" y="1880"/>
                      </a:lnTo>
                      <a:lnTo>
                        <a:pt x="1021" y="1879"/>
                      </a:lnTo>
                      <a:lnTo>
                        <a:pt x="1022" y="1879"/>
                      </a:lnTo>
                      <a:lnTo>
                        <a:pt x="1022" y="1878"/>
                      </a:lnTo>
                      <a:lnTo>
                        <a:pt x="1021" y="1878"/>
                      </a:lnTo>
                      <a:lnTo>
                        <a:pt x="1020" y="1878"/>
                      </a:lnTo>
                      <a:lnTo>
                        <a:pt x="1018" y="1879"/>
                      </a:lnTo>
                      <a:lnTo>
                        <a:pt x="1018" y="1880"/>
                      </a:lnTo>
                      <a:lnTo>
                        <a:pt x="1017" y="1880"/>
                      </a:lnTo>
                      <a:lnTo>
                        <a:pt x="1016" y="1880"/>
                      </a:lnTo>
                      <a:lnTo>
                        <a:pt x="1016" y="1879"/>
                      </a:lnTo>
                      <a:lnTo>
                        <a:pt x="1014" y="1878"/>
                      </a:lnTo>
                      <a:lnTo>
                        <a:pt x="1013" y="1879"/>
                      </a:lnTo>
                      <a:lnTo>
                        <a:pt x="1013" y="1879"/>
                      </a:lnTo>
                      <a:lnTo>
                        <a:pt x="1011" y="1879"/>
                      </a:lnTo>
                      <a:lnTo>
                        <a:pt x="1011" y="1878"/>
                      </a:lnTo>
                      <a:lnTo>
                        <a:pt x="1011" y="1878"/>
                      </a:lnTo>
                      <a:lnTo>
                        <a:pt x="1012" y="1877"/>
                      </a:lnTo>
                      <a:lnTo>
                        <a:pt x="1011" y="1876"/>
                      </a:lnTo>
                      <a:lnTo>
                        <a:pt x="1009" y="1877"/>
                      </a:lnTo>
                      <a:lnTo>
                        <a:pt x="1009" y="1877"/>
                      </a:lnTo>
                      <a:lnTo>
                        <a:pt x="1009" y="1878"/>
                      </a:lnTo>
                      <a:lnTo>
                        <a:pt x="1009" y="1877"/>
                      </a:lnTo>
                      <a:lnTo>
                        <a:pt x="1008" y="1877"/>
                      </a:lnTo>
                      <a:lnTo>
                        <a:pt x="1009" y="1876"/>
                      </a:lnTo>
                      <a:lnTo>
                        <a:pt x="1010" y="1876"/>
                      </a:lnTo>
                      <a:lnTo>
                        <a:pt x="1010" y="1876"/>
                      </a:lnTo>
                      <a:lnTo>
                        <a:pt x="1010" y="1876"/>
                      </a:lnTo>
                      <a:lnTo>
                        <a:pt x="1010" y="1875"/>
                      </a:lnTo>
                      <a:lnTo>
                        <a:pt x="1009" y="1874"/>
                      </a:lnTo>
                      <a:lnTo>
                        <a:pt x="1009" y="1873"/>
                      </a:lnTo>
                      <a:lnTo>
                        <a:pt x="1009" y="1873"/>
                      </a:lnTo>
                      <a:lnTo>
                        <a:pt x="1007" y="1872"/>
                      </a:lnTo>
                      <a:lnTo>
                        <a:pt x="1007" y="1872"/>
                      </a:lnTo>
                      <a:lnTo>
                        <a:pt x="1004" y="1871"/>
                      </a:lnTo>
                      <a:lnTo>
                        <a:pt x="1003" y="1871"/>
                      </a:lnTo>
                      <a:lnTo>
                        <a:pt x="1003" y="1871"/>
                      </a:lnTo>
                      <a:lnTo>
                        <a:pt x="1003" y="1869"/>
                      </a:lnTo>
                      <a:lnTo>
                        <a:pt x="998" y="1869"/>
                      </a:lnTo>
                      <a:lnTo>
                        <a:pt x="993" y="1869"/>
                      </a:lnTo>
                      <a:lnTo>
                        <a:pt x="993" y="1869"/>
                      </a:lnTo>
                      <a:lnTo>
                        <a:pt x="992" y="1869"/>
                      </a:lnTo>
                      <a:lnTo>
                        <a:pt x="989" y="1872"/>
                      </a:lnTo>
                      <a:lnTo>
                        <a:pt x="987" y="1874"/>
                      </a:lnTo>
                      <a:lnTo>
                        <a:pt x="985" y="1876"/>
                      </a:lnTo>
                      <a:lnTo>
                        <a:pt x="985" y="1876"/>
                      </a:lnTo>
                      <a:lnTo>
                        <a:pt x="985" y="1878"/>
                      </a:lnTo>
                      <a:lnTo>
                        <a:pt x="983" y="1879"/>
                      </a:lnTo>
                      <a:lnTo>
                        <a:pt x="982" y="1881"/>
                      </a:lnTo>
                      <a:lnTo>
                        <a:pt x="981" y="1881"/>
                      </a:lnTo>
                      <a:lnTo>
                        <a:pt x="981" y="1881"/>
                      </a:lnTo>
                      <a:lnTo>
                        <a:pt x="980" y="1883"/>
                      </a:lnTo>
                      <a:lnTo>
                        <a:pt x="978" y="1884"/>
                      </a:lnTo>
                      <a:lnTo>
                        <a:pt x="976" y="1886"/>
                      </a:lnTo>
                      <a:lnTo>
                        <a:pt x="976" y="1886"/>
                      </a:lnTo>
                      <a:lnTo>
                        <a:pt x="975" y="1886"/>
                      </a:lnTo>
                      <a:lnTo>
                        <a:pt x="974" y="1886"/>
                      </a:lnTo>
                      <a:lnTo>
                        <a:pt x="973" y="1887"/>
                      </a:lnTo>
                      <a:lnTo>
                        <a:pt x="972" y="1888"/>
                      </a:lnTo>
                      <a:lnTo>
                        <a:pt x="971" y="1889"/>
                      </a:lnTo>
                      <a:lnTo>
                        <a:pt x="971" y="1889"/>
                      </a:lnTo>
                      <a:lnTo>
                        <a:pt x="970" y="1890"/>
                      </a:lnTo>
                      <a:lnTo>
                        <a:pt x="970" y="1890"/>
                      </a:lnTo>
                      <a:lnTo>
                        <a:pt x="970" y="1891"/>
                      </a:lnTo>
                      <a:lnTo>
                        <a:pt x="968" y="1893"/>
                      </a:lnTo>
                      <a:lnTo>
                        <a:pt x="968" y="1893"/>
                      </a:lnTo>
                      <a:lnTo>
                        <a:pt x="966" y="1896"/>
                      </a:lnTo>
                      <a:lnTo>
                        <a:pt x="965" y="1896"/>
                      </a:lnTo>
                      <a:lnTo>
                        <a:pt x="964" y="1896"/>
                      </a:lnTo>
                      <a:lnTo>
                        <a:pt x="963" y="1897"/>
                      </a:lnTo>
                      <a:lnTo>
                        <a:pt x="962" y="1898"/>
                      </a:lnTo>
                      <a:lnTo>
                        <a:pt x="961" y="1899"/>
                      </a:lnTo>
                      <a:lnTo>
                        <a:pt x="961" y="1899"/>
                      </a:lnTo>
                      <a:lnTo>
                        <a:pt x="960" y="1900"/>
                      </a:lnTo>
                      <a:lnTo>
                        <a:pt x="959" y="1902"/>
                      </a:lnTo>
                      <a:lnTo>
                        <a:pt x="959" y="1902"/>
                      </a:lnTo>
                      <a:lnTo>
                        <a:pt x="955" y="1904"/>
                      </a:lnTo>
                      <a:lnTo>
                        <a:pt x="954" y="1904"/>
                      </a:lnTo>
                      <a:lnTo>
                        <a:pt x="954" y="1904"/>
                      </a:lnTo>
                      <a:lnTo>
                        <a:pt x="953" y="1904"/>
                      </a:lnTo>
                      <a:lnTo>
                        <a:pt x="952" y="1905"/>
                      </a:lnTo>
                      <a:lnTo>
                        <a:pt x="952" y="1905"/>
                      </a:lnTo>
                      <a:lnTo>
                        <a:pt x="952" y="1906"/>
                      </a:lnTo>
                      <a:lnTo>
                        <a:pt x="951" y="1907"/>
                      </a:lnTo>
                      <a:lnTo>
                        <a:pt x="950" y="1911"/>
                      </a:lnTo>
                      <a:lnTo>
                        <a:pt x="950" y="1915"/>
                      </a:lnTo>
                      <a:lnTo>
                        <a:pt x="950" y="1916"/>
                      </a:lnTo>
                      <a:lnTo>
                        <a:pt x="950" y="1918"/>
                      </a:lnTo>
                      <a:lnTo>
                        <a:pt x="949" y="1921"/>
                      </a:lnTo>
                      <a:lnTo>
                        <a:pt x="948" y="1922"/>
                      </a:lnTo>
                      <a:lnTo>
                        <a:pt x="948" y="1923"/>
                      </a:lnTo>
                      <a:lnTo>
                        <a:pt x="947" y="1923"/>
                      </a:lnTo>
                      <a:lnTo>
                        <a:pt x="947" y="1924"/>
                      </a:lnTo>
                      <a:lnTo>
                        <a:pt x="947" y="1925"/>
                      </a:lnTo>
                      <a:lnTo>
                        <a:pt x="945" y="1926"/>
                      </a:lnTo>
                      <a:lnTo>
                        <a:pt x="945" y="1925"/>
                      </a:lnTo>
                      <a:lnTo>
                        <a:pt x="944" y="1925"/>
                      </a:lnTo>
                      <a:lnTo>
                        <a:pt x="938" y="1925"/>
                      </a:lnTo>
                      <a:lnTo>
                        <a:pt x="937" y="1926"/>
                      </a:lnTo>
                      <a:lnTo>
                        <a:pt x="936" y="1926"/>
                      </a:lnTo>
                      <a:lnTo>
                        <a:pt x="937" y="1928"/>
                      </a:lnTo>
                      <a:lnTo>
                        <a:pt x="936" y="1927"/>
                      </a:lnTo>
                      <a:lnTo>
                        <a:pt x="935" y="1928"/>
                      </a:lnTo>
                      <a:lnTo>
                        <a:pt x="934" y="1929"/>
                      </a:lnTo>
                      <a:lnTo>
                        <a:pt x="934" y="1928"/>
                      </a:lnTo>
                      <a:lnTo>
                        <a:pt x="933" y="1928"/>
                      </a:lnTo>
                      <a:lnTo>
                        <a:pt x="932" y="1927"/>
                      </a:lnTo>
                      <a:lnTo>
                        <a:pt x="931" y="1927"/>
                      </a:lnTo>
                      <a:lnTo>
                        <a:pt x="932" y="1926"/>
                      </a:lnTo>
                      <a:lnTo>
                        <a:pt x="931" y="1926"/>
                      </a:lnTo>
                      <a:lnTo>
                        <a:pt x="929" y="1927"/>
                      </a:lnTo>
                      <a:lnTo>
                        <a:pt x="928" y="1926"/>
                      </a:lnTo>
                      <a:lnTo>
                        <a:pt x="924" y="1928"/>
                      </a:lnTo>
                      <a:lnTo>
                        <a:pt x="924" y="1929"/>
                      </a:lnTo>
                      <a:lnTo>
                        <a:pt x="924" y="1929"/>
                      </a:lnTo>
                      <a:lnTo>
                        <a:pt x="924" y="1930"/>
                      </a:lnTo>
                      <a:lnTo>
                        <a:pt x="924" y="1930"/>
                      </a:lnTo>
                      <a:lnTo>
                        <a:pt x="923" y="1930"/>
                      </a:lnTo>
                      <a:lnTo>
                        <a:pt x="923" y="1930"/>
                      </a:lnTo>
                      <a:lnTo>
                        <a:pt x="922" y="1929"/>
                      </a:lnTo>
                      <a:lnTo>
                        <a:pt x="920" y="1930"/>
                      </a:lnTo>
                      <a:lnTo>
                        <a:pt x="920" y="1931"/>
                      </a:lnTo>
                      <a:lnTo>
                        <a:pt x="920" y="1931"/>
                      </a:lnTo>
                      <a:lnTo>
                        <a:pt x="919" y="1931"/>
                      </a:lnTo>
                      <a:lnTo>
                        <a:pt x="919" y="1932"/>
                      </a:lnTo>
                      <a:lnTo>
                        <a:pt x="918" y="1932"/>
                      </a:lnTo>
                      <a:lnTo>
                        <a:pt x="918" y="1932"/>
                      </a:lnTo>
                      <a:lnTo>
                        <a:pt x="918" y="1933"/>
                      </a:lnTo>
                      <a:lnTo>
                        <a:pt x="918" y="1933"/>
                      </a:lnTo>
                      <a:lnTo>
                        <a:pt x="918" y="1934"/>
                      </a:lnTo>
                      <a:lnTo>
                        <a:pt x="918" y="1934"/>
                      </a:lnTo>
                      <a:lnTo>
                        <a:pt x="917" y="1934"/>
                      </a:lnTo>
                      <a:lnTo>
                        <a:pt x="918" y="1934"/>
                      </a:lnTo>
                      <a:lnTo>
                        <a:pt x="918" y="1935"/>
                      </a:lnTo>
                      <a:lnTo>
                        <a:pt x="917" y="1936"/>
                      </a:lnTo>
                      <a:lnTo>
                        <a:pt x="917" y="1935"/>
                      </a:lnTo>
                      <a:lnTo>
                        <a:pt x="916" y="1935"/>
                      </a:lnTo>
                      <a:lnTo>
                        <a:pt x="916" y="1936"/>
                      </a:lnTo>
                      <a:lnTo>
                        <a:pt x="915" y="1936"/>
                      </a:lnTo>
                      <a:lnTo>
                        <a:pt x="915" y="1935"/>
                      </a:lnTo>
                      <a:lnTo>
                        <a:pt x="914" y="1934"/>
                      </a:lnTo>
                      <a:lnTo>
                        <a:pt x="912" y="1934"/>
                      </a:lnTo>
                      <a:lnTo>
                        <a:pt x="910" y="1934"/>
                      </a:lnTo>
                      <a:lnTo>
                        <a:pt x="910" y="1935"/>
                      </a:lnTo>
                      <a:lnTo>
                        <a:pt x="912" y="1936"/>
                      </a:lnTo>
                      <a:lnTo>
                        <a:pt x="912" y="1936"/>
                      </a:lnTo>
                      <a:lnTo>
                        <a:pt x="911" y="1936"/>
                      </a:lnTo>
                      <a:lnTo>
                        <a:pt x="909" y="1937"/>
                      </a:lnTo>
                      <a:lnTo>
                        <a:pt x="909" y="1938"/>
                      </a:lnTo>
                      <a:lnTo>
                        <a:pt x="910" y="1938"/>
                      </a:lnTo>
                      <a:lnTo>
                        <a:pt x="908" y="1939"/>
                      </a:lnTo>
                      <a:lnTo>
                        <a:pt x="907" y="1939"/>
                      </a:lnTo>
                      <a:lnTo>
                        <a:pt x="905" y="1938"/>
                      </a:lnTo>
                      <a:lnTo>
                        <a:pt x="904" y="1938"/>
                      </a:lnTo>
                      <a:lnTo>
                        <a:pt x="903" y="1939"/>
                      </a:lnTo>
                      <a:lnTo>
                        <a:pt x="902" y="1939"/>
                      </a:lnTo>
                      <a:lnTo>
                        <a:pt x="900" y="1939"/>
                      </a:lnTo>
                      <a:lnTo>
                        <a:pt x="899" y="1939"/>
                      </a:lnTo>
                      <a:lnTo>
                        <a:pt x="902" y="1940"/>
                      </a:lnTo>
                      <a:lnTo>
                        <a:pt x="902" y="1941"/>
                      </a:lnTo>
                      <a:lnTo>
                        <a:pt x="901" y="1942"/>
                      </a:lnTo>
                      <a:lnTo>
                        <a:pt x="902" y="1943"/>
                      </a:lnTo>
                      <a:lnTo>
                        <a:pt x="902" y="1944"/>
                      </a:lnTo>
                      <a:lnTo>
                        <a:pt x="902" y="1945"/>
                      </a:lnTo>
                      <a:lnTo>
                        <a:pt x="901" y="1947"/>
                      </a:lnTo>
                      <a:lnTo>
                        <a:pt x="900" y="1945"/>
                      </a:lnTo>
                      <a:lnTo>
                        <a:pt x="899" y="1945"/>
                      </a:lnTo>
                      <a:lnTo>
                        <a:pt x="899" y="1945"/>
                      </a:lnTo>
                      <a:lnTo>
                        <a:pt x="898" y="1945"/>
                      </a:lnTo>
                      <a:lnTo>
                        <a:pt x="898" y="1944"/>
                      </a:lnTo>
                      <a:lnTo>
                        <a:pt x="897" y="1942"/>
                      </a:lnTo>
                      <a:lnTo>
                        <a:pt x="896" y="1942"/>
                      </a:lnTo>
                      <a:lnTo>
                        <a:pt x="893" y="1941"/>
                      </a:lnTo>
                      <a:lnTo>
                        <a:pt x="890" y="1940"/>
                      </a:lnTo>
                      <a:lnTo>
                        <a:pt x="890" y="1941"/>
                      </a:lnTo>
                      <a:lnTo>
                        <a:pt x="890" y="1941"/>
                      </a:lnTo>
                      <a:lnTo>
                        <a:pt x="888" y="1941"/>
                      </a:lnTo>
                      <a:lnTo>
                        <a:pt x="888" y="1941"/>
                      </a:lnTo>
                      <a:lnTo>
                        <a:pt x="887" y="1940"/>
                      </a:lnTo>
                      <a:lnTo>
                        <a:pt x="887" y="1940"/>
                      </a:lnTo>
                      <a:lnTo>
                        <a:pt x="887" y="1939"/>
                      </a:lnTo>
                      <a:lnTo>
                        <a:pt x="887" y="1938"/>
                      </a:lnTo>
                      <a:lnTo>
                        <a:pt x="886" y="1938"/>
                      </a:lnTo>
                      <a:lnTo>
                        <a:pt x="885" y="1937"/>
                      </a:lnTo>
                      <a:lnTo>
                        <a:pt x="881" y="1936"/>
                      </a:lnTo>
                      <a:lnTo>
                        <a:pt x="877" y="1935"/>
                      </a:lnTo>
                      <a:lnTo>
                        <a:pt x="877" y="1936"/>
                      </a:lnTo>
                      <a:lnTo>
                        <a:pt x="876" y="1934"/>
                      </a:lnTo>
                      <a:lnTo>
                        <a:pt x="876" y="1934"/>
                      </a:lnTo>
                      <a:lnTo>
                        <a:pt x="875" y="1933"/>
                      </a:lnTo>
                      <a:lnTo>
                        <a:pt x="872" y="1933"/>
                      </a:lnTo>
                      <a:lnTo>
                        <a:pt x="872" y="1934"/>
                      </a:lnTo>
                      <a:lnTo>
                        <a:pt x="872" y="1934"/>
                      </a:lnTo>
                      <a:lnTo>
                        <a:pt x="868" y="1933"/>
                      </a:lnTo>
                      <a:lnTo>
                        <a:pt x="868" y="1933"/>
                      </a:lnTo>
                      <a:lnTo>
                        <a:pt x="867" y="1933"/>
                      </a:lnTo>
                      <a:lnTo>
                        <a:pt x="866" y="1932"/>
                      </a:lnTo>
                      <a:lnTo>
                        <a:pt x="866" y="1931"/>
                      </a:lnTo>
                      <a:lnTo>
                        <a:pt x="865" y="1929"/>
                      </a:lnTo>
                      <a:lnTo>
                        <a:pt x="864" y="1928"/>
                      </a:lnTo>
                      <a:lnTo>
                        <a:pt x="863" y="1928"/>
                      </a:lnTo>
                      <a:lnTo>
                        <a:pt x="862" y="1927"/>
                      </a:lnTo>
                      <a:lnTo>
                        <a:pt x="860" y="1927"/>
                      </a:lnTo>
                      <a:lnTo>
                        <a:pt x="859" y="1926"/>
                      </a:lnTo>
                      <a:lnTo>
                        <a:pt x="859" y="1927"/>
                      </a:lnTo>
                      <a:lnTo>
                        <a:pt x="860" y="1927"/>
                      </a:lnTo>
                      <a:lnTo>
                        <a:pt x="860" y="1928"/>
                      </a:lnTo>
                      <a:lnTo>
                        <a:pt x="860" y="1929"/>
                      </a:lnTo>
                      <a:lnTo>
                        <a:pt x="860" y="1929"/>
                      </a:lnTo>
                      <a:lnTo>
                        <a:pt x="860" y="1930"/>
                      </a:lnTo>
                      <a:lnTo>
                        <a:pt x="859" y="1931"/>
                      </a:lnTo>
                      <a:lnTo>
                        <a:pt x="859" y="1931"/>
                      </a:lnTo>
                      <a:lnTo>
                        <a:pt x="859" y="1931"/>
                      </a:lnTo>
                      <a:lnTo>
                        <a:pt x="856" y="1932"/>
                      </a:lnTo>
                      <a:lnTo>
                        <a:pt x="855" y="1931"/>
                      </a:lnTo>
                      <a:lnTo>
                        <a:pt x="855" y="1929"/>
                      </a:lnTo>
                      <a:lnTo>
                        <a:pt x="854" y="1928"/>
                      </a:lnTo>
                      <a:lnTo>
                        <a:pt x="854" y="1928"/>
                      </a:lnTo>
                      <a:lnTo>
                        <a:pt x="853" y="1928"/>
                      </a:lnTo>
                      <a:lnTo>
                        <a:pt x="851" y="1929"/>
                      </a:lnTo>
                      <a:lnTo>
                        <a:pt x="850" y="1928"/>
                      </a:lnTo>
                      <a:lnTo>
                        <a:pt x="849" y="1929"/>
                      </a:lnTo>
                      <a:lnTo>
                        <a:pt x="845" y="1929"/>
                      </a:lnTo>
                      <a:lnTo>
                        <a:pt x="843" y="1931"/>
                      </a:lnTo>
                      <a:lnTo>
                        <a:pt x="841" y="1931"/>
                      </a:lnTo>
                      <a:lnTo>
                        <a:pt x="839" y="1931"/>
                      </a:lnTo>
                      <a:lnTo>
                        <a:pt x="835" y="1929"/>
                      </a:lnTo>
                      <a:lnTo>
                        <a:pt x="831" y="1924"/>
                      </a:lnTo>
                      <a:lnTo>
                        <a:pt x="830" y="1925"/>
                      </a:lnTo>
                      <a:lnTo>
                        <a:pt x="830" y="1925"/>
                      </a:lnTo>
                      <a:lnTo>
                        <a:pt x="829" y="1928"/>
                      </a:lnTo>
                      <a:lnTo>
                        <a:pt x="830" y="1928"/>
                      </a:lnTo>
                      <a:lnTo>
                        <a:pt x="830" y="1930"/>
                      </a:lnTo>
                      <a:lnTo>
                        <a:pt x="830" y="1935"/>
                      </a:lnTo>
                      <a:lnTo>
                        <a:pt x="830" y="1936"/>
                      </a:lnTo>
                      <a:lnTo>
                        <a:pt x="831" y="1938"/>
                      </a:lnTo>
                      <a:lnTo>
                        <a:pt x="832" y="1938"/>
                      </a:lnTo>
                      <a:lnTo>
                        <a:pt x="833" y="1939"/>
                      </a:lnTo>
                      <a:lnTo>
                        <a:pt x="834" y="1939"/>
                      </a:lnTo>
                      <a:lnTo>
                        <a:pt x="835" y="1938"/>
                      </a:lnTo>
                      <a:lnTo>
                        <a:pt x="836" y="1938"/>
                      </a:lnTo>
                      <a:lnTo>
                        <a:pt x="837" y="1935"/>
                      </a:lnTo>
                      <a:lnTo>
                        <a:pt x="838" y="1935"/>
                      </a:lnTo>
                      <a:lnTo>
                        <a:pt x="839" y="1934"/>
                      </a:lnTo>
                      <a:lnTo>
                        <a:pt x="839" y="1935"/>
                      </a:lnTo>
                      <a:lnTo>
                        <a:pt x="840" y="1935"/>
                      </a:lnTo>
                      <a:lnTo>
                        <a:pt x="840" y="1939"/>
                      </a:lnTo>
                      <a:lnTo>
                        <a:pt x="840" y="1939"/>
                      </a:lnTo>
                      <a:lnTo>
                        <a:pt x="840" y="1940"/>
                      </a:lnTo>
                      <a:lnTo>
                        <a:pt x="842" y="1942"/>
                      </a:lnTo>
                      <a:lnTo>
                        <a:pt x="842" y="1943"/>
                      </a:lnTo>
                      <a:lnTo>
                        <a:pt x="841" y="1944"/>
                      </a:lnTo>
                      <a:lnTo>
                        <a:pt x="841" y="1944"/>
                      </a:lnTo>
                      <a:lnTo>
                        <a:pt x="844" y="1943"/>
                      </a:lnTo>
                      <a:lnTo>
                        <a:pt x="844" y="1944"/>
                      </a:lnTo>
                      <a:lnTo>
                        <a:pt x="845" y="1944"/>
                      </a:lnTo>
                      <a:lnTo>
                        <a:pt x="845" y="1943"/>
                      </a:lnTo>
                      <a:lnTo>
                        <a:pt x="845" y="1943"/>
                      </a:lnTo>
                      <a:lnTo>
                        <a:pt x="850" y="1943"/>
                      </a:lnTo>
                      <a:lnTo>
                        <a:pt x="851" y="1943"/>
                      </a:lnTo>
                      <a:lnTo>
                        <a:pt x="851" y="1943"/>
                      </a:lnTo>
                      <a:lnTo>
                        <a:pt x="850" y="1942"/>
                      </a:lnTo>
                      <a:lnTo>
                        <a:pt x="851" y="1942"/>
                      </a:lnTo>
                      <a:lnTo>
                        <a:pt x="853" y="1941"/>
                      </a:lnTo>
                      <a:lnTo>
                        <a:pt x="853" y="1942"/>
                      </a:lnTo>
                      <a:lnTo>
                        <a:pt x="853" y="1942"/>
                      </a:lnTo>
                      <a:lnTo>
                        <a:pt x="855" y="1942"/>
                      </a:lnTo>
                      <a:lnTo>
                        <a:pt x="856" y="1941"/>
                      </a:lnTo>
                      <a:lnTo>
                        <a:pt x="857" y="1941"/>
                      </a:lnTo>
                      <a:lnTo>
                        <a:pt x="858" y="1941"/>
                      </a:lnTo>
                      <a:lnTo>
                        <a:pt x="859" y="1941"/>
                      </a:lnTo>
                      <a:lnTo>
                        <a:pt x="861" y="1942"/>
                      </a:lnTo>
                      <a:lnTo>
                        <a:pt x="862" y="1941"/>
                      </a:lnTo>
                      <a:lnTo>
                        <a:pt x="862" y="1942"/>
                      </a:lnTo>
                      <a:lnTo>
                        <a:pt x="864" y="1942"/>
                      </a:lnTo>
                      <a:lnTo>
                        <a:pt x="864" y="1943"/>
                      </a:lnTo>
                      <a:lnTo>
                        <a:pt x="865" y="1944"/>
                      </a:lnTo>
                      <a:lnTo>
                        <a:pt x="866" y="1944"/>
                      </a:lnTo>
                      <a:lnTo>
                        <a:pt x="868" y="1945"/>
                      </a:lnTo>
                      <a:lnTo>
                        <a:pt x="872" y="1947"/>
                      </a:lnTo>
                      <a:lnTo>
                        <a:pt x="873" y="1947"/>
                      </a:lnTo>
                      <a:lnTo>
                        <a:pt x="874" y="1948"/>
                      </a:lnTo>
                      <a:lnTo>
                        <a:pt x="875" y="1947"/>
                      </a:lnTo>
                      <a:lnTo>
                        <a:pt x="875" y="1947"/>
                      </a:lnTo>
                      <a:lnTo>
                        <a:pt x="875" y="1948"/>
                      </a:lnTo>
                      <a:lnTo>
                        <a:pt x="875" y="1949"/>
                      </a:lnTo>
                      <a:lnTo>
                        <a:pt x="876" y="1950"/>
                      </a:lnTo>
                      <a:lnTo>
                        <a:pt x="881" y="1950"/>
                      </a:lnTo>
                      <a:lnTo>
                        <a:pt x="882" y="1949"/>
                      </a:lnTo>
                      <a:lnTo>
                        <a:pt x="885" y="1949"/>
                      </a:lnTo>
                      <a:lnTo>
                        <a:pt x="886" y="1950"/>
                      </a:lnTo>
                      <a:lnTo>
                        <a:pt x="889" y="1950"/>
                      </a:lnTo>
                      <a:lnTo>
                        <a:pt x="891" y="1951"/>
                      </a:lnTo>
                      <a:lnTo>
                        <a:pt x="894" y="1952"/>
                      </a:lnTo>
                      <a:lnTo>
                        <a:pt x="895" y="1951"/>
                      </a:lnTo>
                      <a:lnTo>
                        <a:pt x="897" y="1952"/>
                      </a:lnTo>
                      <a:lnTo>
                        <a:pt x="897" y="1952"/>
                      </a:lnTo>
                      <a:lnTo>
                        <a:pt x="897" y="1951"/>
                      </a:lnTo>
                      <a:lnTo>
                        <a:pt x="897" y="1951"/>
                      </a:lnTo>
                      <a:lnTo>
                        <a:pt x="898" y="1951"/>
                      </a:lnTo>
                      <a:lnTo>
                        <a:pt x="899" y="1952"/>
                      </a:lnTo>
                      <a:lnTo>
                        <a:pt x="901" y="1953"/>
                      </a:lnTo>
                      <a:lnTo>
                        <a:pt x="902" y="1953"/>
                      </a:lnTo>
                      <a:lnTo>
                        <a:pt x="905" y="1952"/>
                      </a:lnTo>
                      <a:lnTo>
                        <a:pt x="905" y="1952"/>
                      </a:lnTo>
                      <a:lnTo>
                        <a:pt x="906" y="1951"/>
                      </a:lnTo>
                      <a:lnTo>
                        <a:pt x="906" y="1950"/>
                      </a:lnTo>
                      <a:lnTo>
                        <a:pt x="910" y="1949"/>
                      </a:lnTo>
                      <a:lnTo>
                        <a:pt x="912" y="1951"/>
                      </a:lnTo>
                      <a:lnTo>
                        <a:pt x="913" y="1952"/>
                      </a:lnTo>
                      <a:lnTo>
                        <a:pt x="913" y="1952"/>
                      </a:lnTo>
                      <a:lnTo>
                        <a:pt x="914" y="1953"/>
                      </a:lnTo>
                      <a:lnTo>
                        <a:pt x="915" y="1954"/>
                      </a:lnTo>
                      <a:lnTo>
                        <a:pt x="916" y="1955"/>
                      </a:lnTo>
                      <a:lnTo>
                        <a:pt x="917" y="1955"/>
                      </a:lnTo>
                      <a:lnTo>
                        <a:pt x="917" y="1955"/>
                      </a:lnTo>
                      <a:lnTo>
                        <a:pt x="919" y="1955"/>
                      </a:lnTo>
                      <a:lnTo>
                        <a:pt x="920" y="1956"/>
                      </a:lnTo>
                      <a:lnTo>
                        <a:pt x="924" y="1957"/>
                      </a:lnTo>
                      <a:lnTo>
                        <a:pt x="925" y="1956"/>
                      </a:lnTo>
                      <a:lnTo>
                        <a:pt x="929" y="1957"/>
                      </a:lnTo>
                      <a:lnTo>
                        <a:pt x="931" y="1956"/>
                      </a:lnTo>
                      <a:lnTo>
                        <a:pt x="931" y="1955"/>
                      </a:lnTo>
                      <a:lnTo>
                        <a:pt x="931" y="1955"/>
                      </a:lnTo>
                      <a:lnTo>
                        <a:pt x="933" y="1955"/>
                      </a:lnTo>
                      <a:lnTo>
                        <a:pt x="934" y="1955"/>
                      </a:lnTo>
                      <a:lnTo>
                        <a:pt x="934" y="1955"/>
                      </a:lnTo>
                      <a:lnTo>
                        <a:pt x="935" y="1955"/>
                      </a:lnTo>
                      <a:lnTo>
                        <a:pt x="935" y="1954"/>
                      </a:lnTo>
                      <a:lnTo>
                        <a:pt x="936" y="1954"/>
                      </a:lnTo>
                      <a:lnTo>
                        <a:pt x="936" y="1954"/>
                      </a:lnTo>
                      <a:lnTo>
                        <a:pt x="936" y="1954"/>
                      </a:lnTo>
                      <a:lnTo>
                        <a:pt x="936" y="1955"/>
                      </a:lnTo>
                      <a:lnTo>
                        <a:pt x="936" y="1955"/>
                      </a:lnTo>
                      <a:lnTo>
                        <a:pt x="937" y="1954"/>
                      </a:lnTo>
                      <a:lnTo>
                        <a:pt x="937" y="1954"/>
                      </a:lnTo>
                      <a:lnTo>
                        <a:pt x="937" y="1955"/>
                      </a:lnTo>
                      <a:lnTo>
                        <a:pt x="937" y="1956"/>
                      </a:lnTo>
                      <a:lnTo>
                        <a:pt x="937" y="1956"/>
                      </a:lnTo>
                      <a:lnTo>
                        <a:pt x="938" y="1956"/>
                      </a:lnTo>
                      <a:lnTo>
                        <a:pt x="939" y="1956"/>
                      </a:lnTo>
                      <a:lnTo>
                        <a:pt x="942" y="1956"/>
                      </a:lnTo>
                      <a:lnTo>
                        <a:pt x="942" y="1956"/>
                      </a:lnTo>
                      <a:lnTo>
                        <a:pt x="942" y="1955"/>
                      </a:lnTo>
                      <a:lnTo>
                        <a:pt x="944" y="1954"/>
                      </a:lnTo>
                      <a:lnTo>
                        <a:pt x="945" y="1954"/>
                      </a:lnTo>
                      <a:lnTo>
                        <a:pt x="945" y="1954"/>
                      </a:lnTo>
                      <a:lnTo>
                        <a:pt x="944" y="1954"/>
                      </a:lnTo>
                      <a:lnTo>
                        <a:pt x="943" y="1955"/>
                      </a:lnTo>
                      <a:lnTo>
                        <a:pt x="944" y="1956"/>
                      </a:lnTo>
                      <a:lnTo>
                        <a:pt x="945" y="1956"/>
                      </a:lnTo>
                      <a:lnTo>
                        <a:pt x="946" y="1956"/>
                      </a:lnTo>
                      <a:lnTo>
                        <a:pt x="947" y="1955"/>
                      </a:lnTo>
                      <a:lnTo>
                        <a:pt x="946" y="1954"/>
                      </a:lnTo>
                      <a:lnTo>
                        <a:pt x="946" y="1954"/>
                      </a:lnTo>
                      <a:lnTo>
                        <a:pt x="945" y="1954"/>
                      </a:lnTo>
                      <a:lnTo>
                        <a:pt x="945" y="1953"/>
                      </a:lnTo>
                      <a:lnTo>
                        <a:pt x="946" y="1953"/>
                      </a:lnTo>
                      <a:lnTo>
                        <a:pt x="950" y="1955"/>
                      </a:lnTo>
                      <a:lnTo>
                        <a:pt x="951" y="1956"/>
                      </a:lnTo>
                      <a:lnTo>
                        <a:pt x="950" y="1956"/>
                      </a:lnTo>
                      <a:lnTo>
                        <a:pt x="951" y="1957"/>
                      </a:lnTo>
                      <a:lnTo>
                        <a:pt x="953" y="1959"/>
                      </a:lnTo>
                      <a:lnTo>
                        <a:pt x="954" y="1960"/>
                      </a:lnTo>
                      <a:lnTo>
                        <a:pt x="954" y="1960"/>
                      </a:lnTo>
                      <a:lnTo>
                        <a:pt x="955" y="1961"/>
                      </a:lnTo>
                      <a:lnTo>
                        <a:pt x="956" y="1961"/>
                      </a:lnTo>
                      <a:lnTo>
                        <a:pt x="959" y="1964"/>
                      </a:lnTo>
                      <a:lnTo>
                        <a:pt x="961" y="1966"/>
                      </a:lnTo>
                      <a:lnTo>
                        <a:pt x="961" y="1966"/>
                      </a:lnTo>
                      <a:lnTo>
                        <a:pt x="963" y="1967"/>
                      </a:lnTo>
                      <a:lnTo>
                        <a:pt x="965" y="1968"/>
                      </a:lnTo>
                      <a:lnTo>
                        <a:pt x="966" y="1968"/>
                      </a:lnTo>
                      <a:lnTo>
                        <a:pt x="968" y="1968"/>
                      </a:lnTo>
                      <a:lnTo>
                        <a:pt x="969" y="1969"/>
                      </a:lnTo>
                      <a:lnTo>
                        <a:pt x="970" y="1969"/>
                      </a:lnTo>
                      <a:lnTo>
                        <a:pt x="972" y="1968"/>
                      </a:lnTo>
                      <a:lnTo>
                        <a:pt x="972" y="1967"/>
                      </a:lnTo>
                      <a:lnTo>
                        <a:pt x="977" y="1966"/>
                      </a:lnTo>
                      <a:lnTo>
                        <a:pt x="979" y="1967"/>
                      </a:lnTo>
                      <a:lnTo>
                        <a:pt x="980" y="1967"/>
                      </a:lnTo>
                      <a:lnTo>
                        <a:pt x="982" y="1966"/>
                      </a:lnTo>
                      <a:lnTo>
                        <a:pt x="982" y="1966"/>
                      </a:lnTo>
                      <a:lnTo>
                        <a:pt x="984" y="1965"/>
                      </a:lnTo>
                      <a:lnTo>
                        <a:pt x="986" y="1965"/>
                      </a:lnTo>
                      <a:lnTo>
                        <a:pt x="988" y="1963"/>
                      </a:lnTo>
                      <a:lnTo>
                        <a:pt x="988" y="1961"/>
                      </a:lnTo>
                      <a:lnTo>
                        <a:pt x="989" y="1960"/>
                      </a:lnTo>
                      <a:lnTo>
                        <a:pt x="990" y="1960"/>
                      </a:lnTo>
                      <a:lnTo>
                        <a:pt x="990" y="1960"/>
                      </a:lnTo>
                      <a:lnTo>
                        <a:pt x="991" y="1960"/>
                      </a:lnTo>
                      <a:lnTo>
                        <a:pt x="991" y="1960"/>
                      </a:lnTo>
                      <a:lnTo>
                        <a:pt x="993" y="1959"/>
                      </a:lnTo>
                      <a:lnTo>
                        <a:pt x="995" y="1959"/>
                      </a:lnTo>
                      <a:lnTo>
                        <a:pt x="998" y="1959"/>
                      </a:lnTo>
                      <a:lnTo>
                        <a:pt x="1000" y="1959"/>
                      </a:lnTo>
                      <a:lnTo>
                        <a:pt x="1002" y="1958"/>
                      </a:lnTo>
                      <a:lnTo>
                        <a:pt x="1004" y="1957"/>
                      </a:lnTo>
                      <a:lnTo>
                        <a:pt x="1004" y="1956"/>
                      </a:lnTo>
                      <a:lnTo>
                        <a:pt x="1005" y="1956"/>
                      </a:lnTo>
                      <a:lnTo>
                        <a:pt x="1006" y="1955"/>
                      </a:lnTo>
                      <a:lnTo>
                        <a:pt x="1006" y="1954"/>
                      </a:lnTo>
                      <a:lnTo>
                        <a:pt x="1004" y="1954"/>
                      </a:lnTo>
                      <a:lnTo>
                        <a:pt x="1004" y="1954"/>
                      </a:lnTo>
                      <a:lnTo>
                        <a:pt x="1006" y="1952"/>
                      </a:lnTo>
                      <a:lnTo>
                        <a:pt x="1007" y="1953"/>
                      </a:lnTo>
                      <a:lnTo>
                        <a:pt x="1007" y="1953"/>
                      </a:lnTo>
                      <a:lnTo>
                        <a:pt x="1007" y="1952"/>
                      </a:lnTo>
                      <a:lnTo>
                        <a:pt x="1008" y="1950"/>
                      </a:lnTo>
                      <a:lnTo>
                        <a:pt x="1008" y="1949"/>
                      </a:lnTo>
                      <a:lnTo>
                        <a:pt x="1007" y="1948"/>
                      </a:lnTo>
                      <a:lnTo>
                        <a:pt x="1006" y="1945"/>
                      </a:lnTo>
                      <a:lnTo>
                        <a:pt x="1007" y="1944"/>
                      </a:lnTo>
                      <a:lnTo>
                        <a:pt x="1008" y="1943"/>
                      </a:lnTo>
                      <a:lnTo>
                        <a:pt x="1009" y="1944"/>
                      </a:lnTo>
                      <a:lnTo>
                        <a:pt x="1010" y="1943"/>
                      </a:lnTo>
                      <a:lnTo>
                        <a:pt x="1012" y="1944"/>
                      </a:lnTo>
                      <a:lnTo>
                        <a:pt x="1013" y="1944"/>
                      </a:lnTo>
                      <a:lnTo>
                        <a:pt x="1014" y="1944"/>
                      </a:lnTo>
                      <a:lnTo>
                        <a:pt x="1015" y="1943"/>
                      </a:lnTo>
                      <a:lnTo>
                        <a:pt x="1014" y="1942"/>
                      </a:lnTo>
                      <a:lnTo>
                        <a:pt x="1011" y="1940"/>
                      </a:lnTo>
                      <a:lnTo>
                        <a:pt x="1011" y="1940"/>
                      </a:lnTo>
                      <a:lnTo>
                        <a:pt x="1011" y="1938"/>
                      </a:lnTo>
                      <a:lnTo>
                        <a:pt x="1011" y="1937"/>
                      </a:lnTo>
                      <a:lnTo>
                        <a:pt x="1012" y="1936"/>
                      </a:lnTo>
                      <a:lnTo>
                        <a:pt x="1012" y="1935"/>
                      </a:lnTo>
                      <a:lnTo>
                        <a:pt x="1012" y="1935"/>
                      </a:lnTo>
                      <a:lnTo>
                        <a:pt x="1012" y="1934"/>
                      </a:lnTo>
                      <a:lnTo>
                        <a:pt x="1013" y="1934"/>
                      </a:lnTo>
                      <a:lnTo>
                        <a:pt x="1013" y="1934"/>
                      </a:lnTo>
                      <a:lnTo>
                        <a:pt x="1013" y="1934"/>
                      </a:lnTo>
                      <a:lnTo>
                        <a:pt x="1015" y="1934"/>
                      </a:lnTo>
                      <a:lnTo>
                        <a:pt x="1015" y="1934"/>
                      </a:lnTo>
                      <a:lnTo>
                        <a:pt x="1016" y="1934"/>
                      </a:lnTo>
                      <a:lnTo>
                        <a:pt x="1017" y="1934"/>
                      </a:lnTo>
                      <a:lnTo>
                        <a:pt x="1018" y="1932"/>
                      </a:lnTo>
                      <a:lnTo>
                        <a:pt x="1018" y="1930"/>
                      </a:lnTo>
                      <a:lnTo>
                        <a:pt x="1019" y="1930"/>
                      </a:lnTo>
                      <a:lnTo>
                        <a:pt x="1020" y="1929"/>
                      </a:lnTo>
                      <a:lnTo>
                        <a:pt x="1021" y="1928"/>
                      </a:lnTo>
                      <a:lnTo>
                        <a:pt x="1021" y="1927"/>
                      </a:lnTo>
                      <a:lnTo>
                        <a:pt x="1022" y="1926"/>
                      </a:lnTo>
                      <a:lnTo>
                        <a:pt x="1022" y="1926"/>
                      </a:lnTo>
                      <a:lnTo>
                        <a:pt x="1022" y="1925"/>
                      </a:lnTo>
                      <a:lnTo>
                        <a:pt x="1023" y="1925"/>
                      </a:lnTo>
                      <a:lnTo>
                        <a:pt x="1024" y="1925"/>
                      </a:lnTo>
                      <a:lnTo>
                        <a:pt x="1026" y="1924"/>
                      </a:lnTo>
                      <a:lnTo>
                        <a:pt x="1027" y="1925"/>
                      </a:lnTo>
                      <a:lnTo>
                        <a:pt x="1028" y="1924"/>
                      </a:lnTo>
                      <a:lnTo>
                        <a:pt x="1028" y="1924"/>
                      </a:lnTo>
                      <a:lnTo>
                        <a:pt x="1029" y="1924"/>
                      </a:lnTo>
                      <a:lnTo>
                        <a:pt x="1030" y="1925"/>
                      </a:lnTo>
                      <a:lnTo>
                        <a:pt x="1031" y="1924"/>
                      </a:lnTo>
                      <a:lnTo>
                        <a:pt x="1031" y="1924"/>
                      </a:lnTo>
                      <a:lnTo>
                        <a:pt x="1032" y="1924"/>
                      </a:lnTo>
                      <a:lnTo>
                        <a:pt x="1032" y="1924"/>
                      </a:lnTo>
                      <a:lnTo>
                        <a:pt x="1031" y="1924"/>
                      </a:lnTo>
                      <a:lnTo>
                        <a:pt x="1032" y="1925"/>
                      </a:lnTo>
                      <a:lnTo>
                        <a:pt x="1036" y="1926"/>
                      </a:lnTo>
                      <a:lnTo>
                        <a:pt x="1038" y="1925"/>
                      </a:lnTo>
                      <a:lnTo>
                        <a:pt x="1039" y="1925"/>
                      </a:lnTo>
                      <a:lnTo>
                        <a:pt x="1039" y="1925"/>
                      </a:lnTo>
                      <a:lnTo>
                        <a:pt x="1042" y="1926"/>
                      </a:lnTo>
                      <a:lnTo>
                        <a:pt x="1042" y="1926"/>
                      </a:lnTo>
                      <a:lnTo>
                        <a:pt x="1043" y="1926"/>
                      </a:lnTo>
                      <a:lnTo>
                        <a:pt x="1043" y="1926"/>
                      </a:lnTo>
                      <a:lnTo>
                        <a:pt x="1044" y="1925"/>
                      </a:lnTo>
                      <a:lnTo>
                        <a:pt x="1044" y="1926"/>
                      </a:lnTo>
                      <a:lnTo>
                        <a:pt x="1045" y="1927"/>
                      </a:lnTo>
                      <a:lnTo>
                        <a:pt x="1045" y="1926"/>
                      </a:lnTo>
                      <a:lnTo>
                        <a:pt x="1046" y="1926"/>
                      </a:lnTo>
                      <a:lnTo>
                        <a:pt x="1046" y="1927"/>
                      </a:lnTo>
                      <a:lnTo>
                        <a:pt x="1047" y="1927"/>
                      </a:lnTo>
                      <a:lnTo>
                        <a:pt x="1047" y="1927"/>
                      </a:lnTo>
                      <a:lnTo>
                        <a:pt x="1047" y="1926"/>
                      </a:lnTo>
                      <a:lnTo>
                        <a:pt x="1049" y="1926"/>
                      </a:lnTo>
                      <a:lnTo>
                        <a:pt x="1049" y="1925"/>
                      </a:lnTo>
                      <a:lnTo>
                        <a:pt x="1049" y="1925"/>
                      </a:lnTo>
                      <a:lnTo>
                        <a:pt x="1049" y="1925"/>
                      </a:lnTo>
                      <a:lnTo>
                        <a:pt x="1049" y="1925"/>
                      </a:lnTo>
                      <a:lnTo>
                        <a:pt x="1050" y="1926"/>
                      </a:lnTo>
                      <a:lnTo>
                        <a:pt x="1050" y="1926"/>
                      </a:lnTo>
                      <a:lnTo>
                        <a:pt x="1051" y="1925"/>
                      </a:lnTo>
                      <a:lnTo>
                        <a:pt x="1051" y="1925"/>
                      </a:lnTo>
                      <a:lnTo>
                        <a:pt x="1052" y="1925"/>
                      </a:lnTo>
                      <a:lnTo>
                        <a:pt x="1052" y="1925"/>
                      </a:lnTo>
                      <a:lnTo>
                        <a:pt x="1052" y="1926"/>
                      </a:lnTo>
                      <a:lnTo>
                        <a:pt x="1052" y="1926"/>
                      </a:lnTo>
                      <a:lnTo>
                        <a:pt x="1053" y="1927"/>
                      </a:lnTo>
                      <a:lnTo>
                        <a:pt x="1054" y="1927"/>
                      </a:lnTo>
                      <a:lnTo>
                        <a:pt x="1055" y="1926"/>
                      </a:lnTo>
                      <a:lnTo>
                        <a:pt x="1055" y="1926"/>
                      </a:lnTo>
                      <a:lnTo>
                        <a:pt x="1056" y="1926"/>
                      </a:lnTo>
                      <a:lnTo>
                        <a:pt x="1057" y="1928"/>
                      </a:lnTo>
                      <a:lnTo>
                        <a:pt x="1058" y="1928"/>
                      </a:lnTo>
                      <a:lnTo>
                        <a:pt x="1059" y="1928"/>
                      </a:lnTo>
                      <a:lnTo>
                        <a:pt x="1059" y="1928"/>
                      </a:lnTo>
                      <a:lnTo>
                        <a:pt x="1060" y="1929"/>
                      </a:lnTo>
                      <a:lnTo>
                        <a:pt x="1061" y="1929"/>
                      </a:lnTo>
                      <a:lnTo>
                        <a:pt x="1061" y="1929"/>
                      </a:lnTo>
                      <a:lnTo>
                        <a:pt x="1061" y="1929"/>
                      </a:lnTo>
                      <a:lnTo>
                        <a:pt x="1062" y="1929"/>
                      </a:lnTo>
                      <a:lnTo>
                        <a:pt x="1062" y="1929"/>
                      </a:lnTo>
                      <a:lnTo>
                        <a:pt x="1063" y="1929"/>
                      </a:lnTo>
                      <a:lnTo>
                        <a:pt x="1063" y="1930"/>
                      </a:lnTo>
                      <a:lnTo>
                        <a:pt x="1064" y="1931"/>
                      </a:lnTo>
                      <a:lnTo>
                        <a:pt x="1064" y="1932"/>
                      </a:lnTo>
                      <a:lnTo>
                        <a:pt x="1064" y="1932"/>
                      </a:lnTo>
                      <a:lnTo>
                        <a:pt x="1064" y="1932"/>
                      </a:lnTo>
                      <a:lnTo>
                        <a:pt x="1065" y="1933"/>
                      </a:lnTo>
                      <a:lnTo>
                        <a:pt x="1066" y="1933"/>
                      </a:lnTo>
                      <a:lnTo>
                        <a:pt x="1066" y="1934"/>
                      </a:lnTo>
                      <a:lnTo>
                        <a:pt x="1066" y="1934"/>
                      </a:lnTo>
                      <a:lnTo>
                        <a:pt x="1065" y="1936"/>
                      </a:lnTo>
                      <a:lnTo>
                        <a:pt x="1067" y="1938"/>
                      </a:lnTo>
                      <a:lnTo>
                        <a:pt x="1067" y="1938"/>
                      </a:lnTo>
                      <a:lnTo>
                        <a:pt x="1068" y="1939"/>
                      </a:lnTo>
                      <a:lnTo>
                        <a:pt x="1072" y="1940"/>
                      </a:lnTo>
                      <a:lnTo>
                        <a:pt x="1072" y="1940"/>
                      </a:lnTo>
                      <a:lnTo>
                        <a:pt x="1072" y="1940"/>
                      </a:lnTo>
                      <a:lnTo>
                        <a:pt x="1071" y="1942"/>
                      </a:lnTo>
                      <a:lnTo>
                        <a:pt x="1074" y="1944"/>
                      </a:lnTo>
                      <a:lnTo>
                        <a:pt x="1076" y="1945"/>
                      </a:lnTo>
                      <a:lnTo>
                        <a:pt x="1077" y="1948"/>
                      </a:lnTo>
                      <a:lnTo>
                        <a:pt x="1079" y="1948"/>
                      </a:lnTo>
                      <a:lnTo>
                        <a:pt x="1079" y="1948"/>
                      </a:lnTo>
                      <a:lnTo>
                        <a:pt x="1080" y="1948"/>
                      </a:lnTo>
                      <a:lnTo>
                        <a:pt x="1080" y="1947"/>
                      </a:lnTo>
                      <a:lnTo>
                        <a:pt x="1082" y="1947"/>
                      </a:lnTo>
                      <a:lnTo>
                        <a:pt x="1084" y="1947"/>
                      </a:lnTo>
                      <a:lnTo>
                        <a:pt x="1085" y="1947"/>
                      </a:lnTo>
                      <a:lnTo>
                        <a:pt x="1085" y="1947"/>
                      </a:lnTo>
                      <a:lnTo>
                        <a:pt x="1086" y="1947"/>
                      </a:lnTo>
                      <a:lnTo>
                        <a:pt x="1086" y="1947"/>
                      </a:lnTo>
                      <a:lnTo>
                        <a:pt x="1086" y="1947"/>
                      </a:lnTo>
                      <a:lnTo>
                        <a:pt x="1087" y="1947"/>
                      </a:lnTo>
                      <a:lnTo>
                        <a:pt x="1087" y="1948"/>
                      </a:lnTo>
                      <a:lnTo>
                        <a:pt x="1088" y="1949"/>
                      </a:lnTo>
                      <a:lnTo>
                        <a:pt x="1090" y="1950"/>
                      </a:lnTo>
                      <a:lnTo>
                        <a:pt x="1091" y="1950"/>
                      </a:lnTo>
                      <a:lnTo>
                        <a:pt x="1093" y="1950"/>
                      </a:lnTo>
                      <a:lnTo>
                        <a:pt x="1094" y="1951"/>
                      </a:lnTo>
                      <a:lnTo>
                        <a:pt x="1095" y="1951"/>
                      </a:lnTo>
                      <a:lnTo>
                        <a:pt x="1095" y="1951"/>
                      </a:lnTo>
                      <a:lnTo>
                        <a:pt x="1095" y="1953"/>
                      </a:lnTo>
                      <a:lnTo>
                        <a:pt x="1096" y="1954"/>
                      </a:lnTo>
                      <a:lnTo>
                        <a:pt x="1097" y="1954"/>
                      </a:lnTo>
                      <a:lnTo>
                        <a:pt x="1099" y="1953"/>
                      </a:lnTo>
                      <a:lnTo>
                        <a:pt x="1100" y="1953"/>
                      </a:lnTo>
                      <a:lnTo>
                        <a:pt x="1101" y="1953"/>
                      </a:lnTo>
                      <a:lnTo>
                        <a:pt x="1101" y="1955"/>
                      </a:lnTo>
                      <a:lnTo>
                        <a:pt x="1102" y="1956"/>
                      </a:lnTo>
                      <a:lnTo>
                        <a:pt x="1102" y="1957"/>
                      </a:lnTo>
                      <a:lnTo>
                        <a:pt x="1106" y="1958"/>
                      </a:lnTo>
                      <a:lnTo>
                        <a:pt x="1106" y="1959"/>
                      </a:lnTo>
                      <a:lnTo>
                        <a:pt x="1105" y="1959"/>
                      </a:lnTo>
                      <a:lnTo>
                        <a:pt x="1105" y="1959"/>
                      </a:lnTo>
                      <a:lnTo>
                        <a:pt x="1107" y="1960"/>
                      </a:lnTo>
                      <a:lnTo>
                        <a:pt x="1109" y="1960"/>
                      </a:lnTo>
                      <a:lnTo>
                        <a:pt x="1109" y="1959"/>
                      </a:lnTo>
                      <a:lnTo>
                        <a:pt x="1109" y="1959"/>
                      </a:lnTo>
                      <a:lnTo>
                        <a:pt x="1111" y="1960"/>
                      </a:lnTo>
                      <a:lnTo>
                        <a:pt x="1111" y="1961"/>
                      </a:lnTo>
                      <a:lnTo>
                        <a:pt x="1111" y="1962"/>
                      </a:lnTo>
                      <a:lnTo>
                        <a:pt x="1111" y="1962"/>
                      </a:lnTo>
                      <a:lnTo>
                        <a:pt x="1111" y="1963"/>
                      </a:lnTo>
                      <a:lnTo>
                        <a:pt x="1111" y="1964"/>
                      </a:lnTo>
                      <a:lnTo>
                        <a:pt x="1112" y="1966"/>
                      </a:lnTo>
                      <a:lnTo>
                        <a:pt x="1113" y="1966"/>
                      </a:lnTo>
                      <a:lnTo>
                        <a:pt x="1116" y="1969"/>
                      </a:lnTo>
                      <a:lnTo>
                        <a:pt x="1118" y="1968"/>
                      </a:lnTo>
                      <a:lnTo>
                        <a:pt x="1118" y="1969"/>
                      </a:lnTo>
                      <a:lnTo>
                        <a:pt x="1117" y="1969"/>
                      </a:lnTo>
                      <a:lnTo>
                        <a:pt x="1120" y="1970"/>
                      </a:lnTo>
                      <a:lnTo>
                        <a:pt x="1120" y="1971"/>
                      </a:lnTo>
                      <a:lnTo>
                        <a:pt x="1123" y="1972"/>
                      </a:lnTo>
                      <a:lnTo>
                        <a:pt x="1123" y="1972"/>
                      </a:lnTo>
                      <a:lnTo>
                        <a:pt x="1123" y="1974"/>
                      </a:lnTo>
                      <a:lnTo>
                        <a:pt x="1124" y="1974"/>
                      </a:lnTo>
                      <a:lnTo>
                        <a:pt x="1125" y="1975"/>
                      </a:lnTo>
                      <a:lnTo>
                        <a:pt x="1126" y="1974"/>
                      </a:lnTo>
                      <a:lnTo>
                        <a:pt x="1130" y="1974"/>
                      </a:lnTo>
                      <a:lnTo>
                        <a:pt x="1131" y="1974"/>
                      </a:lnTo>
                      <a:lnTo>
                        <a:pt x="1135" y="1975"/>
                      </a:lnTo>
                      <a:lnTo>
                        <a:pt x="1135" y="1976"/>
                      </a:lnTo>
                      <a:lnTo>
                        <a:pt x="1135" y="1976"/>
                      </a:lnTo>
                      <a:lnTo>
                        <a:pt x="1140" y="1977"/>
                      </a:lnTo>
                      <a:lnTo>
                        <a:pt x="1141" y="1976"/>
                      </a:lnTo>
                      <a:lnTo>
                        <a:pt x="1142" y="1976"/>
                      </a:lnTo>
                      <a:lnTo>
                        <a:pt x="1142" y="1975"/>
                      </a:lnTo>
                      <a:lnTo>
                        <a:pt x="1144" y="1974"/>
                      </a:lnTo>
                      <a:lnTo>
                        <a:pt x="1148" y="1974"/>
                      </a:lnTo>
                      <a:lnTo>
                        <a:pt x="1149" y="1974"/>
                      </a:lnTo>
                      <a:lnTo>
                        <a:pt x="1150" y="1974"/>
                      </a:lnTo>
                      <a:lnTo>
                        <a:pt x="1151" y="1975"/>
                      </a:lnTo>
                      <a:lnTo>
                        <a:pt x="1152" y="1976"/>
                      </a:lnTo>
                      <a:lnTo>
                        <a:pt x="1153" y="1977"/>
                      </a:lnTo>
                      <a:lnTo>
                        <a:pt x="1155" y="1978"/>
                      </a:lnTo>
                      <a:lnTo>
                        <a:pt x="1156" y="1978"/>
                      </a:lnTo>
                      <a:lnTo>
                        <a:pt x="1157" y="1979"/>
                      </a:lnTo>
                      <a:lnTo>
                        <a:pt x="1158" y="1979"/>
                      </a:lnTo>
                      <a:lnTo>
                        <a:pt x="1160" y="1980"/>
                      </a:lnTo>
                      <a:lnTo>
                        <a:pt x="1162" y="1980"/>
                      </a:lnTo>
                      <a:lnTo>
                        <a:pt x="1163" y="1979"/>
                      </a:lnTo>
                      <a:lnTo>
                        <a:pt x="1164" y="1979"/>
                      </a:lnTo>
                      <a:lnTo>
                        <a:pt x="1165" y="1980"/>
                      </a:lnTo>
                      <a:lnTo>
                        <a:pt x="1167" y="1983"/>
                      </a:lnTo>
                      <a:lnTo>
                        <a:pt x="1166" y="1985"/>
                      </a:lnTo>
                      <a:lnTo>
                        <a:pt x="1166" y="1986"/>
                      </a:lnTo>
                      <a:lnTo>
                        <a:pt x="1166" y="1986"/>
                      </a:lnTo>
                      <a:lnTo>
                        <a:pt x="1167" y="1986"/>
                      </a:lnTo>
                      <a:lnTo>
                        <a:pt x="1168" y="1988"/>
                      </a:lnTo>
                      <a:lnTo>
                        <a:pt x="1166" y="1990"/>
                      </a:lnTo>
                      <a:lnTo>
                        <a:pt x="1167" y="1990"/>
                      </a:lnTo>
                      <a:lnTo>
                        <a:pt x="1168" y="1991"/>
                      </a:lnTo>
                      <a:lnTo>
                        <a:pt x="1168" y="1992"/>
                      </a:lnTo>
                      <a:lnTo>
                        <a:pt x="1171" y="1994"/>
                      </a:lnTo>
                      <a:lnTo>
                        <a:pt x="1171" y="1994"/>
                      </a:lnTo>
                      <a:lnTo>
                        <a:pt x="1172" y="1994"/>
                      </a:lnTo>
                      <a:lnTo>
                        <a:pt x="1173" y="1995"/>
                      </a:lnTo>
                      <a:lnTo>
                        <a:pt x="1174" y="1994"/>
                      </a:lnTo>
                      <a:lnTo>
                        <a:pt x="1175" y="1995"/>
                      </a:lnTo>
                      <a:lnTo>
                        <a:pt x="1175" y="1995"/>
                      </a:lnTo>
                      <a:lnTo>
                        <a:pt x="1175" y="1996"/>
                      </a:lnTo>
                      <a:lnTo>
                        <a:pt x="1175" y="1996"/>
                      </a:lnTo>
                      <a:lnTo>
                        <a:pt x="1175" y="1996"/>
                      </a:lnTo>
                      <a:lnTo>
                        <a:pt x="1177" y="1996"/>
                      </a:lnTo>
                      <a:lnTo>
                        <a:pt x="1178" y="1997"/>
                      </a:lnTo>
                      <a:lnTo>
                        <a:pt x="1179" y="1998"/>
                      </a:lnTo>
                      <a:lnTo>
                        <a:pt x="1179" y="2000"/>
                      </a:lnTo>
                      <a:lnTo>
                        <a:pt x="1179" y="2002"/>
                      </a:lnTo>
                      <a:lnTo>
                        <a:pt x="1179" y="2002"/>
                      </a:lnTo>
                      <a:lnTo>
                        <a:pt x="1179" y="2005"/>
                      </a:lnTo>
                      <a:lnTo>
                        <a:pt x="1180" y="2006"/>
                      </a:lnTo>
                      <a:lnTo>
                        <a:pt x="1180" y="2006"/>
                      </a:lnTo>
                      <a:lnTo>
                        <a:pt x="1180" y="2006"/>
                      </a:lnTo>
                      <a:lnTo>
                        <a:pt x="1180" y="2007"/>
                      </a:lnTo>
                      <a:lnTo>
                        <a:pt x="1179" y="2007"/>
                      </a:lnTo>
                      <a:lnTo>
                        <a:pt x="1181" y="2008"/>
                      </a:lnTo>
                      <a:lnTo>
                        <a:pt x="1181" y="2008"/>
                      </a:lnTo>
                      <a:lnTo>
                        <a:pt x="1181" y="2008"/>
                      </a:lnTo>
                      <a:lnTo>
                        <a:pt x="1181" y="2009"/>
                      </a:lnTo>
                      <a:lnTo>
                        <a:pt x="1182" y="2009"/>
                      </a:lnTo>
                      <a:lnTo>
                        <a:pt x="1184" y="2011"/>
                      </a:lnTo>
                      <a:lnTo>
                        <a:pt x="1184" y="2012"/>
                      </a:lnTo>
                      <a:lnTo>
                        <a:pt x="1184" y="2013"/>
                      </a:lnTo>
                      <a:lnTo>
                        <a:pt x="1185" y="2014"/>
                      </a:lnTo>
                      <a:lnTo>
                        <a:pt x="1185" y="2015"/>
                      </a:lnTo>
                      <a:lnTo>
                        <a:pt x="1185" y="2016"/>
                      </a:lnTo>
                      <a:lnTo>
                        <a:pt x="1187" y="2018"/>
                      </a:lnTo>
                      <a:lnTo>
                        <a:pt x="1188" y="2019"/>
                      </a:lnTo>
                      <a:lnTo>
                        <a:pt x="1189" y="2020"/>
                      </a:lnTo>
                      <a:lnTo>
                        <a:pt x="1189" y="2021"/>
                      </a:lnTo>
                      <a:lnTo>
                        <a:pt x="1188" y="2023"/>
                      </a:lnTo>
                      <a:lnTo>
                        <a:pt x="1188" y="2023"/>
                      </a:lnTo>
                      <a:lnTo>
                        <a:pt x="1177" y="2026"/>
                      </a:lnTo>
                      <a:lnTo>
                        <a:pt x="1175" y="2039"/>
                      </a:lnTo>
                      <a:lnTo>
                        <a:pt x="1170" y="2045"/>
                      </a:lnTo>
                      <a:lnTo>
                        <a:pt x="1165" y="2047"/>
                      </a:lnTo>
                      <a:lnTo>
                        <a:pt x="1158" y="2054"/>
                      </a:lnTo>
                      <a:lnTo>
                        <a:pt x="1157" y="2061"/>
                      </a:lnTo>
                      <a:lnTo>
                        <a:pt x="1154" y="2064"/>
                      </a:lnTo>
                      <a:lnTo>
                        <a:pt x="1148" y="2074"/>
                      </a:lnTo>
                      <a:lnTo>
                        <a:pt x="1144" y="2079"/>
                      </a:lnTo>
                      <a:lnTo>
                        <a:pt x="1125" y="2083"/>
                      </a:lnTo>
                      <a:lnTo>
                        <a:pt x="1126" y="2090"/>
                      </a:lnTo>
                      <a:lnTo>
                        <a:pt x="1131" y="2093"/>
                      </a:lnTo>
                      <a:lnTo>
                        <a:pt x="1131" y="2096"/>
                      </a:lnTo>
                      <a:lnTo>
                        <a:pt x="1136" y="2102"/>
                      </a:lnTo>
                      <a:lnTo>
                        <a:pt x="1140" y="2117"/>
                      </a:lnTo>
                      <a:lnTo>
                        <a:pt x="1149" y="2131"/>
                      </a:lnTo>
                      <a:lnTo>
                        <a:pt x="1150" y="2139"/>
                      </a:lnTo>
                      <a:lnTo>
                        <a:pt x="1155" y="2147"/>
                      </a:lnTo>
                      <a:lnTo>
                        <a:pt x="1156" y="2151"/>
                      </a:lnTo>
                      <a:lnTo>
                        <a:pt x="1149" y="2163"/>
                      </a:lnTo>
                      <a:lnTo>
                        <a:pt x="1137" y="2165"/>
                      </a:lnTo>
                      <a:lnTo>
                        <a:pt x="1132" y="2171"/>
                      </a:lnTo>
                      <a:lnTo>
                        <a:pt x="1125" y="2172"/>
                      </a:lnTo>
                      <a:lnTo>
                        <a:pt x="1123" y="2178"/>
                      </a:lnTo>
                      <a:lnTo>
                        <a:pt x="1121" y="2186"/>
                      </a:lnTo>
                      <a:lnTo>
                        <a:pt x="1114" y="2193"/>
                      </a:lnTo>
                      <a:lnTo>
                        <a:pt x="1110" y="2187"/>
                      </a:lnTo>
                      <a:lnTo>
                        <a:pt x="1104" y="2185"/>
                      </a:lnTo>
                      <a:lnTo>
                        <a:pt x="1097" y="2187"/>
                      </a:lnTo>
                      <a:lnTo>
                        <a:pt x="1090" y="2193"/>
                      </a:lnTo>
                      <a:lnTo>
                        <a:pt x="1084" y="2200"/>
                      </a:lnTo>
                      <a:lnTo>
                        <a:pt x="1078" y="2203"/>
                      </a:lnTo>
                      <a:lnTo>
                        <a:pt x="1075" y="2213"/>
                      </a:lnTo>
                      <a:lnTo>
                        <a:pt x="1062" y="2222"/>
                      </a:lnTo>
                      <a:lnTo>
                        <a:pt x="1061" y="2226"/>
                      </a:lnTo>
                      <a:lnTo>
                        <a:pt x="1064" y="2230"/>
                      </a:lnTo>
                      <a:lnTo>
                        <a:pt x="1062" y="2237"/>
                      </a:lnTo>
                      <a:lnTo>
                        <a:pt x="1055" y="2240"/>
                      </a:lnTo>
                      <a:lnTo>
                        <a:pt x="1050" y="2250"/>
                      </a:lnTo>
                      <a:lnTo>
                        <a:pt x="1050" y="2250"/>
                      </a:lnTo>
                      <a:lnTo>
                        <a:pt x="1047" y="2255"/>
                      </a:lnTo>
                      <a:lnTo>
                        <a:pt x="1038" y="2263"/>
                      </a:lnTo>
                      <a:lnTo>
                        <a:pt x="1032" y="2266"/>
                      </a:lnTo>
                      <a:lnTo>
                        <a:pt x="1021" y="2268"/>
                      </a:lnTo>
                      <a:lnTo>
                        <a:pt x="1018" y="2275"/>
                      </a:lnTo>
                      <a:lnTo>
                        <a:pt x="1011" y="2282"/>
                      </a:lnTo>
                      <a:lnTo>
                        <a:pt x="1008" y="2290"/>
                      </a:lnTo>
                      <a:lnTo>
                        <a:pt x="999" y="2294"/>
                      </a:lnTo>
                      <a:lnTo>
                        <a:pt x="994" y="2305"/>
                      </a:lnTo>
                      <a:lnTo>
                        <a:pt x="988" y="2305"/>
                      </a:lnTo>
                      <a:lnTo>
                        <a:pt x="980" y="2300"/>
                      </a:lnTo>
                      <a:lnTo>
                        <a:pt x="977" y="2300"/>
                      </a:lnTo>
                      <a:lnTo>
                        <a:pt x="977" y="2313"/>
                      </a:lnTo>
                      <a:lnTo>
                        <a:pt x="974" y="2319"/>
                      </a:lnTo>
                      <a:lnTo>
                        <a:pt x="973" y="2324"/>
                      </a:lnTo>
                      <a:lnTo>
                        <a:pt x="973" y="2324"/>
                      </a:lnTo>
                      <a:lnTo>
                        <a:pt x="972" y="2324"/>
                      </a:lnTo>
                      <a:lnTo>
                        <a:pt x="970" y="2324"/>
                      </a:lnTo>
                      <a:lnTo>
                        <a:pt x="968" y="2327"/>
                      </a:lnTo>
                      <a:lnTo>
                        <a:pt x="966" y="2327"/>
                      </a:lnTo>
                      <a:lnTo>
                        <a:pt x="965" y="2328"/>
                      </a:lnTo>
                      <a:lnTo>
                        <a:pt x="965" y="2329"/>
                      </a:lnTo>
                      <a:lnTo>
                        <a:pt x="965" y="2329"/>
                      </a:lnTo>
                      <a:lnTo>
                        <a:pt x="963" y="2328"/>
                      </a:lnTo>
                      <a:lnTo>
                        <a:pt x="962" y="2328"/>
                      </a:lnTo>
                      <a:lnTo>
                        <a:pt x="960" y="2328"/>
                      </a:lnTo>
                      <a:lnTo>
                        <a:pt x="957" y="2331"/>
                      </a:lnTo>
                      <a:lnTo>
                        <a:pt x="954" y="2332"/>
                      </a:lnTo>
                      <a:lnTo>
                        <a:pt x="953" y="2333"/>
                      </a:lnTo>
                      <a:lnTo>
                        <a:pt x="952" y="2333"/>
                      </a:lnTo>
                      <a:lnTo>
                        <a:pt x="950" y="2332"/>
                      </a:lnTo>
                      <a:lnTo>
                        <a:pt x="949" y="2331"/>
                      </a:lnTo>
                      <a:lnTo>
                        <a:pt x="948" y="2331"/>
                      </a:lnTo>
                      <a:lnTo>
                        <a:pt x="944" y="2330"/>
                      </a:lnTo>
                      <a:lnTo>
                        <a:pt x="940" y="2329"/>
                      </a:lnTo>
                      <a:lnTo>
                        <a:pt x="935" y="2330"/>
                      </a:lnTo>
                      <a:lnTo>
                        <a:pt x="934" y="2331"/>
                      </a:lnTo>
                      <a:lnTo>
                        <a:pt x="933" y="2331"/>
                      </a:lnTo>
                      <a:lnTo>
                        <a:pt x="933" y="2331"/>
                      </a:lnTo>
                      <a:lnTo>
                        <a:pt x="933" y="2331"/>
                      </a:lnTo>
                      <a:lnTo>
                        <a:pt x="932" y="2331"/>
                      </a:lnTo>
                      <a:lnTo>
                        <a:pt x="930" y="2330"/>
                      </a:lnTo>
                      <a:lnTo>
                        <a:pt x="929" y="2330"/>
                      </a:lnTo>
                      <a:lnTo>
                        <a:pt x="928" y="2331"/>
                      </a:lnTo>
                      <a:lnTo>
                        <a:pt x="928" y="2332"/>
                      </a:lnTo>
                      <a:lnTo>
                        <a:pt x="929" y="2332"/>
                      </a:lnTo>
                      <a:lnTo>
                        <a:pt x="927" y="2333"/>
                      </a:lnTo>
                      <a:lnTo>
                        <a:pt x="926" y="2332"/>
                      </a:lnTo>
                      <a:lnTo>
                        <a:pt x="922" y="2331"/>
                      </a:lnTo>
                      <a:lnTo>
                        <a:pt x="918" y="2329"/>
                      </a:lnTo>
                      <a:lnTo>
                        <a:pt x="916" y="2328"/>
                      </a:lnTo>
                      <a:lnTo>
                        <a:pt x="914" y="2328"/>
                      </a:lnTo>
                      <a:lnTo>
                        <a:pt x="914" y="2329"/>
                      </a:lnTo>
                      <a:lnTo>
                        <a:pt x="912" y="2329"/>
                      </a:lnTo>
                      <a:lnTo>
                        <a:pt x="911" y="2330"/>
                      </a:lnTo>
                      <a:lnTo>
                        <a:pt x="909" y="2329"/>
                      </a:lnTo>
                      <a:lnTo>
                        <a:pt x="906" y="2331"/>
                      </a:lnTo>
                      <a:lnTo>
                        <a:pt x="905" y="2331"/>
                      </a:lnTo>
                      <a:lnTo>
                        <a:pt x="904" y="2330"/>
                      </a:lnTo>
                      <a:lnTo>
                        <a:pt x="902" y="2330"/>
                      </a:lnTo>
                      <a:lnTo>
                        <a:pt x="898" y="2329"/>
                      </a:lnTo>
                      <a:lnTo>
                        <a:pt x="894" y="2324"/>
                      </a:lnTo>
                      <a:lnTo>
                        <a:pt x="893" y="2322"/>
                      </a:lnTo>
                      <a:lnTo>
                        <a:pt x="892" y="2322"/>
                      </a:lnTo>
                      <a:lnTo>
                        <a:pt x="890" y="2322"/>
                      </a:lnTo>
                      <a:lnTo>
                        <a:pt x="889" y="2322"/>
                      </a:lnTo>
                      <a:lnTo>
                        <a:pt x="889" y="2322"/>
                      </a:lnTo>
                      <a:lnTo>
                        <a:pt x="890" y="2323"/>
                      </a:lnTo>
                      <a:lnTo>
                        <a:pt x="892" y="2323"/>
                      </a:lnTo>
                      <a:lnTo>
                        <a:pt x="892" y="2323"/>
                      </a:lnTo>
                      <a:lnTo>
                        <a:pt x="892" y="2324"/>
                      </a:lnTo>
                      <a:lnTo>
                        <a:pt x="891" y="2326"/>
                      </a:lnTo>
                      <a:lnTo>
                        <a:pt x="889" y="2329"/>
                      </a:lnTo>
                      <a:lnTo>
                        <a:pt x="888" y="2330"/>
                      </a:lnTo>
                      <a:lnTo>
                        <a:pt x="887" y="2330"/>
                      </a:lnTo>
                      <a:lnTo>
                        <a:pt x="887" y="2331"/>
                      </a:lnTo>
                      <a:lnTo>
                        <a:pt x="882" y="2332"/>
                      </a:lnTo>
                      <a:lnTo>
                        <a:pt x="879" y="2332"/>
                      </a:lnTo>
                      <a:lnTo>
                        <a:pt x="877" y="2331"/>
                      </a:lnTo>
                      <a:lnTo>
                        <a:pt x="872" y="2332"/>
                      </a:lnTo>
                      <a:lnTo>
                        <a:pt x="870" y="2331"/>
                      </a:lnTo>
                      <a:lnTo>
                        <a:pt x="867" y="2328"/>
                      </a:lnTo>
                      <a:lnTo>
                        <a:pt x="866" y="2324"/>
                      </a:lnTo>
                      <a:lnTo>
                        <a:pt x="864" y="2321"/>
                      </a:lnTo>
                      <a:lnTo>
                        <a:pt x="863" y="2319"/>
                      </a:lnTo>
                      <a:lnTo>
                        <a:pt x="863" y="2318"/>
                      </a:lnTo>
                      <a:lnTo>
                        <a:pt x="862" y="2318"/>
                      </a:lnTo>
                      <a:lnTo>
                        <a:pt x="862" y="2319"/>
                      </a:lnTo>
                      <a:lnTo>
                        <a:pt x="862" y="2321"/>
                      </a:lnTo>
                      <a:lnTo>
                        <a:pt x="863" y="2327"/>
                      </a:lnTo>
                      <a:lnTo>
                        <a:pt x="863" y="2328"/>
                      </a:lnTo>
                      <a:lnTo>
                        <a:pt x="862" y="2328"/>
                      </a:lnTo>
                      <a:lnTo>
                        <a:pt x="861" y="2329"/>
                      </a:lnTo>
                      <a:lnTo>
                        <a:pt x="861" y="2329"/>
                      </a:lnTo>
                      <a:lnTo>
                        <a:pt x="861" y="2331"/>
                      </a:lnTo>
                      <a:lnTo>
                        <a:pt x="861" y="2332"/>
                      </a:lnTo>
                      <a:lnTo>
                        <a:pt x="862" y="2333"/>
                      </a:lnTo>
                      <a:lnTo>
                        <a:pt x="862" y="2337"/>
                      </a:lnTo>
                      <a:lnTo>
                        <a:pt x="862" y="2337"/>
                      </a:lnTo>
                      <a:lnTo>
                        <a:pt x="862" y="2338"/>
                      </a:lnTo>
                      <a:lnTo>
                        <a:pt x="861" y="2339"/>
                      </a:lnTo>
                      <a:lnTo>
                        <a:pt x="861" y="2340"/>
                      </a:lnTo>
                      <a:lnTo>
                        <a:pt x="861" y="2341"/>
                      </a:lnTo>
                      <a:lnTo>
                        <a:pt x="860" y="2341"/>
                      </a:lnTo>
                      <a:lnTo>
                        <a:pt x="861" y="2342"/>
                      </a:lnTo>
                      <a:lnTo>
                        <a:pt x="860" y="2343"/>
                      </a:lnTo>
                      <a:lnTo>
                        <a:pt x="861" y="2344"/>
                      </a:lnTo>
                      <a:lnTo>
                        <a:pt x="860" y="2345"/>
                      </a:lnTo>
                      <a:lnTo>
                        <a:pt x="861" y="2346"/>
                      </a:lnTo>
                      <a:lnTo>
                        <a:pt x="862" y="2347"/>
                      </a:lnTo>
                      <a:lnTo>
                        <a:pt x="863" y="2347"/>
                      </a:lnTo>
                      <a:lnTo>
                        <a:pt x="864" y="2348"/>
                      </a:lnTo>
                      <a:lnTo>
                        <a:pt x="864" y="2350"/>
                      </a:lnTo>
                      <a:lnTo>
                        <a:pt x="865" y="2351"/>
                      </a:lnTo>
                      <a:lnTo>
                        <a:pt x="864" y="2351"/>
                      </a:lnTo>
                      <a:lnTo>
                        <a:pt x="865" y="2352"/>
                      </a:lnTo>
                      <a:lnTo>
                        <a:pt x="865" y="2352"/>
                      </a:lnTo>
                      <a:lnTo>
                        <a:pt x="865" y="2353"/>
                      </a:lnTo>
                      <a:lnTo>
                        <a:pt x="865" y="2354"/>
                      </a:lnTo>
                      <a:lnTo>
                        <a:pt x="864" y="2355"/>
                      </a:lnTo>
                      <a:lnTo>
                        <a:pt x="864" y="2356"/>
                      </a:lnTo>
                      <a:lnTo>
                        <a:pt x="864" y="2356"/>
                      </a:lnTo>
                      <a:lnTo>
                        <a:pt x="863" y="2357"/>
                      </a:lnTo>
                      <a:lnTo>
                        <a:pt x="863" y="2358"/>
                      </a:lnTo>
                      <a:lnTo>
                        <a:pt x="861" y="2359"/>
                      </a:lnTo>
                      <a:lnTo>
                        <a:pt x="859" y="2361"/>
                      </a:lnTo>
                      <a:lnTo>
                        <a:pt x="859" y="2362"/>
                      </a:lnTo>
                      <a:lnTo>
                        <a:pt x="858" y="2364"/>
                      </a:lnTo>
                      <a:lnTo>
                        <a:pt x="859" y="2366"/>
                      </a:lnTo>
                      <a:lnTo>
                        <a:pt x="859" y="2366"/>
                      </a:lnTo>
                      <a:lnTo>
                        <a:pt x="859" y="2367"/>
                      </a:lnTo>
                      <a:lnTo>
                        <a:pt x="856" y="2367"/>
                      </a:lnTo>
                      <a:lnTo>
                        <a:pt x="856" y="2366"/>
                      </a:lnTo>
                      <a:lnTo>
                        <a:pt x="856" y="2366"/>
                      </a:lnTo>
                      <a:lnTo>
                        <a:pt x="850" y="2364"/>
                      </a:lnTo>
                      <a:lnTo>
                        <a:pt x="843" y="2364"/>
                      </a:lnTo>
                      <a:lnTo>
                        <a:pt x="837" y="2364"/>
                      </a:lnTo>
                      <a:lnTo>
                        <a:pt x="836" y="2362"/>
                      </a:lnTo>
                      <a:lnTo>
                        <a:pt x="835" y="2362"/>
                      </a:lnTo>
                      <a:lnTo>
                        <a:pt x="835" y="2362"/>
                      </a:lnTo>
                      <a:lnTo>
                        <a:pt x="836" y="2362"/>
                      </a:lnTo>
                      <a:lnTo>
                        <a:pt x="836" y="2361"/>
                      </a:lnTo>
                      <a:lnTo>
                        <a:pt x="834" y="2362"/>
                      </a:lnTo>
                      <a:lnTo>
                        <a:pt x="833" y="2362"/>
                      </a:lnTo>
                      <a:lnTo>
                        <a:pt x="833" y="2364"/>
                      </a:lnTo>
                      <a:lnTo>
                        <a:pt x="831" y="2362"/>
                      </a:lnTo>
                      <a:lnTo>
                        <a:pt x="830" y="2364"/>
                      </a:lnTo>
                      <a:lnTo>
                        <a:pt x="830" y="2365"/>
                      </a:lnTo>
                      <a:lnTo>
                        <a:pt x="831" y="2365"/>
                      </a:lnTo>
                      <a:lnTo>
                        <a:pt x="831" y="2365"/>
                      </a:lnTo>
                      <a:lnTo>
                        <a:pt x="828" y="2368"/>
                      </a:lnTo>
                      <a:lnTo>
                        <a:pt x="828" y="2369"/>
                      </a:lnTo>
                      <a:lnTo>
                        <a:pt x="825" y="2370"/>
                      </a:lnTo>
                      <a:lnTo>
                        <a:pt x="825" y="2371"/>
                      </a:lnTo>
                      <a:lnTo>
                        <a:pt x="824" y="2372"/>
                      </a:lnTo>
                      <a:lnTo>
                        <a:pt x="822" y="2372"/>
                      </a:lnTo>
                      <a:lnTo>
                        <a:pt x="821" y="2373"/>
                      </a:lnTo>
                      <a:lnTo>
                        <a:pt x="818" y="2373"/>
                      </a:lnTo>
                      <a:lnTo>
                        <a:pt x="818" y="2373"/>
                      </a:lnTo>
                      <a:lnTo>
                        <a:pt x="818" y="2371"/>
                      </a:lnTo>
                      <a:lnTo>
                        <a:pt x="817" y="2370"/>
                      </a:lnTo>
                      <a:lnTo>
                        <a:pt x="816" y="2369"/>
                      </a:lnTo>
                      <a:lnTo>
                        <a:pt x="815" y="2369"/>
                      </a:lnTo>
                      <a:lnTo>
                        <a:pt x="814" y="2368"/>
                      </a:lnTo>
                      <a:lnTo>
                        <a:pt x="813" y="2367"/>
                      </a:lnTo>
                      <a:lnTo>
                        <a:pt x="813" y="2364"/>
                      </a:lnTo>
                      <a:lnTo>
                        <a:pt x="811" y="2362"/>
                      </a:lnTo>
                      <a:lnTo>
                        <a:pt x="811" y="2362"/>
                      </a:lnTo>
                      <a:lnTo>
                        <a:pt x="812" y="2361"/>
                      </a:lnTo>
                      <a:lnTo>
                        <a:pt x="812" y="2360"/>
                      </a:lnTo>
                      <a:lnTo>
                        <a:pt x="812" y="2359"/>
                      </a:lnTo>
                      <a:lnTo>
                        <a:pt x="812" y="2359"/>
                      </a:lnTo>
                      <a:lnTo>
                        <a:pt x="811" y="2359"/>
                      </a:lnTo>
                      <a:lnTo>
                        <a:pt x="811" y="2360"/>
                      </a:lnTo>
                      <a:lnTo>
                        <a:pt x="812" y="2360"/>
                      </a:lnTo>
                      <a:lnTo>
                        <a:pt x="812" y="2361"/>
                      </a:lnTo>
                      <a:lnTo>
                        <a:pt x="811" y="2361"/>
                      </a:lnTo>
                      <a:lnTo>
                        <a:pt x="811" y="2364"/>
                      </a:lnTo>
                      <a:lnTo>
                        <a:pt x="811" y="2364"/>
                      </a:lnTo>
                      <a:lnTo>
                        <a:pt x="812" y="2364"/>
                      </a:lnTo>
                      <a:lnTo>
                        <a:pt x="812" y="2366"/>
                      </a:lnTo>
                      <a:lnTo>
                        <a:pt x="811" y="2366"/>
                      </a:lnTo>
                      <a:lnTo>
                        <a:pt x="811" y="2365"/>
                      </a:lnTo>
                      <a:lnTo>
                        <a:pt x="810" y="2365"/>
                      </a:lnTo>
                      <a:lnTo>
                        <a:pt x="810" y="2366"/>
                      </a:lnTo>
                      <a:lnTo>
                        <a:pt x="811" y="2367"/>
                      </a:lnTo>
                      <a:lnTo>
                        <a:pt x="811" y="2368"/>
                      </a:lnTo>
                      <a:lnTo>
                        <a:pt x="810" y="2370"/>
                      </a:lnTo>
                      <a:lnTo>
                        <a:pt x="812" y="2371"/>
                      </a:lnTo>
                      <a:lnTo>
                        <a:pt x="812" y="2372"/>
                      </a:lnTo>
                      <a:lnTo>
                        <a:pt x="813" y="2373"/>
                      </a:lnTo>
                      <a:lnTo>
                        <a:pt x="813" y="2373"/>
                      </a:lnTo>
                      <a:lnTo>
                        <a:pt x="813" y="2373"/>
                      </a:lnTo>
                      <a:lnTo>
                        <a:pt x="814" y="2373"/>
                      </a:lnTo>
                      <a:lnTo>
                        <a:pt x="814" y="2375"/>
                      </a:lnTo>
                      <a:lnTo>
                        <a:pt x="814" y="2375"/>
                      </a:lnTo>
                      <a:lnTo>
                        <a:pt x="814" y="2375"/>
                      </a:lnTo>
                      <a:lnTo>
                        <a:pt x="814" y="2376"/>
                      </a:lnTo>
                      <a:lnTo>
                        <a:pt x="814" y="2376"/>
                      </a:lnTo>
                      <a:lnTo>
                        <a:pt x="814" y="2376"/>
                      </a:lnTo>
                      <a:lnTo>
                        <a:pt x="813" y="2376"/>
                      </a:lnTo>
                      <a:lnTo>
                        <a:pt x="811" y="2375"/>
                      </a:lnTo>
                      <a:lnTo>
                        <a:pt x="810" y="2375"/>
                      </a:lnTo>
                      <a:lnTo>
                        <a:pt x="810" y="2374"/>
                      </a:lnTo>
                      <a:lnTo>
                        <a:pt x="810" y="2374"/>
                      </a:lnTo>
                      <a:lnTo>
                        <a:pt x="808" y="2373"/>
                      </a:lnTo>
                      <a:lnTo>
                        <a:pt x="808" y="2373"/>
                      </a:lnTo>
                      <a:lnTo>
                        <a:pt x="808" y="2371"/>
                      </a:lnTo>
                      <a:lnTo>
                        <a:pt x="807" y="2371"/>
                      </a:lnTo>
                      <a:lnTo>
                        <a:pt x="807" y="2370"/>
                      </a:lnTo>
                      <a:lnTo>
                        <a:pt x="806" y="2370"/>
                      </a:lnTo>
                      <a:lnTo>
                        <a:pt x="806" y="2370"/>
                      </a:lnTo>
                      <a:lnTo>
                        <a:pt x="805" y="2371"/>
                      </a:lnTo>
                      <a:lnTo>
                        <a:pt x="806" y="2373"/>
                      </a:lnTo>
                      <a:lnTo>
                        <a:pt x="806" y="2373"/>
                      </a:lnTo>
                      <a:lnTo>
                        <a:pt x="805" y="2373"/>
                      </a:lnTo>
                      <a:lnTo>
                        <a:pt x="805" y="2374"/>
                      </a:lnTo>
                      <a:lnTo>
                        <a:pt x="807" y="2374"/>
                      </a:lnTo>
                      <a:lnTo>
                        <a:pt x="807" y="2375"/>
                      </a:lnTo>
                      <a:lnTo>
                        <a:pt x="807" y="2376"/>
                      </a:lnTo>
                      <a:lnTo>
                        <a:pt x="806" y="2376"/>
                      </a:lnTo>
                      <a:lnTo>
                        <a:pt x="806" y="2375"/>
                      </a:lnTo>
                      <a:lnTo>
                        <a:pt x="805" y="2375"/>
                      </a:lnTo>
                      <a:lnTo>
                        <a:pt x="805" y="2375"/>
                      </a:lnTo>
                      <a:lnTo>
                        <a:pt x="804" y="2374"/>
                      </a:lnTo>
                      <a:lnTo>
                        <a:pt x="803" y="2375"/>
                      </a:lnTo>
                      <a:lnTo>
                        <a:pt x="802" y="2376"/>
                      </a:lnTo>
                      <a:lnTo>
                        <a:pt x="803" y="2378"/>
                      </a:lnTo>
                      <a:lnTo>
                        <a:pt x="804" y="2378"/>
                      </a:lnTo>
                      <a:lnTo>
                        <a:pt x="804" y="2379"/>
                      </a:lnTo>
                      <a:lnTo>
                        <a:pt x="805" y="2379"/>
                      </a:lnTo>
                      <a:lnTo>
                        <a:pt x="806" y="2380"/>
                      </a:lnTo>
                      <a:lnTo>
                        <a:pt x="807" y="2382"/>
                      </a:lnTo>
                      <a:lnTo>
                        <a:pt x="810" y="2382"/>
                      </a:lnTo>
                      <a:lnTo>
                        <a:pt x="810" y="2383"/>
                      </a:lnTo>
                      <a:lnTo>
                        <a:pt x="810" y="2384"/>
                      </a:lnTo>
                      <a:lnTo>
                        <a:pt x="808" y="2385"/>
                      </a:lnTo>
                      <a:lnTo>
                        <a:pt x="808" y="2386"/>
                      </a:lnTo>
                      <a:lnTo>
                        <a:pt x="807" y="2387"/>
                      </a:lnTo>
                      <a:lnTo>
                        <a:pt x="804" y="2387"/>
                      </a:lnTo>
                      <a:lnTo>
                        <a:pt x="803" y="2387"/>
                      </a:lnTo>
                      <a:lnTo>
                        <a:pt x="802" y="2387"/>
                      </a:lnTo>
                      <a:lnTo>
                        <a:pt x="801" y="2388"/>
                      </a:lnTo>
                      <a:lnTo>
                        <a:pt x="801" y="2390"/>
                      </a:lnTo>
                      <a:lnTo>
                        <a:pt x="799" y="2391"/>
                      </a:lnTo>
                      <a:lnTo>
                        <a:pt x="797" y="2391"/>
                      </a:lnTo>
                      <a:lnTo>
                        <a:pt x="797" y="2392"/>
                      </a:lnTo>
                      <a:lnTo>
                        <a:pt x="796" y="2392"/>
                      </a:lnTo>
                      <a:lnTo>
                        <a:pt x="793" y="2393"/>
                      </a:lnTo>
                      <a:lnTo>
                        <a:pt x="793" y="2394"/>
                      </a:lnTo>
                      <a:lnTo>
                        <a:pt x="791" y="2395"/>
                      </a:lnTo>
                      <a:lnTo>
                        <a:pt x="789" y="2396"/>
                      </a:lnTo>
                      <a:lnTo>
                        <a:pt x="786" y="2396"/>
                      </a:lnTo>
                      <a:lnTo>
                        <a:pt x="786" y="2397"/>
                      </a:lnTo>
                      <a:lnTo>
                        <a:pt x="785" y="2398"/>
                      </a:lnTo>
                      <a:lnTo>
                        <a:pt x="782" y="2399"/>
                      </a:lnTo>
                      <a:lnTo>
                        <a:pt x="782" y="2402"/>
                      </a:lnTo>
                      <a:lnTo>
                        <a:pt x="781" y="2403"/>
                      </a:lnTo>
                      <a:lnTo>
                        <a:pt x="778" y="2404"/>
                      </a:lnTo>
                      <a:lnTo>
                        <a:pt x="777" y="2404"/>
                      </a:lnTo>
                      <a:lnTo>
                        <a:pt x="775" y="2404"/>
                      </a:lnTo>
                      <a:lnTo>
                        <a:pt x="774" y="2403"/>
                      </a:lnTo>
                      <a:lnTo>
                        <a:pt x="773" y="2403"/>
                      </a:lnTo>
                      <a:lnTo>
                        <a:pt x="772" y="2403"/>
                      </a:lnTo>
                      <a:lnTo>
                        <a:pt x="772" y="2403"/>
                      </a:lnTo>
                      <a:lnTo>
                        <a:pt x="769" y="2403"/>
                      </a:lnTo>
                      <a:lnTo>
                        <a:pt x="768" y="2403"/>
                      </a:lnTo>
                      <a:lnTo>
                        <a:pt x="767" y="2403"/>
                      </a:lnTo>
                      <a:lnTo>
                        <a:pt x="767" y="2403"/>
                      </a:lnTo>
                      <a:lnTo>
                        <a:pt x="764" y="2404"/>
                      </a:lnTo>
                      <a:lnTo>
                        <a:pt x="763" y="2404"/>
                      </a:lnTo>
                      <a:lnTo>
                        <a:pt x="763" y="2403"/>
                      </a:lnTo>
                      <a:lnTo>
                        <a:pt x="761" y="2402"/>
                      </a:lnTo>
                      <a:lnTo>
                        <a:pt x="760" y="2400"/>
                      </a:lnTo>
                      <a:lnTo>
                        <a:pt x="759" y="2399"/>
                      </a:lnTo>
                      <a:lnTo>
                        <a:pt x="759" y="2397"/>
                      </a:lnTo>
                      <a:lnTo>
                        <a:pt x="759" y="2396"/>
                      </a:lnTo>
                      <a:lnTo>
                        <a:pt x="759" y="2394"/>
                      </a:lnTo>
                      <a:lnTo>
                        <a:pt x="760" y="2393"/>
                      </a:lnTo>
                      <a:lnTo>
                        <a:pt x="760" y="2392"/>
                      </a:lnTo>
                      <a:lnTo>
                        <a:pt x="760" y="2392"/>
                      </a:lnTo>
                      <a:lnTo>
                        <a:pt x="761" y="2392"/>
                      </a:lnTo>
                      <a:lnTo>
                        <a:pt x="761" y="2390"/>
                      </a:lnTo>
                      <a:lnTo>
                        <a:pt x="762" y="2389"/>
                      </a:lnTo>
                      <a:lnTo>
                        <a:pt x="762" y="2387"/>
                      </a:lnTo>
                      <a:lnTo>
                        <a:pt x="763" y="2387"/>
                      </a:lnTo>
                      <a:lnTo>
                        <a:pt x="763" y="2387"/>
                      </a:lnTo>
                      <a:lnTo>
                        <a:pt x="762" y="2385"/>
                      </a:lnTo>
                      <a:lnTo>
                        <a:pt x="762" y="2384"/>
                      </a:lnTo>
                      <a:lnTo>
                        <a:pt x="762" y="2384"/>
                      </a:lnTo>
                      <a:lnTo>
                        <a:pt x="762" y="2384"/>
                      </a:lnTo>
                      <a:lnTo>
                        <a:pt x="761" y="2383"/>
                      </a:lnTo>
                      <a:lnTo>
                        <a:pt x="760" y="2384"/>
                      </a:lnTo>
                      <a:lnTo>
                        <a:pt x="761" y="2385"/>
                      </a:lnTo>
                      <a:lnTo>
                        <a:pt x="760" y="2387"/>
                      </a:lnTo>
                      <a:lnTo>
                        <a:pt x="759" y="2387"/>
                      </a:lnTo>
                      <a:lnTo>
                        <a:pt x="759" y="2387"/>
                      </a:lnTo>
                      <a:lnTo>
                        <a:pt x="759" y="2388"/>
                      </a:lnTo>
                      <a:lnTo>
                        <a:pt x="758" y="2388"/>
                      </a:lnTo>
                      <a:lnTo>
                        <a:pt x="758" y="2388"/>
                      </a:lnTo>
                      <a:lnTo>
                        <a:pt x="757" y="2386"/>
                      </a:lnTo>
                      <a:lnTo>
                        <a:pt x="758" y="2385"/>
                      </a:lnTo>
                      <a:lnTo>
                        <a:pt x="758" y="2385"/>
                      </a:lnTo>
                      <a:lnTo>
                        <a:pt x="758" y="2384"/>
                      </a:lnTo>
                      <a:lnTo>
                        <a:pt x="758" y="2384"/>
                      </a:lnTo>
                      <a:lnTo>
                        <a:pt x="760" y="2382"/>
                      </a:lnTo>
                      <a:lnTo>
                        <a:pt x="760" y="2381"/>
                      </a:lnTo>
                      <a:lnTo>
                        <a:pt x="760" y="2381"/>
                      </a:lnTo>
                      <a:lnTo>
                        <a:pt x="759" y="2380"/>
                      </a:lnTo>
                      <a:lnTo>
                        <a:pt x="760" y="2379"/>
                      </a:lnTo>
                      <a:lnTo>
                        <a:pt x="760" y="2378"/>
                      </a:lnTo>
                      <a:lnTo>
                        <a:pt x="763" y="2378"/>
                      </a:lnTo>
                      <a:lnTo>
                        <a:pt x="764" y="2375"/>
                      </a:lnTo>
                      <a:lnTo>
                        <a:pt x="764" y="2375"/>
                      </a:lnTo>
                      <a:lnTo>
                        <a:pt x="763" y="2374"/>
                      </a:lnTo>
                      <a:lnTo>
                        <a:pt x="763" y="2374"/>
                      </a:lnTo>
                      <a:lnTo>
                        <a:pt x="763" y="2376"/>
                      </a:lnTo>
                      <a:lnTo>
                        <a:pt x="763" y="2376"/>
                      </a:lnTo>
                      <a:lnTo>
                        <a:pt x="762" y="2378"/>
                      </a:lnTo>
                      <a:lnTo>
                        <a:pt x="761" y="2378"/>
                      </a:lnTo>
                      <a:lnTo>
                        <a:pt x="761" y="2378"/>
                      </a:lnTo>
                      <a:lnTo>
                        <a:pt x="761" y="2378"/>
                      </a:lnTo>
                      <a:lnTo>
                        <a:pt x="760" y="2378"/>
                      </a:lnTo>
                      <a:lnTo>
                        <a:pt x="759" y="2379"/>
                      </a:lnTo>
                      <a:lnTo>
                        <a:pt x="759" y="2380"/>
                      </a:lnTo>
                      <a:lnTo>
                        <a:pt x="759" y="2381"/>
                      </a:lnTo>
                      <a:lnTo>
                        <a:pt x="758" y="2381"/>
                      </a:lnTo>
                      <a:lnTo>
                        <a:pt x="757" y="2382"/>
                      </a:lnTo>
                      <a:lnTo>
                        <a:pt x="758" y="2382"/>
                      </a:lnTo>
                      <a:lnTo>
                        <a:pt x="757" y="2383"/>
                      </a:lnTo>
                      <a:lnTo>
                        <a:pt x="757" y="2384"/>
                      </a:lnTo>
                      <a:lnTo>
                        <a:pt x="756" y="2386"/>
                      </a:lnTo>
                      <a:lnTo>
                        <a:pt x="754" y="2387"/>
                      </a:lnTo>
                      <a:lnTo>
                        <a:pt x="755" y="2390"/>
                      </a:lnTo>
                      <a:lnTo>
                        <a:pt x="754" y="2391"/>
                      </a:lnTo>
                      <a:lnTo>
                        <a:pt x="754" y="2393"/>
                      </a:lnTo>
                      <a:lnTo>
                        <a:pt x="754" y="2394"/>
                      </a:lnTo>
                      <a:lnTo>
                        <a:pt x="754" y="2396"/>
                      </a:lnTo>
                      <a:lnTo>
                        <a:pt x="754" y="2396"/>
                      </a:lnTo>
                      <a:lnTo>
                        <a:pt x="754" y="2397"/>
                      </a:lnTo>
                      <a:lnTo>
                        <a:pt x="754" y="2398"/>
                      </a:lnTo>
                      <a:lnTo>
                        <a:pt x="753" y="2398"/>
                      </a:lnTo>
                      <a:lnTo>
                        <a:pt x="753" y="2398"/>
                      </a:lnTo>
                      <a:lnTo>
                        <a:pt x="752" y="2399"/>
                      </a:lnTo>
                      <a:lnTo>
                        <a:pt x="751" y="2399"/>
                      </a:lnTo>
                      <a:lnTo>
                        <a:pt x="751" y="2399"/>
                      </a:lnTo>
                      <a:lnTo>
                        <a:pt x="751" y="2399"/>
                      </a:lnTo>
                      <a:lnTo>
                        <a:pt x="751" y="2400"/>
                      </a:lnTo>
                      <a:lnTo>
                        <a:pt x="752" y="2400"/>
                      </a:lnTo>
                      <a:lnTo>
                        <a:pt x="754" y="2400"/>
                      </a:lnTo>
                      <a:lnTo>
                        <a:pt x="754" y="2400"/>
                      </a:lnTo>
                      <a:lnTo>
                        <a:pt x="754" y="2402"/>
                      </a:lnTo>
                      <a:lnTo>
                        <a:pt x="754" y="2404"/>
                      </a:lnTo>
                      <a:lnTo>
                        <a:pt x="754" y="2405"/>
                      </a:lnTo>
                      <a:lnTo>
                        <a:pt x="754" y="2406"/>
                      </a:lnTo>
                      <a:lnTo>
                        <a:pt x="753" y="2406"/>
                      </a:lnTo>
                      <a:lnTo>
                        <a:pt x="751" y="2405"/>
                      </a:lnTo>
                      <a:lnTo>
                        <a:pt x="750" y="2405"/>
                      </a:lnTo>
                      <a:lnTo>
                        <a:pt x="750" y="2404"/>
                      </a:lnTo>
                      <a:lnTo>
                        <a:pt x="750" y="2402"/>
                      </a:lnTo>
                      <a:lnTo>
                        <a:pt x="750" y="2402"/>
                      </a:lnTo>
                      <a:lnTo>
                        <a:pt x="749" y="2402"/>
                      </a:lnTo>
                      <a:lnTo>
                        <a:pt x="749" y="2402"/>
                      </a:lnTo>
                      <a:lnTo>
                        <a:pt x="747" y="2402"/>
                      </a:lnTo>
                      <a:lnTo>
                        <a:pt x="747" y="2400"/>
                      </a:lnTo>
                      <a:lnTo>
                        <a:pt x="747" y="2399"/>
                      </a:lnTo>
                      <a:lnTo>
                        <a:pt x="747" y="2398"/>
                      </a:lnTo>
                      <a:lnTo>
                        <a:pt x="747" y="2397"/>
                      </a:lnTo>
                      <a:lnTo>
                        <a:pt x="747" y="2397"/>
                      </a:lnTo>
                      <a:lnTo>
                        <a:pt x="746" y="2400"/>
                      </a:lnTo>
                      <a:lnTo>
                        <a:pt x="746" y="2400"/>
                      </a:lnTo>
                      <a:lnTo>
                        <a:pt x="746" y="2402"/>
                      </a:lnTo>
                      <a:lnTo>
                        <a:pt x="745" y="2402"/>
                      </a:lnTo>
                      <a:lnTo>
                        <a:pt x="744" y="2402"/>
                      </a:lnTo>
                      <a:lnTo>
                        <a:pt x="743" y="2402"/>
                      </a:lnTo>
                      <a:lnTo>
                        <a:pt x="741" y="2400"/>
                      </a:lnTo>
                      <a:lnTo>
                        <a:pt x="741" y="2400"/>
                      </a:lnTo>
                      <a:lnTo>
                        <a:pt x="740" y="2400"/>
                      </a:lnTo>
                      <a:lnTo>
                        <a:pt x="740" y="2399"/>
                      </a:lnTo>
                      <a:lnTo>
                        <a:pt x="740" y="2399"/>
                      </a:lnTo>
                      <a:lnTo>
                        <a:pt x="740" y="2398"/>
                      </a:lnTo>
                      <a:lnTo>
                        <a:pt x="739" y="2398"/>
                      </a:lnTo>
                      <a:lnTo>
                        <a:pt x="739" y="2397"/>
                      </a:lnTo>
                      <a:lnTo>
                        <a:pt x="738" y="2397"/>
                      </a:lnTo>
                      <a:lnTo>
                        <a:pt x="737" y="2397"/>
                      </a:lnTo>
                      <a:lnTo>
                        <a:pt x="737" y="2396"/>
                      </a:lnTo>
                      <a:lnTo>
                        <a:pt x="736" y="2395"/>
                      </a:lnTo>
                      <a:lnTo>
                        <a:pt x="736" y="2394"/>
                      </a:lnTo>
                      <a:lnTo>
                        <a:pt x="735" y="2393"/>
                      </a:lnTo>
                      <a:lnTo>
                        <a:pt x="733" y="2391"/>
                      </a:lnTo>
                      <a:lnTo>
                        <a:pt x="736" y="2390"/>
                      </a:lnTo>
                      <a:lnTo>
                        <a:pt x="736" y="2390"/>
                      </a:lnTo>
                      <a:lnTo>
                        <a:pt x="735" y="2390"/>
                      </a:lnTo>
                      <a:lnTo>
                        <a:pt x="735" y="2391"/>
                      </a:lnTo>
                      <a:lnTo>
                        <a:pt x="733" y="2391"/>
                      </a:lnTo>
                      <a:lnTo>
                        <a:pt x="735" y="2390"/>
                      </a:lnTo>
                      <a:lnTo>
                        <a:pt x="733" y="2390"/>
                      </a:lnTo>
                      <a:lnTo>
                        <a:pt x="733" y="2390"/>
                      </a:lnTo>
                      <a:lnTo>
                        <a:pt x="733" y="2390"/>
                      </a:lnTo>
                      <a:lnTo>
                        <a:pt x="733" y="2390"/>
                      </a:lnTo>
                      <a:lnTo>
                        <a:pt x="733" y="2389"/>
                      </a:lnTo>
                      <a:lnTo>
                        <a:pt x="732" y="2390"/>
                      </a:lnTo>
                      <a:lnTo>
                        <a:pt x="732" y="2390"/>
                      </a:lnTo>
                      <a:lnTo>
                        <a:pt x="732" y="2390"/>
                      </a:lnTo>
                      <a:lnTo>
                        <a:pt x="731" y="2389"/>
                      </a:lnTo>
                      <a:lnTo>
                        <a:pt x="731" y="2389"/>
                      </a:lnTo>
                      <a:lnTo>
                        <a:pt x="730" y="2389"/>
                      </a:lnTo>
                      <a:lnTo>
                        <a:pt x="731" y="2388"/>
                      </a:lnTo>
                      <a:lnTo>
                        <a:pt x="729" y="2388"/>
                      </a:lnTo>
                      <a:lnTo>
                        <a:pt x="729" y="2388"/>
                      </a:lnTo>
                      <a:lnTo>
                        <a:pt x="729" y="2388"/>
                      </a:lnTo>
                      <a:lnTo>
                        <a:pt x="729" y="2386"/>
                      </a:lnTo>
                      <a:lnTo>
                        <a:pt x="729" y="2385"/>
                      </a:lnTo>
                      <a:lnTo>
                        <a:pt x="728" y="2385"/>
                      </a:lnTo>
                      <a:lnTo>
                        <a:pt x="728" y="2385"/>
                      </a:lnTo>
                      <a:lnTo>
                        <a:pt x="727" y="2385"/>
                      </a:lnTo>
                      <a:lnTo>
                        <a:pt x="727" y="2384"/>
                      </a:lnTo>
                      <a:lnTo>
                        <a:pt x="727" y="2384"/>
                      </a:lnTo>
                      <a:lnTo>
                        <a:pt x="727" y="2383"/>
                      </a:lnTo>
                      <a:lnTo>
                        <a:pt x="727" y="2383"/>
                      </a:lnTo>
                      <a:lnTo>
                        <a:pt x="727" y="2382"/>
                      </a:lnTo>
                      <a:lnTo>
                        <a:pt x="727" y="2382"/>
                      </a:lnTo>
                      <a:lnTo>
                        <a:pt x="727" y="2382"/>
                      </a:lnTo>
                      <a:lnTo>
                        <a:pt x="727" y="2381"/>
                      </a:lnTo>
                      <a:lnTo>
                        <a:pt x="728" y="2380"/>
                      </a:lnTo>
                      <a:lnTo>
                        <a:pt x="727" y="2380"/>
                      </a:lnTo>
                      <a:lnTo>
                        <a:pt x="727" y="2380"/>
                      </a:lnTo>
                      <a:lnTo>
                        <a:pt x="726" y="2379"/>
                      </a:lnTo>
                      <a:lnTo>
                        <a:pt x="726" y="2379"/>
                      </a:lnTo>
                      <a:lnTo>
                        <a:pt x="726" y="2379"/>
                      </a:lnTo>
                      <a:lnTo>
                        <a:pt x="726" y="2378"/>
                      </a:lnTo>
                      <a:lnTo>
                        <a:pt x="726" y="2378"/>
                      </a:lnTo>
                      <a:lnTo>
                        <a:pt x="727" y="2377"/>
                      </a:lnTo>
                      <a:lnTo>
                        <a:pt x="727" y="2376"/>
                      </a:lnTo>
                      <a:lnTo>
                        <a:pt x="726" y="2376"/>
                      </a:lnTo>
                      <a:lnTo>
                        <a:pt x="726" y="2375"/>
                      </a:lnTo>
                      <a:lnTo>
                        <a:pt x="727" y="2375"/>
                      </a:lnTo>
                      <a:lnTo>
                        <a:pt x="727" y="2374"/>
                      </a:lnTo>
                      <a:lnTo>
                        <a:pt x="728" y="2372"/>
                      </a:lnTo>
                      <a:lnTo>
                        <a:pt x="728" y="2372"/>
                      </a:lnTo>
                      <a:lnTo>
                        <a:pt x="729" y="2371"/>
                      </a:lnTo>
                      <a:lnTo>
                        <a:pt x="729" y="2370"/>
                      </a:lnTo>
                      <a:lnTo>
                        <a:pt x="728" y="2370"/>
                      </a:lnTo>
                      <a:lnTo>
                        <a:pt x="727" y="2370"/>
                      </a:lnTo>
                      <a:lnTo>
                        <a:pt x="726" y="2370"/>
                      </a:lnTo>
                      <a:lnTo>
                        <a:pt x="726" y="2370"/>
                      </a:lnTo>
                      <a:lnTo>
                        <a:pt x="725" y="2370"/>
                      </a:lnTo>
                      <a:lnTo>
                        <a:pt x="725" y="2373"/>
                      </a:lnTo>
                      <a:lnTo>
                        <a:pt x="724" y="2374"/>
                      </a:lnTo>
                      <a:lnTo>
                        <a:pt x="723" y="2374"/>
                      </a:lnTo>
                      <a:lnTo>
                        <a:pt x="723" y="2375"/>
                      </a:lnTo>
                      <a:lnTo>
                        <a:pt x="722" y="2376"/>
                      </a:lnTo>
                      <a:lnTo>
                        <a:pt x="722" y="2376"/>
                      </a:lnTo>
                      <a:lnTo>
                        <a:pt x="721" y="2377"/>
                      </a:lnTo>
                      <a:lnTo>
                        <a:pt x="720" y="2377"/>
                      </a:lnTo>
                      <a:lnTo>
                        <a:pt x="720" y="2377"/>
                      </a:lnTo>
                      <a:lnTo>
                        <a:pt x="720" y="2378"/>
                      </a:lnTo>
                      <a:lnTo>
                        <a:pt x="720" y="2378"/>
                      </a:lnTo>
                      <a:lnTo>
                        <a:pt x="720" y="2380"/>
                      </a:lnTo>
                      <a:lnTo>
                        <a:pt x="718" y="2380"/>
                      </a:lnTo>
                      <a:lnTo>
                        <a:pt x="719" y="2380"/>
                      </a:lnTo>
                      <a:lnTo>
                        <a:pt x="718" y="2380"/>
                      </a:lnTo>
                      <a:lnTo>
                        <a:pt x="718" y="2380"/>
                      </a:lnTo>
                      <a:lnTo>
                        <a:pt x="717" y="2380"/>
                      </a:lnTo>
                      <a:lnTo>
                        <a:pt x="716" y="2380"/>
                      </a:lnTo>
                      <a:lnTo>
                        <a:pt x="716" y="2379"/>
                      </a:lnTo>
                      <a:lnTo>
                        <a:pt x="715" y="2379"/>
                      </a:lnTo>
                      <a:lnTo>
                        <a:pt x="714" y="2378"/>
                      </a:lnTo>
                      <a:lnTo>
                        <a:pt x="713" y="2378"/>
                      </a:lnTo>
                      <a:lnTo>
                        <a:pt x="712" y="2377"/>
                      </a:lnTo>
                      <a:lnTo>
                        <a:pt x="710" y="2377"/>
                      </a:lnTo>
                      <a:lnTo>
                        <a:pt x="709" y="2377"/>
                      </a:lnTo>
                      <a:lnTo>
                        <a:pt x="709" y="2377"/>
                      </a:lnTo>
                      <a:lnTo>
                        <a:pt x="708" y="2376"/>
                      </a:lnTo>
                      <a:lnTo>
                        <a:pt x="706" y="2375"/>
                      </a:lnTo>
                      <a:lnTo>
                        <a:pt x="705" y="2375"/>
                      </a:lnTo>
                      <a:lnTo>
                        <a:pt x="704" y="2374"/>
                      </a:lnTo>
                      <a:lnTo>
                        <a:pt x="701" y="2372"/>
                      </a:lnTo>
                      <a:lnTo>
                        <a:pt x="700" y="2371"/>
                      </a:lnTo>
                      <a:lnTo>
                        <a:pt x="698" y="2370"/>
                      </a:lnTo>
                      <a:lnTo>
                        <a:pt x="698" y="2370"/>
                      </a:lnTo>
                      <a:lnTo>
                        <a:pt x="696" y="2369"/>
                      </a:lnTo>
                      <a:lnTo>
                        <a:pt x="696" y="2368"/>
                      </a:lnTo>
                      <a:lnTo>
                        <a:pt x="695" y="2368"/>
                      </a:lnTo>
                      <a:lnTo>
                        <a:pt x="695" y="2366"/>
                      </a:lnTo>
                      <a:lnTo>
                        <a:pt x="694" y="2366"/>
                      </a:lnTo>
                      <a:lnTo>
                        <a:pt x="694" y="2365"/>
                      </a:lnTo>
                      <a:lnTo>
                        <a:pt x="693" y="2365"/>
                      </a:lnTo>
                      <a:lnTo>
                        <a:pt x="692" y="2365"/>
                      </a:lnTo>
                      <a:lnTo>
                        <a:pt x="692" y="2365"/>
                      </a:lnTo>
                      <a:lnTo>
                        <a:pt x="693" y="2364"/>
                      </a:lnTo>
                      <a:lnTo>
                        <a:pt x="693" y="2360"/>
                      </a:lnTo>
                      <a:lnTo>
                        <a:pt x="692" y="2360"/>
                      </a:lnTo>
                      <a:lnTo>
                        <a:pt x="692" y="2359"/>
                      </a:lnTo>
                      <a:lnTo>
                        <a:pt x="692" y="2358"/>
                      </a:lnTo>
                      <a:lnTo>
                        <a:pt x="691" y="2358"/>
                      </a:lnTo>
                      <a:lnTo>
                        <a:pt x="690" y="2356"/>
                      </a:lnTo>
                      <a:lnTo>
                        <a:pt x="689" y="2355"/>
                      </a:lnTo>
                      <a:lnTo>
                        <a:pt x="689" y="2354"/>
                      </a:lnTo>
                      <a:lnTo>
                        <a:pt x="690" y="2351"/>
                      </a:lnTo>
                      <a:lnTo>
                        <a:pt x="690" y="2350"/>
                      </a:lnTo>
                      <a:lnTo>
                        <a:pt x="689" y="2350"/>
                      </a:lnTo>
                      <a:lnTo>
                        <a:pt x="689" y="2350"/>
                      </a:lnTo>
                      <a:lnTo>
                        <a:pt x="686" y="2349"/>
                      </a:lnTo>
                      <a:lnTo>
                        <a:pt x="685" y="2348"/>
                      </a:lnTo>
                      <a:lnTo>
                        <a:pt x="685" y="2346"/>
                      </a:lnTo>
                      <a:lnTo>
                        <a:pt x="685" y="2345"/>
                      </a:lnTo>
                      <a:lnTo>
                        <a:pt x="685" y="2345"/>
                      </a:lnTo>
                      <a:lnTo>
                        <a:pt x="684" y="2344"/>
                      </a:lnTo>
                      <a:lnTo>
                        <a:pt x="681" y="2344"/>
                      </a:lnTo>
                      <a:lnTo>
                        <a:pt x="680" y="2345"/>
                      </a:lnTo>
                      <a:lnTo>
                        <a:pt x="679" y="2344"/>
                      </a:lnTo>
                      <a:lnTo>
                        <a:pt x="679" y="2343"/>
                      </a:lnTo>
                      <a:lnTo>
                        <a:pt x="679" y="2343"/>
                      </a:lnTo>
                      <a:lnTo>
                        <a:pt x="679" y="2343"/>
                      </a:lnTo>
                      <a:lnTo>
                        <a:pt x="680" y="2343"/>
                      </a:lnTo>
                      <a:lnTo>
                        <a:pt x="680" y="2343"/>
                      </a:lnTo>
                      <a:lnTo>
                        <a:pt x="680" y="2343"/>
                      </a:lnTo>
                      <a:lnTo>
                        <a:pt x="678" y="2342"/>
                      </a:lnTo>
                      <a:lnTo>
                        <a:pt x="677" y="2343"/>
                      </a:lnTo>
                      <a:lnTo>
                        <a:pt x="679" y="2344"/>
                      </a:lnTo>
                      <a:lnTo>
                        <a:pt x="679" y="2345"/>
                      </a:lnTo>
                      <a:lnTo>
                        <a:pt x="680" y="2345"/>
                      </a:lnTo>
                      <a:lnTo>
                        <a:pt x="680" y="2345"/>
                      </a:lnTo>
                      <a:lnTo>
                        <a:pt x="681" y="2345"/>
                      </a:lnTo>
                      <a:lnTo>
                        <a:pt x="682" y="2344"/>
                      </a:lnTo>
                      <a:lnTo>
                        <a:pt x="682" y="2345"/>
                      </a:lnTo>
                      <a:lnTo>
                        <a:pt x="684" y="2344"/>
                      </a:lnTo>
                      <a:lnTo>
                        <a:pt x="684" y="2345"/>
                      </a:lnTo>
                      <a:lnTo>
                        <a:pt x="684" y="2346"/>
                      </a:lnTo>
                      <a:lnTo>
                        <a:pt x="684" y="2347"/>
                      </a:lnTo>
                      <a:lnTo>
                        <a:pt x="684" y="2348"/>
                      </a:lnTo>
                      <a:lnTo>
                        <a:pt x="685" y="2349"/>
                      </a:lnTo>
                      <a:lnTo>
                        <a:pt x="689" y="2350"/>
                      </a:lnTo>
                      <a:lnTo>
                        <a:pt x="689" y="2351"/>
                      </a:lnTo>
                      <a:lnTo>
                        <a:pt x="689" y="2352"/>
                      </a:lnTo>
                      <a:lnTo>
                        <a:pt x="688" y="2354"/>
                      </a:lnTo>
                      <a:lnTo>
                        <a:pt x="688" y="2356"/>
                      </a:lnTo>
                      <a:lnTo>
                        <a:pt x="689" y="2358"/>
                      </a:lnTo>
                      <a:lnTo>
                        <a:pt x="690" y="2359"/>
                      </a:lnTo>
                      <a:lnTo>
                        <a:pt x="689" y="2360"/>
                      </a:lnTo>
                      <a:lnTo>
                        <a:pt x="687" y="2360"/>
                      </a:lnTo>
                      <a:lnTo>
                        <a:pt x="687" y="2361"/>
                      </a:lnTo>
                      <a:lnTo>
                        <a:pt x="686" y="2361"/>
                      </a:lnTo>
                      <a:lnTo>
                        <a:pt x="685" y="2361"/>
                      </a:lnTo>
                      <a:lnTo>
                        <a:pt x="686" y="2361"/>
                      </a:lnTo>
                      <a:lnTo>
                        <a:pt x="685" y="2362"/>
                      </a:lnTo>
                      <a:lnTo>
                        <a:pt x="685" y="2362"/>
                      </a:lnTo>
                      <a:lnTo>
                        <a:pt x="685" y="2362"/>
                      </a:lnTo>
                      <a:lnTo>
                        <a:pt x="684" y="2364"/>
                      </a:lnTo>
                      <a:lnTo>
                        <a:pt x="684" y="2365"/>
                      </a:lnTo>
                      <a:lnTo>
                        <a:pt x="684" y="2367"/>
                      </a:lnTo>
                      <a:lnTo>
                        <a:pt x="685" y="2368"/>
                      </a:lnTo>
                      <a:lnTo>
                        <a:pt x="684" y="2369"/>
                      </a:lnTo>
                      <a:lnTo>
                        <a:pt x="684" y="2369"/>
                      </a:lnTo>
                      <a:lnTo>
                        <a:pt x="683" y="2370"/>
                      </a:lnTo>
                      <a:lnTo>
                        <a:pt x="684" y="2370"/>
                      </a:lnTo>
                      <a:lnTo>
                        <a:pt x="684" y="2369"/>
                      </a:lnTo>
                      <a:lnTo>
                        <a:pt x="685" y="2369"/>
                      </a:lnTo>
                      <a:lnTo>
                        <a:pt x="685" y="2370"/>
                      </a:lnTo>
                      <a:lnTo>
                        <a:pt x="685" y="2371"/>
                      </a:lnTo>
                      <a:lnTo>
                        <a:pt x="685" y="2373"/>
                      </a:lnTo>
                      <a:lnTo>
                        <a:pt x="685" y="2374"/>
                      </a:lnTo>
                      <a:lnTo>
                        <a:pt x="685" y="2375"/>
                      </a:lnTo>
                      <a:lnTo>
                        <a:pt x="685" y="2376"/>
                      </a:lnTo>
                      <a:lnTo>
                        <a:pt x="686" y="2381"/>
                      </a:lnTo>
                      <a:lnTo>
                        <a:pt x="686" y="2382"/>
                      </a:lnTo>
                      <a:lnTo>
                        <a:pt x="687" y="2382"/>
                      </a:lnTo>
                      <a:lnTo>
                        <a:pt x="687" y="2383"/>
                      </a:lnTo>
                      <a:lnTo>
                        <a:pt x="687" y="2383"/>
                      </a:lnTo>
                      <a:lnTo>
                        <a:pt x="688" y="2384"/>
                      </a:lnTo>
                      <a:lnTo>
                        <a:pt x="689" y="2384"/>
                      </a:lnTo>
                      <a:lnTo>
                        <a:pt x="690" y="2385"/>
                      </a:lnTo>
                      <a:lnTo>
                        <a:pt x="691" y="2385"/>
                      </a:lnTo>
                      <a:lnTo>
                        <a:pt x="692" y="2385"/>
                      </a:lnTo>
                      <a:lnTo>
                        <a:pt x="694" y="2386"/>
                      </a:lnTo>
                      <a:lnTo>
                        <a:pt x="695" y="2387"/>
                      </a:lnTo>
                      <a:lnTo>
                        <a:pt x="698" y="2387"/>
                      </a:lnTo>
                      <a:lnTo>
                        <a:pt x="699" y="2388"/>
                      </a:lnTo>
                      <a:lnTo>
                        <a:pt x="699" y="2388"/>
                      </a:lnTo>
                      <a:lnTo>
                        <a:pt x="700" y="2388"/>
                      </a:lnTo>
                      <a:lnTo>
                        <a:pt x="700" y="2389"/>
                      </a:lnTo>
                      <a:lnTo>
                        <a:pt x="700" y="2389"/>
                      </a:lnTo>
                      <a:lnTo>
                        <a:pt x="701" y="2390"/>
                      </a:lnTo>
                      <a:lnTo>
                        <a:pt x="702" y="2392"/>
                      </a:lnTo>
                      <a:lnTo>
                        <a:pt x="702" y="2393"/>
                      </a:lnTo>
                      <a:lnTo>
                        <a:pt x="702" y="2396"/>
                      </a:lnTo>
                      <a:lnTo>
                        <a:pt x="701" y="2396"/>
                      </a:lnTo>
                      <a:lnTo>
                        <a:pt x="701" y="2396"/>
                      </a:lnTo>
                      <a:lnTo>
                        <a:pt x="700" y="2396"/>
                      </a:lnTo>
                      <a:lnTo>
                        <a:pt x="700" y="2396"/>
                      </a:lnTo>
                      <a:lnTo>
                        <a:pt x="699" y="2395"/>
                      </a:lnTo>
                      <a:lnTo>
                        <a:pt x="696" y="2394"/>
                      </a:lnTo>
                      <a:lnTo>
                        <a:pt x="695" y="2395"/>
                      </a:lnTo>
                      <a:lnTo>
                        <a:pt x="696" y="2395"/>
                      </a:lnTo>
                      <a:lnTo>
                        <a:pt x="696" y="2396"/>
                      </a:lnTo>
                      <a:lnTo>
                        <a:pt x="695" y="2396"/>
                      </a:lnTo>
                      <a:lnTo>
                        <a:pt x="695" y="2397"/>
                      </a:lnTo>
                      <a:lnTo>
                        <a:pt x="696" y="2397"/>
                      </a:lnTo>
                      <a:lnTo>
                        <a:pt x="696" y="2397"/>
                      </a:lnTo>
                      <a:lnTo>
                        <a:pt x="698" y="2397"/>
                      </a:lnTo>
                      <a:lnTo>
                        <a:pt x="698" y="2402"/>
                      </a:lnTo>
                      <a:lnTo>
                        <a:pt x="698" y="2402"/>
                      </a:lnTo>
                      <a:lnTo>
                        <a:pt x="698" y="2402"/>
                      </a:lnTo>
                      <a:lnTo>
                        <a:pt x="695" y="2403"/>
                      </a:lnTo>
                      <a:lnTo>
                        <a:pt x="695" y="2404"/>
                      </a:lnTo>
                      <a:lnTo>
                        <a:pt x="696" y="2404"/>
                      </a:lnTo>
                      <a:lnTo>
                        <a:pt x="699" y="2405"/>
                      </a:lnTo>
                      <a:lnTo>
                        <a:pt x="699" y="2405"/>
                      </a:lnTo>
                      <a:lnTo>
                        <a:pt x="699" y="2408"/>
                      </a:lnTo>
                      <a:lnTo>
                        <a:pt x="699" y="2409"/>
                      </a:lnTo>
                      <a:lnTo>
                        <a:pt x="698" y="2410"/>
                      </a:lnTo>
                      <a:lnTo>
                        <a:pt x="699" y="2410"/>
                      </a:lnTo>
                      <a:lnTo>
                        <a:pt x="699" y="2411"/>
                      </a:lnTo>
                      <a:lnTo>
                        <a:pt x="698" y="2411"/>
                      </a:lnTo>
                      <a:lnTo>
                        <a:pt x="696" y="2415"/>
                      </a:lnTo>
                      <a:lnTo>
                        <a:pt x="696" y="2415"/>
                      </a:lnTo>
                      <a:lnTo>
                        <a:pt x="698" y="2416"/>
                      </a:lnTo>
                      <a:lnTo>
                        <a:pt x="696" y="2417"/>
                      </a:lnTo>
                      <a:lnTo>
                        <a:pt x="696" y="2417"/>
                      </a:lnTo>
                      <a:lnTo>
                        <a:pt x="696" y="2418"/>
                      </a:lnTo>
                      <a:lnTo>
                        <a:pt x="696" y="2419"/>
                      </a:lnTo>
                      <a:lnTo>
                        <a:pt x="696" y="2420"/>
                      </a:lnTo>
                      <a:lnTo>
                        <a:pt x="696" y="2420"/>
                      </a:lnTo>
                      <a:lnTo>
                        <a:pt x="696" y="2421"/>
                      </a:lnTo>
                      <a:lnTo>
                        <a:pt x="698" y="2422"/>
                      </a:lnTo>
                      <a:lnTo>
                        <a:pt x="698" y="2423"/>
                      </a:lnTo>
                      <a:lnTo>
                        <a:pt x="699" y="2423"/>
                      </a:lnTo>
                      <a:lnTo>
                        <a:pt x="699" y="2423"/>
                      </a:lnTo>
                      <a:lnTo>
                        <a:pt x="700" y="2423"/>
                      </a:lnTo>
                      <a:lnTo>
                        <a:pt x="700" y="2425"/>
                      </a:lnTo>
                      <a:lnTo>
                        <a:pt x="700" y="2427"/>
                      </a:lnTo>
                      <a:lnTo>
                        <a:pt x="698" y="2429"/>
                      </a:lnTo>
                      <a:lnTo>
                        <a:pt x="698" y="2430"/>
                      </a:lnTo>
                      <a:lnTo>
                        <a:pt x="698" y="2430"/>
                      </a:lnTo>
                      <a:lnTo>
                        <a:pt x="698" y="2431"/>
                      </a:lnTo>
                      <a:lnTo>
                        <a:pt x="698" y="2431"/>
                      </a:lnTo>
                      <a:lnTo>
                        <a:pt x="698" y="2430"/>
                      </a:lnTo>
                      <a:lnTo>
                        <a:pt x="696" y="2430"/>
                      </a:lnTo>
                      <a:lnTo>
                        <a:pt x="696" y="2429"/>
                      </a:lnTo>
                      <a:lnTo>
                        <a:pt x="696" y="2429"/>
                      </a:lnTo>
                      <a:lnTo>
                        <a:pt x="696" y="2429"/>
                      </a:lnTo>
                      <a:lnTo>
                        <a:pt x="696" y="2432"/>
                      </a:lnTo>
                      <a:lnTo>
                        <a:pt x="694" y="2434"/>
                      </a:lnTo>
                      <a:lnTo>
                        <a:pt x="694" y="2435"/>
                      </a:lnTo>
                      <a:lnTo>
                        <a:pt x="693" y="2435"/>
                      </a:lnTo>
                      <a:lnTo>
                        <a:pt x="692" y="2436"/>
                      </a:lnTo>
                      <a:lnTo>
                        <a:pt x="692" y="2436"/>
                      </a:lnTo>
                      <a:lnTo>
                        <a:pt x="690" y="2437"/>
                      </a:lnTo>
                      <a:lnTo>
                        <a:pt x="688" y="2437"/>
                      </a:lnTo>
                      <a:lnTo>
                        <a:pt x="687" y="2437"/>
                      </a:lnTo>
                      <a:lnTo>
                        <a:pt x="684" y="2435"/>
                      </a:lnTo>
                      <a:lnTo>
                        <a:pt x="682" y="2433"/>
                      </a:lnTo>
                      <a:lnTo>
                        <a:pt x="681" y="2433"/>
                      </a:lnTo>
                      <a:lnTo>
                        <a:pt x="680" y="2432"/>
                      </a:lnTo>
                      <a:lnTo>
                        <a:pt x="678" y="2431"/>
                      </a:lnTo>
                      <a:lnTo>
                        <a:pt x="677" y="2431"/>
                      </a:lnTo>
                      <a:lnTo>
                        <a:pt x="676" y="2431"/>
                      </a:lnTo>
                      <a:lnTo>
                        <a:pt x="672" y="2429"/>
                      </a:lnTo>
                      <a:lnTo>
                        <a:pt x="670" y="2428"/>
                      </a:lnTo>
                      <a:lnTo>
                        <a:pt x="670" y="2428"/>
                      </a:lnTo>
                      <a:lnTo>
                        <a:pt x="669" y="2428"/>
                      </a:lnTo>
                      <a:lnTo>
                        <a:pt x="667" y="2426"/>
                      </a:lnTo>
                      <a:lnTo>
                        <a:pt x="667" y="2426"/>
                      </a:lnTo>
                      <a:lnTo>
                        <a:pt x="665" y="2425"/>
                      </a:lnTo>
                      <a:lnTo>
                        <a:pt x="665" y="2425"/>
                      </a:lnTo>
                      <a:lnTo>
                        <a:pt x="664" y="2424"/>
                      </a:lnTo>
                      <a:lnTo>
                        <a:pt x="664" y="2423"/>
                      </a:lnTo>
                      <a:lnTo>
                        <a:pt x="662" y="2421"/>
                      </a:lnTo>
                      <a:lnTo>
                        <a:pt x="661" y="2421"/>
                      </a:lnTo>
                      <a:lnTo>
                        <a:pt x="660" y="2421"/>
                      </a:lnTo>
                      <a:lnTo>
                        <a:pt x="658" y="2420"/>
                      </a:lnTo>
                      <a:lnTo>
                        <a:pt x="660" y="2420"/>
                      </a:lnTo>
                      <a:lnTo>
                        <a:pt x="660" y="2419"/>
                      </a:lnTo>
                      <a:lnTo>
                        <a:pt x="658" y="2418"/>
                      </a:lnTo>
                      <a:lnTo>
                        <a:pt x="656" y="2416"/>
                      </a:lnTo>
                      <a:lnTo>
                        <a:pt x="655" y="2416"/>
                      </a:lnTo>
                      <a:lnTo>
                        <a:pt x="653" y="2416"/>
                      </a:lnTo>
                      <a:lnTo>
                        <a:pt x="653" y="2416"/>
                      </a:lnTo>
                      <a:lnTo>
                        <a:pt x="652" y="2414"/>
                      </a:lnTo>
                      <a:lnTo>
                        <a:pt x="651" y="2413"/>
                      </a:lnTo>
                      <a:lnTo>
                        <a:pt x="651" y="2411"/>
                      </a:lnTo>
                      <a:lnTo>
                        <a:pt x="651" y="2410"/>
                      </a:lnTo>
                      <a:lnTo>
                        <a:pt x="651" y="2409"/>
                      </a:lnTo>
                      <a:lnTo>
                        <a:pt x="650" y="2409"/>
                      </a:lnTo>
                      <a:lnTo>
                        <a:pt x="650" y="2408"/>
                      </a:lnTo>
                      <a:lnTo>
                        <a:pt x="650" y="2406"/>
                      </a:lnTo>
                      <a:lnTo>
                        <a:pt x="649" y="2405"/>
                      </a:lnTo>
                      <a:lnTo>
                        <a:pt x="648" y="2404"/>
                      </a:lnTo>
                      <a:lnTo>
                        <a:pt x="648" y="2404"/>
                      </a:lnTo>
                      <a:lnTo>
                        <a:pt x="647" y="2403"/>
                      </a:lnTo>
                      <a:lnTo>
                        <a:pt x="646" y="2402"/>
                      </a:lnTo>
                      <a:lnTo>
                        <a:pt x="646" y="2402"/>
                      </a:lnTo>
                      <a:lnTo>
                        <a:pt x="646" y="2402"/>
                      </a:lnTo>
                      <a:lnTo>
                        <a:pt x="645" y="2402"/>
                      </a:lnTo>
                      <a:lnTo>
                        <a:pt x="645" y="2400"/>
                      </a:lnTo>
                      <a:lnTo>
                        <a:pt x="645" y="2400"/>
                      </a:lnTo>
                      <a:lnTo>
                        <a:pt x="645" y="2400"/>
                      </a:lnTo>
                      <a:lnTo>
                        <a:pt x="644" y="2400"/>
                      </a:lnTo>
                      <a:lnTo>
                        <a:pt x="644" y="2400"/>
                      </a:lnTo>
                      <a:lnTo>
                        <a:pt x="644" y="2399"/>
                      </a:lnTo>
                      <a:lnTo>
                        <a:pt x="642" y="2399"/>
                      </a:lnTo>
                      <a:lnTo>
                        <a:pt x="642" y="2399"/>
                      </a:lnTo>
                      <a:lnTo>
                        <a:pt x="642" y="2399"/>
                      </a:lnTo>
                      <a:lnTo>
                        <a:pt x="637" y="2396"/>
                      </a:lnTo>
                      <a:lnTo>
                        <a:pt x="633" y="2393"/>
                      </a:lnTo>
                      <a:lnTo>
                        <a:pt x="630" y="2391"/>
                      </a:lnTo>
                      <a:lnTo>
                        <a:pt x="627" y="2387"/>
                      </a:lnTo>
                      <a:lnTo>
                        <a:pt x="627" y="2387"/>
                      </a:lnTo>
                      <a:lnTo>
                        <a:pt x="625" y="2384"/>
                      </a:lnTo>
                      <a:lnTo>
                        <a:pt x="623" y="2383"/>
                      </a:lnTo>
                      <a:lnTo>
                        <a:pt x="616" y="2383"/>
                      </a:lnTo>
                      <a:lnTo>
                        <a:pt x="616" y="2382"/>
                      </a:lnTo>
                      <a:lnTo>
                        <a:pt x="614" y="2382"/>
                      </a:lnTo>
                      <a:lnTo>
                        <a:pt x="614" y="2383"/>
                      </a:lnTo>
                      <a:lnTo>
                        <a:pt x="614" y="2383"/>
                      </a:lnTo>
                      <a:lnTo>
                        <a:pt x="612" y="2383"/>
                      </a:lnTo>
                      <a:lnTo>
                        <a:pt x="609" y="2381"/>
                      </a:lnTo>
                      <a:lnTo>
                        <a:pt x="608" y="2381"/>
                      </a:lnTo>
                      <a:lnTo>
                        <a:pt x="607" y="2380"/>
                      </a:lnTo>
                      <a:lnTo>
                        <a:pt x="607" y="2378"/>
                      </a:lnTo>
                      <a:lnTo>
                        <a:pt x="606" y="2376"/>
                      </a:lnTo>
                      <a:lnTo>
                        <a:pt x="605" y="2376"/>
                      </a:lnTo>
                      <a:lnTo>
                        <a:pt x="604" y="2375"/>
                      </a:lnTo>
                      <a:lnTo>
                        <a:pt x="604" y="2373"/>
                      </a:lnTo>
                      <a:lnTo>
                        <a:pt x="603" y="2371"/>
                      </a:lnTo>
                      <a:lnTo>
                        <a:pt x="602" y="2371"/>
                      </a:lnTo>
                      <a:lnTo>
                        <a:pt x="602" y="2370"/>
                      </a:lnTo>
                      <a:lnTo>
                        <a:pt x="601" y="2371"/>
                      </a:lnTo>
                      <a:lnTo>
                        <a:pt x="601" y="2370"/>
                      </a:lnTo>
                      <a:lnTo>
                        <a:pt x="597" y="2370"/>
                      </a:lnTo>
                      <a:lnTo>
                        <a:pt x="596" y="2369"/>
                      </a:lnTo>
                      <a:lnTo>
                        <a:pt x="595" y="2368"/>
                      </a:lnTo>
                      <a:lnTo>
                        <a:pt x="595" y="2368"/>
                      </a:lnTo>
                      <a:lnTo>
                        <a:pt x="595" y="2369"/>
                      </a:lnTo>
                      <a:lnTo>
                        <a:pt x="595" y="2369"/>
                      </a:lnTo>
                      <a:lnTo>
                        <a:pt x="595" y="2372"/>
                      </a:lnTo>
                      <a:lnTo>
                        <a:pt x="593" y="2373"/>
                      </a:lnTo>
                      <a:lnTo>
                        <a:pt x="590" y="2374"/>
                      </a:lnTo>
                      <a:lnTo>
                        <a:pt x="588" y="2375"/>
                      </a:lnTo>
                      <a:lnTo>
                        <a:pt x="581" y="2379"/>
                      </a:lnTo>
                      <a:lnTo>
                        <a:pt x="581" y="2379"/>
                      </a:lnTo>
                      <a:lnTo>
                        <a:pt x="579" y="2380"/>
                      </a:lnTo>
                      <a:lnTo>
                        <a:pt x="578" y="2381"/>
                      </a:lnTo>
                      <a:lnTo>
                        <a:pt x="576" y="2381"/>
                      </a:lnTo>
                      <a:lnTo>
                        <a:pt x="574" y="2385"/>
                      </a:lnTo>
                      <a:lnTo>
                        <a:pt x="573" y="2387"/>
                      </a:lnTo>
                      <a:lnTo>
                        <a:pt x="571" y="2390"/>
                      </a:lnTo>
                      <a:lnTo>
                        <a:pt x="571" y="2392"/>
                      </a:lnTo>
                      <a:lnTo>
                        <a:pt x="572" y="2393"/>
                      </a:lnTo>
                      <a:lnTo>
                        <a:pt x="573" y="2393"/>
                      </a:lnTo>
                      <a:lnTo>
                        <a:pt x="573" y="2394"/>
                      </a:lnTo>
                      <a:lnTo>
                        <a:pt x="573" y="2394"/>
                      </a:lnTo>
                      <a:lnTo>
                        <a:pt x="574" y="2395"/>
                      </a:lnTo>
                      <a:lnTo>
                        <a:pt x="574" y="2398"/>
                      </a:lnTo>
                      <a:lnTo>
                        <a:pt x="575" y="2398"/>
                      </a:lnTo>
                      <a:lnTo>
                        <a:pt x="575" y="2400"/>
                      </a:lnTo>
                      <a:lnTo>
                        <a:pt x="575" y="2400"/>
                      </a:lnTo>
                      <a:lnTo>
                        <a:pt x="575" y="2400"/>
                      </a:lnTo>
                      <a:lnTo>
                        <a:pt x="576" y="2403"/>
                      </a:lnTo>
                      <a:lnTo>
                        <a:pt x="575" y="2403"/>
                      </a:lnTo>
                      <a:lnTo>
                        <a:pt x="576" y="2405"/>
                      </a:lnTo>
                      <a:lnTo>
                        <a:pt x="575" y="2405"/>
                      </a:lnTo>
                      <a:lnTo>
                        <a:pt x="575" y="2406"/>
                      </a:lnTo>
                      <a:lnTo>
                        <a:pt x="577" y="2407"/>
                      </a:lnTo>
                      <a:lnTo>
                        <a:pt x="577" y="2408"/>
                      </a:lnTo>
                      <a:lnTo>
                        <a:pt x="578" y="2409"/>
                      </a:lnTo>
                      <a:lnTo>
                        <a:pt x="578" y="2410"/>
                      </a:lnTo>
                      <a:lnTo>
                        <a:pt x="578" y="2411"/>
                      </a:lnTo>
                      <a:lnTo>
                        <a:pt x="578" y="2411"/>
                      </a:lnTo>
                      <a:lnTo>
                        <a:pt x="580" y="2413"/>
                      </a:lnTo>
                      <a:lnTo>
                        <a:pt x="580" y="2414"/>
                      </a:lnTo>
                      <a:lnTo>
                        <a:pt x="580" y="2414"/>
                      </a:lnTo>
                      <a:lnTo>
                        <a:pt x="579" y="2414"/>
                      </a:lnTo>
                      <a:lnTo>
                        <a:pt x="579" y="2416"/>
                      </a:lnTo>
                      <a:lnTo>
                        <a:pt x="580" y="2416"/>
                      </a:lnTo>
                      <a:lnTo>
                        <a:pt x="580" y="2416"/>
                      </a:lnTo>
                      <a:lnTo>
                        <a:pt x="580" y="2419"/>
                      </a:lnTo>
                      <a:lnTo>
                        <a:pt x="581" y="2419"/>
                      </a:lnTo>
                      <a:lnTo>
                        <a:pt x="581" y="2421"/>
                      </a:lnTo>
                      <a:lnTo>
                        <a:pt x="582" y="2424"/>
                      </a:lnTo>
                      <a:lnTo>
                        <a:pt x="582" y="2424"/>
                      </a:lnTo>
                      <a:lnTo>
                        <a:pt x="583" y="2425"/>
                      </a:lnTo>
                      <a:lnTo>
                        <a:pt x="582" y="2425"/>
                      </a:lnTo>
                      <a:lnTo>
                        <a:pt x="582" y="2427"/>
                      </a:lnTo>
                      <a:lnTo>
                        <a:pt x="582" y="2428"/>
                      </a:lnTo>
                      <a:lnTo>
                        <a:pt x="582" y="2429"/>
                      </a:lnTo>
                      <a:lnTo>
                        <a:pt x="583" y="2429"/>
                      </a:lnTo>
                      <a:lnTo>
                        <a:pt x="585" y="2430"/>
                      </a:lnTo>
                      <a:lnTo>
                        <a:pt x="585" y="2431"/>
                      </a:lnTo>
                      <a:lnTo>
                        <a:pt x="585" y="2431"/>
                      </a:lnTo>
                      <a:lnTo>
                        <a:pt x="585" y="2432"/>
                      </a:lnTo>
                      <a:lnTo>
                        <a:pt x="586" y="2432"/>
                      </a:lnTo>
                      <a:lnTo>
                        <a:pt x="586" y="2431"/>
                      </a:lnTo>
                      <a:lnTo>
                        <a:pt x="587" y="2432"/>
                      </a:lnTo>
                      <a:lnTo>
                        <a:pt x="587" y="2433"/>
                      </a:lnTo>
                      <a:lnTo>
                        <a:pt x="588" y="2433"/>
                      </a:lnTo>
                      <a:lnTo>
                        <a:pt x="588" y="2434"/>
                      </a:lnTo>
                      <a:lnTo>
                        <a:pt x="589" y="2434"/>
                      </a:lnTo>
                      <a:lnTo>
                        <a:pt x="590" y="2435"/>
                      </a:lnTo>
                      <a:lnTo>
                        <a:pt x="591" y="2435"/>
                      </a:lnTo>
                      <a:lnTo>
                        <a:pt x="589" y="2437"/>
                      </a:lnTo>
                      <a:lnTo>
                        <a:pt x="588" y="2440"/>
                      </a:lnTo>
                      <a:lnTo>
                        <a:pt x="588" y="2441"/>
                      </a:lnTo>
                      <a:lnTo>
                        <a:pt x="589" y="2443"/>
                      </a:lnTo>
                      <a:lnTo>
                        <a:pt x="589" y="2444"/>
                      </a:lnTo>
                      <a:lnTo>
                        <a:pt x="588" y="2444"/>
                      </a:lnTo>
                      <a:lnTo>
                        <a:pt x="588" y="2444"/>
                      </a:lnTo>
                      <a:lnTo>
                        <a:pt x="588" y="2446"/>
                      </a:lnTo>
                      <a:lnTo>
                        <a:pt x="589" y="2448"/>
                      </a:lnTo>
                      <a:lnTo>
                        <a:pt x="589" y="2451"/>
                      </a:lnTo>
                      <a:lnTo>
                        <a:pt x="591" y="2452"/>
                      </a:lnTo>
                      <a:lnTo>
                        <a:pt x="593" y="2451"/>
                      </a:lnTo>
                      <a:lnTo>
                        <a:pt x="594" y="2452"/>
                      </a:lnTo>
                      <a:lnTo>
                        <a:pt x="594" y="2453"/>
                      </a:lnTo>
                      <a:lnTo>
                        <a:pt x="593" y="2453"/>
                      </a:lnTo>
                      <a:lnTo>
                        <a:pt x="591" y="2453"/>
                      </a:lnTo>
                      <a:lnTo>
                        <a:pt x="590" y="2454"/>
                      </a:lnTo>
                      <a:lnTo>
                        <a:pt x="589" y="2454"/>
                      </a:lnTo>
                      <a:lnTo>
                        <a:pt x="589" y="2453"/>
                      </a:lnTo>
                      <a:lnTo>
                        <a:pt x="588" y="2453"/>
                      </a:lnTo>
                      <a:lnTo>
                        <a:pt x="588" y="2452"/>
                      </a:lnTo>
                      <a:lnTo>
                        <a:pt x="587" y="2452"/>
                      </a:lnTo>
                      <a:lnTo>
                        <a:pt x="588" y="2452"/>
                      </a:lnTo>
                      <a:lnTo>
                        <a:pt x="588" y="2451"/>
                      </a:lnTo>
                      <a:lnTo>
                        <a:pt x="586" y="2452"/>
                      </a:lnTo>
                      <a:lnTo>
                        <a:pt x="583" y="2451"/>
                      </a:lnTo>
                      <a:lnTo>
                        <a:pt x="582" y="2450"/>
                      </a:lnTo>
                      <a:lnTo>
                        <a:pt x="579" y="2450"/>
                      </a:lnTo>
                      <a:lnTo>
                        <a:pt x="576" y="2448"/>
                      </a:lnTo>
                      <a:lnTo>
                        <a:pt x="576" y="2447"/>
                      </a:lnTo>
                      <a:lnTo>
                        <a:pt x="575" y="2447"/>
                      </a:lnTo>
                      <a:lnTo>
                        <a:pt x="574" y="2446"/>
                      </a:lnTo>
                      <a:lnTo>
                        <a:pt x="574" y="2445"/>
                      </a:lnTo>
                      <a:lnTo>
                        <a:pt x="573" y="2445"/>
                      </a:lnTo>
                      <a:lnTo>
                        <a:pt x="572" y="2443"/>
                      </a:lnTo>
                      <a:lnTo>
                        <a:pt x="570" y="2443"/>
                      </a:lnTo>
                      <a:lnTo>
                        <a:pt x="570" y="2442"/>
                      </a:lnTo>
                      <a:lnTo>
                        <a:pt x="570" y="2441"/>
                      </a:lnTo>
                      <a:lnTo>
                        <a:pt x="569" y="2438"/>
                      </a:lnTo>
                      <a:lnTo>
                        <a:pt x="570" y="2437"/>
                      </a:lnTo>
                      <a:lnTo>
                        <a:pt x="569" y="2437"/>
                      </a:lnTo>
                      <a:lnTo>
                        <a:pt x="569" y="2436"/>
                      </a:lnTo>
                      <a:lnTo>
                        <a:pt x="568" y="2435"/>
                      </a:lnTo>
                      <a:lnTo>
                        <a:pt x="568" y="2434"/>
                      </a:lnTo>
                      <a:lnTo>
                        <a:pt x="569" y="2433"/>
                      </a:lnTo>
                      <a:lnTo>
                        <a:pt x="568" y="2432"/>
                      </a:lnTo>
                      <a:lnTo>
                        <a:pt x="569" y="2432"/>
                      </a:lnTo>
                      <a:lnTo>
                        <a:pt x="569" y="2432"/>
                      </a:lnTo>
                      <a:lnTo>
                        <a:pt x="570" y="2432"/>
                      </a:lnTo>
                      <a:lnTo>
                        <a:pt x="572" y="2429"/>
                      </a:lnTo>
                      <a:lnTo>
                        <a:pt x="573" y="2429"/>
                      </a:lnTo>
                      <a:lnTo>
                        <a:pt x="574" y="2429"/>
                      </a:lnTo>
                      <a:lnTo>
                        <a:pt x="572" y="2428"/>
                      </a:lnTo>
                      <a:lnTo>
                        <a:pt x="572" y="2427"/>
                      </a:lnTo>
                      <a:lnTo>
                        <a:pt x="572" y="2427"/>
                      </a:lnTo>
                      <a:lnTo>
                        <a:pt x="571" y="2426"/>
                      </a:lnTo>
                      <a:lnTo>
                        <a:pt x="571" y="2425"/>
                      </a:lnTo>
                      <a:lnTo>
                        <a:pt x="570" y="2423"/>
                      </a:lnTo>
                      <a:lnTo>
                        <a:pt x="570" y="2422"/>
                      </a:lnTo>
                      <a:lnTo>
                        <a:pt x="570" y="2421"/>
                      </a:lnTo>
                      <a:lnTo>
                        <a:pt x="572" y="2420"/>
                      </a:lnTo>
                      <a:lnTo>
                        <a:pt x="572" y="2420"/>
                      </a:lnTo>
                      <a:lnTo>
                        <a:pt x="572" y="2419"/>
                      </a:lnTo>
                      <a:lnTo>
                        <a:pt x="571" y="2418"/>
                      </a:lnTo>
                      <a:lnTo>
                        <a:pt x="570" y="2418"/>
                      </a:lnTo>
                      <a:lnTo>
                        <a:pt x="567" y="2417"/>
                      </a:lnTo>
                      <a:lnTo>
                        <a:pt x="567" y="2417"/>
                      </a:lnTo>
                      <a:lnTo>
                        <a:pt x="566" y="2418"/>
                      </a:lnTo>
                      <a:lnTo>
                        <a:pt x="565" y="2417"/>
                      </a:lnTo>
                      <a:lnTo>
                        <a:pt x="564" y="2416"/>
                      </a:lnTo>
                      <a:lnTo>
                        <a:pt x="565" y="2415"/>
                      </a:lnTo>
                      <a:lnTo>
                        <a:pt x="565" y="2414"/>
                      </a:lnTo>
                      <a:lnTo>
                        <a:pt x="565" y="2414"/>
                      </a:lnTo>
                      <a:lnTo>
                        <a:pt x="565" y="2412"/>
                      </a:lnTo>
                      <a:lnTo>
                        <a:pt x="565" y="2412"/>
                      </a:lnTo>
                      <a:lnTo>
                        <a:pt x="566" y="2411"/>
                      </a:lnTo>
                      <a:lnTo>
                        <a:pt x="564" y="2411"/>
                      </a:lnTo>
                      <a:lnTo>
                        <a:pt x="564" y="2410"/>
                      </a:lnTo>
                      <a:lnTo>
                        <a:pt x="563" y="2410"/>
                      </a:lnTo>
                      <a:lnTo>
                        <a:pt x="563" y="2410"/>
                      </a:lnTo>
                      <a:lnTo>
                        <a:pt x="562" y="2410"/>
                      </a:lnTo>
                      <a:lnTo>
                        <a:pt x="562" y="2408"/>
                      </a:lnTo>
                      <a:lnTo>
                        <a:pt x="561" y="2408"/>
                      </a:lnTo>
                      <a:lnTo>
                        <a:pt x="562" y="2407"/>
                      </a:lnTo>
                      <a:lnTo>
                        <a:pt x="562" y="2407"/>
                      </a:lnTo>
                      <a:lnTo>
                        <a:pt x="562" y="2406"/>
                      </a:lnTo>
                      <a:lnTo>
                        <a:pt x="563" y="2407"/>
                      </a:lnTo>
                      <a:lnTo>
                        <a:pt x="563" y="2407"/>
                      </a:lnTo>
                      <a:lnTo>
                        <a:pt x="563" y="2404"/>
                      </a:lnTo>
                      <a:lnTo>
                        <a:pt x="563" y="2404"/>
                      </a:lnTo>
                      <a:lnTo>
                        <a:pt x="563" y="2403"/>
                      </a:lnTo>
                      <a:lnTo>
                        <a:pt x="561" y="2402"/>
                      </a:lnTo>
                      <a:lnTo>
                        <a:pt x="561" y="2400"/>
                      </a:lnTo>
                      <a:lnTo>
                        <a:pt x="560" y="2400"/>
                      </a:lnTo>
                      <a:lnTo>
                        <a:pt x="560" y="2399"/>
                      </a:lnTo>
                      <a:lnTo>
                        <a:pt x="561" y="2399"/>
                      </a:lnTo>
                      <a:lnTo>
                        <a:pt x="560" y="2398"/>
                      </a:lnTo>
                      <a:lnTo>
                        <a:pt x="559" y="2399"/>
                      </a:lnTo>
                      <a:lnTo>
                        <a:pt x="559" y="2399"/>
                      </a:lnTo>
                      <a:lnTo>
                        <a:pt x="559" y="2398"/>
                      </a:lnTo>
                      <a:lnTo>
                        <a:pt x="557" y="2398"/>
                      </a:lnTo>
                      <a:lnTo>
                        <a:pt x="556" y="2396"/>
                      </a:lnTo>
                      <a:lnTo>
                        <a:pt x="555" y="2396"/>
                      </a:lnTo>
                      <a:lnTo>
                        <a:pt x="555" y="2396"/>
                      </a:lnTo>
                      <a:lnTo>
                        <a:pt x="554" y="2395"/>
                      </a:lnTo>
                      <a:lnTo>
                        <a:pt x="554" y="2395"/>
                      </a:lnTo>
                      <a:lnTo>
                        <a:pt x="554" y="2393"/>
                      </a:lnTo>
                      <a:lnTo>
                        <a:pt x="555" y="2393"/>
                      </a:lnTo>
                      <a:lnTo>
                        <a:pt x="554" y="2391"/>
                      </a:lnTo>
                      <a:lnTo>
                        <a:pt x="553" y="2391"/>
                      </a:lnTo>
                      <a:lnTo>
                        <a:pt x="553" y="2391"/>
                      </a:lnTo>
                      <a:lnTo>
                        <a:pt x="553" y="2391"/>
                      </a:lnTo>
                      <a:lnTo>
                        <a:pt x="552" y="2391"/>
                      </a:lnTo>
                      <a:lnTo>
                        <a:pt x="552" y="2389"/>
                      </a:lnTo>
                      <a:lnTo>
                        <a:pt x="550" y="2389"/>
                      </a:lnTo>
                      <a:lnTo>
                        <a:pt x="548" y="2387"/>
                      </a:lnTo>
                      <a:lnTo>
                        <a:pt x="546" y="2387"/>
                      </a:lnTo>
                      <a:lnTo>
                        <a:pt x="545" y="2386"/>
                      </a:lnTo>
                      <a:lnTo>
                        <a:pt x="544" y="2383"/>
                      </a:lnTo>
                      <a:lnTo>
                        <a:pt x="543" y="2382"/>
                      </a:lnTo>
                      <a:lnTo>
                        <a:pt x="542" y="2383"/>
                      </a:lnTo>
                      <a:lnTo>
                        <a:pt x="542" y="2382"/>
                      </a:lnTo>
                      <a:lnTo>
                        <a:pt x="541" y="2382"/>
                      </a:lnTo>
                      <a:lnTo>
                        <a:pt x="540" y="2382"/>
                      </a:lnTo>
                      <a:lnTo>
                        <a:pt x="540" y="2380"/>
                      </a:lnTo>
                      <a:lnTo>
                        <a:pt x="538" y="2379"/>
                      </a:lnTo>
                      <a:lnTo>
                        <a:pt x="538" y="2378"/>
                      </a:lnTo>
                      <a:lnTo>
                        <a:pt x="536" y="2377"/>
                      </a:lnTo>
                      <a:lnTo>
                        <a:pt x="536" y="2376"/>
                      </a:lnTo>
                      <a:lnTo>
                        <a:pt x="536" y="2375"/>
                      </a:lnTo>
                      <a:lnTo>
                        <a:pt x="535" y="2375"/>
                      </a:lnTo>
                      <a:lnTo>
                        <a:pt x="533" y="2375"/>
                      </a:lnTo>
                      <a:lnTo>
                        <a:pt x="533" y="2373"/>
                      </a:lnTo>
                      <a:lnTo>
                        <a:pt x="532" y="2373"/>
                      </a:lnTo>
                      <a:lnTo>
                        <a:pt x="532" y="2371"/>
                      </a:lnTo>
                      <a:lnTo>
                        <a:pt x="532" y="2371"/>
                      </a:lnTo>
                      <a:lnTo>
                        <a:pt x="531" y="2370"/>
                      </a:lnTo>
                      <a:lnTo>
                        <a:pt x="532" y="2368"/>
                      </a:lnTo>
                      <a:lnTo>
                        <a:pt x="532" y="2367"/>
                      </a:lnTo>
                      <a:lnTo>
                        <a:pt x="532" y="2367"/>
                      </a:lnTo>
                      <a:lnTo>
                        <a:pt x="531" y="2366"/>
                      </a:lnTo>
                      <a:lnTo>
                        <a:pt x="530" y="2364"/>
                      </a:lnTo>
                      <a:lnTo>
                        <a:pt x="530" y="2362"/>
                      </a:lnTo>
                      <a:lnTo>
                        <a:pt x="529" y="2360"/>
                      </a:lnTo>
                      <a:lnTo>
                        <a:pt x="529" y="2359"/>
                      </a:lnTo>
                      <a:lnTo>
                        <a:pt x="528" y="2358"/>
                      </a:lnTo>
                      <a:lnTo>
                        <a:pt x="528" y="2358"/>
                      </a:lnTo>
                      <a:lnTo>
                        <a:pt x="528" y="2357"/>
                      </a:lnTo>
                      <a:lnTo>
                        <a:pt x="528" y="2356"/>
                      </a:lnTo>
                      <a:lnTo>
                        <a:pt x="527" y="2356"/>
                      </a:lnTo>
                      <a:lnTo>
                        <a:pt x="526" y="2355"/>
                      </a:lnTo>
                      <a:lnTo>
                        <a:pt x="526" y="2354"/>
                      </a:lnTo>
                      <a:lnTo>
                        <a:pt x="525" y="2354"/>
                      </a:lnTo>
                      <a:lnTo>
                        <a:pt x="525" y="2353"/>
                      </a:lnTo>
                      <a:lnTo>
                        <a:pt x="524" y="2351"/>
                      </a:lnTo>
                      <a:lnTo>
                        <a:pt x="524" y="2347"/>
                      </a:lnTo>
                      <a:lnTo>
                        <a:pt x="524" y="2344"/>
                      </a:lnTo>
                      <a:lnTo>
                        <a:pt x="524" y="2342"/>
                      </a:lnTo>
                      <a:lnTo>
                        <a:pt x="524" y="2338"/>
                      </a:lnTo>
                      <a:lnTo>
                        <a:pt x="525" y="2332"/>
                      </a:lnTo>
                      <a:lnTo>
                        <a:pt x="525" y="2331"/>
                      </a:lnTo>
                      <a:lnTo>
                        <a:pt x="525" y="2331"/>
                      </a:lnTo>
                      <a:lnTo>
                        <a:pt x="525" y="2330"/>
                      </a:lnTo>
                      <a:lnTo>
                        <a:pt x="523" y="2330"/>
                      </a:lnTo>
                      <a:lnTo>
                        <a:pt x="523" y="2329"/>
                      </a:lnTo>
                      <a:lnTo>
                        <a:pt x="524" y="2327"/>
                      </a:lnTo>
                      <a:lnTo>
                        <a:pt x="525" y="2323"/>
                      </a:lnTo>
                      <a:lnTo>
                        <a:pt x="526" y="2323"/>
                      </a:lnTo>
                      <a:lnTo>
                        <a:pt x="526" y="2323"/>
                      </a:lnTo>
                      <a:lnTo>
                        <a:pt x="526" y="2321"/>
                      </a:lnTo>
                      <a:lnTo>
                        <a:pt x="527" y="2319"/>
                      </a:lnTo>
                      <a:lnTo>
                        <a:pt x="527" y="2319"/>
                      </a:lnTo>
                      <a:lnTo>
                        <a:pt x="528" y="2318"/>
                      </a:lnTo>
                      <a:lnTo>
                        <a:pt x="528" y="2317"/>
                      </a:lnTo>
                      <a:lnTo>
                        <a:pt x="528" y="2317"/>
                      </a:lnTo>
                      <a:lnTo>
                        <a:pt x="529" y="2316"/>
                      </a:lnTo>
                      <a:lnTo>
                        <a:pt x="531" y="2316"/>
                      </a:lnTo>
                      <a:lnTo>
                        <a:pt x="531" y="2316"/>
                      </a:lnTo>
                      <a:lnTo>
                        <a:pt x="532" y="2316"/>
                      </a:lnTo>
                      <a:lnTo>
                        <a:pt x="532" y="2317"/>
                      </a:lnTo>
                      <a:lnTo>
                        <a:pt x="532" y="2317"/>
                      </a:lnTo>
                      <a:lnTo>
                        <a:pt x="533" y="2317"/>
                      </a:lnTo>
                      <a:lnTo>
                        <a:pt x="534" y="2316"/>
                      </a:lnTo>
                      <a:lnTo>
                        <a:pt x="536" y="2315"/>
                      </a:lnTo>
                      <a:lnTo>
                        <a:pt x="536" y="2314"/>
                      </a:lnTo>
                      <a:lnTo>
                        <a:pt x="538" y="2313"/>
                      </a:lnTo>
                      <a:lnTo>
                        <a:pt x="540" y="2313"/>
                      </a:lnTo>
                      <a:lnTo>
                        <a:pt x="542" y="2313"/>
                      </a:lnTo>
                      <a:lnTo>
                        <a:pt x="543" y="2314"/>
                      </a:lnTo>
                      <a:lnTo>
                        <a:pt x="544" y="2317"/>
                      </a:lnTo>
                      <a:lnTo>
                        <a:pt x="544" y="2318"/>
                      </a:lnTo>
                      <a:lnTo>
                        <a:pt x="544" y="2319"/>
                      </a:lnTo>
                      <a:lnTo>
                        <a:pt x="544" y="2319"/>
                      </a:lnTo>
                      <a:lnTo>
                        <a:pt x="545" y="2319"/>
                      </a:lnTo>
                      <a:lnTo>
                        <a:pt x="546" y="2321"/>
                      </a:lnTo>
                      <a:lnTo>
                        <a:pt x="546" y="2323"/>
                      </a:lnTo>
                      <a:lnTo>
                        <a:pt x="548" y="2323"/>
                      </a:lnTo>
                      <a:lnTo>
                        <a:pt x="548" y="2326"/>
                      </a:lnTo>
                      <a:lnTo>
                        <a:pt x="548" y="2327"/>
                      </a:lnTo>
                      <a:lnTo>
                        <a:pt x="548" y="2328"/>
                      </a:lnTo>
                      <a:lnTo>
                        <a:pt x="549" y="2330"/>
                      </a:lnTo>
                      <a:lnTo>
                        <a:pt x="549" y="2331"/>
                      </a:lnTo>
                      <a:lnTo>
                        <a:pt x="551" y="2333"/>
                      </a:lnTo>
                      <a:lnTo>
                        <a:pt x="551" y="2333"/>
                      </a:lnTo>
                      <a:lnTo>
                        <a:pt x="551" y="2333"/>
                      </a:lnTo>
                      <a:lnTo>
                        <a:pt x="551" y="2333"/>
                      </a:lnTo>
                      <a:lnTo>
                        <a:pt x="550" y="2332"/>
                      </a:lnTo>
                      <a:lnTo>
                        <a:pt x="549" y="2332"/>
                      </a:lnTo>
                      <a:lnTo>
                        <a:pt x="548" y="2333"/>
                      </a:lnTo>
                      <a:lnTo>
                        <a:pt x="548" y="2335"/>
                      </a:lnTo>
                      <a:lnTo>
                        <a:pt x="548" y="2336"/>
                      </a:lnTo>
                      <a:lnTo>
                        <a:pt x="549" y="2337"/>
                      </a:lnTo>
                      <a:lnTo>
                        <a:pt x="548" y="2337"/>
                      </a:lnTo>
                      <a:lnTo>
                        <a:pt x="548" y="2338"/>
                      </a:lnTo>
                      <a:lnTo>
                        <a:pt x="549" y="2340"/>
                      </a:lnTo>
                      <a:lnTo>
                        <a:pt x="548" y="2342"/>
                      </a:lnTo>
                      <a:lnTo>
                        <a:pt x="549" y="2343"/>
                      </a:lnTo>
                      <a:lnTo>
                        <a:pt x="549" y="2344"/>
                      </a:lnTo>
                      <a:lnTo>
                        <a:pt x="549" y="2345"/>
                      </a:lnTo>
                      <a:lnTo>
                        <a:pt x="549" y="2346"/>
                      </a:lnTo>
                      <a:lnTo>
                        <a:pt x="550" y="2347"/>
                      </a:lnTo>
                      <a:lnTo>
                        <a:pt x="551" y="2348"/>
                      </a:lnTo>
                      <a:lnTo>
                        <a:pt x="553" y="2350"/>
                      </a:lnTo>
                      <a:lnTo>
                        <a:pt x="555" y="2352"/>
                      </a:lnTo>
                      <a:lnTo>
                        <a:pt x="556" y="2353"/>
                      </a:lnTo>
                      <a:lnTo>
                        <a:pt x="556" y="2353"/>
                      </a:lnTo>
                      <a:lnTo>
                        <a:pt x="557" y="2353"/>
                      </a:lnTo>
                      <a:lnTo>
                        <a:pt x="557" y="2354"/>
                      </a:lnTo>
                      <a:lnTo>
                        <a:pt x="558" y="2354"/>
                      </a:lnTo>
                      <a:lnTo>
                        <a:pt x="558" y="2354"/>
                      </a:lnTo>
                      <a:lnTo>
                        <a:pt x="557" y="2353"/>
                      </a:lnTo>
                      <a:lnTo>
                        <a:pt x="557" y="2353"/>
                      </a:lnTo>
                      <a:lnTo>
                        <a:pt x="557" y="2352"/>
                      </a:lnTo>
                      <a:lnTo>
                        <a:pt x="558" y="2353"/>
                      </a:lnTo>
                      <a:lnTo>
                        <a:pt x="558" y="2353"/>
                      </a:lnTo>
                      <a:lnTo>
                        <a:pt x="558" y="2354"/>
                      </a:lnTo>
                      <a:lnTo>
                        <a:pt x="560" y="2354"/>
                      </a:lnTo>
                      <a:lnTo>
                        <a:pt x="562" y="2352"/>
                      </a:lnTo>
                      <a:lnTo>
                        <a:pt x="563" y="2351"/>
                      </a:lnTo>
                      <a:lnTo>
                        <a:pt x="564" y="2350"/>
                      </a:lnTo>
                      <a:lnTo>
                        <a:pt x="565" y="2350"/>
                      </a:lnTo>
                      <a:lnTo>
                        <a:pt x="565" y="2349"/>
                      </a:lnTo>
                      <a:lnTo>
                        <a:pt x="564" y="2349"/>
                      </a:lnTo>
                      <a:lnTo>
                        <a:pt x="564" y="2348"/>
                      </a:lnTo>
                      <a:lnTo>
                        <a:pt x="564" y="2347"/>
                      </a:lnTo>
                      <a:lnTo>
                        <a:pt x="564" y="2346"/>
                      </a:lnTo>
                      <a:lnTo>
                        <a:pt x="563" y="2343"/>
                      </a:lnTo>
                      <a:lnTo>
                        <a:pt x="562" y="2342"/>
                      </a:lnTo>
                      <a:lnTo>
                        <a:pt x="562" y="2341"/>
                      </a:lnTo>
                      <a:lnTo>
                        <a:pt x="562" y="2341"/>
                      </a:lnTo>
                      <a:lnTo>
                        <a:pt x="561" y="2340"/>
                      </a:lnTo>
                      <a:lnTo>
                        <a:pt x="561" y="2339"/>
                      </a:lnTo>
                      <a:lnTo>
                        <a:pt x="561" y="2338"/>
                      </a:lnTo>
                      <a:lnTo>
                        <a:pt x="561" y="2338"/>
                      </a:lnTo>
                      <a:lnTo>
                        <a:pt x="561" y="2337"/>
                      </a:lnTo>
                      <a:lnTo>
                        <a:pt x="560" y="2335"/>
                      </a:lnTo>
                      <a:lnTo>
                        <a:pt x="560" y="2334"/>
                      </a:lnTo>
                      <a:lnTo>
                        <a:pt x="559" y="2334"/>
                      </a:lnTo>
                      <a:lnTo>
                        <a:pt x="559" y="2334"/>
                      </a:lnTo>
                      <a:lnTo>
                        <a:pt x="559" y="2333"/>
                      </a:lnTo>
                      <a:lnTo>
                        <a:pt x="559" y="2333"/>
                      </a:lnTo>
                      <a:lnTo>
                        <a:pt x="559" y="2333"/>
                      </a:lnTo>
                      <a:lnTo>
                        <a:pt x="559" y="2331"/>
                      </a:lnTo>
                      <a:lnTo>
                        <a:pt x="557" y="2330"/>
                      </a:lnTo>
                      <a:lnTo>
                        <a:pt x="557" y="2330"/>
                      </a:lnTo>
                      <a:lnTo>
                        <a:pt x="558" y="2332"/>
                      </a:lnTo>
                      <a:lnTo>
                        <a:pt x="556" y="2330"/>
                      </a:lnTo>
                      <a:lnTo>
                        <a:pt x="556" y="2329"/>
                      </a:lnTo>
                      <a:lnTo>
                        <a:pt x="556" y="2327"/>
                      </a:lnTo>
                      <a:lnTo>
                        <a:pt x="555" y="2326"/>
                      </a:lnTo>
                      <a:lnTo>
                        <a:pt x="555" y="2323"/>
                      </a:lnTo>
                      <a:lnTo>
                        <a:pt x="555" y="2323"/>
                      </a:lnTo>
                      <a:lnTo>
                        <a:pt x="554" y="2321"/>
                      </a:lnTo>
                      <a:lnTo>
                        <a:pt x="552" y="2317"/>
                      </a:lnTo>
                      <a:lnTo>
                        <a:pt x="552" y="2315"/>
                      </a:lnTo>
                      <a:lnTo>
                        <a:pt x="551" y="2316"/>
                      </a:lnTo>
                      <a:lnTo>
                        <a:pt x="551" y="2315"/>
                      </a:lnTo>
                      <a:lnTo>
                        <a:pt x="551" y="2313"/>
                      </a:lnTo>
                      <a:lnTo>
                        <a:pt x="550" y="2309"/>
                      </a:lnTo>
                      <a:lnTo>
                        <a:pt x="550" y="2308"/>
                      </a:lnTo>
                      <a:lnTo>
                        <a:pt x="551" y="2304"/>
                      </a:lnTo>
                      <a:lnTo>
                        <a:pt x="551" y="2301"/>
                      </a:lnTo>
                      <a:lnTo>
                        <a:pt x="552" y="2299"/>
                      </a:lnTo>
                      <a:lnTo>
                        <a:pt x="553" y="2298"/>
                      </a:lnTo>
                      <a:lnTo>
                        <a:pt x="553" y="2298"/>
                      </a:lnTo>
                      <a:lnTo>
                        <a:pt x="555" y="2294"/>
                      </a:lnTo>
                      <a:lnTo>
                        <a:pt x="556" y="2291"/>
                      </a:lnTo>
                      <a:lnTo>
                        <a:pt x="557" y="2290"/>
                      </a:lnTo>
                      <a:lnTo>
                        <a:pt x="557" y="2290"/>
                      </a:lnTo>
                      <a:lnTo>
                        <a:pt x="558" y="2289"/>
                      </a:lnTo>
                      <a:lnTo>
                        <a:pt x="559" y="2288"/>
                      </a:lnTo>
                      <a:lnTo>
                        <a:pt x="560" y="2286"/>
                      </a:lnTo>
                      <a:lnTo>
                        <a:pt x="560" y="2281"/>
                      </a:lnTo>
                      <a:lnTo>
                        <a:pt x="560" y="2281"/>
                      </a:lnTo>
                      <a:lnTo>
                        <a:pt x="561" y="2280"/>
                      </a:lnTo>
                      <a:lnTo>
                        <a:pt x="561" y="2281"/>
                      </a:lnTo>
                      <a:lnTo>
                        <a:pt x="562" y="2280"/>
                      </a:lnTo>
                      <a:lnTo>
                        <a:pt x="562" y="2280"/>
                      </a:lnTo>
                      <a:lnTo>
                        <a:pt x="562" y="2280"/>
                      </a:lnTo>
                      <a:lnTo>
                        <a:pt x="562" y="2280"/>
                      </a:lnTo>
                      <a:lnTo>
                        <a:pt x="563" y="2272"/>
                      </a:lnTo>
                      <a:lnTo>
                        <a:pt x="563" y="2269"/>
                      </a:lnTo>
                      <a:lnTo>
                        <a:pt x="563" y="2268"/>
                      </a:lnTo>
                      <a:lnTo>
                        <a:pt x="564" y="2268"/>
                      </a:lnTo>
                      <a:lnTo>
                        <a:pt x="564" y="2267"/>
                      </a:lnTo>
                      <a:lnTo>
                        <a:pt x="564" y="2267"/>
                      </a:lnTo>
                      <a:lnTo>
                        <a:pt x="565" y="2266"/>
                      </a:lnTo>
                      <a:lnTo>
                        <a:pt x="566" y="2265"/>
                      </a:lnTo>
                      <a:lnTo>
                        <a:pt x="567" y="2265"/>
                      </a:lnTo>
                      <a:lnTo>
                        <a:pt x="567" y="2264"/>
                      </a:lnTo>
                      <a:lnTo>
                        <a:pt x="570" y="2262"/>
                      </a:lnTo>
                      <a:lnTo>
                        <a:pt x="570" y="2262"/>
                      </a:lnTo>
                      <a:lnTo>
                        <a:pt x="571" y="2262"/>
                      </a:lnTo>
                      <a:lnTo>
                        <a:pt x="572" y="2261"/>
                      </a:lnTo>
                      <a:lnTo>
                        <a:pt x="573" y="2260"/>
                      </a:lnTo>
                      <a:lnTo>
                        <a:pt x="573" y="2260"/>
                      </a:lnTo>
                      <a:lnTo>
                        <a:pt x="574" y="2260"/>
                      </a:lnTo>
                      <a:lnTo>
                        <a:pt x="575" y="2258"/>
                      </a:lnTo>
                      <a:lnTo>
                        <a:pt x="576" y="2257"/>
                      </a:lnTo>
                      <a:lnTo>
                        <a:pt x="577" y="2255"/>
                      </a:lnTo>
                      <a:lnTo>
                        <a:pt x="578" y="2252"/>
                      </a:lnTo>
                      <a:lnTo>
                        <a:pt x="579" y="2250"/>
                      </a:lnTo>
                      <a:lnTo>
                        <a:pt x="580" y="2248"/>
                      </a:lnTo>
                      <a:lnTo>
                        <a:pt x="581" y="2246"/>
                      </a:lnTo>
                      <a:lnTo>
                        <a:pt x="582" y="2246"/>
                      </a:lnTo>
                      <a:lnTo>
                        <a:pt x="582" y="2245"/>
                      </a:lnTo>
                      <a:lnTo>
                        <a:pt x="585" y="2243"/>
                      </a:lnTo>
                      <a:lnTo>
                        <a:pt x="585" y="2243"/>
                      </a:lnTo>
                      <a:lnTo>
                        <a:pt x="585" y="2242"/>
                      </a:lnTo>
                      <a:lnTo>
                        <a:pt x="587" y="2241"/>
                      </a:lnTo>
                      <a:lnTo>
                        <a:pt x="588" y="2241"/>
                      </a:lnTo>
                      <a:lnTo>
                        <a:pt x="588" y="2240"/>
                      </a:lnTo>
                      <a:lnTo>
                        <a:pt x="589" y="2239"/>
                      </a:lnTo>
                      <a:lnTo>
                        <a:pt x="590" y="2240"/>
                      </a:lnTo>
                      <a:lnTo>
                        <a:pt x="590" y="2239"/>
                      </a:lnTo>
                      <a:lnTo>
                        <a:pt x="591" y="2238"/>
                      </a:lnTo>
                      <a:lnTo>
                        <a:pt x="591" y="2237"/>
                      </a:lnTo>
                      <a:lnTo>
                        <a:pt x="592" y="2236"/>
                      </a:lnTo>
                      <a:lnTo>
                        <a:pt x="592" y="2234"/>
                      </a:lnTo>
                      <a:lnTo>
                        <a:pt x="592" y="2232"/>
                      </a:lnTo>
                      <a:lnTo>
                        <a:pt x="592" y="2232"/>
                      </a:lnTo>
                      <a:lnTo>
                        <a:pt x="592" y="2229"/>
                      </a:lnTo>
                      <a:lnTo>
                        <a:pt x="592" y="2227"/>
                      </a:lnTo>
                      <a:lnTo>
                        <a:pt x="593" y="2227"/>
                      </a:lnTo>
                      <a:lnTo>
                        <a:pt x="593" y="2226"/>
                      </a:lnTo>
                      <a:lnTo>
                        <a:pt x="593" y="2226"/>
                      </a:lnTo>
                      <a:lnTo>
                        <a:pt x="595" y="2220"/>
                      </a:lnTo>
                      <a:lnTo>
                        <a:pt x="595" y="2219"/>
                      </a:lnTo>
                      <a:lnTo>
                        <a:pt x="596" y="2219"/>
                      </a:lnTo>
                      <a:lnTo>
                        <a:pt x="596" y="2219"/>
                      </a:lnTo>
                      <a:lnTo>
                        <a:pt x="597" y="2218"/>
                      </a:lnTo>
                      <a:lnTo>
                        <a:pt x="597" y="2213"/>
                      </a:lnTo>
                      <a:lnTo>
                        <a:pt x="597" y="2211"/>
                      </a:lnTo>
                      <a:lnTo>
                        <a:pt x="596" y="2208"/>
                      </a:lnTo>
                      <a:lnTo>
                        <a:pt x="597" y="2207"/>
                      </a:lnTo>
                      <a:lnTo>
                        <a:pt x="597" y="2207"/>
                      </a:lnTo>
                      <a:lnTo>
                        <a:pt x="597" y="2205"/>
                      </a:lnTo>
                      <a:lnTo>
                        <a:pt x="597" y="2203"/>
                      </a:lnTo>
                      <a:lnTo>
                        <a:pt x="596" y="2201"/>
                      </a:lnTo>
                      <a:lnTo>
                        <a:pt x="595" y="2200"/>
                      </a:lnTo>
                      <a:lnTo>
                        <a:pt x="596" y="2198"/>
                      </a:lnTo>
                      <a:lnTo>
                        <a:pt x="598" y="2197"/>
                      </a:lnTo>
                      <a:lnTo>
                        <a:pt x="599" y="2197"/>
                      </a:lnTo>
                      <a:lnTo>
                        <a:pt x="600" y="2196"/>
                      </a:lnTo>
                      <a:lnTo>
                        <a:pt x="601" y="2196"/>
                      </a:lnTo>
                      <a:lnTo>
                        <a:pt x="603" y="2194"/>
                      </a:lnTo>
                      <a:lnTo>
                        <a:pt x="603" y="2192"/>
                      </a:lnTo>
                      <a:lnTo>
                        <a:pt x="604" y="2191"/>
                      </a:lnTo>
                      <a:lnTo>
                        <a:pt x="605" y="2190"/>
                      </a:lnTo>
                      <a:lnTo>
                        <a:pt x="606" y="2189"/>
                      </a:lnTo>
                      <a:lnTo>
                        <a:pt x="607" y="2189"/>
                      </a:lnTo>
                      <a:lnTo>
                        <a:pt x="608" y="2189"/>
                      </a:lnTo>
                      <a:lnTo>
                        <a:pt x="608" y="2188"/>
                      </a:lnTo>
                      <a:lnTo>
                        <a:pt x="609" y="2188"/>
                      </a:lnTo>
                      <a:lnTo>
                        <a:pt x="609" y="2188"/>
                      </a:lnTo>
                      <a:lnTo>
                        <a:pt x="610" y="2188"/>
                      </a:lnTo>
                      <a:lnTo>
                        <a:pt x="610" y="2187"/>
                      </a:lnTo>
                      <a:lnTo>
                        <a:pt x="611" y="2183"/>
                      </a:lnTo>
                      <a:lnTo>
                        <a:pt x="610" y="2180"/>
                      </a:lnTo>
                      <a:lnTo>
                        <a:pt x="611" y="2179"/>
                      </a:lnTo>
                      <a:lnTo>
                        <a:pt x="610" y="2177"/>
                      </a:lnTo>
                      <a:lnTo>
                        <a:pt x="610" y="2175"/>
                      </a:lnTo>
                      <a:lnTo>
                        <a:pt x="611" y="2172"/>
                      </a:lnTo>
                      <a:lnTo>
                        <a:pt x="611" y="2172"/>
                      </a:lnTo>
                      <a:lnTo>
                        <a:pt x="611" y="2171"/>
                      </a:lnTo>
                      <a:lnTo>
                        <a:pt x="611" y="2171"/>
                      </a:lnTo>
                      <a:lnTo>
                        <a:pt x="612" y="2171"/>
                      </a:lnTo>
                      <a:lnTo>
                        <a:pt x="612" y="2170"/>
                      </a:lnTo>
                      <a:lnTo>
                        <a:pt x="613" y="2170"/>
                      </a:lnTo>
                      <a:lnTo>
                        <a:pt x="613" y="2169"/>
                      </a:lnTo>
                      <a:lnTo>
                        <a:pt x="613" y="2169"/>
                      </a:lnTo>
                      <a:lnTo>
                        <a:pt x="614" y="2167"/>
                      </a:lnTo>
                      <a:lnTo>
                        <a:pt x="616" y="2164"/>
                      </a:lnTo>
                      <a:lnTo>
                        <a:pt x="619" y="2162"/>
                      </a:lnTo>
                      <a:lnTo>
                        <a:pt x="621" y="2162"/>
                      </a:lnTo>
                      <a:lnTo>
                        <a:pt x="621" y="2162"/>
                      </a:lnTo>
                      <a:lnTo>
                        <a:pt x="623" y="2161"/>
                      </a:lnTo>
                      <a:lnTo>
                        <a:pt x="623" y="2160"/>
                      </a:lnTo>
                      <a:lnTo>
                        <a:pt x="624" y="2160"/>
                      </a:lnTo>
                      <a:lnTo>
                        <a:pt x="625" y="2160"/>
                      </a:lnTo>
                      <a:lnTo>
                        <a:pt x="626" y="2159"/>
                      </a:lnTo>
                      <a:lnTo>
                        <a:pt x="628" y="2160"/>
                      </a:lnTo>
                      <a:lnTo>
                        <a:pt x="629" y="2160"/>
                      </a:lnTo>
                      <a:lnTo>
                        <a:pt x="631" y="2158"/>
                      </a:lnTo>
                      <a:lnTo>
                        <a:pt x="632" y="2158"/>
                      </a:lnTo>
                      <a:lnTo>
                        <a:pt x="635" y="2158"/>
                      </a:lnTo>
                      <a:lnTo>
                        <a:pt x="636" y="2156"/>
                      </a:lnTo>
                      <a:lnTo>
                        <a:pt x="637" y="2154"/>
                      </a:lnTo>
                      <a:lnTo>
                        <a:pt x="638" y="2151"/>
                      </a:lnTo>
                      <a:lnTo>
                        <a:pt x="638" y="2147"/>
                      </a:lnTo>
                      <a:lnTo>
                        <a:pt x="638" y="2146"/>
                      </a:lnTo>
                      <a:lnTo>
                        <a:pt x="640" y="2145"/>
                      </a:lnTo>
                      <a:lnTo>
                        <a:pt x="641" y="2144"/>
                      </a:lnTo>
                      <a:lnTo>
                        <a:pt x="641" y="2139"/>
                      </a:lnTo>
                      <a:lnTo>
                        <a:pt x="643" y="2139"/>
                      </a:lnTo>
                      <a:lnTo>
                        <a:pt x="643" y="2135"/>
                      </a:lnTo>
                      <a:lnTo>
                        <a:pt x="642" y="2131"/>
                      </a:lnTo>
                      <a:lnTo>
                        <a:pt x="640" y="2128"/>
                      </a:lnTo>
                      <a:lnTo>
                        <a:pt x="638" y="2126"/>
                      </a:lnTo>
                      <a:lnTo>
                        <a:pt x="637" y="2125"/>
                      </a:lnTo>
                      <a:lnTo>
                        <a:pt x="636" y="2123"/>
                      </a:lnTo>
                      <a:lnTo>
                        <a:pt x="635" y="2120"/>
                      </a:lnTo>
                      <a:lnTo>
                        <a:pt x="633" y="2120"/>
                      </a:lnTo>
                      <a:lnTo>
                        <a:pt x="632" y="2121"/>
                      </a:lnTo>
                      <a:lnTo>
                        <a:pt x="630" y="2120"/>
                      </a:lnTo>
                      <a:lnTo>
                        <a:pt x="630" y="2119"/>
                      </a:lnTo>
                      <a:lnTo>
                        <a:pt x="629" y="2119"/>
                      </a:lnTo>
                      <a:lnTo>
                        <a:pt x="629" y="2117"/>
                      </a:lnTo>
                      <a:lnTo>
                        <a:pt x="630" y="2117"/>
                      </a:lnTo>
                      <a:lnTo>
                        <a:pt x="630" y="2117"/>
                      </a:lnTo>
                      <a:lnTo>
                        <a:pt x="630" y="2118"/>
                      </a:lnTo>
                      <a:lnTo>
                        <a:pt x="630" y="2117"/>
                      </a:lnTo>
                      <a:lnTo>
                        <a:pt x="631" y="2118"/>
                      </a:lnTo>
                      <a:lnTo>
                        <a:pt x="631" y="2118"/>
                      </a:lnTo>
                      <a:lnTo>
                        <a:pt x="632" y="2118"/>
                      </a:lnTo>
                      <a:lnTo>
                        <a:pt x="634" y="2118"/>
                      </a:lnTo>
                      <a:lnTo>
                        <a:pt x="634" y="2118"/>
                      </a:lnTo>
                      <a:lnTo>
                        <a:pt x="635" y="2118"/>
                      </a:lnTo>
                      <a:lnTo>
                        <a:pt x="635" y="2115"/>
                      </a:lnTo>
                      <a:lnTo>
                        <a:pt x="635" y="2110"/>
                      </a:lnTo>
                      <a:lnTo>
                        <a:pt x="635" y="2110"/>
                      </a:lnTo>
                      <a:lnTo>
                        <a:pt x="635" y="2109"/>
                      </a:lnTo>
                      <a:lnTo>
                        <a:pt x="635" y="2109"/>
                      </a:lnTo>
                      <a:lnTo>
                        <a:pt x="635" y="2108"/>
                      </a:lnTo>
                      <a:lnTo>
                        <a:pt x="635" y="2107"/>
                      </a:lnTo>
                      <a:lnTo>
                        <a:pt x="634" y="2106"/>
                      </a:lnTo>
                      <a:lnTo>
                        <a:pt x="634" y="2106"/>
                      </a:lnTo>
                      <a:lnTo>
                        <a:pt x="634" y="2105"/>
                      </a:lnTo>
                      <a:lnTo>
                        <a:pt x="634" y="2104"/>
                      </a:lnTo>
                      <a:lnTo>
                        <a:pt x="633" y="2104"/>
                      </a:lnTo>
                      <a:lnTo>
                        <a:pt x="633" y="2103"/>
                      </a:lnTo>
                      <a:lnTo>
                        <a:pt x="632" y="2102"/>
                      </a:lnTo>
                      <a:lnTo>
                        <a:pt x="632" y="2102"/>
                      </a:lnTo>
                      <a:lnTo>
                        <a:pt x="629" y="2097"/>
                      </a:lnTo>
                      <a:lnTo>
                        <a:pt x="627" y="2096"/>
                      </a:lnTo>
                      <a:lnTo>
                        <a:pt x="627" y="2095"/>
                      </a:lnTo>
                      <a:lnTo>
                        <a:pt x="628" y="2095"/>
                      </a:lnTo>
                      <a:lnTo>
                        <a:pt x="629" y="2094"/>
                      </a:lnTo>
                      <a:lnTo>
                        <a:pt x="629" y="2092"/>
                      </a:lnTo>
                      <a:lnTo>
                        <a:pt x="627" y="2091"/>
                      </a:lnTo>
                      <a:lnTo>
                        <a:pt x="626" y="2091"/>
                      </a:lnTo>
                      <a:lnTo>
                        <a:pt x="624" y="2086"/>
                      </a:lnTo>
                      <a:lnTo>
                        <a:pt x="623" y="2086"/>
                      </a:lnTo>
                      <a:lnTo>
                        <a:pt x="625" y="2090"/>
                      </a:lnTo>
                      <a:lnTo>
                        <a:pt x="628" y="2093"/>
                      </a:lnTo>
                      <a:lnTo>
                        <a:pt x="628" y="2095"/>
                      </a:lnTo>
                      <a:lnTo>
                        <a:pt x="627" y="2095"/>
                      </a:lnTo>
                      <a:lnTo>
                        <a:pt x="627" y="2096"/>
                      </a:lnTo>
                      <a:lnTo>
                        <a:pt x="627" y="2095"/>
                      </a:lnTo>
                      <a:lnTo>
                        <a:pt x="627" y="2095"/>
                      </a:lnTo>
                      <a:lnTo>
                        <a:pt x="625" y="2095"/>
                      </a:lnTo>
                      <a:lnTo>
                        <a:pt x="623" y="2092"/>
                      </a:lnTo>
                      <a:lnTo>
                        <a:pt x="619" y="2090"/>
                      </a:lnTo>
                      <a:lnTo>
                        <a:pt x="617" y="2089"/>
                      </a:lnTo>
                      <a:lnTo>
                        <a:pt x="616" y="2089"/>
                      </a:lnTo>
                      <a:lnTo>
                        <a:pt x="615" y="2089"/>
                      </a:lnTo>
                      <a:lnTo>
                        <a:pt x="615" y="2087"/>
                      </a:lnTo>
                      <a:lnTo>
                        <a:pt x="614" y="2087"/>
                      </a:lnTo>
                      <a:lnTo>
                        <a:pt x="614" y="2086"/>
                      </a:lnTo>
                      <a:lnTo>
                        <a:pt x="613" y="2087"/>
                      </a:lnTo>
                      <a:lnTo>
                        <a:pt x="612" y="2086"/>
                      </a:lnTo>
                      <a:lnTo>
                        <a:pt x="609" y="2086"/>
                      </a:lnTo>
                      <a:lnTo>
                        <a:pt x="608" y="2086"/>
                      </a:lnTo>
                      <a:lnTo>
                        <a:pt x="608" y="2087"/>
                      </a:lnTo>
                      <a:lnTo>
                        <a:pt x="607" y="2087"/>
                      </a:lnTo>
                      <a:lnTo>
                        <a:pt x="605" y="2087"/>
                      </a:lnTo>
                      <a:lnTo>
                        <a:pt x="605" y="2086"/>
                      </a:lnTo>
                      <a:lnTo>
                        <a:pt x="605" y="2086"/>
                      </a:lnTo>
                      <a:lnTo>
                        <a:pt x="605" y="2085"/>
                      </a:lnTo>
                      <a:lnTo>
                        <a:pt x="605" y="2084"/>
                      </a:lnTo>
                      <a:lnTo>
                        <a:pt x="604" y="2083"/>
                      </a:lnTo>
                      <a:lnTo>
                        <a:pt x="603" y="2083"/>
                      </a:lnTo>
                      <a:lnTo>
                        <a:pt x="603" y="2084"/>
                      </a:lnTo>
                      <a:lnTo>
                        <a:pt x="602" y="2084"/>
                      </a:lnTo>
                      <a:lnTo>
                        <a:pt x="601" y="2085"/>
                      </a:lnTo>
                      <a:lnTo>
                        <a:pt x="601" y="2085"/>
                      </a:lnTo>
                      <a:lnTo>
                        <a:pt x="600" y="2085"/>
                      </a:lnTo>
                      <a:lnTo>
                        <a:pt x="600" y="2083"/>
                      </a:lnTo>
                      <a:lnTo>
                        <a:pt x="600" y="2083"/>
                      </a:lnTo>
                      <a:lnTo>
                        <a:pt x="600" y="2082"/>
                      </a:lnTo>
                      <a:lnTo>
                        <a:pt x="601" y="2082"/>
                      </a:lnTo>
                      <a:lnTo>
                        <a:pt x="602" y="2082"/>
                      </a:lnTo>
                      <a:lnTo>
                        <a:pt x="602" y="2081"/>
                      </a:lnTo>
                      <a:lnTo>
                        <a:pt x="601" y="2080"/>
                      </a:lnTo>
                      <a:lnTo>
                        <a:pt x="601" y="2079"/>
                      </a:lnTo>
                      <a:lnTo>
                        <a:pt x="600" y="2079"/>
                      </a:lnTo>
                      <a:lnTo>
                        <a:pt x="599" y="2078"/>
                      </a:lnTo>
                      <a:lnTo>
                        <a:pt x="598" y="2076"/>
                      </a:lnTo>
                      <a:lnTo>
                        <a:pt x="598" y="2075"/>
                      </a:lnTo>
                      <a:lnTo>
                        <a:pt x="597" y="2075"/>
                      </a:lnTo>
                      <a:lnTo>
                        <a:pt x="597" y="2074"/>
                      </a:lnTo>
                      <a:lnTo>
                        <a:pt x="597" y="2074"/>
                      </a:lnTo>
                      <a:lnTo>
                        <a:pt x="594" y="2072"/>
                      </a:lnTo>
                      <a:lnTo>
                        <a:pt x="592" y="2070"/>
                      </a:lnTo>
                      <a:lnTo>
                        <a:pt x="592" y="2070"/>
                      </a:lnTo>
                      <a:lnTo>
                        <a:pt x="592" y="2070"/>
                      </a:lnTo>
                      <a:lnTo>
                        <a:pt x="592" y="2069"/>
                      </a:lnTo>
                      <a:lnTo>
                        <a:pt x="591" y="2068"/>
                      </a:lnTo>
                      <a:lnTo>
                        <a:pt x="591" y="2067"/>
                      </a:lnTo>
                      <a:lnTo>
                        <a:pt x="591" y="2067"/>
                      </a:lnTo>
                      <a:lnTo>
                        <a:pt x="591" y="2066"/>
                      </a:lnTo>
                      <a:lnTo>
                        <a:pt x="590" y="2066"/>
                      </a:lnTo>
                      <a:lnTo>
                        <a:pt x="588" y="2064"/>
                      </a:lnTo>
                      <a:lnTo>
                        <a:pt x="587" y="2063"/>
                      </a:lnTo>
                      <a:lnTo>
                        <a:pt x="585" y="2063"/>
                      </a:lnTo>
                      <a:lnTo>
                        <a:pt x="585" y="2063"/>
                      </a:lnTo>
                      <a:lnTo>
                        <a:pt x="583" y="2063"/>
                      </a:lnTo>
                      <a:lnTo>
                        <a:pt x="583" y="2063"/>
                      </a:lnTo>
                      <a:lnTo>
                        <a:pt x="582" y="2062"/>
                      </a:lnTo>
                      <a:lnTo>
                        <a:pt x="582" y="2055"/>
                      </a:lnTo>
                      <a:lnTo>
                        <a:pt x="583" y="2054"/>
                      </a:lnTo>
                      <a:lnTo>
                        <a:pt x="582" y="2052"/>
                      </a:lnTo>
                      <a:lnTo>
                        <a:pt x="583" y="2051"/>
                      </a:lnTo>
                      <a:lnTo>
                        <a:pt x="583" y="2050"/>
                      </a:lnTo>
                      <a:lnTo>
                        <a:pt x="582" y="2049"/>
                      </a:lnTo>
                      <a:lnTo>
                        <a:pt x="583" y="2049"/>
                      </a:lnTo>
                      <a:lnTo>
                        <a:pt x="583" y="2050"/>
                      </a:lnTo>
                      <a:lnTo>
                        <a:pt x="585" y="2050"/>
                      </a:lnTo>
                      <a:lnTo>
                        <a:pt x="585" y="2050"/>
                      </a:lnTo>
                      <a:lnTo>
                        <a:pt x="587" y="2050"/>
                      </a:lnTo>
                      <a:lnTo>
                        <a:pt x="587" y="2050"/>
                      </a:lnTo>
                      <a:close/>
                      <a:moveTo>
                        <a:pt x="960" y="837"/>
                      </a:moveTo>
                      <a:lnTo>
                        <a:pt x="960" y="838"/>
                      </a:lnTo>
                      <a:lnTo>
                        <a:pt x="960" y="838"/>
                      </a:lnTo>
                      <a:lnTo>
                        <a:pt x="959" y="838"/>
                      </a:lnTo>
                      <a:lnTo>
                        <a:pt x="959" y="837"/>
                      </a:lnTo>
                      <a:lnTo>
                        <a:pt x="960" y="837"/>
                      </a:lnTo>
                      <a:close/>
                      <a:moveTo>
                        <a:pt x="969" y="836"/>
                      </a:moveTo>
                      <a:lnTo>
                        <a:pt x="970" y="836"/>
                      </a:lnTo>
                      <a:lnTo>
                        <a:pt x="970" y="837"/>
                      </a:lnTo>
                      <a:lnTo>
                        <a:pt x="971" y="837"/>
                      </a:lnTo>
                      <a:lnTo>
                        <a:pt x="970" y="838"/>
                      </a:lnTo>
                      <a:lnTo>
                        <a:pt x="969" y="839"/>
                      </a:lnTo>
                      <a:lnTo>
                        <a:pt x="968" y="838"/>
                      </a:lnTo>
                      <a:lnTo>
                        <a:pt x="967" y="838"/>
                      </a:lnTo>
                      <a:lnTo>
                        <a:pt x="966" y="839"/>
                      </a:lnTo>
                      <a:lnTo>
                        <a:pt x="965" y="839"/>
                      </a:lnTo>
                      <a:lnTo>
                        <a:pt x="964" y="840"/>
                      </a:lnTo>
                      <a:lnTo>
                        <a:pt x="963" y="841"/>
                      </a:lnTo>
                      <a:lnTo>
                        <a:pt x="963" y="842"/>
                      </a:lnTo>
                      <a:lnTo>
                        <a:pt x="962" y="842"/>
                      </a:lnTo>
                      <a:lnTo>
                        <a:pt x="962" y="841"/>
                      </a:lnTo>
                      <a:lnTo>
                        <a:pt x="962" y="841"/>
                      </a:lnTo>
                      <a:lnTo>
                        <a:pt x="960" y="841"/>
                      </a:lnTo>
                      <a:lnTo>
                        <a:pt x="961" y="841"/>
                      </a:lnTo>
                      <a:lnTo>
                        <a:pt x="961" y="842"/>
                      </a:lnTo>
                      <a:lnTo>
                        <a:pt x="961" y="843"/>
                      </a:lnTo>
                      <a:lnTo>
                        <a:pt x="962" y="844"/>
                      </a:lnTo>
                      <a:lnTo>
                        <a:pt x="964" y="844"/>
                      </a:lnTo>
                      <a:lnTo>
                        <a:pt x="965" y="844"/>
                      </a:lnTo>
                      <a:lnTo>
                        <a:pt x="965" y="843"/>
                      </a:lnTo>
                      <a:lnTo>
                        <a:pt x="965" y="843"/>
                      </a:lnTo>
                      <a:lnTo>
                        <a:pt x="965" y="843"/>
                      </a:lnTo>
                      <a:lnTo>
                        <a:pt x="966" y="843"/>
                      </a:lnTo>
                      <a:lnTo>
                        <a:pt x="966" y="843"/>
                      </a:lnTo>
                      <a:lnTo>
                        <a:pt x="967" y="842"/>
                      </a:lnTo>
                      <a:lnTo>
                        <a:pt x="968" y="843"/>
                      </a:lnTo>
                      <a:lnTo>
                        <a:pt x="968" y="845"/>
                      </a:lnTo>
                      <a:lnTo>
                        <a:pt x="966" y="845"/>
                      </a:lnTo>
                      <a:lnTo>
                        <a:pt x="966" y="848"/>
                      </a:lnTo>
                      <a:lnTo>
                        <a:pt x="967" y="849"/>
                      </a:lnTo>
                      <a:lnTo>
                        <a:pt x="967" y="851"/>
                      </a:lnTo>
                      <a:lnTo>
                        <a:pt x="967" y="851"/>
                      </a:lnTo>
                      <a:lnTo>
                        <a:pt x="965" y="851"/>
                      </a:lnTo>
                      <a:lnTo>
                        <a:pt x="965" y="850"/>
                      </a:lnTo>
                      <a:lnTo>
                        <a:pt x="964" y="849"/>
                      </a:lnTo>
                      <a:lnTo>
                        <a:pt x="963" y="849"/>
                      </a:lnTo>
                      <a:lnTo>
                        <a:pt x="963" y="849"/>
                      </a:lnTo>
                      <a:lnTo>
                        <a:pt x="962" y="849"/>
                      </a:lnTo>
                      <a:lnTo>
                        <a:pt x="962" y="850"/>
                      </a:lnTo>
                      <a:lnTo>
                        <a:pt x="962" y="851"/>
                      </a:lnTo>
                      <a:lnTo>
                        <a:pt x="961" y="851"/>
                      </a:lnTo>
                      <a:lnTo>
                        <a:pt x="959" y="850"/>
                      </a:lnTo>
                      <a:lnTo>
                        <a:pt x="957" y="850"/>
                      </a:lnTo>
                      <a:lnTo>
                        <a:pt x="957" y="851"/>
                      </a:lnTo>
                      <a:lnTo>
                        <a:pt x="957" y="851"/>
                      </a:lnTo>
                      <a:lnTo>
                        <a:pt x="957" y="851"/>
                      </a:lnTo>
                      <a:lnTo>
                        <a:pt x="956" y="851"/>
                      </a:lnTo>
                      <a:lnTo>
                        <a:pt x="954" y="850"/>
                      </a:lnTo>
                      <a:lnTo>
                        <a:pt x="952" y="844"/>
                      </a:lnTo>
                      <a:lnTo>
                        <a:pt x="952" y="843"/>
                      </a:lnTo>
                      <a:lnTo>
                        <a:pt x="953" y="842"/>
                      </a:lnTo>
                      <a:lnTo>
                        <a:pt x="954" y="842"/>
                      </a:lnTo>
                      <a:lnTo>
                        <a:pt x="954" y="841"/>
                      </a:lnTo>
                      <a:lnTo>
                        <a:pt x="955" y="841"/>
                      </a:lnTo>
                      <a:lnTo>
                        <a:pt x="955" y="841"/>
                      </a:lnTo>
                      <a:lnTo>
                        <a:pt x="955" y="842"/>
                      </a:lnTo>
                      <a:lnTo>
                        <a:pt x="956" y="841"/>
                      </a:lnTo>
                      <a:lnTo>
                        <a:pt x="956" y="839"/>
                      </a:lnTo>
                      <a:lnTo>
                        <a:pt x="959" y="838"/>
                      </a:lnTo>
                      <a:lnTo>
                        <a:pt x="960" y="838"/>
                      </a:lnTo>
                      <a:lnTo>
                        <a:pt x="962" y="837"/>
                      </a:lnTo>
                      <a:lnTo>
                        <a:pt x="965" y="837"/>
                      </a:lnTo>
                      <a:lnTo>
                        <a:pt x="967" y="836"/>
                      </a:lnTo>
                      <a:lnTo>
                        <a:pt x="968" y="836"/>
                      </a:lnTo>
                      <a:lnTo>
                        <a:pt x="969" y="836"/>
                      </a:lnTo>
                      <a:lnTo>
                        <a:pt x="969" y="836"/>
                      </a:lnTo>
                      <a:close/>
                      <a:moveTo>
                        <a:pt x="911" y="802"/>
                      </a:moveTo>
                      <a:lnTo>
                        <a:pt x="912" y="803"/>
                      </a:lnTo>
                      <a:lnTo>
                        <a:pt x="913" y="803"/>
                      </a:lnTo>
                      <a:lnTo>
                        <a:pt x="915" y="804"/>
                      </a:lnTo>
                      <a:lnTo>
                        <a:pt x="915" y="804"/>
                      </a:lnTo>
                      <a:lnTo>
                        <a:pt x="915" y="806"/>
                      </a:lnTo>
                      <a:lnTo>
                        <a:pt x="915" y="807"/>
                      </a:lnTo>
                      <a:lnTo>
                        <a:pt x="916" y="808"/>
                      </a:lnTo>
                      <a:lnTo>
                        <a:pt x="916" y="808"/>
                      </a:lnTo>
                      <a:lnTo>
                        <a:pt x="917" y="808"/>
                      </a:lnTo>
                      <a:lnTo>
                        <a:pt x="918" y="808"/>
                      </a:lnTo>
                      <a:lnTo>
                        <a:pt x="918" y="810"/>
                      </a:lnTo>
                      <a:lnTo>
                        <a:pt x="917" y="811"/>
                      </a:lnTo>
                      <a:lnTo>
                        <a:pt x="917" y="811"/>
                      </a:lnTo>
                      <a:lnTo>
                        <a:pt x="916" y="812"/>
                      </a:lnTo>
                      <a:lnTo>
                        <a:pt x="917" y="813"/>
                      </a:lnTo>
                      <a:lnTo>
                        <a:pt x="918" y="813"/>
                      </a:lnTo>
                      <a:lnTo>
                        <a:pt x="920" y="813"/>
                      </a:lnTo>
                      <a:lnTo>
                        <a:pt x="922" y="814"/>
                      </a:lnTo>
                      <a:lnTo>
                        <a:pt x="923" y="814"/>
                      </a:lnTo>
                      <a:lnTo>
                        <a:pt x="923" y="813"/>
                      </a:lnTo>
                      <a:lnTo>
                        <a:pt x="924" y="813"/>
                      </a:lnTo>
                      <a:lnTo>
                        <a:pt x="926" y="815"/>
                      </a:lnTo>
                      <a:lnTo>
                        <a:pt x="928" y="816"/>
                      </a:lnTo>
                      <a:lnTo>
                        <a:pt x="928" y="816"/>
                      </a:lnTo>
                      <a:lnTo>
                        <a:pt x="928" y="816"/>
                      </a:lnTo>
                      <a:lnTo>
                        <a:pt x="929" y="817"/>
                      </a:lnTo>
                      <a:lnTo>
                        <a:pt x="930" y="818"/>
                      </a:lnTo>
                      <a:lnTo>
                        <a:pt x="931" y="819"/>
                      </a:lnTo>
                      <a:lnTo>
                        <a:pt x="933" y="820"/>
                      </a:lnTo>
                      <a:lnTo>
                        <a:pt x="933" y="821"/>
                      </a:lnTo>
                      <a:lnTo>
                        <a:pt x="934" y="821"/>
                      </a:lnTo>
                      <a:lnTo>
                        <a:pt x="934" y="820"/>
                      </a:lnTo>
                      <a:lnTo>
                        <a:pt x="934" y="820"/>
                      </a:lnTo>
                      <a:lnTo>
                        <a:pt x="935" y="821"/>
                      </a:lnTo>
                      <a:lnTo>
                        <a:pt x="936" y="822"/>
                      </a:lnTo>
                      <a:lnTo>
                        <a:pt x="937" y="823"/>
                      </a:lnTo>
                      <a:lnTo>
                        <a:pt x="939" y="825"/>
                      </a:lnTo>
                      <a:lnTo>
                        <a:pt x="939" y="826"/>
                      </a:lnTo>
                      <a:lnTo>
                        <a:pt x="939" y="826"/>
                      </a:lnTo>
                      <a:lnTo>
                        <a:pt x="937" y="826"/>
                      </a:lnTo>
                      <a:lnTo>
                        <a:pt x="937" y="826"/>
                      </a:lnTo>
                      <a:lnTo>
                        <a:pt x="935" y="827"/>
                      </a:lnTo>
                      <a:lnTo>
                        <a:pt x="935" y="828"/>
                      </a:lnTo>
                      <a:lnTo>
                        <a:pt x="937" y="828"/>
                      </a:lnTo>
                      <a:lnTo>
                        <a:pt x="939" y="828"/>
                      </a:lnTo>
                      <a:lnTo>
                        <a:pt x="939" y="830"/>
                      </a:lnTo>
                      <a:lnTo>
                        <a:pt x="939" y="830"/>
                      </a:lnTo>
                      <a:lnTo>
                        <a:pt x="938" y="831"/>
                      </a:lnTo>
                      <a:lnTo>
                        <a:pt x="938" y="832"/>
                      </a:lnTo>
                      <a:lnTo>
                        <a:pt x="939" y="832"/>
                      </a:lnTo>
                      <a:lnTo>
                        <a:pt x="940" y="833"/>
                      </a:lnTo>
                      <a:lnTo>
                        <a:pt x="941" y="833"/>
                      </a:lnTo>
                      <a:lnTo>
                        <a:pt x="942" y="835"/>
                      </a:lnTo>
                      <a:lnTo>
                        <a:pt x="942" y="835"/>
                      </a:lnTo>
                      <a:lnTo>
                        <a:pt x="942" y="835"/>
                      </a:lnTo>
                      <a:lnTo>
                        <a:pt x="942" y="836"/>
                      </a:lnTo>
                      <a:lnTo>
                        <a:pt x="942" y="837"/>
                      </a:lnTo>
                      <a:lnTo>
                        <a:pt x="941" y="837"/>
                      </a:lnTo>
                      <a:lnTo>
                        <a:pt x="940" y="838"/>
                      </a:lnTo>
                      <a:lnTo>
                        <a:pt x="939" y="839"/>
                      </a:lnTo>
                      <a:lnTo>
                        <a:pt x="939" y="839"/>
                      </a:lnTo>
                      <a:lnTo>
                        <a:pt x="939" y="841"/>
                      </a:lnTo>
                      <a:lnTo>
                        <a:pt x="939" y="841"/>
                      </a:lnTo>
                      <a:lnTo>
                        <a:pt x="941" y="840"/>
                      </a:lnTo>
                      <a:lnTo>
                        <a:pt x="943" y="840"/>
                      </a:lnTo>
                      <a:lnTo>
                        <a:pt x="943" y="841"/>
                      </a:lnTo>
                      <a:lnTo>
                        <a:pt x="944" y="842"/>
                      </a:lnTo>
                      <a:lnTo>
                        <a:pt x="944" y="842"/>
                      </a:lnTo>
                      <a:lnTo>
                        <a:pt x="943" y="842"/>
                      </a:lnTo>
                      <a:lnTo>
                        <a:pt x="941" y="843"/>
                      </a:lnTo>
                      <a:lnTo>
                        <a:pt x="941" y="844"/>
                      </a:lnTo>
                      <a:lnTo>
                        <a:pt x="941" y="845"/>
                      </a:lnTo>
                      <a:lnTo>
                        <a:pt x="944" y="845"/>
                      </a:lnTo>
                      <a:lnTo>
                        <a:pt x="944" y="845"/>
                      </a:lnTo>
                      <a:lnTo>
                        <a:pt x="945" y="845"/>
                      </a:lnTo>
                      <a:lnTo>
                        <a:pt x="946" y="845"/>
                      </a:lnTo>
                      <a:lnTo>
                        <a:pt x="947" y="846"/>
                      </a:lnTo>
                      <a:lnTo>
                        <a:pt x="948" y="846"/>
                      </a:lnTo>
                      <a:lnTo>
                        <a:pt x="948" y="849"/>
                      </a:lnTo>
                      <a:lnTo>
                        <a:pt x="947" y="849"/>
                      </a:lnTo>
                      <a:lnTo>
                        <a:pt x="947" y="849"/>
                      </a:lnTo>
                      <a:lnTo>
                        <a:pt x="945" y="851"/>
                      </a:lnTo>
                      <a:lnTo>
                        <a:pt x="943" y="851"/>
                      </a:lnTo>
                      <a:lnTo>
                        <a:pt x="942" y="851"/>
                      </a:lnTo>
                      <a:lnTo>
                        <a:pt x="941" y="853"/>
                      </a:lnTo>
                      <a:lnTo>
                        <a:pt x="941" y="854"/>
                      </a:lnTo>
                      <a:lnTo>
                        <a:pt x="941" y="854"/>
                      </a:lnTo>
                      <a:lnTo>
                        <a:pt x="941" y="855"/>
                      </a:lnTo>
                      <a:lnTo>
                        <a:pt x="940" y="855"/>
                      </a:lnTo>
                      <a:lnTo>
                        <a:pt x="939" y="854"/>
                      </a:lnTo>
                      <a:lnTo>
                        <a:pt x="939" y="854"/>
                      </a:lnTo>
                      <a:lnTo>
                        <a:pt x="938" y="854"/>
                      </a:lnTo>
                      <a:lnTo>
                        <a:pt x="936" y="856"/>
                      </a:lnTo>
                      <a:lnTo>
                        <a:pt x="934" y="856"/>
                      </a:lnTo>
                      <a:lnTo>
                        <a:pt x="932" y="856"/>
                      </a:lnTo>
                      <a:lnTo>
                        <a:pt x="931" y="858"/>
                      </a:lnTo>
                      <a:lnTo>
                        <a:pt x="931" y="859"/>
                      </a:lnTo>
                      <a:lnTo>
                        <a:pt x="931" y="860"/>
                      </a:lnTo>
                      <a:lnTo>
                        <a:pt x="930" y="860"/>
                      </a:lnTo>
                      <a:lnTo>
                        <a:pt x="930" y="861"/>
                      </a:lnTo>
                      <a:lnTo>
                        <a:pt x="929" y="861"/>
                      </a:lnTo>
                      <a:lnTo>
                        <a:pt x="930" y="861"/>
                      </a:lnTo>
                      <a:lnTo>
                        <a:pt x="931" y="862"/>
                      </a:lnTo>
                      <a:lnTo>
                        <a:pt x="932" y="862"/>
                      </a:lnTo>
                      <a:lnTo>
                        <a:pt x="932" y="862"/>
                      </a:lnTo>
                      <a:lnTo>
                        <a:pt x="933" y="862"/>
                      </a:lnTo>
                      <a:lnTo>
                        <a:pt x="934" y="863"/>
                      </a:lnTo>
                      <a:lnTo>
                        <a:pt x="934" y="863"/>
                      </a:lnTo>
                      <a:lnTo>
                        <a:pt x="935" y="862"/>
                      </a:lnTo>
                      <a:lnTo>
                        <a:pt x="936" y="862"/>
                      </a:lnTo>
                      <a:lnTo>
                        <a:pt x="936" y="862"/>
                      </a:lnTo>
                      <a:lnTo>
                        <a:pt x="936" y="862"/>
                      </a:lnTo>
                      <a:lnTo>
                        <a:pt x="937" y="861"/>
                      </a:lnTo>
                      <a:lnTo>
                        <a:pt x="938" y="859"/>
                      </a:lnTo>
                      <a:lnTo>
                        <a:pt x="939" y="857"/>
                      </a:lnTo>
                      <a:lnTo>
                        <a:pt x="939" y="856"/>
                      </a:lnTo>
                      <a:lnTo>
                        <a:pt x="941" y="856"/>
                      </a:lnTo>
                      <a:lnTo>
                        <a:pt x="941" y="856"/>
                      </a:lnTo>
                      <a:lnTo>
                        <a:pt x="941" y="856"/>
                      </a:lnTo>
                      <a:lnTo>
                        <a:pt x="942" y="857"/>
                      </a:lnTo>
                      <a:lnTo>
                        <a:pt x="943" y="856"/>
                      </a:lnTo>
                      <a:lnTo>
                        <a:pt x="945" y="856"/>
                      </a:lnTo>
                      <a:lnTo>
                        <a:pt x="945" y="855"/>
                      </a:lnTo>
                      <a:lnTo>
                        <a:pt x="947" y="855"/>
                      </a:lnTo>
                      <a:lnTo>
                        <a:pt x="948" y="856"/>
                      </a:lnTo>
                      <a:lnTo>
                        <a:pt x="949" y="856"/>
                      </a:lnTo>
                      <a:lnTo>
                        <a:pt x="950" y="854"/>
                      </a:lnTo>
                      <a:lnTo>
                        <a:pt x="951" y="854"/>
                      </a:lnTo>
                      <a:lnTo>
                        <a:pt x="952" y="854"/>
                      </a:lnTo>
                      <a:lnTo>
                        <a:pt x="953" y="854"/>
                      </a:lnTo>
                      <a:lnTo>
                        <a:pt x="954" y="855"/>
                      </a:lnTo>
                      <a:lnTo>
                        <a:pt x="954" y="855"/>
                      </a:lnTo>
                      <a:lnTo>
                        <a:pt x="954" y="855"/>
                      </a:lnTo>
                      <a:lnTo>
                        <a:pt x="954" y="857"/>
                      </a:lnTo>
                      <a:lnTo>
                        <a:pt x="954" y="858"/>
                      </a:lnTo>
                      <a:lnTo>
                        <a:pt x="953" y="859"/>
                      </a:lnTo>
                      <a:lnTo>
                        <a:pt x="952" y="860"/>
                      </a:lnTo>
                      <a:lnTo>
                        <a:pt x="951" y="862"/>
                      </a:lnTo>
                      <a:lnTo>
                        <a:pt x="953" y="862"/>
                      </a:lnTo>
                      <a:lnTo>
                        <a:pt x="953" y="861"/>
                      </a:lnTo>
                      <a:lnTo>
                        <a:pt x="954" y="860"/>
                      </a:lnTo>
                      <a:lnTo>
                        <a:pt x="955" y="860"/>
                      </a:lnTo>
                      <a:lnTo>
                        <a:pt x="956" y="861"/>
                      </a:lnTo>
                      <a:lnTo>
                        <a:pt x="955" y="862"/>
                      </a:lnTo>
                      <a:lnTo>
                        <a:pt x="954" y="863"/>
                      </a:lnTo>
                      <a:lnTo>
                        <a:pt x="948" y="864"/>
                      </a:lnTo>
                      <a:lnTo>
                        <a:pt x="945" y="865"/>
                      </a:lnTo>
                      <a:lnTo>
                        <a:pt x="941" y="865"/>
                      </a:lnTo>
                      <a:lnTo>
                        <a:pt x="940" y="864"/>
                      </a:lnTo>
                      <a:lnTo>
                        <a:pt x="939" y="864"/>
                      </a:lnTo>
                      <a:lnTo>
                        <a:pt x="939" y="864"/>
                      </a:lnTo>
                      <a:lnTo>
                        <a:pt x="938" y="864"/>
                      </a:lnTo>
                      <a:lnTo>
                        <a:pt x="937" y="864"/>
                      </a:lnTo>
                      <a:lnTo>
                        <a:pt x="937" y="863"/>
                      </a:lnTo>
                      <a:lnTo>
                        <a:pt x="936" y="863"/>
                      </a:lnTo>
                      <a:lnTo>
                        <a:pt x="935" y="863"/>
                      </a:lnTo>
                      <a:lnTo>
                        <a:pt x="935" y="863"/>
                      </a:lnTo>
                      <a:lnTo>
                        <a:pt x="935" y="864"/>
                      </a:lnTo>
                      <a:lnTo>
                        <a:pt x="936" y="865"/>
                      </a:lnTo>
                      <a:lnTo>
                        <a:pt x="937" y="866"/>
                      </a:lnTo>
                      <a:lnTo>
                        <a:pt x="937" y="867"/>
                      </a:lnTo>
                      <a:lnTo>
                        <a:pt x="936" y="867"/>
                      </a:lnTo>
                      <a:lnTo>
                        <a:pt x="936" y="868"/>
                      </a:lnTo>
                      <a:lnTo>
                        <a:pt x="935" y="868"/>
                      </a:lnTo>
                      <a:lnTo>
                        <a:pt x="935" y="868"/>
                      </a:lnTo>
                      <a:lnTo>
                        <a:pt x="933" y="867"/>
                      </a:lnTo>
                      <a:lnTo>
                        <a:pt x="933" y="865"/>
                      </a:lnTo>
                      <a:lnTo>
                        <a:pt x="932" y="865"/>
                      </a:lnTo>
                      <a:lnTo>
                        <a:pt x="931" y="864"/>
                      </a:lnTo>
                      <a:lnTo>
                        <a:pt x="930" y="864"/>
                      </a:lnTo>
                      <a:lnTo>
                        <a:pt x="929" y="865"/>
                      </a:lnTo>
                      <a:lnTo>
                        <a:pt x="927" y="865"/>
                      </a:lnTo>
                      <a:lnTo>
                        <a:pt x="927" y="865"/>
                      </a:lnTo>
                      <a:lnTo>
                        <a:pt x="926" y="865"/>
                      </a:lnTo>
                      <a:lnTo>
                        <a:pt x="925" y="865"/>
                      </a:lnTo>
                      <a:lnTo>
                        <a:pt x="925" y="865"/>
                      </a:lnTo>
                      <a:lnTo>
                        <a:pt x="924" y="865"/>
                      </a:lnTo>
                      <a:lnTo>
                        <a:pt x="924" y="866"/>
                      </a:lnTo>
                      <a:lnTo>
                        <a:pt x="923" y="866"/>
                      </a:lnTo>
                      <a:lnTo>
                        <a:pt x="922" y="865"/>
                      </a:lnTo>
                      <a:lnTo>
                        <a:pt x="920" y="865"/>
                      </a:lnTo>
                      <a:lnTo>
                        <a:pt x="920" y="864"/>
                      </a:lnTo>
                      <a:lnTo>
                        <a:pt x="920" y="863"/>
                      </a:lnTo>
                      <a:lnTo>
                        <a:pt x="919" y="863"/>
                      </a:lnTo>
                      <a:lnTo>
                        <a:pt x="918" y="861"/>
                      </a:lnTo>
                      <a:lnTo>
                        <a:pt x="917" y="860"/>
                      </a:lnTo>
                      <a:lnTo>
                        <a:pt x="917" y="860"/>
                      </a:lnTo>
                      <a:lnTo>
                        <a:pt x="916" y="859"/>
                      </a:lnTo>
                      <a:lnTo>
                        <a:pt x="916" y="859"/>
                      </a:lnTo>
                      <a:lnTo>
                        <a:pt x="916" y="858"/>
                      </a:lnTo>
                      <a:lnTo>
                        <a:pt x="916" y="858"/>
                      </a:lnTo>
                      <a:lnTo>
                        <a:pt x="916" y="858"/>
                      </a:lnTo>
                      <a:lnTo>
                        <a:pt x="915" y="858"/>
                      </a:lnTo>
                      <a:lnTo>
                        <a:pt x="915" y="857"/>
                      </a:lnTo>
                      <a:lnTo>
                        <a:pt x="915" y="855"/>
                      </a:lnTo>
                      <a:lnTo>
                        <a:pt x="914" y="854"/>
                      </a:lnTo>
                      <a:lnTo>
                        <a:pt x="914" y="853"/>
                      </a:lnTo>
                      <a:lnTo>
                        <a:pt x="914" y="853"/>
                      </a:lnTo>
                      <a:lnTo>
                        <a:pt x="914" y="853"/>
                      </a:lnTo>
                      <a:lnTo>
                        <a:pt x="913" y="852"/>
                      </a:lnTo>
                      <a:lnTo>
                        <a:pt x="913" y="851"/>
                      </a:lnTo>
                      <a:lnTo>
                        <a:pt x="913" y="851"/>
                      </a:lnTo>
                      <a:lnTo>
                        <a:pt x="914" y="850"/>
                      </a:lnTo>
                      <a:lnTo>
                        <a:pt x="914" y="850"/>
                      </a:lnTo>
                      <a:lnTo>
                        <a:pt x="913" y="849"/>
                      </a:lnTo>
                      <a:lnTo>
                        <a:pt x="912" y="849"/>
                      </a:lnTo>
                      <a:lnTo>
                        <a:pt x="912" y="849"/>
                      </a:lnTo>
                      <a:lnTo>
                        <a:pt x="911" y="848"/>
                      </a:lnTo>
                      <a:lnTo>
                        <a:pt x="911" y="848"/>
                      </a:lnTo>
                      <a:lnTo>
                        <a:pt x="911" y="848"/>
                      </a:lnTo>
                      <a:lnTo>
                        <a:pt x="911" y="846"/>
                      </a:lnTo>
                      <a:lnTo>
                        <a:pt x="910" y="846"/>
                      </a:lnTo>
                      <a:lnTo>
                        <a:pt x="910" y="845"/>
                      </a:lnTo>
                      <a:lnTo>
                        <a:pt x="909" y="845"/>
                      </a:lnTo>
                      <a:lnTo>
                        <a:pt x="909" y="844"/>
                      </a:lnTo>
                      <a:lnTo>
                        <a:pt x="908" y="843"/>
                      </a:lnTo>
                      <a:lnTo>
                        <a:pt x="908" y="843"/>
                      </a:lnTo>
                      <a:lnTo>
                        <a:pt x="908" y="843"/>
                      </a:lnTo>
                      <a:lnTo>
                        <a:pt x="907" y="843"/>
                      </a:lnTo>
                      <a:lnTo>
                        <a:pt x="907" y="841"/>
                      </a:lnTo>
                      <a:lnTo>
                        <a:pt x="906" y="841"/>
                      </a:lnTo>
                      <a:lnTo>
                        <a:pt x="906" y="841"/>
                      </a:lnTo>
                      <a:lnTo>
                        <a:pt x="906" y="839"/>
                      </a:lnTo>
                      <a:lnTo>
                        <a:pt x="905" y="839"/>
                      </a:lnTo>
                      <a:lnTo>
                        <a:pt x="905" y="838"/>
                      </a:lnTo>
                      <a:lnTo>
                        <a:pt x="904" y="838"/>
                      </a:lnTo>
                      <a:lnTo>
                        <a:pt x="905" y="836"/>
                      </a:lnTo>
                      <a:lnTo>
                        <a:pt x="905" y="836"/>
                      </a:lnTo>
                      <a:lnTo>
                        <a:pt x="905" y="835"/>
                      </a:lnTo>
                      <a:lnTo>
                        <a:pt x="904" y="834"/>
                      </a:lnTo>
                      <a:lnTo>
                        <a:pt x="904" y="833"/>
                      </a:lnTo>
                      <a:lnTo>
                        <a:pt x="904" y="832"/>
                      </a:lnTo>
                      <a:lnTo>
                        <a:pt x="904" y="831"/>
                      </a:lnTo>
                      <a:lnTo>
                        <a:pt x="904" y="830"/>
                      </a:lnTo>
                      <a:lnTo>
                        <a:pt x="904" y="829"/>
                      </a:lnTo>
                      <a:lnTo>
                        <a:pt x="902" y="828"/>
                      </a:lnTo>
                      <a:lnTo>
                        <a:pt x="900" y="828"/>
                      </a:lnTo>
                      <a:lnTo>
                        <a:pt x="899" y="828"/>
                      </a:lnTo>
                      <a:lnTo>
                        <a:pt x="898" y="828"/>
                      </a:lnTo>
                      <a:lnTo>
                        <a:pt x="896" y="827"/>
                      </a:lnTo>
                      <a:lnTo>
                        <a:pt x="895" y="827"/>
                      </a:lnTo>
                      <a:lnTo>
                        <a:pt x="894" y="827"/>
                      </a:lnTo>
                      <a:lnTo>
                        <a:pt x="894" y="828"/>
                      </a:lnTo>
                      <a:lnTo>
                        <a:pt x="893" y="828"/>
                      </a:lnTo>
                      <a:lnTo>
                        <a:pt x="892" y="827"/>
                      </a:lnTo>
                      <a:lnTo>
                        <a:pt x="892" y="824"/>
                      </a:lnTo>
                      <a:lnTo>
                        <a:pt x="893" y="823"/>
                      </a:lnTo>
                      <a:lnTo>
                        <a:pt x="893" y="823"/>
                      </a:lnTo>
                      <a:lnTo>
                        <a:pt x="894" y="822"/>
                      </a:lnTo>
                      <a:lnTo>
                        <a:pt x="894" y="822"/>
                      </a:lnTo>
                      <a:lnTo>
                        <a:pt x="893" y="822"/>
                      </a:lnTo>
                      <a:lnTo>
                        <a:pt x="893" y="821"/>
                      </a:lnTo>
                      <a:lnTo>
                        <a:pt x="893" y="821"/>
                      </a:lnTo>
                      <a:lnTo>
                        <a:pt x="894" y="821"/>
                      </a:lnTo>
                      <a:lnTo>
                        <a:pt x="894" y="820"/>
                      </a:lnTo>
                      <a:lnTo>
                        <a:pt x="895" y="815"/>
                      </a:lnTo>
                      <a:lnTo>
                        <a:pt x="895" y="814"/>
                      </a:lnTo>
                      <a:lnTo>
                        <a:pt x="895" y="814"/>
                      </a:lnTo>
                      <a:lnTo>
                        <a:pt x="896" y="812"/>
                      </a:lnTo>
                      <a:lnTo>
                        <a:pt x="896" y="812"/>
                      </a:lnTo>
                      <a:lnTo>
                        <a:pt x="896" y="812"/>
                      </a:lnTo>
                      <a:lnTo>
                        <a:pt x="897" y="810"/>
                      </a:lnTo>
                      <a:lnTo>
                        <a:pt x="897" y="810"/>
                      </a:lnTo>
                      <a:lnTo>
                        <a:pt x="897" y="810"/>
                      </a:lnTo>
                      <a:lnTo>
                        <a:pt x="898" y="808"/>
                      </a:lnTo>
                      <a:lnTo>
                        <a:pt x="898" y="808"/>
                      </a:lnTo>
                      <a:lnTo>
                        <a:pt x="898" y="807"/>
                      </a:lnTo>
                      <a:lnTo>
                        <a:pt x="899" y="807"/>
                      </a:lnTo>
                      <a:lnTo>
                        <a:pt x="899" y="807"/>
                      </a:lnTo>
                      <a:lnTo>
                        <a:pt x="900" y="805"/>
                      </a:lnTo>
                      <a:lnTo>
                        <a:pt x="901" y="805"/>
                      </a:lnTo>
                      <a:lnTo>
                        <a:pt x="901" y="806"/>
                      </a:lnTo>
                      <a:lnTo>
                        <a:pt x="901" y="805"/>
                      </a:lnTo>
                      <a:lnTo>
                        <a:pt x="902" y="806"/>
                      </a:lnTo>
                      <a:lnTo>
                        <a:pt x="902" y="806"/>
                      </a:lnTo>
                      <a:lnTo>
                        <a:pt x="903" y="805"/>
                      </a:lnTo>
                      <a:lnTo>
                        <a:pt x="904" y="805"/>
                      </a:lnTo>
                      <a:lnTo>
                        <a:pt x="904" y="804"/>
                      </a:lnTo>
                      <a:lnTo>
                        <a:pt x="905" y="804"/>
                      </a:lnTo>
                      <a:lnTo>
                        <a:pt x="906" y="803"/>
                      </a:lnTo>
                      <a:lnTo>
                        <a:pt x="908" y="803"/>
                      </a:lnTo>
                      <a:lnTo>
                        <a:pt x="908" y="802"/>
                      </a:lnTo>
                      <a:lnTo>
                        <a:pt x="911" y="803"/>
                      </a:lnTo>
                      <a:lnTo>
                        <a:pt x="912" y="803"/>
                      </a:lnTo>
                      <a:lnTo>
                        <a:pt x="911" y="803"/>
                      </a:lnTo>
                      <a:lnTo>
                        <a:pt x="911" y="802"/>
                      </a:lnTo>
                      <a:lnTo>
                        <a:pt x="911" y="802"/>
                      </a:lnTo>
                      <a:close/>
                      <a:moveTo>
                        <a:pt x="1025" y="739"/>
                      </a:moveTo>
                      <a:lnTo>
                        <a:pt x="1026" y="740"/>
                      </a:lnTo>
                      <a:lnTo>
                        <a:pt x="1026" y="741"/>
                      </a:lnTo>
                      <a:lnTo>
                        <a:pt x="1026" y="742"/>
                      </a:lnTo>
                      <a:lnTo>
                        <a:pt x="1026" y="742"/>
                      </a:lnTo>
                      <a:lnTo>
                        <a:pt x="1026" y="746"/>
                      </a:lnTo>
                      <a:lnTo>
                        <a:pt x="1025" y="748"/>
                      </a:lnTo>
                      <a:lnTo>
                        <a:pt x="1024" y="749"/>
                      </a:lnTo>
                      <a:lnTo>
                        <a:pt x="1024" y="749"/>
                      </a:lnTo>
                      <a:lnTo>
                        <a:pt x="1023" y="750"/>
                      </a:lnTo>
                      <a:lnTo>
                        <a:pt x="1023" y="750"/>
                      </a:lnTo>
                      <a:lnTo>
                        <a:pt x="1022" y="751"/>
                      </a:lnTo>
                      <a:lnTo>
                        <a:pt x="1022" y="753"/>
                      </a:lnTo>
                      <a:lnTo>
                        <a:pt x="1022" y="754"/>
                      </a:lnTo>
                      <a:lnTo>
                        <a:pt x="1021" y="754"/>
                      </a:lnTo>
                      <a:lnTo>
                        <a:pt x="1021" y="754"/>
                      </a:lnTo>
                      <a:lnTo>
                        <a:pt x="1021" y="755"/>
                      </a:lnTo>
                      <a:lnTo>
                        <a:pt x="1021" y="756"/>
                      </a:lnTo>
                      <a:lnTo>
                        <a:pt x="1022" y="757"/>
                      </a:lnTo>
                      <a:lnTo>
                        <a:pt x="1022" y="758"/>
                      </a:lnTo>
                      <a:lnTo>
                        <a:pt x="1023" y="758"/>
                      </a:lnTo>
                      <a:lnTo>
                        <a:pt x="1024" y="759"/>
                      </a:lnTo>
                      <a:lnTo>
                        <a:pt x="1024" y="760"/>
                      </a:lnTo>
                      <a:lnTo>
                        <a:pt x="1025" y="762"/>
                      </a:lnTo>
                      <a:lnTo>
                        <a:pt x="1024" y="763"/>
                      </a:lnTo>
                      <a:lnTo>
                        <a:pt x="1023" y="764"/>
                      </a:lnTo>
                      <a:lnTo>
                        <a:pt x="1022" y="765"/>
                      </a:lnTo>
                      <a:lnTo>
                        <a:pt x="1021" y="766"/>
                      </a:lnTo>
                      <a:lnTo>
                        <a:pt x="1020" y="767"/>
                      </a:lnTo>
                      <a:lnTo>
                        <a:pt x="1019" y="768"/>
                      </a:lnTo>
                      <a:lnTo>
                        <a:pt x="1018" y="768"/>
                      </a:lnTo>
                      <a:lnTo>
                        <a:pt x="1018" y="767"/>
                      </a:lnTo>
                      <a:lnTo>
                        <a:pt x="1018" y="766"/>
                      </a:lnTo>
                      <a:lnTo>
                        <a:pt x="1018" y="766"/>
                      </a:lnTo>
                      <a:lnTo>
                        <a:pt x="1018" y="765"/>
                      </a:lnTo>
                      <a:lnTo>
                        <a:pt x="1018" y="764"/>
                      </a:lnTo>
                      <a:lnTo>
                        <a:pt x="1017" y="764"/>
                      </a:lnTo>
                      <a:lnTo>
                        <a:pt x="1017" y="765"/>
                      </a:lnTo>
                      <a:lnTo>
                        <a:pt x="1015" y="764"/>
                      </a:lnTo>
                      <a:lnTo>
                        <a:pt x="1015" y="764"/>
                      </a:lnTo>
                      <a:lnTo>
                        <a:pt x="1014" y="763"/>
                      </a:lnTo>
                      <a:lnTo>
                        <a:pt x="1014" y="762"/>
                      </a:lnTo>
                      <a:lnTo>
                        <a:pt x="1011" y="762"/>
                      </a:lnTo>
                      <a:lnTo>
                        <a:pt x="1010" y="762"/>
                      </a:lnTo>
                      <a:lnTo>
                        <a:pt x="1010" y="761"/>
                      </a:lnTo>
                      <a:lnTo>
                        <a:pt x="1009" y="761"/>
                      </a:lnTo>
                      <a:lnTo>
                        <a:pt x="1008" y="762"/>
                      </a:lnTo>
                      <a:lnTo>
                        <a:pt x="1007" y="762"/>
                      </a:lnTo>
                      <a:lnTo>
                        <a:pt x="1006" y="762"/>
                      </a:lnTo>
                      <a:lnTo>
                        <a:pt x="1006" y="761"/>
                      </a:lnTo>
                      <a:lnTo>
                        <a:pt x="1005" y="760"/>
                      </a:lnTo>
                      <a:lnTo>
                        <a:pt x="1005" y="760"/>
                      </a:lnTo>
                      <a:lnTo>
                        <a:pt x="1005" y="761"/>
                      </a:lnTo>
                      <a:lnTo>
                        <a:pt x="1003" y="763"/>
                      </a:lnTo>
                      <a:lnTo>
                        <a:pt x="1000" y="763"/>
                      </a:lnTo>
                      <a:lnTo>
                        <a:pt x="1000" y="762"/>
                      </a:lnTo>
                      <a:lnTo>
                        <a:pt x="999" y="762"/>
                      </a:lnTo>
                      <a:lnTo>
                        <a:pt x="998" y="762"/>
                      </a:lnTo>
                      <a:lnTo>
                        <a:pt x="998" y="760"/>
                      </a:lnTo>
                      <a:lnTo>
                        <a:pt x="999" y="758"/>
                      </a:lnTo>
                      <a:lnTo>
                        <a:pt x="999" y="757"/>
                      </a:lnTo>
                      <a:lnTo>
                        <a:pt x="999" y="757"/>
                      </a:lnTo>
                      <a:lnTo>
                        <a:pt x="1000" y="756"/>
                      </a:lnTo>
                      <a:lnTo>
                        <a:pt x="1000" y="754"/>
                      </a:lnTo>
                      <a:lnTo>
                        <a:pt x="1000" y="754"/>
                      </a:lnTo>
                      <a:lnTo>
                        <a:pt x="1001" y="753"/>
                      </a:lnTo>
                      <a:lnTo>
                        <a:pt x="1002" y="753"/>
                      </a:lnTo>
                      <a:lnTo>
                        <a:pt x="1002" y="753"/>
                      </a:lnTo>
                      <a:lnTo>
                        <a:pt x="1001" y="749"/>
                      </a:lnTo>
                      <a:lnTo>
                        <a:pt x="1003" y="748"/>
                      </a:lnTo>
                      <a:lnTo>
                        <a:pt x="1004" y="747"/>
                      </a:lnTo>
                      <a:lnTo>
                        <a:pt x="1004" y="746"/>
                      </a:lnTo>
                      <a:lnTo>
                        <a:pt x="1004" y="746"/>
                      </a:lnTo>
                      <a:lnTo>
                        <a:pt x="1004" y="746"/>
                      </a:lnTo>
                      <a:lnTo>
                        <a:pt x="1004" y="743"/>
                      </a:lnTo>
                      <a:lnTo>
                        <a:pt x="1005" y="744"/>
                      </a:lnTo>
                      <a:lnTo>
                        <a:pt x="1005" y="746"/>
                      </a:lnTo>
                      <a:lnTo>
                        <a:pt x="1006" y="746"/>
                      </a:lnTo>
                      <a:lnTo>
                        <a:pt x="1006" y="748"/>
                      </a:lnTo>
                      <a:lnTo>
                        <a:pt x="1006" y="748"/>
                      </a:lnTo>
                      <a:lnTo>
                        <a:pt x="1007" y="749"/>
                      </a:lnTo>
                      <a:lnTo>
                        <a:pt x="1007" y="749"/>
                      </a:lnTo>
                      <a:lnTo>
                        <a:pt x="1007" y="750"/>
                      </a:lnTo>
                      <a:lnTo>
                        <a:pt x="1008" y="750"/>
                      </a:lnTo>
                      <a:lnTo>
                        <a:pt x="1009" y="751"/>
                      </a:lnTo>
                      <a:lnTo>
                        <a:pt x="1011" y="751"/>
                      </a:lnTo>
                      <a:lnTo>
                        <a:pt x="1011" y="750"/>
                      </a:lnTo>
                      <a:lnTo>
                        <a:pt x="1011" y="751"/>
                      </a:lnTo>
                      <a:lnTo>
                        <a:pt x="1012" y="752"/>
                      </a:lnTo>
                      <a:lnTo>
                        <a:pt x="1014" y="752"/>
                      </a:lnTo>
                      <a:lnTo>
                        <a:pt x="1014" y="752"/>
                      </a:lnTo>
                      <a:lnTo>
                        <a:pt x="1014" y="751"/>
                      </a:lnTo>
                      <a:lnTo>
                        <a:pt x="1016" y="751"/>
                      </a:lnTo>
                      <a:lnTo>
                        <a:pt x="1016" y="750"/>
                      </a:lnTo>
                      <a:lnTo>
                        <a:pt x="1016" y="749"/>
                      </a:lnTo>
                      <a:lnTo>
                        <a:pt x="1017" y="749"/>
                      </a:lnTo>
                      <a:lnTo>
                        <a:pt x="1018" y="748"/>
                      </a:lnTo>
                      <a:lnTo>
                        <a:pt x="1018" y="747"/>
                      </a:lnTo>
                      <a:lnTo>
                        <a:pt x="1017" y="746"/>
                      </a:lnTo>
                      <a:lnTo>
                        <a:pt x="1017" y="745"/>
                      </a:lnTo>
                      <a:lnTo>
                        <a:pt x="1017" y="744"/>
                      </a:lnTo>
                      <a:lnTo>
                        <a:pt x="1017" y="742"/>
                      </a:lnTo>
                      <a:lnTo>
                        <a:pt x="1018" y="743"/>
                      </a:lnTo>
                      <a:lnTo>
                        <a:pt x="1018" y="743"/>
                      </a:lnTo>
                      <a:lnTo>
                        <a:pt x="1018" y="744"/>
                      </a:lnTo>
                      <a:lnTo>
                        <a:pt x="1019" y="743"/>
                      </a:lnTo>
                      <a:lnTo>
                        <a:pt x="1019" y="743"/>
                      </a:lnTo>
                      <a:lnTo>
                        <a:pt x="1022" y="743"/>
                      </a:lnTo>
                      <a:lnTo>
                        <a:pt x="1022" y="742"/>
                      </a:lnTo>
                      <a:lnTo>
                        <a:pt x="1023" y="740"/>
                      </a:lnTo>
                      <a:lnTo>
                        <a:pt x="1023" y="740"/>
                      </a:lnTo>
                      <a:lnTo>
                        <a:pt x="1025" y="739"/>
                      </a:lnTo>
                      <a:close/>
                      <a:moveTo>
                        <a:pt x="942" y="712"/>
                      </a:moveTo>
                      <a:lnTo>
                        <a:pt x="943" y="712"/>
                      </a:lnTo>
                      <a:lnTo>
                        <a:pt x="943" y="713"/>
                      </a:lnTo>
                      <a:lnTo>
                        <a:pt x="943" y="713"/>
                      </a:lnTo>
                      <a:lnTo>
                        <a:pt x="943" y="713"/>
                      </a:lnTo>
                      <a:lnTo>
                        <a:pt x="943" y="713"/>
                      </a:lnTo>
                      <a:lnTo>
                        <a:pt x="943" y="714"/>
                      </a:lnTo>
                      <a:lnTo>
                        <a:pt x="944" y="714"/>
                      </a:lnTo>
                      <a:lnTo>
                        <a:pt x="944" y="715"/>
                      </a:lnTo>
                      <a:lnTo>
                        <a:pt x="944" y="715"/>
                      </a:lnTo>
                      <a:lnTo>
                        <a:pt x="946" y="716"/>
                      </a:lnTo>
                      <a:lnTo>
                        <a:pt x="948" y="717"/>
                      </a:lnTo>
                      <a:lnTo>
                        <a:pt x="949" y="717"/>
                      </a:lnTo>
                      <a:lnTo>
                        <a:pt x="949" y="717"/>
                      </a:lnTo>
                      <a:lnTo>
                        <a:pt x="950" y="718"/>
                      </a:lnTo>
                      <a:lnTo>
                        <a:pt x="951" y="718"/>
                      </a:lnTo>
                      <a:lnTo>
                        <a:pt x="951" y="718"/>
                      </a:lnTo>
                      <a:lnTo>
                        <a:pt x="951" y="718"/>
                      </a:lnTo>
                      <a:lnTo>
                        <a:pt x="951" y="719"/>
                      </a:lnTo>
                      <a:lnTo>
                        <a:pt x="952" y="720"/>
                      </a:lnTo>
                      <a:lnTo>
                        <a:pt x="952" y="720"/>
                      </a:lnTo>
                      <a:lnTo>
                        <a:pt x="954" y="720"/>
                      </a:lnTo>
                      <a:lnTo>
                        <a:pt x="954" y="721"/>
                      </a:lnTo>
                      <a:lnTo>
                        <a:pt x="955" y="720"/>
                      </a:lnTo>
                      <a:lnTo>
                        <a:pt x="956" y="721"/>
                      </a:lnTo>
                      <a:lnTo>
                        <a:pt x="956" y="721"/>
                      </a:lnTo>
                      <a:lnTo>
                        <a:pt x="956" y="721"/>
                      </a:lnTo>
                      <a:lnTo>
                        <a:pt x="956" y="722"/>
                      </a:lnTo>
                      <a:lnTo>
                        <a:pt x="957" y="722"/>
                      </a:lnTo>
                      <a:lnTo>
                        <a:pt x="959" y="722"/>
                      </a:lnTo>
                      <a:lnTo>
                        <a:pt x="960" y="723"/>
                      </a:lnTo>
                      <a:lnTo>
                        <a:pt x="960" y="724"/>
                      </a:lnTo>
                      <a:lnTo>
                        <a:pt x="960" y="724"/>
                      </a:lnTo>
                      <a:lnTo>
                        <a:pt x="962" y="724"/>
                      </a:lnTo>
                      <a:lnTo>
                        <a:pt x="962" y="725"/>
                      </a:lnTo>
                      <a:lnTo>
                        <a:pt x="963" y="725"/>
                      </a:lnTo>
                      <a:lnTo>
                        <a:pt x="964" y="726"/>
                      </a:lnTo>
                      <a:lnTo>
                        <a:pt x="965" y="726"/>
                      </a:lnTo>
                      <a:lnTo>
                        <a:pt x="965" y="726"/>
                      </a:lnTo>
                      <a:lnTo>
                        <a:pt x="966" y="726"/>
                      </a:lnTo>
                      <a:lnTo>
                        <a:pt x="966" y="725"/>
                      </a:lnTo>
                      <a:lnTo>
                        <a:pt x="966" y="725"/>
                      </a:lnTo>
                      <a:lnTo>
                        <a:pt x="966" y="724"/>
                      </a:lnTo>
                      <a:lnTo>
                        <a:pt x="967" y="724"/>
                      </a:lnTo>
                      <a:lnTo>
                        <a:pt x="967" y="724"/>
                      </a:lnTo>
                      <a:lnTo>
                        <a:pt x="967" y="724"/>
                      </a:lnTo>
                      <a:lnTo>
                        <a:pt x="968" y="724"/>
                      </a:lnTo>
                      <a:lnTo>
                        <a:pt x="969" y="724"/>
                      </a:lnTo>
                      <a:lnTo>
                        <a:pt x="969" y="725"/>
                      </a:lnTo>
                      <a:lnTo>
                        <a:pt x="969" y="725"/>
                      </a:lnTo>
                      <a:lnTo>
                        <a:pt x="969" y="726"/>
                      </a:lnTo>
                      <a:lnTo>
                        <a:pt x="969" y="726"/>
                      </a:lnTo>
                      <a:lnTo>
                        <a:pt x="969" y="727"/>
                      </a:lnTo>
                      <a:lnTo>
                        <a:pt x="969" y="728"/>
                      </a:lnTo>
                      <a:lnTo>
                        <a:pt x="970" y="729"/>
                      </a:lnTo>
                      <a:lnTo>
                        <a:pt x="970" y="729"/>
                      </a:lnTo>
                      <a:lnTo>
                        <a:pt x="970" y="728"/>
                      </a:lnTo>
                      <a:lnTo>
                        <a:pt x="971" y="728"/>
                      </a:lnTo>
                      <a:lnTo>
                        <a:pt x="971" y="729"/>
                      </a:lnTo>
                      <a:lnTo>
                        <a:pt x="972" y="729"/>
                      </a:lnTo>
                      <a:lnTo>
                        <a:pt x="972" y="729"/>
                      </a:lnTo>
                      <a:lnTo>
                        <a:pt x="972" y="729"/>
                      </a:lnTo>
                      <a:lnTo>
                        <a:pt x="973" y="729"/>
                      </a:lnTo>
                      <a:lnTo>
                        <a:pt x="973" y="729"/>
                      </a:lnTo>
                      <a:lnTo>
                        <a:pt x="973" y="729"/>
                      </a:lnTo>
                      <a:lnTo>
                        <a:pt x="973" y="730"/>
                      </a:lnTo>
                      <a:lnTo>
                        <a:pt x="973" y="730"/>
                      </a:lnTo>
                      <a:lnTo>
                        <a:pt x="973" y="730"/>
                      </a:lnTo>
                      <a:lnTo>
                        <a:pt x="974" y="730"/>
                      </a:lnTo>
                      <a:lnTo>
                        <a:pt x="974" y="731"/>
                      </a:lnTo>
                      <a:lnTo>
                        <a:pt x="974" y="732"/>
                      </a:lnTo>
                      <a:lnTo>
                        <a:pt x="974" y="734"/>
                      </a:lnTo>
                      <a:lnTo>
                        <a:pt x="973" y="734"/>
                      </a:lnTo>
                      <a:lnTo>
                        <a:pt x="973" y="734"/>
                      </a:lnTo>
                      <a:lnTo>
                        <a:pt x="972" y="734"/>
                      </a:lnTo>
                      <a:lnTo>
                        <a:pt x="972" y="734"/>
                      </a:lnTo>
                      <a:lnTo>
                        <a:pt x="971" y="735"/>
                      </a:lnTo>
                      <a:lnTo>
                        <a:pt x="971" y="734"/>
                      </a:lnTo>
                      <a:lnTo>
                        <a:pt x="970" y="735"/>
                      </a:lnTo>
                      <a:lnTo>
                        <a:pt x="971" y="736"/>
                      </a:lnTo>
                      <a:lnTo>
                        <a:pt x="971" y="736"/>
                      </a:lnTo>
                      <a:lnTo>
                        <a:pt x="971" y="736"/>
                      </a:lnTo>
                      <a:lnTo>
                        <a:pt x="972" y="736"/>
                      </a:lnTo>
                      <a:lnTo>
                        <a:pt x="972" y="736"/>
                      </a:lnTo>
                      <a:lnTo>
                        <a:pt x="973" y="736"/>
                      </a:lnTo>
                      <a:lnTo>
                        <a:pt x="973" y="737"/>
                      </a:lnTo>
                      <a:lnTo>
                        <a:pt x="974" y="736"/>
                      </a:lnTo>
                      <a:lnTo>
                        <a:pt x="974" y="737"/>
                      </a:lnTo>
                      <a:lnTo>
                        <a:pt x="974" y="738"/>
                      </a:lnTo>
                      <a:lnTo>
                        <a:pt x="976" y="739"/>
                      </a:lnTo>
                      <a:lnTo>
                        <a:pt x="976" y="740"/>
                      </a:lnTo>
                      <a:lnTo>
                        <a:pt x="976" y="740"/>
                      </a:lnTo>
                      <a:lnTo>
                        <a:pt x="976" y="740"/>
                      </a:lnTo>
                      <a:lnTo>
                        <a:pt x="977" y="740"/>
                      </a:lnTo>
                      <a:lnTo>
                        <a:pt x="977" y="741"/>
                      </a:lnTo>
                      <a:lnTo>
                        <a:pt x="977" y="741"/>
                      </a:lnTo>
                      <a:lnTo>
                        <a:pt x="978" y="742"/>
                      </a:lnTo>
                      <a:lnTo>
                        <a:pt x="978" y="742"/>
                      </a:lnTo>
                      <a:lnTo>
                        <a:pt x="979" y="742"/>
                      </a:lnTo>
                      <a:lnTo>
                        <a:pt x="980" y="742"/>
                      </a:lnTo>
                      <a:lnTo>
                        <a:pt x="981" y="742"/>
                      </a:lnTo>
                      <a:lnTo>
                        <a:pt x="981" y="743"/>
                      </a:lnTo>
                      <a:lnTo>
                        <a:pt x="982" y="743"/>
                      </a:lnTo>
                      <a:lnTo>
                        <a:pt x="982" y="743"/>
                      </a:lnTo>
                      <a:lnTo>
                        <a:pt x="982" y="744"/>
                      </a:lnTo>
                      <a:lnTo>
                        <a:pt x="982" y="745"/>
                      </a:lnTo>
                      <a:lnTo>
                        <a:pt x="982" y="745"/>
                      </a:lnTo>
                      <a:lnTo>
                        <a:pt x="983" y="746"/>
                      </a:lnTo>
                      <a:lnTo>
                        <a:pt x="983" y="746"/>
                      </a:lnTo>
                      <a:lnTo>
                        <a:pt x="983" y="747"/>
                      </a:lnTo>
                      <a:lnTo>
                        <a:pt x="982" y="747"/>
                      </a:lnTo>
                      <a:lnTo>
                        <a:pt x="982" y="747"/>
                      </a:lnTo>
                      <a:lnTo>
                        <a:pt x="983" y="747"/>
                      </a:lnTo>
                      <a:lnTo>
                        <a:pt x="983" y="748"/>
                      </a:lnTo>
                      <a:lnTo>
                        <a:pt x="983" y="748"/>
                      </a:lnTo>
                      <a:lnTo>
                        <a:pt x="983" y="749"/>
                      </a:lnTo>
                      <a:lnTo>
                        <a:pt x="983" y="749"/>
                      </a:lnTo>
                      <a:lnTo>
                        <a:pt x="983" y="750"/>
                      </a:lnTo>
                      <a:lnTo>
                        <a:pt x="982" y="750"/>
                      </a:lnTo>
                      <a:lnTo>
                        <a:pt x="982" y="751"/>
                      </a:lnTo>
                      <a:lnTo>
                        <a:pt x="982" y="751"/>
                      </a:lnTo>
                      <a:lnTo>
                        <a:pt x="983" y="752"/>
                      </a:lnTo>
                      <a:lnTo>
                        <a:pt x="983" y="753"/>
                      </a:lnTo>
                      <a:lnTo>
                        <a:pt x="983" y="754"/>
                      </a:lnTo>
                      <a:lnTo>
                        <a:pt x="982" y="753"/>
                      </a:lnTo>
                      <a:lnTo>
                        <a:pt x="982" y="754"/>
                      </a:lnTo>
                      <a:lnTo>
                        <a:pt x="981" y="754"/>
                      </a:lnTo>
                      <a:lnTo>
                        <a:pt x="981" y="754"/>
                      </a:lnTo>
                      <a:lnTo>
                        <a:pt x="981" y="755"/>
                      </a:lnTo>
                      <a:lnTo>
                        <a:pt x="981" y="756"/>
                      </a:lnTo>
                      <a:lnTo>
                        <a:pt x="981" y="756"/>
                      </a:lnTo>
                      <a:lnTo>
                        <a:pt x="981" y="757"/>
                      </a:lnTo>
                      <a:lnTo>
                        <a:pt x="981" y="757"/>
                      </a:lnTo>
                      <a:lnTo>
                        <a:pt x="981" y="757"/>
                      </a:lnTo>
                      <a:lnTo>
                        <a:pt x="980" y="757"/>
                      </a:lnTo>
                      <a:lnTo>
                        <a:pt x="980" y="757"/>
                      </a:lnTo>
                      <a:lnTo>
                        <a:pt x="981" y="758"/>
                      </a:lnTo>
                      <a:lnTo>
                        <a:pt x="981" y="759"/>
                      </a:lnTo>
                      <a:lnTo>
                        <a:pt x="982" y="759"/>
                      </a:lnTo>
                      <a:lnTo>
                        <a:pt x="982" y="759"/>
                      </a:lnTo>
                      <a:lnTo>
                        <a:pt x="981" y="759"/>
                      </a:lnTo>
                      <a:lnTo>
                        <a:pt x="981" y="759"/>
                      </a:lnTo>
                      <a:lnTo>
                        <a:pt x="980" y="759"/>
                      </a:lnTo>
                      <a:lnTo>
                        <a:pt x="980" y="759"/>
                      </a:lnTo>
                      <a:lnTo>
                        <a:pt x="980" y="760"/>
                      </a:lnTo>
                      <a:lnTo>
                        <a:pt x="979" y="760"/>
                      </a:lnTo>
                      <a:lnTo>
                        <a:pt x="979" y="759"/>
                      </a:lnTo>
                      <a:lnTo>
                        <a:pt x="978" y="758"/>
                      </a:lnTo>
                      <a:lnTo>
                        <a:pt x="978" y="758"/>
                      </a:lnTo>
                      <a:lnTo>
                        <a:pt x="977" y="757"/>
                      </a:lnTo>
                      <a:lnTo>
                        <a:pt x="977" y="756"/>
                      </a:lnTo>
                      <a:lnTo>
                        <a:pt x="976" y="756"/>
                      </a:lnTo>
                      <a:lnTo>
                        <a:pt x="976" y="755"/>
                      </a:lnTo>
                      <a:lnTo>
                        <a:pt x="975" y="755"/>
                      </a:lnTo>
                      <a:lnTo>
                        <a:pt x="974" y="755"/>
                      </a:lnTo>
                      <a:lnTo>
                        <a:pt x="974" y="755"/>
                      </a:lnTo>
                      <a:lnTo>
                        <a:pt x="973" y="755"/>
                      </a:lnTo>
                      <a:lnTo>
                        <a:pt x="973" y="755"/>
                      </a:lnTo>
                      <a:lnTo>
                        <a:pt x="973" y="755"/>
                      </a:lnTo>
                      <a:lnTo>
                        <a:pt x="972" y="755"/>
                      </a:lnTo>
                      <a:lnTo>
                        <a:pt x="972" y="755"/>
                      </a:lnTo>
                      <a:lnTo>
                        <a:pt x="972" y="755"/>
                      </a:lnTo>
                      <a:lnTo>
                        <a:pt x="972" y="756"/>
                      </a:lnTo>
                      <a:lnTo>
                        <a:pt x="971" y="756"/>
                      </a:lnTo>
                      <a:lnTo>
                        <a:pt x="971" y="756"/>
                      </a:lnTo>
                      <a:lnTo>
                        <a:pt x="971" y="756"/>
                      </a:lnTo>
                      <a:lnTo>
                        <a:pt x="971" y="757"/>
                      </a:lnTo>
                      <a:lnTo>
                        <a:pt x="972" y="758"/>
                      </a:lnTo>
                      <a:lnTo>
                        <a:pt x="972" y="758"/>
                      </a:lnTo>
                      <a:lnTo>
                        <a:pt x="972" y="759"/>
                      </a:lnTo>
                      <a:lnTo>
                        <a:pt x="973" y="759"/>
                      </a:lnTo>
                      <a:lnTo>
                        <a:pt x="973" y="760"/>
                      </a:lnTo>
                      <a:lnTo>
                        <a:pt x="973" y="760"/>
                      </a:lnTo>
                      <a:lnTo>
                        <a:pt x="972" y="762"/>
                      </a:lnTo>
                      <a:lnTo>
                        <a:pt x="971" y="762"/>
                      </a:lnTo>
                      <a:lnTo>
                        <a:pt x="971" y="762"/>
                      </a:lnTo>
                      <a:lnTo>
                        <a:pt x="971" y="762"/>
                      </a:lnTo>
                      <a:lnTo>
                        <a:pt x="971" y="763"/>
                      </a:lnTo>
                      <a:lnTo>
                        <a:pt x="971" y="764"/>
                      </a:lnTo>
                      <a:lnTo>
                        <a:pt x="971" y="765"/>
                      </a:lnTo>
                      <a:lnTo>
                        <a:pt x="971" y="766"/>
                      </a:lnTo>
                      <a:lnTo>
                        <a:pt x="970" y="766"/>
                      </a:lnTo>
                      <a:lnTo>
                        <a:pt x="969" y="765"/>
                      </a:lnTo>
                      <a:lnTo>
                        <a:pt x="969" y="765"/>
                      </a:lnTo>
                      <a:lnTo>
                        <a:pt x="969" y="765"/>
                      </a:lnTo>
                      <a:lnTo>
                        <a:pt x="968" y="765"/>
                      </a:lnTo>
                      <a:lnTo>
                        <a:pt x="967" y="765"/>
                      </a:lnTo>
                      <a:lnTo>
                        <a:pt x="967" y="766"/>
                      </a:lnTo>
                      <a:lnTo>
                        <a:pt x="966" y="765"/>
                      </a:lnTo>
                      <a:lnTo>
                        <a:pt x="966" y="766"/>
                      </a:lnTo>
                      <a:lnTo>
                        <a:pt x="966" y="766"/>
                      </a:lnTo>
                      <a:lnTo>
                        <a:pt x="966" y="767"/>
                      </a:lnTo>
                      <a:lnTo>
                        <a:pt x="965" y="767"/>
                      </a:lnTo>
                      <a:lnTo>
                        <a:pt x="965" y="767"/>
                      </a:lnTo>
                      <a:lnTo>
                        <a:pt x="965" y="768"/>
                      </a:lnTo>
                      <a:lnTo>
                        <a:pt x="964" y="768"/>
                      </a:lnTo>
                      <a:lnTo>
                        <a:pt x="964" y="768"/>
                      </a:lnTo>
                      <a:lnTo>
                        <a:pt x="964" y="768"/>
                      </a:lnTo>
                      <a:lnTo>
                        <a:pt x="963" y="769"/>
                      </a:lnTo>
                      <a:lnTo>
                        <a:pt x="964" y="769"/>
                      </a:lnTo>
                      <a:lnTo>
                        <a:pt x="963" y="769"/>
                      </a:lnTo>
                      <a:lnTo>
                        <a:pt x="963" y="770"/>
                      </a:lnTo>
                      <a:lnTo>
                        <a:pt x="963" y="770"/>
                      </a:lnTo>
                      <a:lnTo>
                        <a:pt x="963" y="770"/>
                      </a:lnTo>
                      <a:lnTo>
                        <a:pt x="963" y="772"/>
                      </a:lnTo>
                      <a:lnTo>
                        <a:pt x="963" y="772"/>
                      </a:lnTo>
                      <a:lnTo>
                        <a:pt x="962" y="772"/>
                      </a:lnTo>
                      <a:lnTo>
                        <a:pt x="962" y="772"/>
                      </a:lnTo>
                      <a:lnTo>
                        <a:pt x="961" y="772"/>
                      </a:lnTo>
                      <a:lnTo>
                        <a:pt x="961" y="772"/>
                      </a:lnTo>
                      <a:lnTo>
                        <a:pt x="960" y="772"/>
                      </a:lnTo>
                      <a:lnTo>
                        <a:pt x="960" y="772"/>
                      </a:lnTo>
                      <a:lnTo>
                        <a:pt x="961" y="772"/>
                      </a:lnTo>
                      <a:lnTo>
                        <a:pt x="960" y="773"/>
                      </a:lnTo>
                      <a:lnTo>
                        <a:pt x="961" y="773"/>
                      </a:lnTo>
                      <a:lnTo>
                        <a:pt x="961" y="774"/>
                      </a:lnTo>
                      <a:lnTo>
                        <a:pt x="962" y="774"/>
                      </a:lnTo>
                      <a:lnTo>
                        <a:pt x="962" y="774"/>
                      </a:lnTo>
                      <a:lnTo>
                        <a:pt x="963" y="775"/>
                      </a:lnTo>
                      <a:lnTo>
                        <a:pt x="965" y="775"/>
                      </a:lnTo>
                      <a:lnTo>
                        <a:pt x="966" y="775"/>
                      </a:lnTo>
                      <a:lnTo>
                        <a:pt x="965" y="775"/>
                      </a:lnTo>
                      <a:lnTo>
                        <a:pt x="965" y="776"/>
                      </a:lnTo>
                      <a:lnTo>
                        <a:pt x="967" y="776"/>
                      </a:lnTo>
                      <a:lnTo>
                        <a:pt x="968" y="776"/>
                      </a:lnTo>
                      <a:lnTo>
                        <a:pt x="968" y="777"/>
                      </a:lnTo>
                      <a:lnTo>
                        <a:pt x="969" y="777"/>
                      </a:lnTo>
                      <a:lnTo>
                        <a:pt x="969" y="777"/>
                      </a:lnTo>
                      <a:lnTo>
                        <a:pt x="970" y="777"/>
                      </a:lnTo>
                      <a:lnTo>
                        <a:pt x="970" y="776"/>
                      </a:lnTo>
                      <a:lnTo>
                        <a:pt x="971" y="776"/>
                      </a:lnTo>
                      <a:lnTo>
                        <a:pt x="972" y="778"/>
                      </a:lnTo>
                      <a:lnTo>
                        <a:pt x="973" y="778"/>
                      </a:lnTo>
                      <a:lnTo>
                        <a:pt x="972" y="777"/>
                      </a:lnTo>
                      <a:lnTo>
                        <a:pt x="972" y="777"/>
                      </a:lnTo>
                      <a:lnTo>
                        <a:pt x="973" y="776"/>
                      </a:lnTo>
                      <a:lnTo>
                        <a:pt x="973" y="776"/>
                      </a:lnTo>
                      <a:lnTo>
                        <a:pt x="973" y="775"/>
                      </a:lnTo>
                      <a:lnTo>
                        <a:pt x="974" y="775"/>
                      </a:lnTo>
                      <a:lnTo>
                        <a:pt x="974" y="775"/>
                      </a:lnTo>
                      <a:lnTo>
                        <a:pt x="974" y="775"/>
                      </a:lnTo>
                      <a:lnTo>
                        <a:pt x="975" y="774"/>
                      </a:lnTo>
                      <a:lnTo>
                        <a:pt x="975" y="774"/>
                      </a:lnTo>
                      <a:lnTo>
                        <a:pt x="975" y="774"/>
                      </a:lnTo>
                      <a:lnTo>
                        <a:pt x="975" y="773"/>
                      </a:lnTo>
                      <a:lnTo>
                        <a:pt x="975" y="773"/>
                      </a:lnTo>
                      <a:lnTo>
                        <a:pt x="975" y="772"/>
                      </a:lnTo>
                      <a:lnTo>
                        <a:pt x="976" y="770"/>
                      </a:lnTo>
                      <a:lnTo>
                        <a:pt x="977" y="770"/>
                      </a:lnTo>
                      <a:lnTo>
                        <a:pt x="978" y="772"/>
                      </a:lnTo>
                      <a:lnTo>
                        <a:pt x="979" y="772"/>
                      </a:lnTo>
                      <a:lnTo>
                        <a:pt x="979" y="772"/>
                      </a:lnTo>
                      <a:lnTo>
                        <a:pt x="980" y="772"/>
                      </a:lnTo>
                      <a:lnTo>
                        <a:pt x="980" y="772"/>
                      </a:lnTo>
                      <a:lnTo>
                        <a:pt x="982" y="770"/>
                      </a:lnTo>
                      <a:lnTo>
                        <a:pt x="983" y="772"/>
                      </a:lnTo>
                      <a:lnTo>
                        <a:pt x="983" y="772"/>
                      </a:lnTo>
                      <a:lnTo>
                        <a:pt x="983" y="772"/>
                      </a:lnTo>
                      <a:lnTo>
                        <a:pt x="984" y="773"/>
                      </a:lnTo>
                      <a:lnTo>
                        <a:pt x="984" y="774"/>
                      </a:lnTo>
                      <a:lnTo>
                        <a:pt x="984" y="774"/>
                      </a:lnTo>
                      <a:lnTo>
                        <a:pt x="985" y="774"/>
                      </a:lnTo>
                      <a:lnTo>
                        <a:pt x="985" y="775"/>
                      </a:lnTo>
                      <a:lnTo>
                        <a:pt x="986" y="775"/>
                      </a:lnTo>
                      <a:lnTo>
                        <a:pt x="988" y="775"/>
                      </a:lnTo>
                      <a:lnTo>
                        <a:pt x="988" y="776"/>
                      </a:lnTo>
                      <a:lnTo>
                        <a:pt x="988" y="776"/>
                      </a:lnTo>
                      <a:lnTo>
                        <a:pt x="989" y="777"/>
                      </a:lnTo>
                      <a:lnTo>
                        <a:pt x="990" y="777"/>
                      </a:lnTo>
                      <a:lnTo>
                        <a:pt x="990" y="778"/>
                      </a:lnTo>
                      <a:lnTo>
                        <a:pt x="990" y="779"/>
                      </a:lnTo>
                      <a:lnTo>
                        <a:pt x="990" y="779"/>
                      </a:lnTo>
                      <a:lnTo>
                        <a:pt x="990" y="779"/>
                      </a:lnTo>
                      <a:lnTo>
                        <a:pt x="990" y="781"/>
                      </a:lnTo>
                      <a:lnTo>
                        <a:pt x="990" y="781"/>
                      </a:lnTo>
                      <a:lnTo>
                        <a:pt x="989" y="781"/>
                      </a:lnTo>
                      <a:lnTo>
                        <a:pt x="989" y="782"/>
                      </a:lnTo>
                      <a:lnTo>
                        <a:pt x="990" y="783"/>
                      </a:lnTo>
                      <a:lnTo>
                        <a:pt x="990" y="783"/>
                      </a:lnTo>
                      <a:lnTo>
                        <a:pt x="991" y="782"/>
                      </a:lnTo>
                      <a:lnTo>
                        <a:pt x="992" y="781"/>
                      </a:lnTo>
                      <a:lnTo>
                        <a:pt x="991" y="780"/>
                      </a:lnTo>
                      <a:lnTo>
                        <a:pt x="992" y="780"/>
                      </a:lnTo>
                      <a:lnTo>
                        <a:pt x="992" y="781"/>
                      </a:lnTo>
                      <a:lnTo>
                        <a:pt x="993" y="781"/>
                      </a:lnTo>
                      <a:lnTo>
                        <a:pt x="993" y="780"/>
                      </a:lnTo>
                      <a:lnTo>
                        <a:pt x="994" y="779"/>
                      </a:lnTo>
                      <a:lnTo>
                        <a:pt x="995" y="778"/>
                      </a:lnTo>
                      <a:lnTo>
                        <a:pt x="994" y="777"/>
                      </a:lnTo>
                      <a:lnTo>
                        <a:pt x="995" y="777"/>
                      </a:lnTo>
                      <a:lnTo>
                        <a:pt x="995" y="775"/>
                      </a:lnTo>
                      <a:lnTo>
                        <a:pt x="995" y="773"/>
                      </a:lnTo>
                      <a:lnTo>
                        <a:pt x="997" y="772"/>
                      </a:lnTo>
                      <a:lnTo>
                        <a:pt x="997" y="772"/>
                      </a:lnTo>
                      <a:lnTo>
                        <a:pt x="997" y="770"/>
                      </a:lnTo>
                      <a:lnTo>
                        <a:pt x="998" y="769"/>
                      </a:lnTo>
                      <a:lnTo>
                        <a:pt x="999" y="768"/>
                      </a:lnTo>
                      <a:lnTo>
                        <a:pt x="999" y="768"/>
                      </a:lnTo>
                      <a:lnTo>
                        <a:pt x="1000" y="769"/>
                      </a:lnTo>
                      <a:lnTo>
                        <a:pt x="1000" y="770"/>
                      </a:lnTo>
                      <a:lnTo>
                        <a:pt x="998" y="772"/>
                      </a:lnTo>
                      <a:lnTo>
                        <a:pt x="999" y="773"/>
                      </a:lnTo>
                      <a:lnTo>
                        <a:pt x="1000" y="773"/>
                      </a:lnTo>
                      <a:lnTo>
                        <a:pt x="1002" y="770"/>
                      </a:lnTo>
                      <a:lnTo>
                        <a:pt x="1003" y="770"/>
                      </a:lnTo>
                      <a:lnTo>
                        <a:pt x="1003" y="770"/>
                      </a:lnTo>
                      <a:lnTo>
                        <a:pt x="1005" y="772"/>
                      </a:lnTo>
                      <a:lnTo>
                        <a:pt x="1005" y="772"/>
                      </a:lnTo>
                      <a:lnTo>
                        <a:pt x="1006" y="772"/>
                      </a:lnTo>
                      <a:lnTo>
                        <a:pt x="1006" y="773"/>
                      </a:lnTo>
                      <a:lnTo>
                        <a:pt x="1006" y="773"/>
                      </a:lnTo>
                      <a:lnTo>
                        <a:pt x="1004" y="773"/>
                      </a:lnTo>
                      <a:lnTo>
                        <a:pt x="1004" y="773"/>
                      </a:lnTo>
                      <a:lnTo>
                        <a:pt x="1004" y="773"/>
                      </a:lnTo>
                      <a:lnTo>
                        <a:pt x="1003" y="773"/>
                      </a:lnTo>
                      <a:lnTo>
                        <a:pt x="1003" y="774"/>
                      </a:lnTo>
                      <a:lnTo>
                        <a:pt x="1003" y="774"/>
                      </a:lnTo>
                      <a:lnTo>
                        <a:pt x="1003" y="775"/>
                      </a:lnTo>
                      <a:lnTo>
                        <a:pt x="1004" y="775"/>
                      </a:lnTo>
                      <a:lnTo>
                        <a:pt x="1004" y="775"/>
                      </a:lnTo>
                      <a:lnTo>
                        <a:pt x="1004" y="776"/>
                      </a:lnTo>
                      <a:lnTo>
                        <a:pt x="1003" y="777"/>
                      </a:lnTo>
                      <a:lnTo>
                        <a:pt x="1003" y="778"/>
                      </a:lnTo>
                      <a:lnTo>
                        <a:pt x="1002" y="778"/>
                      </a:lnTo>
                      <a:lnTo>
                        <a:pt x="1002" y="779"/>
                      </a:lnTo>
                      <a:lnTo>
                        <a:pt x="1003" y="780"/>
                      </a:lnTo>
                      <a:lnTo>
                        <a:pt x="1006" y="780"/>
                      </a:lnTo>
                      <a:lnTo>
                        <a:pt x="1006" y="779"/>
                      </a:lnTo>
                      <a:lnTo>
                        <a:pt x="1006" y="778"/>
                      </a:lnTo>
                      <a:lnTo>
                        <a:pt x="1007" y="778"/>
                      </a:lnTo>
                      <a:lnTo>
                        <a:pt x="1007" y="777"/>
                      </a:lnTo>
                      <a:lnTo>
                        <a:pt x="1007" y="777"/>
                      </a:lnTo>
                      <a:lnTo>
                        <a:pt x="1008" y="779"/>
                      </a:lnTo>
                      <a:lnTo>
                        <a:pt x="1007" y="780"/>
                      </a:lnTo>
                      <a:lnTo>
                        <a:pt x="1006" y="780"/>
                      </a:lnTo>
                      <a:lnTo>
                        <a:pt x="1006" y="781"/>
                      </a:lnTo>
                      <a:lnTo>
                        <a:pt x="1005" y="782"/>
                      </a:lnTo>
                      <a:lnTo>
                        <a:pt x="1004" y="782"/>
                      </a:lnTo>
                      <a:lnTo>
                        <a:pt x="1002" y="782"/>
                      </a:lnTo>
                      <a:lnTo>
                        <a:pt x="1002" y="782"/>
                      </a:lnTo>
                      <a:lnTo>
                        <a:pt x="1002" y="782"/>
                      </a:lnTo>
                      <a:lnTo>
                        <a:pt x="1001" y="782"/>
                      </a:lnTo>
                      <a:lnTo>
                        <a:pt x="1001" y="784"/>
                      </a:lnTo>
                      <a:lnTo>
                        <a:pt x="1002" y="785"/>
                      </a:lnTo>
                      <a:lnTo>
                        <a:pt x="1002" y="786"/>
                      </a:lnTo>
                      <a:lnTo>
                        <a:pt x="1002" y="786"/>
                      </a:lnTo>
                      <a:lnTo>
                        <a:pt x="1002" y="787"/>
                      </a:lnTo>
                      <a:lnTo>
                        <a:pt x="1002" y="788"/>
                      </a:lnTo>
                      <a:lnTo>
                        <a:pt x="1001" y="788"/>
                      </a:lnTo>
                      <a:lnTo>
                        <a:pt x="1001" y="788"/>
                      </a:lnTo>
                      <a:lnTo>
                        <a:pt x="1002" y="790"/>
                      </a:lnTo>
                      <a:lnTo>
                        <a:pt x="1003" y="791"/>
                      </a:lnTo>
                      <a:lnTo>
                        <a:pt x="1003" y="791"/>
                      </a:lnTo>
                      <a:lnTo>
                        <a:pt x="1004" y="790"/>
                      </a:lnTo>
                      <a:lnTo>
                        <a:pt x="1004" y="790"/>
                      </a:lnTo>
                      <a:lnTo>
                        <a:pt x="1005" y="791"/>
                      </a:lnTo>
                      <a:lnTo>
                        <a:pt x="1006" y="791"/>
                      </a:lnTo>
                      <a:lnTo>
                        <a:pt x="1006" y="790"/>
                      </a:lnTo>
                      <a:lnTo>
                        <a:pt x="1007" y="790"/>
                      </a:lnTo>
                      <a:lnTo>
                        <a:pt x="1007" y="791"/>
                      </a:lnTo>
                      <a:lnTo>
                        <a:pt x="1008" y="791"/>
                      </a:lnTo>
                      <a:lnTo>
                        <a:pt x="1009" y="791"/>
                      </a:lnTo>
                      <a:lnTo>
                        <a:pt x="1009" y="791"/>
                      </a:lnTo>
                      <a:lnTo>
                        <a:pt x="1009" y="789"/>
                      </a:lnTo>
                      <a:lnTo>
                        <a:pt x="1008" y="789"/>
                      </a:lnTo>
                      <a:lnTo>
                        <a:pt x="1009" y="788"/>
                      </a:lnTo>
                      <a:lnTo>
                        <a:pt x="1009" y="787"/>
                      </a:lnTo>
                      <a:lnTo>
                        <a:pt x="1010" y="787"/>
                      </a:lnTo>
                      <a:lnTo>
                        <a:pt x="1011" y="787"/>
                      </a:lnTo>
                      <a:lnTo>
                        <a:pt x="1011" y="788"/>
                      </a:lnTo>
                      <a:lnTo>
                        <a:pt x="1011" y="788"/>
                      </a:lnTo>
                      <a:lnTo>
                        <a:pt x="1011" y="787"/>
                      </a:lnTo>
                      <a:lnTo>
                        <a:pt x="1012" y="787"/>
                      </a:lnTo>
                      <a:lnTo>
                        <a:pt x="1012" y="786"/>
                      </a:lnTo>
                      <a:lnTo>
                        <a:pt x="1012" y="784"/>
                      </a:lnTo>
                      <a:lnTo>
                        <a:pt x="1013" y="784"/>
                      </a:lnTo>
                      <a:lnTo>
                        <a:pt x="1013" y="783"/>
                      </a:lnTo>
                      <a:lnTo>
                        <a:pt x="1014" y="782"/>
                      </a:lnTo>
                      <a:lnTo>
                        <a:pt x="1014" y="781"/>
                      </a:lnTo>
                      <a:lnTo>
                        <a:pt x="1016" y="781"/>
                      </a:lnTo>
                      <a:lnTo>
                        <a:pt x="1016" y="782"/>
                      </a:lnTo>
                      <a:lnTo>
                        <a:pt x="1016" y="783"/>
                      </a:lnTo>
                      <a:lnTo>
                        <a:pt x="1017" y="783"/>
                      </a:lnTo>
                      <a:lnTo>
                        <a:pt x="1017" y="783"/>
                      </a:lnTo>
                      <a:lnTo>
                        <a:pt x="1017" y="784"/>
                      </a:lnTo>
                      <a:lnTo>
                        <a:pt x="1018" y="784"/>
                      </a:lnTo>
                      <a:lnTo>
                        <a:pt x="1018" y="783"/>
                      </a:lnTo>
                      <a:lnTo>
                        <a:pt x="1018" y="783"/>
                      </a:lnTo>
                      <a:lnTo>
                        <a:pt x="1021" y="783"/>
                      </a:lnTo>
                      <a:lnTo>
                        <a:pt x="1021" y="782"/>
                      </a:lnTo>
                      <a:lnTo>
                        <a:pt x="1022" y="782"/>
                      </a:lnTo>
                      <a:lnTo>
                        <a:pt x="1022" y="782"/>
                      </a:lnTo>
                      <a:lnTo>
                        <a:pt x="1022" y="782"/>
                      </a:lnTo>
                      <a:lnTo>
                        <a:pt x="1024" y="782"/>
                      </a:lnTo>
                      <a:lnTo>
                        <a:pt x="1023" y="781"/>
                      </a:lnTo>
                      <a:lnTo>
                        <a:pt x="1024" y="781"/>
                      </a:lnTo>
                      <a:lnTo>
                        <a:pt x="1024" y="780"/>
                      </a:lnTo>
                      <a:lnTo>
                        <a:pt x="1024" y="779"/>
                      </a:lnTo>
                      <a:lnTo>
                        <a:pt x="1025" y="779"/>
                      </a:lnTo>
                      <a:lnTo>
                        <a:pt x="1025" y="779"/>
                      </a:lnTo>
                      <a:lnTo>
                        <a:pt x="1026" y="779"/>
                      </a:lnTo>
                      <a:lnTo>
                        <a:pt x="1026" y="779"/>
                      </a:lnTo>
                      <a:lnTo>
                        <a:pt x="1026" y="780"/>
                      </a:lnTo>
                      <a:lnTo>
                        <a:pt x="1027" y="782"/>
                      </a:lnTo>
                      <a:lnTo>
                        <a:pt x="1026" y="783"/>
                      </a:lnTo>
                      <a:lnTo>
                        <a:pt x="1027" y="784"/>
                      </a:lnTo>
                      <a:lnTo>
                        <a:pt x="1027" y="785"/>
                      </a:lnTo>
                      <a:lnTo>
                        <a:pt x="1027" y="787"/>
                      </a:lnTo>
                      <a:lnTo>
                        <a:pt x="1028" y="788"/>
                      </a:lnTo>
                      <a:lnTo>
                        <a:pt x="1028" y="788"/>
                      </a:lnTo>
                      <a:lnTo>
                        <a:pt x="1027" y="789"/>
                      </a:lnTo>
                      <a:lnTo>
                        <a:pt x="1027" y="790"/>
                      </a:lnTo>
                      <a:lnTo>
                        <a:pt x="1027" y="790"/>
                      </a:lnTo>
                      <a:lnTo>
                        <a:pt x="1027" y="790"/>
                      </a:lnTo>
                      <a:lnTo>
                        <a:pt x="1027" y="790"/>
                      </a:lnTo>
                      <a:lnTo>
                        <a:pt x="1027" y="789"/>
                      </a:lnTo>
                      <a:lnTo>
                        <a:pt x="1026" y="788"/>
                      </a:lnTo>
                      <a:lnTo>
                        <a:pt x="1024" y="788"/>
                      </a:lnTo>
                      <a:lnTo>
                        <a:pt x="1024" y="789"/>
                      </a:lnTo>
                      <a:lnTo>
                        <a:pt x="1024" y="789"/>
                      </a:lnTo>
                      <a:lnTo>
                        <a:pt x="1024" y="789"/>
                      </a:lnTo>
                      <a:lnTo>
                        <a:pt x="1022" y="789"/>
                      </a:lnTo>
                      <a:lnTo>
                        <a:pt x="1021" y="789"/>
                      </a:lnTo>
                      <a:lnTo>
                        <a:pt x="1020" y="791"/>
                      </a:lnTo>
                      <a:lnTo>
                        <a:pt x="1018" y="791"/>
                      </a:lnTo>
                      <a:lnTo>
                        <a:pt x="1018" y="792"/>
                      </a:lnTo>
                      <a:lnTo>
                        <a:pt x="1017" y="792"/>
                      </a:lnTo>
                      <a:lnTo>
                        <a:pt x="1018" y="792"/>
                      </a:lnTo>
                      <a:lnTo>
                        <a:pt x="1017" y="793"/>
                      </a:lnTo>
                      <a:lnTo>
                        <a:pt x="1017" y="793"/>
                      </a:lnTo>
                      <a:lnTo>
                        <a:pt x="1017" y="792"/>
                      </a:lnTo>
                      <a:lnTo>
                        <a:pt x="1016" y="792"/>
                      </a:lnTo>
                      <a:lnTo>
                        <a:pt x="1016" y="792"/>
                      </a:lnTo>
                      <a:lnTo>
                        <a:pt x="1016" y="794"/>
                      </a:lnTo>
                      <a:lnTo>
                        <a:pt x="1016" y="796"/>
                      </a:lnTo>
                      <a:lnTo>
                        <a:pt x="1017" y="795"/>
                      </a:lnTo>
                      <a:lnTo>
                        <a:pt x="1018" y="795"/>
                      </a:lnTo>
                      <a:lnTo>
                        <a:pt x="1018" y="795"/>
                      </a:lnTo>
                      <a:lnTo>
                        <a:pt x="1018" y="796"/>
                      </a:lnTo>
                      <a:lnTo>
                        <a:pt x="1018" y="796"/>
                      </a:lnTo>
                      <a:lnTo>
                        <a:pt x="1019" y="796"/>
                      </a:lnTo>
                      <a:lnTo>
                        <a:pt x="1020" y="797"/>
                      </a:lnTo>
                      <a:lnTo>
                        <a:pt x="1020" y="799"/>
                      </a:lnTo>
                      <a:lnTo>
                        <a:pt x="1019" y="800"/>
                      </a:lnTo>
                      <a:lnTo>
                        <a:pt x="1020" y="801"/>
                      </a:lnTo>
                      <a:lnTo>
                        <a:pt x="1020" y="801"/>
                      </a:lnTo>
                      <a:lnTo>
                        <a:pt x="1021" y="802"/>
                      </a:lnTo>
                      <a:lnTo>
                        <a:pt x="1020" y="803"/>
                      </a:lnTo>
                      <a:lnTo>
                        <a:pt x="1020" y="804"/>
                      </a:lnTo>
                      <a:lnTo>
                        <a:pt x="1019" y="805"/>
                      </a:lnTo>
                      <a:lnTo>
                        <a:pt x="1019" y="806"/>
                      </a:lnTo>
                      <a:lnTo>
                        <a:pt x="1019" y="806"/>
                      </a:lnTo>
                      <a:lnTo>
                        <a:pt x="1020" y="806"/>
                      </a:lnTo>
                      <a:lnTo>
                        <a:pt x="1020" y="806"/>
                      </a:lnTo>
                      <a:lnTo>
                        <a:pt x="1020" y="805"/>
                      </a:lnTo>
                      <a:lnTo>
                        <a:pt x="1020" y="805"/>
                      </a:lnTo>
                      <a:lnTo>
                        <a:pt x="1021" y="805"/>
                      </a:lnTo>
                      <a:lnTo>
                        <a:pt x="1022" y="804"/>
                      </a:lnTo>
                      <a:lnTo>
                        <a:pt x="1024" y="804"/>
                      </a:lnTo>
                      <a:lnTo>
                        <a:pt x="1025" y="804"/>
                      </a:lnTo>
                      <a:lnTo>
                        <a:pt x="1025" y="804"/>
                      </a:lnTo>
                      <a:lnTo>
                        <a:pt x="1025" y="805"/>
                      </a:lnTo>
                      <a:lnTo>
                        <a:pt x="1025" y="805"/>
                      </a:lnTo>
                      <a:lnTo>
                        <a:pt x="1025" y="806"/>
                      </a:lnTo>
                      <a:lnTo>
                        <a:pt x="1024" y="806"/>
                      </a:lnTo>
                      <a:lnTo>
                        <a:pt x="1025" y="807"/>
                      </a:lnTo>
                      <a:lnTo>
                        <a:pt x="1026" y="807"/>
                      </a:lnTo>
                      <a:lnTo>
                        <a:pt x="1026" y="808"/>
                      </a:lnTo>
                      <a:lnTo>
                        <a:pt x="1026" y="808"/>
                      </a:lnTo>
                      <a:lnTo>
                        <a:pt x="1027" y="810"/>
                      </a:lnTo>
                      <a:lnTo>
                        <a:pt x="1027" y="810"/>
                      </a:lnTo>
                      <a:lnTo>
                        <a:pt x="1028" y="810"/>
                      </a:lnTo>
                      <a:lnTo>
                        <a:pt x="1028" y="810"/>
                      </a:lnTo>
                      <a:lnTo>
                        <a:pt x="1029" y="810"/>
                      </a:lnTo>
                      <a:lnTo>
                        <a:pt x="1029" y="808"/>
                      </a:lnTo>
                      <a:lnTo>
                        <a:pt x="1030" y="806"/>
                      </a:lnTo>
                      <a:lnTo>
                        <a:pt x="1030" y="805"/>
                      </a:lnTo>
                      <a:lnTo>
                        <a:pt x="1029" y="804"/>
                      </a:lnTo>
                      <a:lnTo>
                        <a:pt x="1029" y="805"/>
                      </a:lnTo>
                      <a:lnTo>
                        <a:pt x="1028" y="805"/>
                      </a:lnTo>
                      <a:lnTo>
                        <a:pt x="1028" y="805"/>
                      </a:lnTo>
                      <a:lnTo>
                        <a:pt x="1027" y="805"/>
                      </a:lnTo>
                      <a:lnTo>
                        <a:pt x="1027" y="803"/>
                      </a:lnTo>
                      <a:lnTo>
                        <a:pt x="1027" y="803"/>
                      </a:lnTo>
                      <a:lnTo>
                        <a:pt x="1027" y="802"/>
                      </a:lnTo>
                      <a:lnTo>
                        <a:pt x="1027" y="802"/>
                      </a:lnTo>
                      <a:lnTo>
                        <a:pt x="1028" y="801"/>
                      </a:lnTo>
                      <a:lnTo>
                        <a:pt x="1029" y="799"/>
                      </a:lnTo>
                      <a:lnTo>
                        <a:pt x="1027" y="799"/>
                      </a:lnTo>
                      <a:lnTo>
                        <a:pt x="1027" y="799"/>
                      </a:lnTo>
                      <a:lnTo>
                        <a:pt x="1027" y="799"/>
                      </a:lnTo>
                      <a:lnTo>
                        <a:pt x="1026" y="798"/>
                      </a:lnTo>
                      <a:lnTo>
                        <a:pt x="1025" y="798"/>
                      </a:lnTo>
                      <a:lnTo>
                        <a:pt x="1025" y="797"/>
                      </a:lnTo>
                      <a:lnTo>
                        <a:pt x="1024" y="798"/>
                      </a:lnTo>
                      <a:lnTo>
                        <a:pt x="1024" y="799"/>
                      </a:lnTo>
                      <a:lnTo>
                        <a:pt x="1023" y="799"/>
                      </a:lnTo>
                      <a:lnTo>
                        <a:pt x="1023" y="798"/>
                      </a:lnTo>
                      <a:lnTo>
                        <a:pt x="1024" y="797"/>
                      </a:lnTo>
                      <a:lnTo>
                        <a:pt x="1024" y="797"/>
                      </a:lnTo>
                      <a:lnTo>
                        <a:pt x="1024" y="796"/>
                      </a:lnTo>
                      <a:lnTo>
                        <a:pt x="1026" y="795"/>
                      </a:lnTo>
                      <a:lnTo>
                        <a:pt x="1028" y="795"/>
                      </a:lnTo>
                      <a:lnTo>
                        <a:pt x="1028" y="795"/>
                      </a:lnTo>
                      <a:lnTo>
                        <a:pt x="1029" y="795"/>
                      </a:lnTo>
                      <a:lnTo>
                        <a:pt x="1030" y="795"/>
                      </a:lnTo>
                      <a:lnTo>
                        <a:pt x="1030" y="794"/>
                      </a:lnTo>
                      <a:lnTo>
                        <a:pt x="1031" y="794"/>
                      </a:lnTo>
                      <a:lnTo>
                        <a:pt x="1032" y="793"/>
                      </a:lnTo>
                      <a:lnTo>
                        <a:pt x="1034" y="793"/>
                      </a:lnTo>
                      <a:lnTo>
                        <a:pt x="1034" y="792"/>
                      </a:lnTo>
                      <a:lnTo>
                        <a:pt x="1034" y="792"/>
                      </a:lnTo>
                      <a:lnTo>
                        <a:pt x="1035" y="792"/>
                      </a:lnTo>
                      <a:lnTo>
                        <a:pt x="1035" y="792"/>
                      </a:lnTo>
                      <a:lnTo>
                        <a:pt x="1036" y="791"/>
                      </a:lnTo>
                      <a:lnTo>
                        <a:pt x="1036" y="791"/>
                      </a:lnTo>
                      <a:lnTo>
                        <a:pt x="1037" y="790"/>
                      </a:lnTo>
                      <a:lnTo>
                        <a:pt x="1038" y="790"/>
                      </a:lnTo>
                      <a:lnTo>
                        <a:pt x="1039" y="790"/>
                      </a:lnTo>
                      <a:lnTo>
                        <a:pt x="1040" y="790"/>
                      </a:lnTo>
                      <a:lnTo>
                        <a:pt x="1041" y="789"/>
                      </a:lnTo>
                      <a:lnTo>
                        <a:pt x="1042" y="788"/>
                      </a:lnTo>
                      <a:lnTo>
                        <a:pt x="1043" y="787"/>
                      </a:lnTo>
                      <a:lnTo>
                        <a:pt x="1044" y="787"/>
                      </a:lnTo>
                      <a:lnTo>
                        <a:pt x="1044" y="786"/>
                      </a:lnTo>
                      <a:lnTo>
                        <a:pt x="1046" y="786"/>
                      </a:lnTo>
                      <a:lnTo>
                        <a:pt x="1046" y="788"/>
                      </a:lnTo>
                      <a:lnTo>
                        <a:pt x="1045" y="789"/>
                      </a:lnTo>
                      <a:lnTo>
                        <a:pt x="1046" y="789"/>
                      </a:lnTo>
                      <a:lnTo>
                        <a:pt x="1045" y="790"/>
                      </a:lnTo>
                      <a:lnTo>
                        <a:pt x="1046" y="790"/>
                      </a:lnTo>
                      <a:lnTo>
                        <a:pt x="1046" y="790"/>
                      </a:lnTo>
                      <a:lnTo>
                        <a:pt x="1046" y="791"/>
                      </a:lnTo>
                      <a:lnTo>
                        <a:pt x="1046" y="792"/>
                      </a:lnTo>
                      <a:lnTo>
                        <a:pt x="1046" y="793"/>
                      </a:lnTo>
                      <a:lnTo>
                        <a:pt x="1045" y="794"/>
                      </a:lnTo>
                      <a:lnTo>
                        <a:pt x="1045" y="795"/>
                      </a:lnTo>
                      <a:lnTo>
                        <a:pt x="1045" y="795"/>
                      </a:lnTo>
                      <a:lnTo>
                        <a:pt x="1046" y="797"/>
                      </a:lnTo>
                      <a:lnTo>
                        <a:pt x="1044" y="797"/>
                      </a:lnTo>
                      <a:lnTo>
                        <a:pt x="1044" y="797"/>
                      </a:lnTo>
                      <a:lnTo>
                        <a:pt x="1043" y="797"/>
                      </a:lnTo>
                      <a:lnTo>
                        <a:pt x="1044" y="798"/>
                      </a:lnTo>
                      <a:lnTo>
                        <a:pt x="1044" y="798"/>
                      </a:lnTo>
                      <a:lnTo>
                        <a:pt x="1044" y="799"/>
                      </a:lnTo>
                      <a:lnTo>
                        <a:pt x="1044" y="799"/>
                      </a:lnTo>
                      <a:lnTo>
                        <a:pt x="1044" y="799"/>
                      </a:lnTo>
                      <a:lnTo>
                        <a:pt x="1043" y="800"/>
                      </a:lnTo>
                      <a:lnTo>
                        <a:pt x="1043" y="801"/>
                      </a:lnTo>
                      <a:lnTo>
                        <a:pt x="1044" y="801"/>
                      </a:lnTo>
                      <a:lnTo>
                        <a:pt x="1045" y="803"/>
                      </a:lnTo>
                      <a:lnTo>
                        <a:pt x="1045" y="804"/>
                      </a:lnTo>
                      <a:lnTo>
                        <a:pt x="1044" y="804"/>
                      </a:lnTo>
                      <a:lnTo>
                        <a:pt x="1045" y="805"/>
                      </a:lnTo>
                      <a:lnTo>
                        <a:pt x="1045" y="806"/>
                      </a:lnTo>
                      <a:lnTo>
                        <a:pt x="1045" y="807"/>
                      </a:lnTo>
                      <a:lnTo>
                        <a:pt x="1044" y="808"/>
                      </a:lnTo>
                      <a:lnTo>
                        <a:pt x="1042" y="808"/>
                      </a:lnTo>
                      <a:lnTo>
                        <a:pt x="1041" y="807"/>
                      </a:lnTo>
                      <a:lnTo>
                        <a:pt x="1039" y="807"/>
                      </a:lnTo>
                      <a:lnTo>
                        <a:pt x="1039" y="807"/>
                      </a:lnTo>
                      <a:lnTo>
                        <a:pt x="1039" y="806"/>
                      </a:lnTo>
                      <a:lnTo>
                        <a:pt x="1038" y="806"/>
                      </a:lnTo>
                      <a:lnTo>
                        <a:pt x="1036" y="806"/>
                      </a:lnTo>
                      <a:lnTo>
                        <a:pt x="1036" y="807"/>
                      </a:lnTo>
                      <a:lnTo>
                        <a:pt x="1036" y="808"/>
                      </a:lnTo>
                      <a:lnTo>
                        <a:pt x="1035" y="810"/>
                      </a:lnTo>
                      <a:lnTo>
                        <a:pt x="1035" y="811"/>
                      </a:lnTo>
                      <a:lnTo>
                        <a:pt x="1035" y="811"/>
                      </a:lnTo>
                      <a:lnTo>
                        <a:pt x="1034" y="811"/>
                      </a:lnTo>
                      <a:lnTo>
                        <a:pt x="1032" y="811"/>
                      </a:lnTo>
                      <a:lnTo>
                        <a:pt x="1032" y="811"/>
                      </a:lnTo>
                      <a:lnTo>
                        <a:pt x="1031" y="811"/>
                      </a:lnTo>
                      <a:lnTo>
                        <a:pt x="1030" y="810"/>
                      </a:lnTo>
                      <a:lnTo>
                        <a:pt x="1029" y="810"/>
                      </a:lnTo>
                      <a:lnTo>
                        <a:pt x="1029" y="810"/>
                      </a:lnTo>
                      <a:lnTo>
                        <a:pt x="1028" y="811"/>
                      </a:lnTo>
                      <a:lnTo>
                        <a:pt x="1028" y="812"/>
                      </a:lnTo>
                      <a:lnTo>
                        <a:pt x="1028" y="813"/>
                      </a:lnTo>
                      <a:lnTo>
                        <a:pt x="1027" y="813"/>
                      </a:lnTo>
                      <a:lnTo>
                        <a:pt x="1026" y="815"/>
                      </a:lnTo>
                      <a:lnTo>
                        <a:pt x="1025" y="817"/>
                      </a:lnTo>
                      <a:lnTo>
                        <a:pt x="1025" y="819"/>
                      </a:lnTo>
                      <a:lnTo>
                        <a:pt x="1025" y="819"/>
                      </a:lnTo>
                      <a:lnTo>
                        <a:pt x="1024" y="819"/>
                      </a:lnTo>
                      <a:lnTo>
                        <a:pt x="1023" y="820"/>
                      </a:lnTo>
                      <a:lnTo>
                        <a:pt x="1022" y="821"/>
                      </a:lnTo>
                      <a:lnTo>
                        <a:pt x="1021" y="822"/>
                      </a:lnTo>
                      <a:lnTo>
                        <a:pt x="1021" y="823"/>
                      </a:lnTo>
                      <a:lnTo>
                        <a:pt x="1022" y="824"/>
                      </a:lnTo>
                      <a:lnTo>
                        <a:pt x="1021" y="825"/>
                      </a:lnTo>
                      <a:lnTo>
                        <a:pt x="1021" y="826"/>
                      </a:lnTo>
                      <a:lnTo>
                        <a:pt x="1021" y="826"/>
                      </a:lnTo>
                      <a:lnTo>
                        <a:pt x="1020" y="827"/>
                      </a:lnTo>
                      <a:lnTo>
                        <a:pt x="1019" y="828"/>
                      </a:lnTo>
                      <a:lnTo>
                        <a:pt x="1019" y="828"/>
                      </a:lnTo>
                      <a:lnTo>
                        <a:pt x="1018" y="827"/>
                      </a:lnTo>
                      <a:lnTo>
                        <a:pt x="1017" y="826"/>
                      </a:lnTo>
                      <a:lnTo>
                        <a:pt x="1018" y="826"/>
                      </a:lnTo>
                      <a:lnTo>
                        <a:pt x="1019" y="825"/>
                      </a:lnTo>
                      <a:lnTo>
                        <a:pt x="1018" y="825"/>
                      </a:lnTo>
                      <a:lnTo>
                        <a:pt x="1018" y="825"/>
                      </a:lnTo>
                      <a:lnTo>
                        <a:pt x="1018" y="824"/>
                      </a:lnTo>
                      <a:lnTo>
                        <a:pt x="1019" y="824"/>
                      </a:lnTo>
                      <a:lnTo>
                        <a:pt x="1019" y="824"/>
                      </a:lnTo>
                      <a:lnTo>
                        <a:pt x="1018" y="824"/>
                      </a:lnTo>
                      <a:lnTo>
                        <a:pt x="1018" y="824"/>
                      </a:lnTo>
                      <a:lnTo>
                        <a:pt x="1017" y="823"/>
                      </a:lnTo>
                      <a:lnTo>
                        <a:pt x="1016" y="822"/>
                      </a:lnTo>
                      <a:lnTo>
                        <a:pt x="1016" y="821"/>
                      </a:lnTo>
                      <a:lnTo>
                        <a:pt x="1016" y="821"/>
                      </a:lnTo>
                      <a:lnTo>
                        <a:pt x="1015" y="821"/>
                      </a:lnTo>
                      <a:lnTo>
                        <a:pt x="1015" y="821"/>
                      </a:lnTo>
                      <a:lnTo>
                        <a:pt x="1014" y="820"/>
                      </a:lnTo>
                      <a:lnTo>
                        <a:pt x="1013" y="820"/>
                      </a:lnTo>
                      <a:lnTo>
                        <a:pt x="1013" y="819"/>
                      </a:lnTo>
                      <a:lnTo>
                        <a:pt x="1012" y="819"/>
                      </a:lnTo>
                      <a:lnTo>
                        <a:pt x="1012" y="819"/>
                      </a:lnTo>
                      <a:lnTo>
                        <a:pt x="1010" y="817"/>
                      </a:lnTo>
                      <a:lnTo>
                        <a:pt x="1009" y="817"/>
                      </a:lnTo>
                      <a:lnTo>
                        <a:pt x="1009" y="817"/>
                      </a:lnTo>
                      <a:lnTo>
                        <a:pt x="1009" y="816"/>
                      </a:lnTo>
                      <a:lnTo>
                        <a:pt x="1007" y="817"/>
                      </a:lnTo>
                      <a:lnTo>
                        <a:pt x="1007" y="817"/>
                      </a:lnTo>
                      <a:lnTo>
                        <a:pt x="1006" y="818"/>
                      </a:lnTo>
                      <a:lnTo>
                        <a:pt x="1006" y="820"/>
                      </a:lnTo>
                      <a:lnTo>
                        <a:pt x="1008" y="820"/>
                      </a:lnTo>
                      <a:lnTo>
                        <a:pt x="1009" y="820"/>
                      </a:lnTo>
                      <a:lnTo>
                        <a:pt x="1009" y="821"/>
                      </a:lnTo>
                      <a:lnTo>
                        <a:pt x="1007" y="822"/>
                      </a:lnTo>
                      <a:lnTo>
                        <a:pt x="1007" y="823"/>
                      </a:lnTo>
                      <a:lnTo>
                        <a:pt x="1006" y="823"/>
                      </a:lnTo>
                      <a:lnTo>
                        <a:pt x="1006" y="823"/>
                      </a:lnTo>
                      <a:lnTo>
                        <a:pt x="1005" y="823"/>
                      </a:lnTo>
                      <a:lnTo>
                        <a:pt x="1004" y="824"/>
                      </a:lnTo>
                      <a:lnTo>
                        <a:pt x="1004" y="824"/>
                      </a:lnTo>
                      <a:lnTo>
                        <a:pt x="1005" y="824"/>
                      </a:lnTo>
                      <a:lnTo>
                        <a:pt x="1005" y="825"/>
                      </a:lnTo>
                      <a:lnTo>
                        <a:pt x="1004" y="825"/>
                      </a:lnTo>
                      <a:lnTo>
                        <a:pt x="1003" y="827"/>
                      </a:lnTo>
                      <a:lnTo>
                        <a:pt x="1002" y="827"/>
                      </a:lnTo>
                      <a:lnTo>
                        <a:pt x="1002" y="828"/>
                      </a:lnTo>
                      <a:lnTo>
                        <a:pt x="1003" y="829"/>
                      </a:lnTo>
                      <a:lnTo>
                        <a:pt x="1003" y="829"/>
                      </a:lnTo>
                      <a:lnTo>
                        <a:pt x="1004" y="828"/>
                      </a:lnTo>
                      <a:lnTo>
                        <a:pt x="1004" y="827"/>
                      </a:lnTo>
                      <a:lnTo>
                        <a:pt x="1004" y="827"/>
                      </a:lnTo>
                      <a:lnTo>
                        <a:pt x="1004" y="827"/>
                      </a:lnTo>
                      <a:lnTo>
                        <a:pt x="1005" y="827"/>
                      </a:lnTo>
                      <a:lnTo>
                        <a:pt x="1005" y="828"/>
                      </a:lnTo>
                      <a:lnTo>
                        <a:pt x="1005" y="828"/>
                      </a:lnTo>
                      <a:lnTo>
                        <a:pt x="1006" y="827"/>
                      </a:lnTo>
                      <a:lnTo>
                        <a:pt x="1008" y="827"/>
                      </a:lnTo>
                      <a:lnTo>
                        <a:pt x="1008" y="827"/>
                      </a:lnTo>
                      <a:lnTo>
                        <a:pt x="1008" y="828"/>
                      </a:lnTo>
                      <a:lnTo>
                        <a:pt x="1008" y="828"/>
                      </a:lnTo>
                      <a:lnTo>
                        <a:pt x="1008" y="829"/>
                      </a:lnTo>
                      <a:lnTo>
                        <a:pt x="1007" y="829"/>
                      </a:lnTo>
                      <a:lnTo>
                        <a:pt x="1007" y="830"/>
                      </a:lnTo>
                      <a:lnTo>
                        <a:pt x="1007" y="830"/>
                      </a:lnTo>
                      <a:lnTo>
                        <a:pt x="1008" y="830"/>
                      </a:lnTo>
                      <a:lnTo>
                        <a:pt x="1007" y="831"/>
                      </a:lnTo>
                      <a:lnTo>
                        <a:pt x="1006" y="832"/>
                      </a:lnTo>
                      <a:lnTo>
                        <a:pt x="1007" y="834"/>
                      </a:lnTo>
                      <a:lnTo>
                        <a:pt x="1007" y="835"/>
                      </a:lnTo>
                      <a:lnTo>
                        <a:pt x="1008" y="835"/>
                      </a:lnTo>
                      <a:lnTo>
                        <a:pt x="1008" y="835"/>
                      </a:lnTo>
                      <a:lnTo>
                        <a:pt x="1010" y="835"/>
                      </a:lnTo>
                      <a:lnTo>
                        <a:pt x="1010" y="835"/>
                      </a:lnTo>
                      <a:lnTo>
                        <a:pt x="1014" y="835"/>
                      </a:lnTo>
                      <a:lnTo>
                        <a:pt x="1014" y="835"/>
                      </a:lnTo>
                      <a:lnTo>
                        <a:pt x="1014" y="836"/>
                      </a:lnTo>
                      <a:lnTo>
                        <a:pt x="1013" y="836"/>
                      </a:lnTo>
                      <a:lnTo>
                        <a:pt x="1010" y="838"/>
                      </a:lnTo>
                      <a:lnTo>
                        <a:pt x="1008" y="839"/>
                      </a:lnTo>
                      <a:lnTo>
                        <a:pt x="1008" y="839"/>
                      </a:lnTo>
                      <a:lnTo>
                        <a:pt x="1007" y="839"/>
                      </a:lnTo>
                      <a:lnTo>
                        <a:pt x="1006" y="840"/>
                      </a:lnTo>
                      <a:lnTo>
                        <a:pt x="1006" y="840"/>
                      </a:lnTo>
                      <a:lnTo>
                        <a:pt x="1005" y="839"/>
                      </a:lnTo>
                      <a:lnTo>
                        <a:pt x="1004" y="840"/>
                      </a:lnTo>
                      <a:lnTo>
                        <a:pt x="1004" y="842"/>
                      </a:lnTo>
                      <a:lnTo>
                        <a:pt x="1005" y="842"/>
                      </a:lnTo>
                      <a:lnTo>
                        <a:pt x="1007" y="843"/>
                      </a:lnTo>
                      <a:lnTo>
                        <a:pt x="1008" y="846"/>
                      </a:lnTo>
                      <a:lnTo>
                        <a:pt x="1008" y="846"/>
                      </a:lnTo>
                      <a:lnTo>
                        <a:pt x="1007" y="846"/>
                      </a:lnTo>
                      <a:lnTo>
                        <a:pt x="1007" y="848"/>
                      </a:lnTo>
                      <a:lnTo>
                        <a:pt x="1008" y="848"/>
                      </a:lnTo>
                      <a:lnTo>
                        <a:pt x="1009" y="848"/>
                      </a:lnTo>
                      <a:lnTo>
                        <a:pt x="1010" y="849"/>
                      </a:lnTo>
                      <a:lnTo>
                        <a:pt x="1010" y="849"/>
                      </a:lnTo>
                      <a:lnTo>
                        <a:pt x="1009" y="850"/>
                      </a:lnTo>
                      <a:lnTo>
                        <a:pt x="1008" y="850"/>
                      </a:lnTo>
                      <a:lnTo>
                        <a:pt x="1007" y="850"/>
                      </a:lnTo>
                      <a:lnTo>
                        <a:pt x="1007" y="849"/>
                      </a:lnTo>
                      <a:lnTo>
                        <a:pt x="1007" y="849"/>
                      </a:lnTo>
                      <a:lnTo>
                        <a:pt x="1005" y="850"/>
                      </a:lnTo>
                      <a:lnTo>
                        <a:pt x="1004" y="851"/>
                      </a:lnTo>
                      <a:lnTo>
                        <a:pt x="1004" y="852"/>
                      </a:lnTo>
                      <a:lnTo>
                        <a:pt x="1002" y="853"/>
                      </a:lnTo>
                      <a:lnTo>
                        <a:pt x="1003" y="854"/>
                      </a:lnTo>
                      <a:lnTo>
                        <a:pt x="1004" y="854"/>
                      </a:lnTo>
                      <a:lnTo>
                        <a:pt x="1004" y="854"/>
                      </a:lnTo>
                      <a:lnTo>
                        <a:pt x="1004" y="855"/>
                      </a:lnTo>
                      <a:lnTo>
                        <a:pt x="1003" y="855"/>
                      </a:lnTo>
                      <a:lnTo>
                        <a:pt x="1002" y="856"/>
                      </a:lnTo>
                      <a:lnTo>
                        <a:pt x="1002" y="857"/>
                      </a:lnTo>
                      <a:lnTo>
                        <a:pt x="1001" y="856"/>
                      </a:lnTo>
                      <a:lnTo>
                        <a:pt x="1000" y="856"/>
                      </a:lnTo>
                      <a:lnTo>
                        <a:pt x="1000" y="857"/>
                      </a:lnTo>
                      <a:lnTo>
                        <a:pt x="1000" y="858"/>
                      </a:lnTo>
                      <a:lnTo>
                        <a:pt x="999" y="858"/>
                      </a:lnTo>
                      <a:lnTo>
                        <a:pt x="999" y="858"/>
                      </a:lnTo>
                      <a:lnTo>
                        <a:pt x="999" y="859"/>
                      </a:lnTo>
                      <a:lnTo>
                        <a:pt x="999" y="859"/>
                      </a:lnTo>
                      <a:lnTo>
                        <a:pt x="999" y="859"/>
                      </a:lnTo>
                      <a:lnTo>
                        <a:pt x="999" y="860"/>
                      </a:lnTo>
                      <a:lnTo>
                        <a:pt x="999" y="860"/>
                      </a:lnTo>
                      <a:lnTo>
                        <a:pt x="1001" y="860"/>
                      </a:lnTo>
                      <a:lnTo>
                        <a:pt x="1001" y="861"/>
                      </a:lnTo>
                      <a:lnTo>
                        <a:pt x="1001" y="862"/>
                      </a:lnTo>
                      <a:lnTo>
                        <a:pt x="1001" y="863"/>
                      </a:lnTo>
                      <a:lnTo>
                        <a:pt x="1001" y="863"/>
                      </a:lnTo>
                      <a:lnTo>
                        <a:pt x="1001" y="864"/>
                      </a:lnTo>
                      <a:lnTo>
                        <a:pt x="1000" y="865"/>
                      </a:lnTo>
                      <a:lnTo>
                        <a:pt x="1000" y="867"/>
                      </a:lnTo>
                      <a:lnTo>
                        <a:pt x="998" y="869"/>
                      </a:lnTo>
                      <a:lnTo>
                        <a:pt x="998" y="869"/>
                      </a:lnTo>
                      <a:lnTo>
                        <a:pt x="997" y="869"/>
                      </a:lnTo>
                      <a:lnTo>
                        <a:pt x="997" y="869"/>
                      </a:lnTo>
                      <a:lnTo>
                        <a:pt x="997" y="870"/>
                      </a:lnTo>
                      <a:lnTo>
                        <a:pt x="997" y="870"/>
                      </a:lnTo>
                      <a:lnTo>
                        <a:pt x="999" y="871"/>
                      </a:lnTo>
                      <a:lnTo>
                        <a:pt x="999" y="872"/>
                      </a:lnTo>
                      <a:lnTo>
                        <a:pt x="1000" y="873"/>
                      </a:lnTo>
                      <a:lnTo>
                        <a:pt x="1002" y="873"/>
                      </a:lnTo>
                      <a:lnTo>
                        <a:pt x="1002" y="874"/>
                      </a:lnTo>
                      <a:lnTo>
                        <a:pt x="1003" y="874"/>
                      </a:lnTo>
                      <a:lnTo>
                        <a:pt x="1003" y="875"/>
                      </a:lnTo>
                      <a:lnTo>
                        <a:pt x="1003" y="876"/>
                      </a:lnTo>
                      <a:lnTo>
                        <a:pt x="1003" y="876"/>
                      </a:lnTo>
                      <a:lnTo>
                        <a:pt x="1002" y="877"/>
                      </a:lnTo>
                      <a:lnTo>
                        <a:pt x="1002" y="879"/>
                      </a:lnTo>
                      <a:lnTo>
                        <a:pt x="1002" y="880"/>
                      </a:lnTo>
                      <a:lnTo>
                        <a:pt x="1000" y="881"/>
                      </a:lnTo>
                      <a:lnTo>
                        <a:pt x="1001" y="881"/>
                      </a:lnTo>
                      <a:lnTo>
                        <a:pt x="1001" y="882"/>
                      </a:lnTo>
                      <a:lnTo>
                        <a:pt x="1001" y="883"/>
                      </a:lnTo>
                      <a:lnTo>
                        <a:pt x="1001" y="883"/>
                      </a:lnTo>
                      <a:lnTo>
                        <a:pt x="1000" y="883"/>
                      </a:lnTo>
                      <a:lnTo>
                        <a:pt x="997" y="883"/>
                      </a:lnTo>
                      <a:lnTo>
                        <a:pt x="997" y="884"/>
                      </a:lnTo>
                      <a:lnTo>
                        <a:pt x="994" y="883"/>
                      </a:lnTo>
                      <a:lnTo>
                        <a:pt x="994" y="884"/>
                      </a:lnTo>
                      <a:lnTo>
                        <a:pt x="994" y="886"/>
                      </a:lnTo>
                      <a:lnTo>
                        <a:pt x="992" y="886"/>
                      </a:lnTo>
                      <a:lnTo>
                        <a:pt x="991" y="884"/>
                      </a:lnTo>
                      <a:lnTo>
                        <a:pt x="990" y="882"/>
                      </a:lnTo>
                      <a:lnTo>
                        <a:pt x="991" y="881"/>
                      </a:lnTo>
                      <a:lnTo>
                        <a:pt x="990" y="881"/>
                      </a:lnTo>
                      <a:lnTo>
                        <a:pt x="991" y="881"/>
                      </a:lnTo>
                      <a:lnTo>
                        <a:pt x="991" y="880"/>
                      </a:lnTo>
                      <a:lnTo>
                        <a:pt x="990" y="880"/>
                      </a:lnTo>
                      <a:lnTo>
                        <a:pt x="990" y="880"/>
                      </a:lnTo>
                      <a:lnTo>
                        <a:pt x="989" y="881"/>
                      </a:lnTo>
                      <a:lnTo>
                        <a:pt x="988" y="882"/>
                      </a:lnTo>
                      <a:lnTo>
                        <a:pt x="988" y="880"/>
                      </a:lnTo>
                      <a:lnTo>
                        <a:pt x="988" y="880"/>
                      </a:lnTo>
                      <a:lnTo>
                        <a:pt x="988" y="880"/>
                      </a:lnTo>
                      <a:lnTo>
                        <a:pt x="988" y="880"/>
                      </a:lnTo>
                      <a:lnTo>
                        <a:pt x="988" y="879"/>
                      </a:lnTo>
                      <a:lnTo>
                        <a:pt x="988" y="878"/>
                      </a:lnTo>
                      <a:lnTo>
                        <a:pt x="988" y="878"/>
                      </a:lnTo>
                      <a:lnTo>
                        <a:pt x="987" y="878"/>
                      </a:lnTo>
                      <a:lnTo>
                        <a:pt x="986" y="878"/>
                      </a:lnTo>
                      <a:lnTo>
                        <a:pt x="986" y="877"/>
                      </a:lnTo>
                      <a:lnTo>
                        <a:pt x="986" y="877"/>
                      </a:lnTo>
                      <a:lnTo>
                        <a:pt x="986" y="876"/>
                      </a:lnTo>
                      <a:lnTo>
                        <a:pt x="986" y="876"/>
                      </a:lnTo>
                      <a:lnTo>
                        <a:pt x="986" y="876"/>
                      </a:lnTo>
                      <a:lnTo>
                        <a:pt x="985" y="875"/>
                      </a:lnTo>
                      <a:lnTo>
                        <a:pt x="985" y="874"/>
                      </a:lnTo>
                      <a:lnTo>
                        <a:pt x="985" y="873"/>
                      </a:lnTo>
                      <a:lnTo>
                        <a:pt x="986" y="872"/>
                      </a:lnTo>
                      <a:lnTo>
                        <a:pt x="986" y="872"/>
                      </a:lnTo>
                      <a:lnTo>
                        <a:pt x="987" y="872"/>
                      </a:lnTo>
                      <a:lnTo>
                        <a:pt x="987" y="870"/>
                      </a:lnTo>
                      <a:lnTo>
                        <a:pt x="988" y="869"/>
                      </a:lnTo>
                      <a:lnTo>
                        <a:pt x="987" y="868"/>
                      </a:lnTo>
                      <a:lnTo>
                        <a:pt x="987" y="866"/>
                      </a:lnTo>
                      <a:lnTo>
                        <a:pt x="987" y="866"/>
                      </a:lnTo>
                      <a:lnTo>
                        <a:pt x="987" y="864"/>
                      </a:lnTo>
                      <a:lnTo>
                        <a:pt x="987" y="863"/>
                      </a:lnTo>
                      <a:lnTo>
                        <a:pt x="988" y="862"/>
                      </a:lnTo>
                      <a:lnTo>
                        <a:pt x="986" y="862"/>
                      </a:lnTo>
                      <a:lnTo>
                        <a:pt x="986" y="863"/>
                      </a:lnTo>
                      <a:lnTo>
                        <a:pt x="985" y="862"/>
                      </a:lnTo>
                      <a:lnTo>
                        <a:pt x="984" y="862"/>
                      </a:lnTo>
                      <a:lnTo>
                        <a:pt x="984" y="861"/>
                      </a:lnTo>
                      <a:lnTo>
                        <a:pt x="984" y="860"/>
                      </a:lnTo>
                      <a:lnTo>
                        <a:pt x="983" y="860"/>
                      </a:lnTo>
                      <a:lnTo>
                        <a:pt x="983" y="859"/>
                      </a:lnTo>
                      <a:lnTo>
                        <a:pt x="983" y="859"/>
                      </a:lnTo>
                      <a:lnTo>
                        <a:pt x="983" y="858"/>
                      </a:lnTo>
                      <a:lnTo>
                        <a:pt x="981" y="858"/>
                      </a:lnTo>
                      <a:lnTo>
                        <a:pt x="981" y="858"/>
                      </a:lnTo>
                      <a:lnTo>
                        <a:pt x="980" y="858"/>
                      </a:lnTo>
                      <a:lnTo>
                        <a:pt x="980" y="857"/>
                      </a:lnTo>
                      <a:lnTo>
                        <a:pt x="980" y="856"/>
                      </a:lnTo>
                      <a:lnTo>
                        <a:pt x="979" y="855"/>
                      </a:lnTo>
                      <a:lnTo>
                        <a:pt x="979" y="854"/>
                      </a:lnTo>
                      <a:lnTo>
                        <a:pt x="981" y="852"/>
                      </a:lnTo>
                      <a:lnTo>
                        <a:pt x="981" y="852"/>
                      </a:lnTo>
                      <a:lnTo>
                        <a:pt x="982" y="852"/>
                      </a:lnTo>
                      <a:lnTo>
                        <a:pt x="983" y="854"/>
                      </a:lnTo>
                      <a:lnTo>
                        <a:pt x="984" y="854"/>
                      </a:lnTo>
                      <a:lnTo>
                        <a:pt x="984" y="854"/>
                      </a:lnTo>
                      <a:lnTo>
                        <a:pt x="984" y="855"/>
                      </a:lnTo>
                      <a:lnTo>
                        <a:pt x="983" y="855"/>
                      </a:lnTo>
                      <a:lnTo>
                        <a:pt x="983" y="857"/>
                      </a:lnTo>
                      <a:lnTo>
                        <a:pt x="984" y="857"/>
                      </a:lnTo>
                      <a:lnTo>
                        <a:pt x="985" y="855"/>
                      </a:lnTo>
                      <a:lnTo>
                        <a:pt x="985" y="856"/>
                      </a:lnTo>
                      <a:lnTo>
                        <a:pt x="985" y="855"/>
                      </a:lnTo>
                      <a:lnTo>
                        <a:pt x="986" y="855"/>
                      </a:lnTo>
                      <a:lnTo>
                        <a:pt x="987" y="855"/>
                      </a:lnTo>
                      <a:lnTo>
                        <a:pt x="987" y="854"/>
                      </a:lnTo>
                      <a:lnTo>
                        <a:pt x="988" y="853"/>
                      </a:lnTo>
                      <a:lnTo>
                        <a:pt x="988" y="852"/>
                      </a:lnTo>
                      <a:lnTo>
                        <a:pt x="988" y="851"/>
                      </a:lnTo>
                      <a:lnTo>
                        <a:pt x="989" y="850"/>
                      </a:lnTo>
                      <a:lnTo>
                        <a:pt x="989" y="850"/>
                      </a:lnTo>
                      <a:lnTo>
                        <a:pt x="988" y="850"/>
                      </a:lnTo>
                      <a:lnTo>
                        <a:pt x="987" y="851"/>
                      </a:lnTo>
                      <a:lnTo>
                        <a:pt x="987" y="853"/>
                      </a:lnTo>
                      <a:lnTo>
                        <a:pt x="987" y="853"/>
                      </a:lnTo>
                      <a:lnTo>
                        <a:pt x="987" y="852"/>
                      </a:lnTo>
                      <a:lnTo>
                        <a:pt x="986" y="852"/>
                      </a:lnTo>
                      <a:lnTo>
                        <a:pt x="986" y="851"/>
                      </a:lnTo>
                      <a:lnTo>
                        <a:pt x="985" y="851"/>
                      </a:lnTo>
                      <a:lnTo>
                        <a:pt x="984" y="850"/>
                      </a:lnTo>
                      <a:lnTo>
                        <a:pt x="984" y="850"/>
                      </a:lnTo>
                      <a:lnTo>
                        <a:pt x="984" y="846"/>
                      </a:lnTo>
                      <a:lnTo>
                        <a:pt x="984" y="846"/>
                      </a:lnTo>
                      <a:lnTo>
                        <a:pt x="983" y="846"/>
                      </a:lnTo>
                      <a:lnTo>
                        <a:pt x="983" y="846"/>
                      </a:lnTo>
                      <a:lnTo>
                        <a:pt x="982" y="846"/>
                      </a:lnTo>
                      <a:lnTo>
                        <a:pt x="981" y="848"/>
                      </a:lnTo>
                      <a:lnTo>
                        <a:pt x="980" y="849"/>
                      </a:lnTo>
                      <a:lnTo>
                        <a:pt x="980" y="849"/>
                      </a:lnTo>
                      <a:lnTo>
                        <a:pt x="978" y="850"/>
                      </a:lnTo>
                      <a:lnTo>
                        <a:pt x="977" y="851"/>
                      </a:lnTo>
                      <a:lnTo>
                        <a:pt x="976" y="850"/>
                      </a:lnTo>
                      <a:lnTo>
                        <a:pt x="976" y="849"/>
                      </a:lnTo>
                      <a:lnTo>
                        <a:pt x="976" y="848"/>
                      </a:lnTo>
                      <a:lnTo>
                        <a:pt x="978" y="846"/>
                      </a:lnTo>
                      <a:lnTo>
                        <a:pt x="980" y="843"/>
                      </a:lnTo>
                      <a:lnTo>
                        <a:pt x="982" y="843"/>
                      </a:lnTo>
                      <a:lnTo>
                        <a:pt x="983" y="843"/>
                      </a:lnTo>
                      <a:lnTo>
                        <a:pt x="983" y="844"/>
                      </a:lnTo>
                      <a:lnTo>
                        <a:pt x="984" y="844"/>
                      </a:lnTo>
                      <a:lnTo>
                        <a:pt x="985" y="844"/>
                      </a:lnTo>
                      <a:lnTo>
                        <a:pt x="985" y="844"/>
                      </a:lnTo>
                      <a:lnTo>
                        <a:pt x="986" y="844"/>
                      </a:lnTo>
                      <a:lnTo>
                        <a:pt x="986" y="843"/>
                      </a:lnTo>
                      <a:lnTo>
                        <a:pt x="986" y="843"/>
                      </a:lnTo>
                      <a:lnTo>
                        <a:pt x="989" y="842"/>
                      </a:lnTo>
                      <a:lnTo>
                        <a:pt x="990" y="842"/>
                      </a:lnTo>
                      <a:lnTo>
                        <a:pt x="991" y="841"/>
                      </a:lnTo>
                      <a:lnTo>
                        <a:pt x="992" y="842"/>
                      </a:lnTo>
                      <a:lnTo>
                        <a:pt x="992" y="842"/>
                      </a:lnTo>
                      <a:lnTo>
                        <a:pt x="991" y="842"/>
                      </a:lnTo>
                      <a:lnTo>
                        <a:pt x="991" y="843"/>
                      </a:lnTo>
                      <a:lnTo>
                        <a:pt x="992" y="843"/>
                      </a:lnTo>
                      <a:lnTo>
                        <a:pt x="991" y="843"/>
                      </a:lnTo>
                      <a:lnTo>
                        <a:pt x="992" y="845"/>
                      </a:lnTo>
                      <a:lnTo>
                        <a:pt x="993" y="845"/>
                      </a:lnTo>
                      <a:lnTo>
                        <a:pt x="993" y="844"/>
                      </a:lnTo>
                      <a:lnTo>
                        <a:pt x="994" y="842"/>
                      </a:lnTo>
                      <a:lnTo>
                        <a:pt x="994" y="842"/>
                      </a:lnTo>
                      <a:lnTo>
                        <a:pt x="995" y="842"/>
                      </a:lnTo>
                      <a:lnTo>
                        <a:pt x="995" y="842"/>
                      </a:lnTo>
                      <a:lnTo>
                        <a:pt x="995" y="842"/>
                      </a:lnTo>
                      <a:lnTo>
                        <a:pt x="998" y="842"/>
                      </a:lnTo>
                      <a:lnTo>
                        <a:pt x="998" y="842"/>
                      </a:lnTo>
                      <a:lnTo>
                        <a:pt x="999" y="842"/>
                      </a:lnTo>
                      <a:lnTo>
                        <a:pt x="998" y="842"/>
                      </a:lnTo>
                      <a:lnTo>
                        <a:pt x="999" y="842"/>
                      </a:lnTo>
                      <a:lnTo>
                        <a:pt x="1001" y="841"/>
                      </a:lnTo>
                      <a:lnTo>
                        <a:pt x="1003" y="841"/>
                      </a:lnTo>
                      <a:lnTo>
                        <a:pt x="1003" y="841"/>
                      </a:lnTo>
                      <a:lnTo>
                        <a:pt x="1003" y="840"/>
                      </a:lnTo>
                      <a:lnTo>
                        <a:pt x="1004" y="839"/>
                      </a:lnTo>
                      <a:lnTo>
                        <a:pt x="1004" y="839"/>
                      </a:lnTo>
                      <a:lnTo>
                        <a:pt x="1004" y="839"/>
                      </a:lnTo>
                      <a:lnTo>
                        <a:pt x="1004" y="838"/>
                      </a:lnTo>
                      <a:lnTo>
                        <a:pt x="1003" y="838"/>
                      </a:lnTo>
                      <a:lnTo>
                        <a:pt x="1002" y="839"/>
                      </a:lnTo>
                      <a:lnTo>
                        <a:pt x="1002" y="839"/>
                      </a:lnTo>
                      <a:lnTo>
                        <a:pt x="1001" y="839"/>
                      </a:lnTo>
                      <a:lnTo>
                        <a:pt x="999" y="839"/>
                      </a:lnTo>
                      <a:lnTo>
                        <a:pt x="998" y="839"/>
                      </a:lnTo>
                      <a:lnTo>
                        <a:pt x="995" y="839"/>
                      </a:lnTo>
                      <a:lnTo>
                        <a:pt x="995" y="839"/>
                      </a:lnTo>
                      <a:lnTo>
                        <a:pt x="994" y="838"/>
                      </a:lnTo>
                      <a:lnTo>
                        <a:pt x="994" y="838"/>
                      </a:lnTo>
                      <a:lnTo>
                        <a:pt x="991" y="837"/>
                      </a:lnTo>
                      <a:lnTo>
                        <a:pt x="990" y="837"/>
                      </a:lnTo>
                      <a:lnTo>
                        <a:pt x="991" y="835"/>
                      </a:lnTo>
                      <a:lnTo>
                        <a:pt x="992" y="835"/>
                      </a:lnTo>
                      <a:lnTo>
                        <a:pt x="992" y="835"/>
                      </a:lnTo>
                      <a:lnTo>
                        <a:pt x="993" y="834"/>
                      </a:lnTo>
                      <a:lnTo>
                        <a:pt x="994" y="833"/>
                      </a:lnTo>
                      <a:lnTo>
                        <a:pt x="997" y="832"/>
                      </a:lnTo>
                      <a:lnTo>
                        <a:pt x="997" y="832"/>
                      </a:lnTo>
                      <a:lnTo>
                        <a:pt x="999" y="832"/>
                      </a:lnTo>
                      <a:lnTo>
                        <a:pt x="1002" y="835"/>
                      </a:lnTo>
                      <a:lnTo>
                        <a:pt x="1003" y="835"/>
                      </a:lnTo>
                      <a:lnTo>
                        <a:pt x="1003" y="834"/>
                      </a:lnTo>
                      <a:lnTo>
                        <a:pt x="1002" y="834"/>
                      </a:lnTo>
                      <a:lnTo>
                        <a:pt x="1002" y="832"/>
                      </a:lnTo>
                      <a:lnTo>
                        <a:pt x="1002" y="832"/>
                      </a:lnTo>
                      <a:lnTo>
                        <a:pt x="1002" y="830"/>
                      </a:lnTo>
                      <a:lnTo>
                        <a:pt x="1001" y="830"/>
                      </a:lnTo>
                      <a:lnTo>
                        <a:pt x="1002" y="829"/>
                      </a:lnTo>
                      <a:lnTo>
                        <a:pt x="1002" y="829"/>
                      </a:lnTo>
                      <a:lnTo>
                        <a:pt x="1002" y="828"/>
                      </a:lnTo>
                      <a:lnTo>
                        <a:pt x="1002" y="827"/>
                      </a:lnTo>
                      <a:lnTo>
                        <a:pt x="1001" y="828"/>
                      </a:lnTo>
                      <a:lnTo>
                        <a:pt x="1001" y="828"/>
                      </a:lnTo>
                      <a:lnTo>
                        <a:pt x="1000" y="827"/>
                      </a:lnTo>
                      <a:lnTo>
                        <a:pt x="1000" y="827"/>
                      </a:lnTo>
                      <a:lnTo>
                        <a:pt x="1000" y="825"/>
                      </a:lnTo>
                      <a:lnTo>
                        <a:pt x="1000" y="825"/>
                      </a:lnTo>
                      <a:lnTo>
                        <a:pt x="1003" y="824"/>
                      </a:lnTo>
                      <a:lnTo>
                        <a:pt x="1003" y="824"/>
                      </a:lnTo>
                      <a:lnTo>
                        <a:pt x="1004" y="824"/>
                      </a:lnTo>
                      <a:lnTo>
                        <a:pt x="1004" y="824"/>
                      </a:lnTo>
                      <a:lnTo>
                        <a:pt x="1005" y="823"/>
                      </a:lnTo>
                      <a:lnTo>
                        <a:pt x="1005" y="822"/>
                      </a:lnTo>
                      <a:lnTo>
                        <a:pt x="1006" y="821"/>
                      </a:lnTo>
                      <a:lnTo>
                        <a:pt x="1006" y="819"/>
                      </a:lnTo>
                      <a:lnTo>
                        <a:pt x="1005" y="818"/>
                      </a:lnTo>
                      <a:lnTo>
                        <a:pt x="1004" y="818"/>
                      </a:lnTo>
                      <a:lnTo>
                        <a:pt x="1003" y="818"/>
                      </a:lnTo>
                      <a:lnTo>
                        <a:pt x="1003" y="818"/>
                      </a:lnTo>
                      <a:lnTo>
                        <a:pt x="1002" y="818"/>
                      </a:lnTo>
                      <a:lnTo>
                        <a:pt x="1001" y="818"/>
                      </a:lnTo>
                      <a:lnTo>
                        <a:pt x="1001" y="819"/>
                      </a:lnTo>
                      <a:lnTo>
                        <a:pt x="1002" y="819"/>
                      </a:lnTo>
                      <a:lnTo>
                        <a:pt x="1001" y="820"/>
                      </a:lnTo>
                      <a:lnTo>
                        <a:pt x="1002" y="820"/>
                      </a:lnTo>
                      <a:lnTo>
                        <a:pt x="1001" y="821"/>
                      </a:lnTo>
                      <a:lnTo>
                        <a:pt x="1000" y="821"/>
                      </a:lnTo>
                      <a:lnTo>
                        <a:pt x="1000" y="820"/>
                      </a:lnTo>
                      <a:lnTo>
                        <a:pt x="1000" y="820"/>
                      </a:lnTo>
                      <a:lnTo>
                        <a:pt x="999" y="820"/>
                      </a:lnTo>
                      <a:lnTo>
                        <a:pt x="998" y="820"/>
                      </a:lnTo>
                      <a:lnTo>
                        <a:pt x="998" y="819"/>
                      </a:lnTo>
                      <a:lnTo>
                        <a:pt x="998" y="819"/>
                      </a:lnTo>
                      <a:lnTo>
                        <a:pt x="997" y="818"/>
                      </a:lnTo>
                      <a:lnTo>
                        <a:pt x="998" y="818"/>
                      </a:lnTo>
                      <a:lnTo>
                        <a:pt x="998" y="817"/>
                      </a:lnTo>
                      <a:lnTo>
                        <a:pt x="998" y="816"/>
                      </a:lnTo>
                      <a:lnTo>
                        <a:pt x="998" y="815"/>
                      </a:lnTo>
                      <a:lnTo>
                        <a:pt x="997" y="815"/>
                      </a:lnTo>
                      <a:lnTo>
                        <a:pt x="997" y="813"/>
                      </a:lnTo>
                      <a:lnTo>
                        <a:pt x="995" y="813"/>
                      </a:lnTo>
                      <a:lnTo>
                        <a:pt x="994" y="811"/>
                      </a:lnTo>
                      <a:lnTo>
                        <a:pt x="994" y="810"/>
                      </a:lnTo>
                      <a:lnTo>
                        <a:pt x="993" y="806"/>
                      </a:lnTo>
                      <a:lnTo>
                        <a:pt x="992" y="805"/>
                      </a:lnTo>
                      <a:lnTo>
                        <a:pt x="991" y="805"/>
                      </a:lnTo>
                      <a:lnTo>
                        <a:pt x="990" y="802"/>
                      </a:lnTo>
                      <a:lnTo>
                        <a:pt x="990" y="800"/>
                      </a:lnTo>
                      <a:lnTo>
                        <a:pt x="989" y="799"/>
                      </a:lnTo>
                      <a:lnTo>
                        <a:pt x="989" y="797"/>
                      </a:lnTo>
                      <a:lnTo>
                        <a:pt x="989" y="796"/>
                      </a:lnTo>
                      <a:lnTo>
                        <a:pt x="989" y="796"/>
                      </a:lnTo>
                      <a:lnTo>
                        <a:pt x="989" y="795"/>
                      </a:lnTo>
                      <a:lnTo>
                        <a:pt x="989" y="795"/>
                      </a:lnTo>
                      <a:lnTo>
                        <a:pt x="989" y="794"/>
                      </a:lnTo>
                      <a:lnTo>
                        <a:pt x="990" y="792"/>
                      </a:lnTo>
                      <a:lnTo>
                        <a:pt x="990" y="792"/>
                      </a:lnTo>
                      <a:lnTo>
                        <a:pt x="990" y="791"/>
                      </a:lnTo>
                      <a:lnTo>
                        <a:pt x="989" y="791"/>
                      </a:lnTo>
                      <a:lnTo>
                        <a:pt x="988" y="790"/>
                      </a:lnTo>
                      <a:lnTo>
                        <a:pt x="987" y="790"/>
                      </a:lnTo>
                      <a:lnTo>
                        <a:pt x="986" y="791"/>
                      </a:lnTo>
                      <a:lnTo>
                        <a:pt x="986" y="791"/>
                      </a:lnTo>
                      <a:lnTo>
                        <a:pt x="986" y="792"/>
                      </a:lnTo>
                      <a:lnTo>
                        <a:pt x="986" y="793"/>
                      </a:lnTo>
                      <a:lnTo>
                        <a:pt x="985" y="793"/>
                      </a:lnTo>
                      <a:lnTo>
                        <a:pt x="986" y="793"/>
                      </a:lnTo>
                      <a:lnTo>
                        <a:pt x="984" y="795"/>
                      </a:lnTo>
                      <a:lnTo>
                        <a:pt x="984" y="795"/>
                      </a:lnTo>
                      <a:lnTo>
                        <a:pt x="983" y="795"/>
                      </a:lnTo>
                      <a:lnTo>
                        <a:pt x="983" y="796"/>
                      </a:lnTo>
                      <a:lnTo>
                        <a:pt x="983" y="796"/>
                      </a:lnTo>
                      <a:lnTo>
                        <a:pt x="983" y="797"/>
                      </a:lnTo>
                      <a:lnTo>
                        <a:pt x="982" y="797"/>
                      </a:lnTo>
                      <a:lnTo>
                        <a:pt x="982" y="798"/>
                      </a:lnTo>
                      <a:lnTo>
                        <a:pt x="981" y="798"/>
                      </a:lnTo>
                      <a:lnTo>
                        <a:pt x="979" y="799"/>
                      </a:lnTo>
                      <a:lnTo>
                        <a:pt x="978" y="799"/>
                      </a:lnTo>
                      <a:lnTo>
                        <a:pt x="977" y="800"/>
                      </a:lnTo>
                      <a:lnTo>
                        <a:pt x="976" y="800"/>
                      </a:lnTo>
                      <a:lnTo>
                        <a:pt x="975" y="801"/>
                      </a:lnTo>
                      <a:lnTo>
                        <a:pt x="973" y="800"/>
                      </a:lnTo>
                      <a:lnTo>
                        <a:pt x="972" y="800"/>
                      </a:lnTo>
                      <a:lnTo>
                        <a:pt x="972" y="801"/>
                      </a:lnTo>
                      <a:lnTo>
                        <a:pt x="970" y="801"/>
                      </a:lnTo>
                      <a:lnTo>
                        <a:pt x="969" y="801"/>
                      </a:lnTo>
                      <a:lnTo>
                        <a:pt x="969" y="800"/>
                      </a:lnTo>
                      <a:lnTo>
                        <a:pt x="969" y="800"/>
                      </a:lnTo>
                      <a:lnTo>
                        <a:pt x="968" y="799"/>
                      </a:lnTo>
                      <a:lnTo>
                        <a:pt x="967" y="799"/>
                      </a:lnTo>
                      <a:lnTo>
                        <a:pt x="967" y="800"/>
                      </a:lnTo>
                      <a:lnTo>
                        <a:pt x="968" y="800"/>
                      </a:lnTo>
                      <a:lnTo>
                        <a:pt x="968" y="802"/>
                      </a:lnTo>
                      <a:lnTo>
                        <a:pt x="968" y="802"/>
                      </a:lnTo>
                      <a:lnTo>
                        <a:pt x="968" y="804"/>
                      </a:lnTo>
                      <a:lnTo>
                        <a:pt x="967" y="804"/>
                      </a:lnTo>
                      <a:lnTo>
                        <a:pt x="966" y="804"/>
                      </a:lnTo>
                      <a:lnTo>
                        <a:pt x="965" y="804"/>
                      </a:lnTo>
                      <a:lnTo>
                        <a:pt x="963" y="803"/>
                      </a:lnTo>
                      <a:lnTo>
                        <a:pt x="960" y="803"/>
                      </a:lnTo>
                      <a:lnTo>
                        <a:pt x="960" y="804"/>
                      </a:lnTo>
                      <a:lnTo>
                        <a:pt x="959" y="804"/>
                      </a:lnTo>
                      <a:lnTo>
                        <a:pt x="956" y="805"/>
                      </a:lnTo>
                      <a:lnTo>
                        <a:pt x="956" y="805"/>
                      </a:lnTo>
                      <a:lnTo>
                        <a:pt x="956" y="806"/>
                      </a:lnTo>
                      <a:lnTo>
                        <a:pt x="959" y="806"/>
                      </a:lnTo>
                      <a:lnTo>
                        <a:pt x="959" y="807"/>
                      </a:lnTo>
                      <a:lnTo>
                        <a:pt x="957" y="808"/>
                      </a:lnTo>
                      <a:lnTo>
                        <a:pt x="956" y="810"/>
                      </a:lnTo>
                      <a:lnTo>
                        <a:pt x="955" y="810"/>
                      </a:lnTo>
                      <a:lnTo>
                        <a:pt x="954" y="810"/>
                      </a:lnTo>
                      <a:lnTo>
                        <a:pt x="952" y="808"/>
                      </a:lnTo>
                      <a:lnTo>
                        <a:pt x="951" y="808"/>
                      </a:lnTo>
                      <a:lnTo>
                        <a:pt x="950" y="808"/>
                      </a:lnTo>
                      <a:lnTo>
                        <a:pt x="950" y="808"/>
                      </a:lnTo>
                      <a:lnTo>
                        <a:pt x="949" y="810"/>
                      </a:lnTo>
                      <a:lnTo>
                        <a:pt x="949" y="810"/>
                      </a:lnTo>
                      <a:lnTo>
                        <a:pt x="948" y="808"/>
                      </a:lnTo>
                      <a:lnTo>
                        <a:pt x="947" y="808"/>
                      </a:lnTo>
                      <a:lnTo>
                        <a:pt x="947" y="810"/>
                      </a:lnTo>
                      <a:lnTo>
                        <a:pt x="947" y="811"/>
                      </a:lnTo>
                      <a:lnTo>
                        <a:pt x="946" y="811"/>
                      </a:lnTo>
                      <a:lnTo>
                        <a:pt x="946" y="812"/>
                      </a:lnTo>
                      <a:lnTo>
                        <a:pt x="945" y="811"/>
                      </a:lnTo>
                      <a:lnTo>
                        <a:pt x="945" y="811"/>
                      </a:lnTo>
                      <a:lnTo>
                        <a:pt x="945" y="810"/>
                      </a:lnTo>
                      <a:lnTo>
                        <a:pt x="945" y="810"/>
                      </a:lnTo>
                      <a:lnTo>
                        <a:pt x="945" y="810"/>
                      </a:lnTo>
                      <a:lnTo>
                        <a:pt x="944" y="808"/>
                      </a:lnTo>
                      <a:lnTo>
                        <a:pt x="943" y="808"/>
                      </a:lnTo>
                      <a:lnTo>
                        <a:pt x="943" y="811"/>
                      </a:lnTo>
                      <a:lnTo>
                        <a:pt x="943" y="811"/>
                      </a:lnTo>
                      <a:lnTo>
                        <a:pt x="942" y="812"/>
                      </a:lnTo>
                      <a:lnTo>
                        <a:pt x="941" y="812"/>
                      </a:lnTo>
                      <a:lnTo>
                        <a:pt x="940" y="811"/>
                      </a:lnTo>
                      <a:lnTo>
                        <a:pt x="939" y="807"/>
                      </a:lnTo>
                      <a:lnTo>
                        <a:pt x="938" y="807"/>
                      </a:lnTo>
                      <a:lnTo>
                        <a:pt x="937" y="805"/>
                      </a:lnTo>
                      <a:lnTo>
                        <a:pt x="936" y="803"/>
                      </a:lnTo>
                      <a:lnTo>
                        <a:pt x="935" y="800"/>
                      </a:lnTo>
                      <a:lnTo>
                        <a:pt x="934" y="799"/>
                      </a:lnTo>
                      <a:lnTo>
                        <a:pt x="934" y="798"/>
                      </a:lnTo>
                      <a:lnTo>
                        <a:pt x="934" y="797"/>
                      </a:lnTo>
                      <a:lnTo>
                        <a:pt x="934" y="795"/>
                      </a:lnTo>
                      <a:lnTo>
                        <a:pt x="935" y="794"/>
                      </a:lnTo>
                      <a:lnTo>
                        <a:pt x="934" y="793"/>
                      </a:lnTo>
                      <a:lnTo>
                        <a:pt x="934" y="791"/>
                      </a:lnTo>
                      <a:lnTo>
                        <a:pt x="935" y="790"/>
                      </a:lnTo>
                      <a:lnTo>
                        <a:pt x="935" y="789"/>
                      </a:lnTo>
                      <a:lnTo>
                        <a:pt x="935" y="789"/>
                      </a:lnTo>
                      <a:lnTo>
                        <a:pt x="935" y="789"/>
                      </a:lnTo>
                      <a:lnTo>
                        <a:pt x="934" y="788"/>
                      </a:lnTo>
                      <a:lnTo>
                        <a:pt x="933" y="787"/>
                      </a:lnTo>
                      <a:lnTo>
                        <a:pt x="933" y="787"/>
                      </a:lnTo>
                      <a:lnTo>
                        <a:pt x="932" y="787"/>
                      </a:lnTo>
                      <a:lnTo>
                        <a:pt x="932" y="787"/>
                      </a:lnTo>
                      <a:lnTo>
                        <a:pt x="931" y="787"/>
                      </a:lnTo>
                      <a:lnTo>
                        <a:pt x="931" y="786"/>
                      </a:lnTo>
                      <a:lnTo>
                        <a:pt x="931" y="786"/>
                      </a:lnTo>
                      <a:lnTo>
                        <a:pt x="931" y="785"/>
                      </a:lnTo>
                      <a:lnTo>
                        <a:pt x="932" y="785"/>
                      </a:lnTo>
                      <a:lnTo>
                        <a:pt x="931" y="784"/>
                      </a:lnTo>
                      <a:lnTo>
                        <a:pt x="932" y="783"/>
                      </a:lnTo>
                      <a:lnTo>
                        <a:pt x="932" y="783"/>
                      </a:lnTo>
                      <a:lnTo>
                        <a:pt x="931" y="783"/>
                      </a:lnTo>
                      <a:lnTo>
                        <a:pt x="931" y="782"/>
                      </a:lnTo>
                      <a:lnTo>
                        <a:pt x="931" y="782"/>
                      </a:lnTo>
                      <a:lnTo>
                        <a:pt x="931" y="782"/>
                      </a:lnTo>
                      <a:lnTo>
                        <a:pt x="932" y="782"/>
                      </a:lnTo>
                      <a:lnTo>
                        <a:pt x="931" y="780"/>
                      </a:lnTo>
                      <a:lnTo>
                        <a:pt x="932" y="781"/>
                      </a:lnTo>
                      <a:lnTo>
                        <a:pt x="933" y="781"/>
                      </a:lnTo>
                      <a:lnTo>
                        <a:pt x="933" y="781"/>
                      </a:lnTo>
                      <a:lnTo>
                        <a:pt x="934" y="781"/>
                      </a:lnTo>
                      <a:lnTo>
                        <a:pt x="935" y="781"/>
                      </a:lnTo>
                      <a:lnTo>
                        <a:pt x="937" y="780"/>
                      </a:lnTo>
                      <a:lnTo>
                        <a:pt x="938" y="780"/>
                      </a:lnTo>
                      <a:lnTo>
                        <a:pt x="938" y="781"/>
                      </a:lnTo>
                      <a:lnTo>
                        <a:pt x="939" y="781"/>
                      </a:lnTo>
                      <a:lnTo>
                        <a:pt x="939" y="780"/>
                      </a:lnTo>
                      <a:lnTo>
                        <a:pt x="940" y="780"/>
                      </a:lnTo>
                      <a:lnTo>
                        <a:pt x="940" y="780"/>
                      </a:lnTo>
                      <a:lnTo>
                        <a:pt x="940" y="778"/>
                      </a:lnTo>
                      <a:lnTo>
                        <a:pt x="939" y="778"/>
                      </a:lnTo>
                      <a:lnTo>
                        <a:pt x="940" y="777"/>
                      </a:lnTo>
                      <a:lnTo>
                        <a:pt x="941" y="777"/>
                      </a:lnTo>
                      <a:lnTo>
                        <a:pt x="942" y="778"/>
                      </a:lnTo>
                      <a:lnTo>
                        <a:pt x="942" y="778"/>
                      </a:lnTo>
                      <a:lnTo>
                        <a:pt x="942" y="777"/>
                      </a:lnTo>
                      <a:lnTo>
                        <a:pt x="941" y="776"/>
                      </a:lnTo>
                      <a:lnTo>
                        <a:pt x="941" y="775"/>
                      </a:lnTo>
                      <a:lnTo>
                        <a:pt x="940" y="775"/>
                      </a:lnTo>
                      <a:lnTo>
                        <a:pt x="940" y="775"/>
                      </a:lnTo>
                      <a:lnTo>
                        <a:pt x="940" y="775"/>
                      </a:lnTo>
                      <a:lnTo>
                        <a:pt x="940" y="774"/>
                      </a:lnTo>
                      <a:lnTo>
                        <a:pt x="940" y="773"/>
                      </a:lnTo>
                      <a:lnTo>
                        <a:pt x="942" y="772"/>
                      </a:lnTo>
                      <a:lnTo>
                        <a:pt x="941" y="772"/>
                      </a:lnTo>
                      <a:lnTo>
                        <a:pt x="941" y="770"/>
                      </a:lnTo>
                      <a:lnTo>
                        <a:pt x="941" y="770"/>
                      </a:lnTo>
                      <a:lnTo>
                        <a:pt x="941" y="770"/>
                      </a:lnTo>
                      <a:lnTo>
                        <a:pt x="940" y="770"/>
                      </a:lnTo>
                      <a:lnTo>
                        <a:pt x="939" y="770"/>
                      </a:lnTo>
                      <a:lnTo>
                        <a:pt x="939" y="770"/>
                      </a:lnTo>
                      <a:lnTo>
                        <a:pt x="939" y="770"/>
                      </a:lnTo>
                      <a:lnTo>
                        <a:pt x="938" y="770"/>
                      </a:lnTo>
                      <a:lnTo>
                        <a:pt x="938" y="769"/>
                      </a:lnTo>
                      <a:lnTo>
                        <a:pt x="938" y="769"/>
                      </a:lnTo>
                      <a:lnTo>
                        <a:pt x="937" y="768"/>
                      </a:lnTo>
                      <a:lnTo>
                        <a:pt x="937" y="768"/>
                      </a:lnTo>
                      <a:lnTo>
                        <a:pt x="938" y="767"/>
                      </a:lnTo>
                      <a:lnTo>
                        <a:pt x="939" y="767"/>
                      </a:lnTo>
                      <a:lnTo>
                        <a:pt x="939" y="767"/>
                      </a:lnTo>
                      <a:lnTo>
                        <a:pt x="938" y="767"/>
                      </a:lnTo>
                      <a:lnTo>
                        <a:pt x="938" y="766"/>
                      </a:lnTo>
                      <a:lnTo>
                        <a:pt x="938" y="765"/>
                      </a:lnTo>
                      <a:lnTo>
                        <a:pt x="937" y="765"/>
                      </a:lnTo>
                      <a:lnTo>
                        <a:pt x="937" y="765"/>
                      </a:lnTo>
                      <a:lnTo>
                        <a:pt x="937" y="765"/>
                      </a:lnTo>
                      <a:lnTo>
                        <a:pt x="937" y="764"/>
                      </a:lnTo>
                      <a:lnTo>
                        <a:pt x="937" y="764"/>
                      </a:lnTo>
                      <a:lnTo>
                        <a:pt x="937" y="763"/>
                      </a:lnTo>
                      <a:lnTo>
                        <a:pt x="936" y="763"/>
                      </a:lnTo>
                      <a:lnTo>
                        <a:pt x="936" y="762"/>
                      </a:lnTo>
                      <a:lnTo>
                        <a:pt x="936" y="762"/>
                      </a:lnTo>
                      <a:lnTo>
                        <a:pt x="936" y="762"/>
                      </a:lnTo>
                      <a:lnTo>
                        <a:pt x="937" y="762"/>
                      </a:lnTo>
                      <a:lnTo>
                        <a:pt x="937" y="761"/>
                      </a:lnTo>
                      <a:lnTo>
                        <a:pt x="937" y="760"/>
                      </a:lnTo>
                      <a:lnTo>
                        <a:pt x="936" y="760"/>
                      </a:lnTo>
                      <a:lnTo>
                        <a:pt x="936" y="760"/>
                      </a:lnTo>
                      <a:lnTo>
                        <a:pt x="936" y="760"/>
                      </a:lnTo>
                      <a:lnTo>
                        <a:pt x="936" y="760"/>
                      </a:lnTo>
                      <a:lnTo>
                        <a:pt x="936" y="759"/>
                      </a:lnTo>
                      <a:lnTo>
                        <a:pt x="935" y="758"/>
                      </a:lnTo>
                      <a:lnTo>
                        <a:pt x="935" y="758"/>
                      </a:lnTo>
                      <a:lnTo>
                        <a:pt x="935" y="757"/>
                      </a:lnTo>
                      <a:lnTo>
                        <a:pt x="936" y="757"/>
                      </a:lnTo>
                      <a:lnTo>
                        <a:pt x="936" y="758"/>
                      </a:lnTo>
                      <a:lnTo>
                        <a:pt x="936" y="757"/>
                      </a:lnTo>
                      <a:lnTo>
                        <a:pt x="936" y="757"/>
                      </a:lnTo>
                      <a:lnTo>
                        <a:pt x="936" y="757"/>
                      </a:lnTo>
                      <a:lnTo>
                        <a:pt x="936" y="756"/>
                      </a:lnTo>
                      <a:lnTo>
                        <a:pt x="936" y="756"/>
                      </a:lnTo>
                      <a:lnTo>
                        <a:pt x="936" y="756"/>
                      </a:lnTo>
                      <a:lnTo>
                        <a:pt x="936" y="754"/>
                      </a:lnTo>
                      <a:lnTo>
                        <a:pt x="936" y="754"/>
                      </a:lnTo>
                      <a:lnTo>
                        <a:pt x="936" y="753"/>
                      </a:lnTo>
                      <a:lnTo>
                        <a:pt x="935" y="753"/>
                      </a:lnTo>
                      <a:lnTo>
                        <a:pt x="935" y="753"/>
                      </a:lnTo>
                      <a:lnTo>
                        <a:pt x="935" y="753"/>
                      </a:lnTo>
                      <a:lnTo>
                        <a:pt x="935" y="752"/>
                      </a:lnTo>
                      <a:lnTo>
                        <a:pt x="935" y="752"/>
                      </a:lnTo>
                      <a:lnTo>
                        <a:pt x="934" y="752"/>
                      </a:lnTo>
                      <a:lnTo>
                        <a:pt x="933" y="751"/>
                      </a:lnTo>
                      <a:lnTo>
                        <a:pt x="933" y="751"/>
                      </a:lnTo>
                      <a:lnTo>
                        <a:pt x="933" y="751"/>
                      </a:lnTo>
                      <a:lnTo>
                        <a:pt x="932" y="751"/>
                      </a:lnTo>
                      <a:lnTo>
                        <a:pt x="932" y="751"/>
                      </a:lnTo>
                      <a:lnTo>
                        <a:pt x="932" y="751"/>
                      </a:lnTo>
                      <a:lnTo>
                        <a:pt x="932" y="752"/>
                      </a:lnTo>
                      <a:lnTo>
                        <a:pt x="933" y="752"/>
                      </a:lnTo>
                      <a:lnTo>
                        <a:pt x="933" y="753"/>
                      </a:lnTo>
                      <a:lnTo>
                        <a:pt x="934" y="754"/>
                      </a:lnTo>
                      <a:lnTo>
                        <a:pt x="934" y="754"/>
                      </a:lnTo>
                      <a:lnTo>
                        <a:pt x="933" y="754"/>
                      </a:lnTo>
                      <a:lnTo>
                        <a:pt x="933" y="754"/>
                      </a:lnTo>
                      <a:lnTo>
                        <a:pt x="933" y="754"/>
                      </a:lnTo>
                      <a:lnTo>
                        <a:pt x="933" y="755"/>
                      </a:lnTo>
                      <a:lnTo>
                        <a:pt x="933" y="756"/>
                      </a:lnTo>
                      <a:lnTo>
                        <a:pt x="931" y="756"/>
                      </a:lnTo>
                      <a:lnTo>
                        <a:pt x="930" y="755"/>
                      </a:lnTo>
                      <a:lnTo>
                        <a:pt x="929" y="755"/>
                      </a:lnTo>
                      <a:lnTo>
                        <a:pt x="929" y="755"/>
                      </a:lnTo>
                      <a:lnTo>
                        <a:pt x="928" y="754"/>
                      </a:lnTo>
                      <a:lnTo>
                        <a:pt x="928" y="755"/>
                      </a:lnTo>
                      <a:lnTo>
                        <a:pt x="928" y="755"/>
                      </a:lnTo>
                      <a:lnTo>
                        <a:pt x="927" y="755"/>
                      </a:lnTo>
                      <a:lnTo>
                        <a:pt x="926" y="756"/>
                      </a:lnTo>
                      <a:lnTo>
                        <a:pt x="926" y="756"/>
                      </a:lnTo>
                      <a:lnTo>
                        <a:pt x="926" y="756"/>
                      </a:lnTo>
                      <a:lnTo>
                        <a:pt x="926" y="757"/>
                      </a:lnTo>
                      <a:lnTo>
                        <a:pt x="926" y="757"/>
                      </a:lnTo>
                      <a:lnTo>
                        <a:pt x="927" y="757"/>
                      </a:lnTo>
                      <a:lnTo>
                        <a:pt x="928" y="758"/>
                      </a:lnTo>
                      <a:lnTo>
                        <a:pt x="928" y="758"/>
                      </a:lnTo>
                      <a:lnTo>
                        <a:pt x="929" y="758"/>
                      </a:lnTo>
                      <a:lnTo>
                        <a:pt x="929" y="759"/>
                      </a:lnTo>
                      <a:lnTo>
                        <a:pt x="929" y="760"/>
                      </a:lnTo>
                      <a:lnTo>
                        <a:pt x="929" y="760"/>
                      </a:lnTo>
                      <a:lnTo>
                        <a:pt x="929" y="761"/>
                      </a:lnTo>
                      <a:lnTo>
                        <a:pt x="930" y="760"/>
                      </a:lnTo>
                      <a:lnTo>
                        <a:pt x="931" y="761"/>
                      </a:lnTo>
                      <a:lnTo>
                        <a:pt x="931" y="761"/>
                      </a:lnTo>
                      <a:lnTo>
                        <a:pt x="932" y="760"/>
                      </a:lnTo>
                      <a:lnTo>
                        <a:pt x="932" y="760"/>
                      </a:lnTo>
                      <a:lnTo>
                        <a:pt x="932" y="760"/>
                      </a:lnTo>
                      <a:lnTo>
                        <a:pt x="933" y="761"/>
                      </a:lnTo>
                      <a:lnTo>
                        <a:pt x="934" y="762"/>
                      </a:lnTo>
                      <a:lnTo>
                        <a:pt x="934" y="762"/>
                      </a:lnTo>
                      <a:lnTo>
                        <a:pt x="934" y="762"/>
                      </a:lnTo>
                      <a:lnTo>
                        <a:pt x="934" y="763"/>
                      </a:lnTo>
                      <a:lnTo>
                        <a:pt x="934" y="764"/>
                      </a:lnTo>
                      <a:lnTo>
                        <a:pt x="933" y="765"/>
                      </a:lnTo>
                      <a:lnTo>
                        <a:pt x="933" y="765"/>
                      </a:lnTo>
                      <a:lnTo>
                        <a:pt x="933" y="766"/>
                      </a:lnTo>
                      <a:lnTo>
                        <a:pt x="932" y="766"/>
                      </a:lnTo>
                      <a:lnTo>
                        <a:pt x="932" y="765"/>
                      </a:lnTo>
                      <a:lnTo>
                        <a:pt x="932" y="765"/>
                      </a:lnTo>
                      <a:lnTo>
                        <a:pt x="932" y="766"/>
                      </a:lnTo>
                      <a:lnTo>
                        <a:pt x="932" y="766"/>
                      </a:lnTo>
                      <a:lnTo>
                        <a:pt x="933" y="766"/>
                      </a:lnTo>
                      <a:lnTo>
                        <a:pt x="933" y="767"/>
                      </a:lnTo>
                      <a:lnTo>
                        <a:pt x="934" y="767"/>
                      </a:lnTo>
                      <a:lnTo>
                        <a:pt x="934" y="768"/>
                      </a:lnTo>
                      <a:lnTo>
                        <a:pt x="934" y="768"/>
                      </a:lnTo>
                      <a:lnTo>
                        <a:pt x="934" y="769"/>
                      </a:lnTo>
                      <a:lnTo>
                        <a:pt x="934" y="769"/>
                      </a:lnTo>
                      <a:lnTo>
                        <a:pt x="934" y="770"/>
                      </a:lnTo>
                      <a:lnTo>
                        <a:pt x="934" y="772"/>
                      </a:lnTo>
                      <a:lnTo>
                        <a:pt x="934" y="772"/>
                      </a:lnTo>
                      <a:lnTo>
                        <a:pt x="934" y="772"/>
                      </a:lnTo>
                      <a:lnTo>
                        <a:pt x="935" y="773"/>
                      </a:lnTo>
                      <a:lnTo>
                        <a:pt x="935" y="773"/>
                      </a:lnTo>
                      <a:lnTo>
                        <a:pt x="936" y="774"/>
                      </a:lnTo>
                      <a:lnTo>
                        <a:pt x="936" y="774"/>
                      </a:lnTo>
                      <a:lnTo>
                        <a:pt x="936" y="775"/>
                      </a:lnTo>
                      <a:lnTo>
                        <a:pt x="937" y="775"/>
                      </a:lnTo>
                      <a:lnTo>
                        <a:pt x="937" y="775"/>
                      </a:lnTo>
                      <a:lnTo>
                        <a:pt x="939" y="777"/>
                      </a:lnTo>
                      <a:lnTo>
                        <a:pt x="939" y="777"/>
                      </a:lnTo>
                      <a:lnTo>
                        <a:pt x="938" y="777"/>
                      </a:lnTo>
                      <a:lnTo>
                        <a:pt x="937" y="776"/>
                      </a:lnTo>
                      <a:lnTo>
                        <a:pt x="937" y="776"/>
                      </a:lnTo>
                      <a:lnTo>
                        <a:pt x="936" y="776"/>
                      </a:lnTo>
                      <a:lnTo>
                        <a:pt x="934" y="776"/>
                      </a:lnTo>
                      <a:lnTo>
                        <a:pt x="934" y="775"/>
                      </a:lnTo>
                      <a:lnTo>
                        <a:pt x="934" y="774"/>
                      </a:lnTo>
                      <a:lnTo>
                        <a:pt x="933" y="774"/>
                      </a:lnTo>
                      <a:lnTo>
                        <a:pt x="932" y="773"/>
                      </a:lnTo>
                      <a:lnTo>
                        <a:pt x="931" y="773"/>
                      </a:lnTo>
                      <a:lnTo>
                        <a:pt x="931" y="772"/>
                      </a:lnTo>
                      <a:lnTo>
                        <a:pt x="931" y="772"/>
                      </a:lnTo>
                      <a:lnTo>
                        <a:pt x="930" y="772"/>
                      </a:lnTo>
                      <a:lnTo>
                        <a:pt x="930" y="772"/>
                      </a:lnTo>
                      <a:lnTo>
                        <a:pt x="929" y="770"/>
                      </a:lnTo>
                      <a:lnTo>
                        <a:pt x="929" y="770"/>
                      </a:lnTo>
                      <a:lnTo>
                        <a:pt x="929" y="769"/>
                      </a:lnTo>
                      <a:lnTo>
                        <a:pt x="928" y="769"/>
                      </a:lnTo>
                      <a:lnTo>
                        <a:pt x="927" y="768"/>
                      </a:lnTo>
                      <a:lnTo>
                        <a:pt x="927" y="769"/>
                      </a:lnTo>
                      <a:lnTo>
                        <a:pt x="924" y="768"/>
                      </a:lnTo>
                      <a:lnTo>
                        <a:pt x="924" y="768"/>
                      </a:lnTo>
                      <a:lnTo>
                        <a:pt x="923" y="768"/>
                      </a:lnTo>
                      <a:lnTo>
                        <a:pt x="923" y="767"/>
                      </a:lnTo>
                      <a:lnTo>
                        <a:pt x="923" y="768"/>
                      </a:lnTo>
                      <a:lnTo>
                        <a:pt x="923" y="768"/>
                      </a:lnTo>
                      <a:lnTo>
                        <a:pt x="923" y="768"/>
                      </a:lnTo>
                      <a:lnTo>
                        <a:pt x="922" y="768"/>
                      </a:lnTo>
                      <a:lnTo>
                        <a:pt x="922" y="768"/>
                      </a:lnTo>
                      <a:lnTo>
                        <a:pt x="920" y="768"/>
                      </a:lnTo>
                      <a:lnTo>
                        <a:pt x="920" y="768"/>
                      </a:lnTo>
                      <a:lnTo>
                        <a:pt x="922" y="769"/>
                      </a:lnTo>
                      <a:lnTo>
                        <a:pt x="922" y="769"/>
                      </a:lnTo>
                      <a:lnTo>
                        <a:pt x="922" y="769"/>
                      </a:lnTo>
                      <a:lnTo>
                        <a:pt x="923" y="769"/>
                      </a:lnTo>
                      <a:lnTo>
                        <a:pt x="923" y="769"/>
                      </a:lnTo>
                      <a:lnTo>
                        <a:pt x="923" y="770"/>
                      </a:lnTo>
                      <a:lnTo>
                        <a:pt x="924" y="772"/>
                      </a:lnTo>
                      <a:lnTo>
                        <a:pt x="924" y="772"/>
                      </a:lnTo>
                      <a:lnTo>
                        <a:pt x="924" y="772"/>
                      </a:lnTo>
                      <a:lnTo>
                        <a:pt x="925" y="772"/>
                      </a:lnTo>
                      <a:lnTo>
                        <a:pt x="926" y="773"/>
                      </a:lnTo>
                      <a:lnTo>
                        <a:pt x="927" y="773"/>
                      </a:lnTo>
                      <a:lnTo>
                        <a:pt x="928" y="774"/>
                      </a:lnTo>
                      <a:lnTo>
                        <a:pt x="928" y="774"/>
                      </a:lnTo>
                      <a:lnTo>
                        <a:pt x="928" y="775"/>
                      </a:lnTo>
                      <a:lnTo>
                        <a:pt x="929" y="775"/>
                      </a:lnTo>
                      <a:lnTo>
                        <a:pt x="929" y="778"/>
                      </a:lnTo>
                      <a:lnTo>
                        <a:pt x="927" y="778"/>
                      </a:lnTo>
                      <a:lnTo>
                        <a:pt x="926" y="777"/>
                      </a:lnTo>
                      <a:lnTo>
                        <a:pt x="925" y="777"/>
                      </a:lnTo>
                      <a:lnTo>
                        <a:pt x="925" y="777"/>
                      </a:lnTo>
                      <a:lnTo>
                        <a:pt x="926" y="779"/>
                      </a:lnTo>
                      <a:lnTo>
                        <a:pt x="927" y="779"/>
                      </a:lnTo>
                      <a:lnTo>
                        <a:pt x="928" y="780"/>
                      </a:lnTo>
                      <a:lnTo>
                        <a:pt x="928" y="781"/>
                      </a:lnTo>
                      <a:lnTo>
                        <a:pt x="929" y="782"/>
                      </a:lnTo>
                      <a:lnTo>
                        <a:pt x="930" y="782"/>
                      </a:lnTo>
                      <a:lnTo>
                        <a:pt x="931" y="783"/>
                      </a:lnTo>
                      <a:lnTo>
                        <a:pt x="931" y="783"/>
                      </a:lnTo>
                      <a:lnTo>
                        <a:pt x="931" y="783"/>
                      </a:lnTo>
                      <a:lnTo>
                        <a:pt x="930" y="784"/>
                      </a:lnTo>
                      <a:lnTo>
                        <a:pt x="930" y="785"/>
                      </a:lnTo>
                      <a:lnTo>
                        <a:pt x="929" y="785"/>
                      </a:lnTo>
                      <a:lnTo>
                        <a:pt x="929" y="786"/>
                      </a:lnTo>
                      <a:lnTo>
                        <a:pt x="929" y="786"/>
                      </a:lnTo>
                      <a:lnTo>
                        <a:pt x="929" y="787"/>
                      </a:lnTo>
                      <a:lnTo>
                        <a:pt x="928" y="787"/>
                      </a:lnTo>
                      <a:lnTo>
                        <a:pt x="928" y="788"/>
                      </a:lnTo>
                      <a:lnTo>
                        <a:pt x="928" y="789"/>
                      </a:lnTo>
                      <a:lnTo>
                        <a:pt x="929" y="790"/>
                      </a:lnTo>
                      <a:lnTo>
                        <a:pt x="928" y="790"/>
                      </a:lnTo>
                      <a:lnTo>
                        <a:pt x="927" y="790"/>
                      </a:lnTo>
                      <a:lnTo>
                        <a:pt x="926" y="790"/>
                      </a:lnTo>
                      <a:lnTo>
                        <a:pt x="925" y="791"/>
                      </a:lnTo>
                      <a:lnTo>
                        <a:pt x="924" y="791"/>
                      </a:lnTo>
                      <a:lnTo>
                        <a:pt x="923" y="791"/>
                      </a:lnTo>
                      <a:lnTo>
                        <a:pt x="923" y="791"/>
                      </a:lnTo>
                      <a:lnTo>
                        <a:pt x="923" y="789"/>
                      </a:lnTo>
                      <a:lnTo>
                        <a:pt x="923" y="788"/>
                      </a:lnTo>
                      <a:lnTo>
                        <a:pt x="922" y="788"/>
                      </a:lnTo>
                      <a:lnTo>
                        <a:pt x="922" y="789"/>
                      </a:lnTo>
                      <a:lnTo>
                        <a:pt x="922" y="789"/>
                      </a:lnTo>
                      <a:lnTo>
                        <a:pt x="922" y="790"/>
                      </a:lnTo>
                      <a:lnTo>
                        <a:pt x="922" y="790"/>
                      </a:lnTo>
                      <a:lnTo>
                        <a:pt x="920" y="791"/>
                      </a:lnTo>
                      <a:lnTo>
                        <a:pt x="920" y="791"/>
                      </a:lnTo>
                      <a:lnTo>
                        <a:pt x="920" y="791"/>
                      </a:lnTo>
                      <a:lnTo>
                        <a:pt x="920" y="792"/>
                      </a:lnTo>
                      <a:lnTo>
                        <a:pt x="920" y="792"/>
                      </a:lnTo>
                      <a:lnTo>
                        <a:pt x="920" y="793"/>
                      </a:lnTo>
                      <a:lnTo>
                        <a:pt x="920" y="794"/>
                      </a:lnTo>
                      <a:lnTo>
                        <a:pt x="922" y="794"/>
                      </a:lnTo>
                      <a:lnTo>
                        <a:pt x="922" y="795"/>
                      </a:lnTo>
                      <a:lnTo>
                        <a:pt x="920" y="795"/>
                      </a:lnTo>
                      <a:lnTo>
                        <a:pt x="918" y="796"/>
                      </a:lnTo>
                      <a:lnTo>
                        <a:pt x="917" y="795"/>
                      </a:lnTo>
                      <a:lnTo>
                        <a:pt x="916" y="794"/>
                      </a:lnTo>
                      <a:lnTo>
                        <a:pt x="915" y="794"/>
                      </a:lnTo>
                      <a:lnTo>
                        <a:pt x="914" y="794"/>
                      </a:lnTo>
                      <a:lnTo>
                        <a:pt x="913" y="793"/>
                      </a:lnTo>
                      <a:lnTo>
                        <a:pt x="914" y="792"/>
                      </a:lnTo>
                      <a:lnTo>
                        <a:pt x="913" y="791"/>
                      </a:lnTo>
                      <a:lnTo>
                        <a:pt x="913" y="791"/>
                      </a:lnTo>
                      <a:lnTo>
                        <a:pt x="911" y="790"/>
                      </a:lnTo>
                      <a:lnTo>
                        <a:pt x="910" y="790"/>
                      </a:lnTo>
                      <a:lnTo>
                        <a:pt x="910" y="790"/>
                      </a:lnTo>
                      <a:lnTo>
                        <a:pt x="909" y="790"/>
                      </a:lnTo>
                      <a:lnTo>
                        <a:pt x="909" y="790"/>
                      </a:lnTo>
                      <a:lnTo>
                        <a:pt x="908" y="789"/>
                      </a:lnTo>
                      <a:lnTo>
                        <a:pt x="909" y="788"/>
                      </a:lnTo>
                      <a:lnTo>
                        <a:pt x="909" y="787"/>
                      </a:lnTo>
                      <a:lnTo>
                        <a:pt x="909" y="786"/>
                      </a:lnTo>
                      <a:lnTo>
                        <a:pt x="909" y="786"/>
                      </a:lnTo>
                      <a:lnTo>
                        <a:pt x="908" y="785"/>
                      </a:lnTo>
                      <a:lnTo>
                        <a:pt x="908" y="785"/>
                      </a:lnTo>
                      <a:lnTo>
                        <a:pt x="907" y="784"/>
                      </a:lnTo>
                      <a:lnTo>
                        <a:pt x="907" y="782"/>
                      </a:lnTo>
                      <a:lnTo>
                        <a:pt x="908" y="782"/>
                      </a:lnTo>
                      <a:lnTo>
                        <a:pt x="908" y="781"/>
                      </a:lnTo>
                      <a:lnTo>
                        <a:pt x="907" y="780"/>
                      </a:lnTo>
                      <a:lnTo>
                        <a:pt x="907" y="778"/>
                      </a:lnTo>
                      <a:lnTo>
                        <a:pt x="907" y="777"/>
                      </a:lnTo>
                      <a:lnTo>
                        <a:pt x="906" y="777"/>
                      </a:lnTo>
                      <a:lnTo>
                        <a:pt x="906" y="776"/>
                      </a:lnTo>
                      <a:lnTo>
                        <a:pt x="906" y="775"/>
                      </a:lnTo>
                      <a:lnTo>
                        <a:pt x="906" y="775"/>
                      </a:lnTo>
                      <a:lnTo>
                        <a:pt x="907" y="775"/>
                      </a:lnTo>
                      <a:lnTo>
                        <a:pt x="907" y="774"/>
                      </a:lnTo>
                      <a:lnTo>
                        <a:pt x="907" y="773"/>
                      </a:lnTo>
                      <a:lnTo>
                        <a:pt x="907" y="772"/>
                      </a:lnTo>
                      <a:lnTo>
                        <a:pt x="908" y="770"/>
                      </a:lnTo>
                      <a:lnTo>
                        <a:pt x="907" y="769"/>
                      </a:lnTo>
                      <a:lnTo>
                        <a:pt x="907" y="769"/>
                      </a:lnTo>
                      <a:lnTo>
                        <a:pt x="906" y="768"/>
                      </a:lnTo>
                      <a:lnTo>
                        <a:pt x="907" y="768"/>
                      </a:lnTo>
                      <a:lnTo>
                        <a:pt x="908" y="767"/>
                      </a:lnTo>
                      <a:lnTo>
                        <a:pt x="907" y="767"/>
                      </a:lnTo>
                      <a:lnTo>
                        <a:pt x="907" y="767"/>
                      </a:lnTo>
                      <a:lnTo>
                        <a:pt x="907" y="765"/>
                      </a:lnTo>
                      <a:lnTo>
                        <a:pt x="908" y="765"/>
                      </a:lnTo>
                      <a:lnTo>
                        <a:pt x="907" y="762"/>
                      </a:lnTo>
                      <a:lnTo>
                        <a:pt x="908" y="762"/>
                      </a:lnTo>
                      <a:lnTo>
                        <a:pt x="908" y="762"/>
                      </a:lnTo>
                      <a:lnTo>
                        <a:pt x="909" y="761"/>
                      </a:lnTo>
                      <a:lnTo>
                        <a:pt x="909" y="761"/>
                      </a:lnTo>
                      <a:lnTo>
                        <a:pt x="910" y="760"/>
                      </a:lnTo>
                      <a:lnTo>
                        <a:pt x="910" y="759"/>
                      </a:lnTo>
                      <a:lnTo>
                        <a:pt x="909" y="759"/>
                      </a:lnTo>
                      <a:lnTo>
                        <a:pt x="909" y="758"/>
                      </a:lnTo>
                      <a:lnTo>
                        <a:pt x="908" y="757"/>
                      </a:lnTo>
                      <a:lnTo>
                        <a:pt x="908" y="756"/>
                      </a:lnTo>
                      <a:lnTo>
                        <a:pt x="908" y="755"/>
                      </a:lnTo>
                      <a:lnTo>
                        <a:pt x="909" y="754"/>
                      </a:lnTo>
                      <a:lnTo>
                        <a:pt x="910" y="754"/>
                      </a:lnTo>
                      <a:lnTo>
                        <a:pt x="910" y="754"/>
                      </a:lnTo>
                      <a:lnTo>
                        <a:pt x="910" y="754"/>
                      </a:lnTo>
                      <a:lnTo>
                        <a:pt x="910" y="753"/>
                      </a:lnTo>
                      <a:lnTo>
                        <a:pt x="911" y="754"/>
                      </a:lnTo>
                      <a:lnTo>
                        <a:pt x="911" y="754"/>
                      </a:lnTo>
                      <a:lnTo>
                        <a:pt x="911" y="755"/>
                      </a:lnTo>
                      <a:lnTo>
                        <a:pt x="911" y="754"/>
                      </a:lnTo>
                      <a:lnTo>
                        <a:pt x="912" y="754"/>
                      </a:lnTo>
                      <a:lnTo>
                        <a:pt x="913" y="753"/>
                      </a:lnTo>
                      <a:lnTo>
                        <a:pt x="913" y="752"/>
                      </a:lnTo>
                      <a:lnTo>
                        <a:pt x="913" y="752"/>
                      </a:lnTo>
                      <a:lnTo>
                        <a:pt x="912" y="751"/>
                      </a:lnTo>
                      <a:lnTo>
                        <a:pt x="911" y="751"/>
                      </a:lnTo>
                      <a:lnTo>
                        <a:pt x="911" y="751"/>
                      </a:lnTo>
                      <a:lnTo>
                        <a:pt x="910" y="750"/>
                      </a:lnTo>
                      <a:lnTo>
                        <a:pt x="910" y="749"/>
                      </a:lnTo>
                      <a:lnTo>
                        <a:pt x="910" y="748"/>
                      </a:lnTo>
                      <a:lnTo>
                        <a:pt x="910" y="747"/>
                      </a:lnTo>
                      <a:lnTo>
                        <a:pt x="910" y="746"/>
                      </a:lnTo>
                      <a:lnTo>
                        <a:pt x="910" y="744"/>
                      </a:lnTo>
                      <a:lnTo>
                        <a:pt x="910" y="743"/>
                      </a:lnTo>
                      <a:lnTo>
                        <a:pt x="909" y="742"/>
                      </a:lnTo>
                      <a:lnTo>
                        <a:pt x="909" y="741"/>
                      </a:lnTo>
                      <a:lnTo>
                        <a:pt x="909" y="740"/>
                      </a:lnTo>
                      <a:lnTo>
                        <a:pt x="909" y="740"/>
                      </a:lnTo>
                      <a:lnTo>
                        <a:pt x="909" y="740"/>
                      </a:lnTo>
                      <a:lnTo>
                        <a:pt x="909" y="738"/>
                      </a:lnTo>
                      <a:lnTo>
                        <a:pt x="910" y="738"/>
                      </a:lnTo>
                      <a:lnTo>
                        <a:pt x="910" y="738"/>
                      </a:lnTo>
                      <a:lnTo>
                        <a:pt x="909" y="738"/>
                      </a:lnTo>
                      <a:lnTo>
                        <a:pt x="909" y="737"/>
                      </a:lnTo>
                      <a:lnTo>
                        <a:pt x="909" y="736"/>
                      </a:lnTo>
                      <a:lnTo>
                        <a:pt x="910" y="736"/>
                      </a:lnTo>
                      <a:lnTo>
                        <a:pt x="910" y="735"/>
                      </a:lnTo>
                      <a:lnTo>
                        <a:pt x="910" y="735"/>
                      </a:lnTo>
                      <a:lnTo>
                        <a:pt x="910" y="735"/>
                      </a:lnTo>
                      <a:lnTo>
                        <a:pt x="910" y="734"/>
                      </a:lnTo>
                      <a:lnTo>
                        <a:pt x="909" y="734"/>
                      </a:lnTo>
                      <a:lnTo>
                        <a:pt x="908" y="734"/>
                      </a:lnTo>
                      <a:lnTo>
                        <a:pt x="908" y="732"/>
                      </a:lnTo>
                      <a:lnTo>
                        <a:pt x="908" y="732"/>
                      </a:lnTo>
                      <a:lnTo>
                        <a:pt x="908" y="731"/>
                      </a:lnTo>
                      <a:lnTo>
                        <a:pt x="909" y="731"/>
                      </a:lnTo>
                      <a:lnTo>
                        <a:pt x="909" y="730"/>
                      </a:lnTo>
                      <a:lnTo>
                        <a:pt x="910" y="730"/>
                      </a:lnTo>
                      <a:lnTo>
                        <a:pt x="910" y="729"/>
                      </a:lnTo>
                      <a:lnTo>
                        <a:pt x="910" y="728"/>
                      </a:lnTo>
                      <a:lnTo>
                        <a:pt x="911" y="727"/>
                      </a:lnTo>
                      <a:lnTo>
                        <a:pt x="913" y="726"/>
                      </a:lnTo>
                      <a:lnTo>
                        <a:pt x="914" y="725"/>
                      </a:lnTo>
                      <a:lnTo>
                        <a:pt x="914" y="725"/>
                      </a:lnTo>
                      <a:lnTo>
                        <a:pt x="915" y="725"/>
                      </a:lnTo>
                      <a:lnTo>
                        <a:pt x="915" y="722"/>
                      </a:lnTo>
                      <a:lnTo>
                        <a:pt x="916" y="722"/>
                      </a:lnTo>
                      <a:lnTo>
                        <a:pt x="915" y="721"/>
                      </a:lnTo>
                      <a:lnTo>
                        <a:pt x="915" y="721"/>
                      </a:lnTo>
                      <a:lnTo>
                        <a:pt x="914" y="719"/>
                      </a:lnTo>
                      <a:lnTo>
                        <a:pt x="913" y="719"/>
                      </a:lnTo>
                      <a:lnTo>
                        <a:pt x="913" y="720"/>
                      </a:lnTo>
                      <a:lnTo>
                        <a:pt x="912" y="720"/>
                      </a:lnTo>
                      <a:lnTo>
                        <a:pt x="911" y="719"/>
                      </a:lnTo>
                      <a:lnTo>
                        <a:pt x="911" y="718"/>
                      </a:lnTo>
                      <a:lnTo>
                        <a:pt x="912" y="718"/>
                      </a:lnTo>
                      <a:lnTo>
                        <a:pt x="914" y="718"/>
                      </a:lnTo>
                      <a:lnTo>
                        <a:pt x="914" y="718"/>
                      </a:lnTo>
                      <a:lnTo>
                        <a:pt x="915" y="718"/>
                      </a:lnTo>
                      <a:lnTo>
                        <a:pt x="915" y="719"/>
                      </a:lnTo>
                      <a:lnTo>
                        <a:pt x="915" y="719"/>
                      </a:lnTo>
                      <a:lnTo>
                        <a:pt x="916" y="719"/>
                      </a:lnTo>
                      <a:lnTo>
                        <a:pt x="916" y="719"/>
                      </a:lnTo>
                      <a:lnTo>
                        <a:pt x="917" y="719"/>
                      </a:lnTo>
                      <a:lnTo>
                        <a:pt x="917" y="718"/>
                      </a:lnTo>
                      <a:lnTo>
                        <a:pt x="918" y="718"/>
                      </a:lnTo>
                      <a:lnTo>
                        <a:pt x="919" y="718"/>
                      </a:lnTo>
                      <a:lnTo>
                        <a:pt x="919" y="717"/>
                      </a:lnTo>
                      <a:lnTo>
                        <a:pt x="920" y="717"/>
                      </a:lnTo>
                      <a:lnTo>
                        <a:pt x="922" y="717"/>
                      </a:lnTo>
                      <a:lnTo>
                        <a:pt x="923" y="717"/>
                      </a:lnTo>
                      <a:lnTo>
                        <a:pt x="924" y="717"/>
                      </a:lnTo>
                      <a:lnTo>
                        <a:pt x="924" y="717"/>
                      </a:lnTo>
                      <a:lnTo>
                        <a:pt x="925" y="717"/>
                      </a:lnTo>
                      <a:lnTo>
                        <a:pt x="927" y="715"/>
                      </a:lnTo>
                      <a:lnTo>
                        <a:pt x="928" y="715"/>
                      </a:lnTo>
                      <a:lnTo>
                        <a:pt x="928" y="715"/>
                      </a:lnTo>
                      <a:lnTo>
                        <a:pt x="929" y="714"/>
                      </a:lnTo>
                      <a:lnTo>
                        <a:pt x="930" y="714"/>
                      </a:lnTo>
                      <a:lnTo>
                        <a:pt x="930" y="714"/>
                      </a:lnTo>
                      <a:lnTo>
                        <a:pt x="931" y="714"/>
                      </a:lnTo>
                      <a:lnTo>
                        <a:pt x="931" y="714"/>
                      </a:lnTo>
                      <a:lnTo>
                        <a:pt x="932" y="713"/>
                      </a:lnTo>
                      <a:lnTo>
                        <a:pt x="932" y="712"/>
                      </a:lnTo>
                      <a:lnTo>
                        <a:pt x="933" y="712"/>
                      </a:lnTo>
                      <a:lnTo>
                        <a:pt x="934" y="712"/>
                      </a:lnTo>
                      <a:lnTo>
                        <a:pt x="934" y="712"/>
                      </a:lnTo>
                      <a:lnTo>
                        <a:pt x="935" y="712"/>
                      </a:lnTo>
                      <a:lnTo>
                        <a:pt x="935" y="712"/>
                      </a:lnTo>
                      <a:lnTo>
                        <a:pt x="937" y="711"/>
                      </a:lnTo>
                      <a:lnTo>
                        <a:pt x="940" y="712"/>
                      </a:lnTo>
                      <a:lnTo>
                        <a:pt x="940" y="712"/>
                      </a:lnTo>
                      <a:lnTo>
                        <a:pt x="940" y="712"/>
                      </a:lnTo>
                      <a:lnTo>
                        <a:pt x="940" y="711"/>
                      </a:lnTo>
                      <a:lnTo>
                        <a:pt x="942" y="712"/>
                      </a:lnTo>
                      <a:lnTo>
                        <a:pt x="942" y="711"/>
                      </a:lnTo>
                      <a:lnTo>
                        <a:pt x="942" y="711"/>
                      </a:lnTo>
                      <a:lnTo>
                        <a:pt x="942" y="712"/>
                      </a:lnTo>
                      <a:close/>
                      <a:moveTo>
                        <a:pt x="1061" y="709"/>
                      </a:moveTo>
                      <a:lnTo>
                        <a:pt x="1062" y="710"/>
                      </a:lnTo>
                      <a:lnTo>
                        <a:pt x="1063" y="710"/>
                      </a:lnTo>
                      <a:lnTo>
                        <a:pt x="1064" y="711"/>
                      </a:lnTo>
                      <a:lnTo>
                        <a:pt x="1065" y="711"/>
                      </a:lnTo>
                      <a:lnTo>
                        <a:pt x="1064" y="712"/>
                      </a:lnTo>
                      <a:lnTo>
                        <a:pt x="1063" y="712"/>
                      </a:lnTo>
                      <a:lnTo>
                        <a:pt x="1061" y="711"/>
                      </a:lnTo>
                      <a:lnTo>
                        <a:pt x="1061" y="711"/>
                      </a:lnTo>
                      <a:lnTo>
                        <a:pt x="1061" y="711"/>
                      </a:lnTo>
                      <a:lnTo>
                        <a:pt x="1061" y="712"/>
                      </a:lnTo>
                      <a:lnTo>
                        <a:pt x="1061" y="713"/>
                      </a:lnTo>
                      <a:lnTo>
                        <a:pt x="1062" y="713"/>
                      </a:lnTo>
                      <a:lnTo>
                        <a:pt x="1062" y="713"/>
                      </a:lnTo>
                      <a:lnTo>
                        <a:pt x="1063" y="713"/>
                      </a:lnTo>
                      <a:lnTo>
                        <a:pt x="1063" y="714"/>
                      </a:lnTo>
                      <a:lnTo>
                        <a:pt x="1062" y="715"/>
                      </a:lnTo>
                      <a:lnTo>
                        <a:pt x="1062" y="716"/>
                      </a:lnTo>
                      <a:lnTo>
                        <a:pt x="1062" y="716"/>
                      </a:lnTo>
                      <a:lnTo>
                        <a:pt x="1063" y="717"/>
                      </a:lnTo>
                      <a:lnTo>
                        <a:pt x="1063" y="716"/>
                      </a:lnTo>
                      <a:lnTo>
                        <a:pt x="1064" y="716"/>
                      </a:lnTo>
                      <a:lnTo>
                        <a:pt x="1064" y="715"/>
                      </a:lnTo>
                      <a:lnTo>
                        <a:pt x="1064" y="715"/>
                      </a:lnTo>
                      <a:lnTo>
                        <a:pt x="1065" y="716"/>
                      </a:lnTo>
                      <a:lnTo>
                        <a:pt x="1065" y="716"/>
                      </a:lnTo>
                      <a:lnTo>
                        <a:pt x="1066" y="716"/>
                      </a:lnTo>
                      <a:lnTo>
                        <a:pt x="1067" y="717"/>
                      </a:lnTo>
                      <a:lnTo>
                        <a:pt x="1067" y="717"/>
                      </a:lnTo>
                      <a:lnTo>
                        <a:pt x="1068" y="717"/>
                      </a:lnTo>
                      <a:lnTo>
                        <a:pt x="1068" y="716"/>
                      </a:lnTo>
                      <a:lnTo>
                        <a:pt x="1068" y="717"/>
                      </a:lnTo>
                      <a:lnTo>
                        <a:pt x="1069" y="717"/>
                      </a:lnTo>
                      <a:lnTo>
                        <a:pt x="1071" y="717"/>
                      </a:lnTo>
                      <a:lnTo>
                        <a:pt x="1071" y="717"/>
                      </a:lnTo>
                      <a:lnTo>
                        <a:pt x="1072" y="717"/>
                      </a:lnTo>
                      <a:lnTo>
                        <a:pt x="1073" y="716"/>
                      </a:lnTo>
                      <a:lnTo>
                        <a:pt x="1073" y="716"/>
                      </a:lnTo>
                      <a:lnTo>
                        <a:pt x="1074" y="717"/>
                      </a:lnTo>
                      <a:lnTo>
                        <a:pt x="1074" y="718"/>
                      </a:lnTo>
                      <a:lnTo>
                        <a:pt x="1074" y="718"/>
                      </a:lnTo>
                      <a:lnTo>
                        <a:pt x="1072" y="718"/>
                      </a:lnTo>
                      <a:lnTo>
                        <a:pt x="1072" y="719"/>
                      </a:lnTo>
                      <a:lnTo>
                        <a:pt x="1069" y="718"/>
                      </a:lnTo>
                      <a:lnTo>
                        <a:pt x="1069" y="719"/>
                      </a:lnTo>
                      <a:lnTo>
                        <a:pt x="1068" y="719"/>
                      </a:lnTo>
                      <a:lnTo>
                        <a:pt x="1067" y="719"/>
                      </a:lnTo>
                      <a:lnTo>
                        <a:pt x="1067" y="719"/>
                      </a:lnTo>
                      <a:lnTo>
                        <a:pt x="1067" y="721"/>
                      </a:lnTo>
                      <a:lnTo>
                        <a:pt x="1066" y="721"/>
                      </a:lnTo>
                      <a:lnTo>
                        <a:pt x="1067" y="722"/>
                      </a:lnTo>
                      <a:lnTo>
                        <a:pt x="1066" y="722"/>
                      </a:lnTo>
                      <a:lnTo>
                        <a:pt x="1066" y="723"/>
                      </a:lnTo>
                      <a:lnTo>
                        <a:pt x="1066" y="724"/>
                      </a:lnTo>
                      <a:lnTo>
                        <a:pt x="1067" y="725"/>
                      </a:lnTo>
                      <a:lnTo>
                        <a:pt x="1068" y="727"/>
                      </a:lnTo>
                      <a:lnTo>
                        <a:pt x="1071" y="728"/>
                      </a:lnTo>
                      <a:lnTo>
                        <a:pt x="1072" y="728"/>
                      </a:lnTo>
                      <a:lnTo>
                        <a:pt x="1072" y="727"/>
                      </a:lnTo>
                      <a:lnTo>
                        <a:pt x="1072" y="726"/>
                      </a:lnTo>
                      <a:lnTo>
                        <a:pt x="1073" y="726"/>
                      </a:lnTo>
                      <a:lnTo>
                        <a:pt x="1075" y="726"/>
                      </a:lnTo>
                      <a:lnTo>
                        <a:pt x="1077" y="726"/>
                      </a:lnTo>
                      <a:lnTo>
                        <a:pt x="1077" y="726"/>
                      </a:lnTo>
                      <a:lnTo>
                        <a:pt x="1078" y="726"/>
                      </a:lnTo>
                      <a:lnTo>
                        <a:pt x="1079" y="725"/>
                      </a:lnTo>
                      <a:lnTo>
                        <a:pt x="1080" y="725"/>
                      </a:lnTo>
                      <a:lnTo>
                        <a:pt x="1080" y="726"/>
                      </a:lnTo>
                      <a:lnTo>
                        <a:pt x="1081" y="726"/>
                      </a:lnTo>
                      <a:lnTo>
                        <a:pt x="1081" y="727"/>
                      </a:lnTo>
                      <a:lnTo>
                        <a:pt x="1080" y="727"/>
                      </a:lnTo>
                      <a:lnTo>
                        <a:pt x="1080" y="728"/>
                      </a:lnTo>
                      <a:lnTo>
                        <a:pt x="1079" y="728"/>
                      </a:lnTo>
                      <a:lnTo>
                        <a:pt x="1079" y="729"/>
                      </a:lnTo>
                      <a:lnTo>
                        <a:pt x="1079" y="730"/>
                      </a:lnTo>
                      <a:lnTo>
                        <a:pt x="1079" y="730"/>
                      </a:lnTo>
                      <a:lnTo>
                        <a:pt x="1079" y="730"/>
                      </a:lnTo>
                      <a:lnTo>
                        <a:pt x="1079" y="731"/>
                      </a:lnTo>
                      <a:lnTo>
                        <a:pt x="1080" y="732"/>
                      </a:lnTo>
                      <a:lnTo>
                        <a:pt x="1080" y="734"/>
                      </a:lnTo>
                      <a:lnTo>
                        <a:pt x="1079" y="734"/>
                      </a:lnTo>
                      <a:lnTo>
                        <a:pt x="1079" y="734"/>
                      </a:lnTo>
                      <a:lnTo>
                        <a:pt x="1079" y="735"/>
                      </a:lnTo>
                      <a:lnTo>
                        <a:pt x="1079" y="735"/>
                      </a:lnTo>
                      <a:lnTo>
                        <a:pt x="1080" y="736"/>
                      </a:lnTo>
                      <a:lnTo>
                        <a:pt x="1080" y="736"/>
                      </a:lnTo>
                      <a:lnTo>
                        <a:pt x="1081" y="736"/>
                      </a:lnTo>
                      <a:lnTo>
                        <a:pt x="1081" y="737"/>
                      </a:lnTo>
                      <a:lnTo>
                        <a:pt x="1081" y="737"/>
                      </a:lnTo>
                      <a:lnTo>
                        <a:pt x="1082" y="737"/>
                      </a:lnTo>
                      <a:lnTo>
                        <a:pt x="1083" y="737"/>
                      </a:lnTo>
                      <a:lnTo>
                        <a:pt x="1084" y="737"/>
                      </a:lnTo>
                      <a:lnTo>
                        <a:pt x="1084" y="737"/>
                      </a:lnTo>
                      <a:lnTo>
                        <a:pt x="1084" y="738"/>
                      </a:lnTo>
                      <a:lnTo>
                        <a:pt x="1083" y="738"/>
                      </a:lnTo>
                      <a:lnTo>
                        <a:pt x="1083" y="738"/>
                      </a:lnTo>
                      <a:lnTo>
                        <a:pt x="1083" y="740"/>
                      </a:lnTo>
                      <a:lnTo>
                        <a:pt x="1081" y="741"/>
                      </a:lnTo>
                      <a:lnTo>
                        <a:pt x="1081" y="742"/>
                      </a:lnTo>
                      <a:lnTo>
                        <a:pt x="1081" y="743"/>
                      </a:lnTo>
                      <a:lnTo>
                        <a:pt x="1081" y="743"/>
                      </a:lnTo>
                      <a:lnTo>
                        <a:pt x="1082" y="743"/>
                      </a:lnTo>
                      <a:lnTo>
                        <a:pt x="1082" y="744"/>
                      </a:lnTo>
                      <a:lnTo>
                        <a:pt x="1081" y="744"/>
                      </a:lnTo>
                      <a:lnTo>
                        <a:pt x="1080" y="744"/>
                      </a:lnTo>
                      <a:lnTo>
                        <a:pt x="1080" y="744"/>
                      </a:lnTo>
                      <a:lnTo>
                        <a:pt x="1079" y="742"/>
                      </a:lnTo>
                      <a:lnTo>
                        <a:pt x="1076" y="742"/>
                      </a:lnTo>
                      <a:lnTo>
                        <a:pt x="1076" y="741"/>
                      </a:lnTo>
                      <a:lnTo>
                        <a:pt x="1076" y="741"/>
                      </a:lnTo>
                      <a:lnTo>
                        <a:pt x="1076" y="742"/>
                      </a:lnTo>
                      <a:lnTo>
                        <a:pt x="1075" y="743"/>
                      </a:lnTo>
                      <a:lnTo>
                        <a:pt x="1073" y="744"/>
                      </a:lnTo>
                      <a:lnTo>
                        <a:pt x="1073" y="744"/>
                      </a:lnTo>
                      <a:lnTo>
                        <a:pt x="1073" y="745"/>
                      </a:lnTo>
                      <a:lnTo>
                        <a:pt x="1072" y="744"/>
                      </a:lnTo>
                      <a:lnTo>
                        <a:pt x="1072" y="743"/>
                      </a:lnTo>
                      <a:lnTo>
                        <a:pt x="1072" y="743"/>
                      </a:lnTo>
                      <a:lnTo>
                        <a:pt x="1071" y="743"/>
                      </a:lnTo>
                      <a:lnTo>
                        <a:pt x="1069" y="743"/>
                      </a:lnTo>
                      <a:lnTo>
                        <a:pt x="1069" y="742"/>
                      </a:lnTo>
                      <a:lnTo>
                        <a:pt x="1068" y="742"/>
                      </a:lnTo>
                      <a:lnTo>
                        <a:pt x="1068" y="746"/>
                      </a:lnTo>
                      <a:lnTo>
                        <a:pt x="1067" y="747"/>
                      </a:lnTo>
                      <a:lnTo>
                        <a:pt x="1067" y="747"/>
                      </a:lnTo>
                      <a:lnTo>
                        <a:pt x="1066" y="746"/>
                      </a:lnTo>
                      <a:lnTo>
                        <a:pt x="1066" y="745"/>
                      </a:lnTo>
                      <a:lnTo>
                        <a:pt x="1065" y="745"/>
                      </a:lnTo>
                      <a:lnTo>
                        <a:pt x="1065" y="744"/>
                      </a:lnTo>
                      <a:lnTo>
                        <a:pt x="1066" y="744"/>
                      </a:lnTo>
                      <a:lnTo>
                        <a:pt x="1066" y="743"/>
                      </a:lnTo>
                      <a:lnTo>
                        <a:pt x="1066" y="743"/>
                      </a:lnTo>
                      <a:lnTo>
                        <a:pt x="1066" y="743"/>
                      </a:lnTo>
                      <a:lnTo>
                        <a:pt x="1067" y="742"/>
                      </a:lnTo>
                      <a:lnTo>
                        <a:pt x="1066" y="742"/>
                      </a:lnTo>
                      <a:lnTo>
                        <a:pt x="1066" y="740"/>
                      </a:lnTo>
                      <a:lnTo>
                        <a:pt x="1067" y="739"/>
                      </a:lnTo>
                      <a:lnTo>
                        <a:pt x="1067" y="738"/>
                      </a:lnTo>
                      <a:lnTo>
                        <a:pt x="1066" y="737"/>
                      </a:lnTo>
                      <a:lnTo>
                        <a:pt x="1066" y="735"/>
                      </a:lnTo>
                      <a:lnTo>
                        <a:pt x="1065" y="735"/>
                      </a:lnTo>
                      <a:lnTo>
                        <a:pt x="1064" y="735"/>
                      </a:lnTo>
                      <a:lnTo>
                        <a:pt x="1063" y="734"/>
                      </a:lnTo>
                      <a:lnTo>
                        <a:pt x="1063" y="734"/>
                      </a:lnTo>
                      <a:lnTo>
                        <a:pt x="1063" y="732"/>
                      </a:lnTo>
                      <a:lnTo>
                        <a:pt x="1062" y="731"/>
                      </a:lnTo>
                      <a:lnTo>
                        <a:pt x="1061" y="731"/>
                      </a:lnTo>
                      <a:lnTo>
                        <a:pt x="1061" y="731"/>
                      </a:lnTo>
                      <a:lnTo>
                        <a:pt x="1060" y="731"/>
                      </a:lnTo>
                      <a:lnTo>
                        <a:pt x="1059" y="731"/>
                      </a:lnTo>
                      <a:lnTo>
                        <a:pt x="1058" y="732"/>
                      </a:lnTo>
                      <a:lnTo>
                        <a:pt x="1057" y="732"/>
                      </a:lnTo>
                      <a:lnTo>
                        <a:pt x="1056" y="734"/>
                      </a:lnTo>
                      <a:lnTo>
                        <a:pt x="1057" y="735"/>
                      </a:lnTo>
                      <a:lnTo>
                        <a:pt x="1058" y="736"/>
                      </a:lnTo>
                      <a:lnTo>
                        <a:pt x="1058" y="737"/>
                      </a:lnTo>
                      <a:lnTo>
                        <a:pt x="1059" y="738"/>
                      </a:lnTo>
                      <a:lnTo>
                        <a:pt x="1059" y="738"/>
                      </a:lnTo>
                      <a:lnTo>
                        <a:pt x="1059" y="741"/>
                      </a:lnTo>
                      <a:lnTo>
                        <a:pt x="1058" y="742"/>
                      </a:lnTo>
                      <a:lnTo>
                        <a:pt x="1058" y="743"/>
                      </a:lnTo>
                      <a:lnTo>
                        <a:pt x="1058" y="744"/>
                      </a:lnTo>
                      <a:lnTo>
                        <a:pt x="1058" y="744"/>
                      </a:lnTo>
                      <a:lnTo>
                        <a:pt x="1056" y="745"/>
                      </a:lnTo>
                      <a:lnTo>
                        <a:pt x="1055" y="744"/>
                      </a:lnTo>
                      <a:lnTo>
                        <a:pt x="1055" y="744"/>
                      </a:lnTo>
                      <a:lnTo>
                        <a:pt x="1054" y="744"/>
                      </a:lnTo>
                      <a:lnTo>
                        <a:pt x="1053" y="744"/>
                      </a:lnTo>
                      <a:lnTo>
                        <a:pt x="1053" y="744"/>
                      </a:lnTo>
                      <a:lnTo>
                        <a:pt x="1052" y="744"/>
                      </a:lnTo>
                      <a:lnTo>
                        <a:pt x="1051" y="745"/>
                      </a:lnTo>
                      <a:lnTo>
                        <a:pt x="1051" y="745"/>
                      </a:lnTo>
                      <a:lnTo>
                        <a:pt x="1049" y="744"/>
                      </a:lnTo>
                      <a:lnTo>
                        <a:pt x="1049" y="740"/>
                      </a:lnTo>
                      <a:lnTo>
                        <a:pt x="1051" y="738"/>
                      </a:lnTo>
                      <a:lnTo>
                        <a:pt x="1051" y="737"/>
                      </a:lnTo>
                      <a:lnTo>
                        <a:pt x="1051" y="736"/>
                      </a:lnTo>
                      <a:lnTo>
                        <a:pt x="1052" y="735"/>
                      </a:lnTo>
                      <a:lnTo>
                        <a:pt x="1053" y="735"/>
                      </a:lnTo>
                      <a:lnTo>
                        <a:pt x="1053" y="735"/>
                      </a:lnTo>
                      <a:lnTo>
                        <a:pt x="1053" y="732"/>
                      </a:lnTo>
                      <a:lnTo>
                        <a:pt x="1053" y="731"/>
                      </a:lnTo>
                      <a:lnTo>
                        <a:pt x="1053" y="731"/>
                      </a:lnTo>
                      <a:lnTo>
                        <a:pt x="1053" y="730"/>
                      </a:lnTo>
                      <a:lnTo>
                        <a:pt x="1054" y="730"/>
                      </a:lnTo>
                      <a:lnTo>
                        <a:pt x="1054" y="729"/>
                      </a:lnTo>
                      <a:lnTo>
                        <a:pt x="1055" y="729"/>
                      </a:lnTo>
                      <a:lnTo>
                        <a:pt x="1056" y="729"/>
                      </a:lnTo>
                      <a:lnTo>
                        <a:pt x="1057" y="728"/>
                      </a:lnTo>
                      <a:lnTo>
                        <a:pt x="1059" y="729"/>
                      </a:lnTo>
                      <a:lnTo>
                        <a:pt x="1060" y="729"/>
                      </a:lnTo>
                      <a:lnTo>
                        <a:pt x="1060" y="729"/>
                      </a:lnTo>
                      <a:lnTo>
                        <a:pt x="1062" y="729"/>
                      </a:lnTo>
                      <a:lnTo>
                        <a:pt x="1062" y="728"/>
                      </a:lnTo>
                      <a:lnTo>
                        <a:pt x="1063" y="726"/>
                      </a:lnTo>
                      <a:lnTo>
                        <a:pt x="1063" y="726"/>
                      </a:lnTo>
                      <a:lnTo>
                        <a:pt x="1064" y="726"/>
                      </a:lnTo>
                      <a:lnTo>
                        <a:pt x="1064" y="725"/>
                      </a:lnTo>
                      <a:lnTo>
                        <a:pt x="1063" y="724"/>
                      </a:lnTo>
                      <a:lnTo>
                        <a:pt x="1063" y="724"/>
                      </a:lnTo>
                      <a:lnTo>
                        <a:pt x="1062" y="723"/>
                      </a:lnTo>
                      <a:lnTo>
                        <a:pt x="1061" y="722"/>
                      </a:lnTo>
                      <a:lnTo>
                        <a:pt x="1060" y="722"/>
                      </a:lnTo>
                      <a:lnTo>
                        <a:pt x="1060" y="721"/>
                      </a:lnTo>
                      <a:lnTo>
                        <a:pt x="1059" y="720"/>
                      </a:lnTo>
                      <a:lnTo>
                        <a:pt x="1058" y="718"/>
                      </a:lnTo>
                      <a:lnTo>
                        <a:pt x="1057" y="717"/>
                      </a:lnTo>
                      <a:lnTo>
                        <a:pt x="1057" y="717"/>
                      </a:lnTo>
                      <a:lnTo>
                        <a:pt x="1057" y="717"/>
                      </a:lnTo>
                      <a:lnTo>
                        <a:pt x="1055" y="715"/>
                      </a:lnTo>
                      <a:lnTo>
                        <a:pt x="1054" y="714"/>
                      </a:lnTo>
                      <a:lnTo>
                        <a:pt x="1054" y="713"/>
                      </a:lnTo>
                      <a:lnTo>
                        <a:pt x="1052" y="714"/>
                      </a:lnTo>
                      <a:lnTo>
                        <a:pt x="1052" y="712"/>
                      </a:lnTo>
                      <a:lnTo>
                        <a:pt x="1052" y="712"/>
                      </a:lnTo>
                      <a:lnTo>
                        <a:pt x="1053" y="711"/>
                      </a:lnTo>
                      <a:lnTo>
                        <a:pt x="1054" y="712"/>
                      </a:lnTo>
                      <a:lnTo>
                        <a:pt x="1054" y="713"/>
                      </a:lnTo>
                      <a:lnTo>
                        <a:pt x="1057" y="713"/>
                      </a:lnTo>
                      <a:lnTo>
                        <a:pt x="1058" y="712"/>
                      </a:lnTo>
                      <a:lnTo>
                        <a:pt x="1058" y="711"/>
                      </a:lnTo>
                      <a:lnTo>
                        <a:pt x="1059" y="710"/>
                      </a:lnTo>
                      <a:lnTo>
                        <a:pt x="1060" y="710"/>
                      </a:lnTo>
                      <a:lnTo>
                        <a:pt x="1061" y="709"/>
                      </a:lnTo>
                      <a:close/>
                      <a:moveTo>
                        <a:pt x="999" y="705"/>
                      </a:moveTo>
                      <a:lnTo>
                        <a:pt x="1001" y="706"/>
                      </a:lnTo>
                      <a:lnTo>
                        <a:pt x="1003" y="707"/>
                      </a:lnTo>
                      <a:lnTo>
                        <a:pt x="1003" y="708"/>
                      </a:lnTo>
                      <a:lnTo>
                        <a:pt x="1003" y="710"/>
                      </a:lnTo>
                      <a:lnTo>
                        <a:pt x="1003" y="711"/>
                      </a:lnTo>
                      <a:lnTo>
                        <a:pt x="1003" y="714"/>
                      </a:lnTo>
                      <a:lnTo>
                        <a:pt x="1002" y="715"/>
                      </a:lnTo>
                      <a:lnTo>
                        <a:pt x="1002" y="718"/>
                      </a:lnTo>
                      <a:lnTo>
                        <a:pt x="1002" y="720"/>
                      </a:lnTo>
                      <a:lnTo>
                        <a:pt x="1002" y="721"/>
                      </a:lnTo>
                      <a:lnTo>
                        <a:pt x="1002" y="724"/>
                      </a:lnTo>
                      <a:lnTo>
                        <a:pt x="1001" y="724"/>
                      </a:lnTo>
                      <a:lnTo>
                        <a:pt x="1001" y="724"/>
                      </a:lnTo>
                      <a:lnTo>
                        <a:pt x="1000" y="722"/>
                      </a:lnTo>
                      <a:lnTo>
                        <a:pt x="1000" y="722"/>
                      </a:lnTo>
                      <a:lnTo>
                        <a:pt x="999" y="720"/>
                      </a:lnTo>
                      <a:lnTo>
                        <a:pt x="998" y="720"/>
                      </a:lnTo>
                      <a:lnTo>
                        <a:pt x="998" y="719"/>
                      </a:lnTo>
                      <a:lnTo>
                        <a:pt x="997" y="719"/>
                      </a:lnTo>
                      <a:lnTo>
                        <a:pt x="997" y="717"/>
                      </a:lnTo>
                      <a:lnTo>
                        <a:pt x="997" y="715"/>
                      </a:lnTo>
                      <a:lnTo>
                        <a:pt x="997" y="714"/>
                      </a:lnTo>
                      <a:lnTo>
                        <a:pt x="995" y="714"/>
                      </a:lnTo>
                      <a:lnTo>
                        <a:pt x="995" y="710"/>
                      </a:lnTo>
                      <a:lnTo>
                        <a:pt x="995" y="707"/>
                      </a:lnTo>
                      <a:lnTo>
                        <a:pt x="997" y="707"/>
                      </a:lnTo>
                      <a:lnTo>
                        <a:pt x="997" y="707"/>
                      </a:lnTo>
                      <a:lnTo>
                        <a:pt x="998" y="706"/>
                      </a:lnTo>
                      <a:lnTo>
                        <a:pt x="999" y="705"/>
                      </a:lnTo>
                      <a:close/>
                      <a:moveTo>
                        <a:pt x="968" y="692"/>
                      </a:moveTo>
                      <a:lnTo>
                        <a:pt x="968" y="692"/>
                      </a:lnTo>
                      <a:lnTo>
                        <a:pt x="969" y="693"/>
                      </a:lnTo>
                      <a:lnTo>
                        <a:pt x="969" y="693"/>
                      </a:lnTo>
                      <a:lnTo>
                        <a:pt x="970" y="694"/>
                      </a:lnTo>
                      <a:lnTo>
                        <a:pt x="971" y="694"/>
                      </a:lnTo>
                      <a:lnTo>
                        <a:pt x="972" y="696"/>
                      </a:lnTo>
                      <a:lnTo>
                        <a:pt x="972" y="694"/>
                      </a:lnTo>
                      <a:lnTo>
                        <a:pt x="972" y="693"/>
                      </a:lnTo>
                      <a:lnTo>
                        <a:pt x="973" y="693"/>
                      </a:lnTo>
                      <a:lnTo>
                        <a:pt x="973" y="694"/>
                      </a:lnTo>
                      <a:lnTo>
                        <a:pt x="974" y="694"/>
                      </a:lnTo>
                      <a:lnTo>
                        <a:pt x="974" y="696"/>
                      </a:lnTo>
                      <a:lnTo>
                        <a:pt x="974" y="696"/>
                      </a:lnTo>
                      <a:lnTo>
                        <a:pt x="974" y="697"/>
                      </a:lnTo>
                      <a:lnTo>
                        <a:pt x="973" y="697"/>
                      </a:lnTo>
                      <a:lnTo>
                        <a:pt x="973" y="698"/>
                      </a:lnTo>
                      <a:lnTo>
                        <a:pt x="974" y="698"/>
                      </a:lnTo>
                      <a:lnTo>
                        <a:pt x="974" y="699"/>
                      </a:lnTo>
                      <a:lnTo>
                        <a:pt x="974" y="700"/>
                      </a:lnTo>
                      <a:lnTo>
                        <a:pt x="974" y="700"/>
                      </a:lnTo>
                      <a:lnTo>
                        <a:pt x="975" y="700"/>
                      </a:lnTo>
                      <a:lnTo>
                        <a:pt x="974" y="701"/>
                      </a:lnTo>
                      <a:lnTo>
                        <a:pt x="975" y="701"/>
                      </a:lnTo>
                      <a:lnTo>
                        <a:pt x="975" y="702"/>
                      </a:lnTo>
                      <a:lnTo>
                        <a:pt x="977" y="702"/>
                      </a:lnTo>
                      <a:lnTo>
                        <a:pt x="981" y="702"/>
                      </a:lnTo>
                      <a:lnTo>
                        <a:pt x="981" y="702"/>
                      </a:lnTo>
                      <a:lnTo>
                        <a:pt x="984" y="702"/>
                      </a:lnTo>
                      <a:lnTo>
                        <a:pt x="986" y="700"/>
                      </a:lnTo>
                      <a:lnTo>
                        <a:pt x="988" y="699"/>
                      </a:lnTo>
                      <a:lnTo>
                        <a:pt x="990" y="698"/>
                      </a:lnTo>
                      <a:lnTo>
                        <a:pt x="991" y="699"/>
                      </a:lnTo>
                      <a:lnTo>
                        <a:pt x="991" y="699"/>
                      </a:lnTo>
                      <a:lnTo>
                        <a:pt x="991" y="701"/>
                      </a:lnTo>
                      <a:lnTo>
                        <a:pt x="992" y="701"/>
                      </a:lnTo>
                      <a:lnTo>
                        <a:pt x="993" y="701"/>
                      </a:lnTo>
                      <a:lnTo>
                        <a:pt x="993" y="703"/>
                      </a:lnTo>
                      <a:lnTo>
                        <a:pt x="992" y="704"/>
                      </a:lnTo>
                      <a:lnTo>
                        <a:pt x="992" y="705"/>
                      </a:lnTo>
                      <a:lnTo>
                        <a:pt x="991" y="705"/>
                      </a:lnTo>
                      <a:lnTo>
                        <a:pt x="991" y="705"/>
                      </a:lnTo>
                      <a:lnTo>
                        <a:pt x="990" y="705"/>
                      </a:lnTo>
                      <a:lnTo>
                        <a:pt x="989" y="705"/>
                      </a:lnTo>
                      <a:lnTo>
                        <a:pt x="989" y="706"/>
                      </a:lnTo>
                      <a:lnTo>
                        <a:pt x="989" y="706"/>
                      </a:lnTo>
                      <a:lnTo>
                        <a:pt x="989" y="708"/>
                      </a:lnTo>
                      <a:lnTo>
                        <a:pt x="988" y="709"/>
                      </a:lnTo>
                      <a:lnTo>
                        <a:pt x="988" y="710"/>
                      </a:lnTo>
                      <a:lnTo>
                        <a:pt x="989" y="712"/>
                      </a:lnTo>
                      <a:lnTo>
                        <a:pt x="990" y="715"/>
                      </a:lnTo>
                      <a:lnTo>
                        <a:pt x="990" y="715"/>
                      </a:lnTo>
                      <a:lnTo>
                        <a:pt x="991" y="717"/>
                      </a:lnTo>
                      <a:lnTo>
                        <a:pt x="991" y="719"/>
                      </a:lnTo>
                      <a:lnTo>
                        <a:pt x="991" y="720"/>
                      </a:lnTo>
                      <a:lnTo>
                        <a:pt x="989" y="720"/>
                      </a:lnTo>
                      <a:lnTo>
                        <a:pt x="988" y="721"/>
                      </a:lnTo>
                      <a:lnTo>
                        <a:pt x="987" y="721"/>
                      </a:lnTo>
                      <a:lnTo>
                        <a:pt x="986" y="721"/>
                      </a:lnTo>
                      <a:lnTo>
                        <a:pt x="985" y="722"/>
                      </a:lnTo>
                      <a:lnTo>
                        <a:pt x="985" y="722"/>
                      </a:lnTo>
                      <a:lnTo>
                        <a:pt x="984" y="722"/>
                      </a:lnTo>
                      <a:lnTo>
                        <a:pt x="984" y="723"/>
                      </a:lnTo>
                      <a:lnTo>
                        <a:pt x="983" y="722"/>
                      </a:lnTo>
                      <a:lnTo>
                        <a:pt x="982" y="723"/>
                      </a:lnTo>
                      <a:lnTo>
                        <a:pt x="980" y="723"/>
                      </a:lnTo>
                      <a:lnTo>
                        <a:pt x="980" y="723"/>
                      </a:lnTo>
                      <a:lnTo>
                        <a:pt x="979" y="723"/>
                      </a:lnTo>
                      <a:lnTo>
                        <a:pt x="979" y="723"/>
                      </a:lnTo>
                      <a:lnTo>
                        <a:pt x="975" y="723"/>
                      </a:lnTo>
                      <a:lnTo>
                        <a:pt x="974" y="722"/>
                      </a:lnTo>
                      <a:lnTo>
                        <a:pt x="974" y="722"/>
                      </a:lnTo>
                      <a:lnTo>
                        <a:pt x="974" y="722"/>
                      </a:lnTo>
                      <a:lnTo>
                        <a:pt x="972" y="721"/>
                      </a:lnTo>
                      <a:lnTo>
                        <a:pt x="971" y="720"/>
                      </a:lnTo>
                      <a:lnTo>
                        <a:pt x="969" y="719"/>
                      </a:lnTo>
                      <a:lnTo>
                        <a:pt x="969" y="719"/>
                      </a:lnTo>
                      <a:lnTo>
                        <a:pt x="968" y="719"/>
                      </a:lnTo>
                      <a:lnTo>
                        <a:pt x="968" y="719"/>
                      </a:lnTo>
                      <a:lnTo>
                        <a:pt x="968" y="719"/>
                      </a:lnTo>
                      <a:lnTo>
                        <a:pt x="968" y="718"/>
                      </a:lnTo>
                      <a:lnTo>
                        <a:pt x="967" y="718"/>
                      </a:lnTo>
                      <a:lnTo>
                        <a:pt x="967" y="718"/>
                      </a:lnTo>
                      <a:lnTo>
                        <a:pt x="967" y="718"/>
                      </a:lnTo>
                      <a:lnTo>
                        <a:pt x="967" y="717"/>
                      </a:lnTo>
                      <a:lnTo>
                        <a:pt x="967" y="717"/>
                      </a:lnTo>
                      <a:lnTo>
                        <a:pt x="966" y="716"/>
                      </a:lnTo>
                      <a:lnTo>
                        <a:pt x="965" y="715"/>
                      </a:lnTo>
                      <a:lnTo>
                        <a:pt x="964" y="715"/>
                      </a:lnTo>
                      <a:lnTo>
                        <a:pt x="964" y="714"/>
                      </a:lnTo>
                      <a:lnTo>
                        <a:pt x="964" y="714"/>
                      </a:lnTo>
                      <a:lnTo>
                        <a:pt x="963" y="713"/>
                      </a:lnTo>
                      <a:lnTo>
                        <a:pt x="963" y="712"/>
                      </a:lnTo>
                      <a:lnTo>
                        <a:pt x="963" y="712"/>
                      </a:lnTo>
                      <a:lnTo>
                        <a:pt x="963" y="712"/>
                      </a:lnTo>
                      <a:lnTo>
                        <a:pt x="963" y="711"/>
                      </a:lnTo>
                      <a:lnTo>
                        <a:pt x="962" y="710"/>
                      </a:lnTo>
                      <a:lnTo>
                        <a:pt x="961" y="710"/>
                      </a:lnTo>
                      <a:lnTo>
                        <a:pt x="960" y="710"/>
                      </a:lnTo>
                      <a:lnTo>
                        <a:pt x="960" y="710"/>
                      </a:lnTo>
                      <a:lnTo>
                        <a:pt x="960" y="709"/>
                      </a:lnTo>
                      <a:lnTo>
                        <a:pt x="960" y="709"/>
                      </a:lnTo>
                      <a:lnTo>
                        <a:pt x="960" y="708"/>
                      </a:lnTo>
                      <a:lnTo>
                        <a:pt x="959" y="708"/>
                      </a:lnTo>
                      <a:lnTo>
                        <a:pt x="960" y="707"/>
                      </a:lnTo>
                      <a:lnTo>
                        <a:pt x="960" y="707"/>
                      </a:lnTo>
                      <a:lnTo>
                        <a:pt x="960" y="707"/>
                      </a:lnTo>
                      <a:lnTo>
                        <a:pt x="960" y="706"/>
                      </a:lnTo>
                      <a:lnTo>
                        <a:pt x="959" y="705"/>
                      </a:lnTo>
                      <a:lnTo>
                        <a:pt x="959" y="704"/>
                      </a:lnTo>
                      <a:lnTo>
                        <a:pt x="959" y="704"/>
                      </a:lnTo>
                      <a:lnTo>
                        <a:pt x="959" y="703"/>
                      </a:lnTo>
                      <a:lnTo>
                        <a:pt x="960" y="703"/>
                      </a:lnTo>
                      <a:lnTo>
                        <a:pt x="962" y="702"/>
                      </a:lnTo>
                      <a:lnTo>
                        <a:pt x="962" y="701"/>
                      </a:lnTo>
                      <a:lnTo>
                        <a:pt x="961" y="701"/>
                      </a:lnTo>
                      <a:lnTo>
                        <a:pt x="961" y="701"/>
                      </a:lnTo>
                      <a:lnTo>
                        <a:pt x="962" y="701"/>
                      </a:lnTo>
                      <a:lnTo>
                        <a:pt x="962" y="699"/>
                      </a:lnTo>
                      <a:lnTo>
                        <a:pt x="962" y="698"/>
                      </a:lnTo>
                      <a:lnTo>
                        <a:pt x="963" y="698"/>
                      </a:lnTo>
                      <a:lnTo>
                        <a:pt x="963" y="698"/>
                      </a:lnTo>
                      <a:lnTo>
                        <a:pt x="963" y="698"/>
                      </a:lnTo>
                      <a:lnTo>
                        <a:pt x="963" y="698"/>
                      </a:lnTo>
                      <a:lnTo>
                        <a:pt x="964" y="697"/>
                      </a:lnTo>
                      <a:lnTo>
                        <a:pt x="964" y="697"/>
                      </a:lnTo>
                      <a:lnTo>
                        <a:pt x="964" y="696"/>
                      </a:lnTo>
                      <a:lnTo>
                        <a:pt x="966" y="694"/>
                      </a:lnTo>
                      <a:lnTo>
                        <a:pt x="966" y="693"/>
                      </a:lnTo>
                      <a:lnTo>
                        <a:pt x="966" y="693"/>
                      </a:lnTo>
                      <a:lnTo>
                        <a:pt x="966" y="693"/>
                      </a:lnTo>
                      <a:lnTo>
                        <a:pt x="967" y="693"/>
                      </a:lnTo>
                      <a:lnTo>
                        <a:pt x="967" y="692"/>
                      </a:lnTo>
                      <a:lnTo>
                        <a:pt x="968" y="692"/>
                      </a:lnTo>
                      <a:close/>
                      <a:moveTo>
                        <a:pt x="1035" y="672"/>
                      </a:moveTo>
                      <a:lnTo>
                        <a:pt x="1036" y="673"/>
                      </a:lnTo>
                      <a:lnTo>
                        <a:pt x="1036" y="675"/>
                      </a:lnTo>
                      <a:lnTo>
                        <a:pt x="1036" y="675"/>
                      </a:lnTo>
                      <a:lnTo>
                        <a:pt x="1035" y="676"/>
                      </a:lnTo>
                      <a:lnTo>
                        <a:pt x="1035" y="676"/>
                      </a:lnTo>
                      <a:lnTo>
                        <a:pt x="1035" y="676"/>
                      </a:lnTo>
                      <a:lnTo>
                        <a:pt x="1035" y="677"/>
                      </a:lnTo>
                      <a:lnTo>
                        <a:pt x="1034" y="677"/>
                      </a:lnTo>
                      <a:lnTo>
                        <a:pt x="1034" y="678"/>
                      </a:lnTo>
                      <a:lnTo>
                        <a:pt x="1034" y="679"/>
                      </a:lnTo>
                      <a:lnTo>
                        <a:pt x="1034" y="680"/>
                      </a:lnTo>
                      <a:lnTo>
                        <a:pt x="1035" y="680"/>
                      </a:lnTo>
                      <a:lnTo>
                        <a:pt x="1035" y="680"/>
                      </a:lnTo>
                      <a:lnTo>
                        <a:pt x="1035" y="680"/>
                      </a:lnTo>
                      <a:lnTo>
                        <a:pt x="1036" y="680"/>
                      </a:lnTo>
                      <a:lnTo>
                        <a:pt x="1037" y="680"/>
                      </a:lnTo>
                      <a:lnTo>
                        <a:pt x="1037" y="681"/>
                      </a:lnTo>
                      <a:lnTo>
                        <a:pt x="1038" y="681"/>
                      </a:lnTo>
                      <a:lnTo>
                        <a:pt x="1038" y="681"/>
                      </a:lnTo>
                      <a:lnTo>
                        <a:pt x="1039" y="682"/>
                      </a:lnTo>
                      <a:lnTo>
                        <a:pt x="1040" y="683"/>
                      </a:lnTo>
                      <a:lnTo>
                        <a:pt x="1040" y="685"/>
                      </a:lnTo>
                      <a:lnTo>
                        <a:pt x="1040" y="685"/>
                      </a:lnTo>
                      <a:lnTo>
                        <a:pt x="1040" y="687"/>
                      </a:lnTo>
                      <a:lnTo>
                        <a:pt x="1039" y="688"/>
                      </a:lnTo>
                      <a:lnTo>
                        <a:pt x="1039" y="689"/>
                      </a:lnTo>
                      <a:lnTo>
                        <a:pt x="1038" y="689"/>
                      </a:lnTo>
                      <a:lnTo>
                        <a:pt x="1038" y="689"/>
                      </a:lnTo>
                      <a:lnTo>
                        <a:pt x="1037" y="690"/>
                      </a:lnTo>
                      <a:lnTo>
                        <a:pt x="1037" y="691"/>
                      </a:lnTo>
                      <a:lnTo>
                        <a:pt x="1037" y="692"/>
                      </a:lnTo>
                      <a:lnTo>
                        <a:pt x="1037" y="692"/>
                      </a:lnTo>
                      <a:lnTo>
                        <a:pt x="1036" y="693"/>
                      </a:lnTo>
                      <a:lnTo>
                        <a:pt x="1036" y="696"/>
                      </a:lnTo>
                      <a:lnTo>
                        <a:pt x="1035" y="697"/>
                      </a:lnTo>
                      <a:lnTo>
                        <a:pt x="1035" y="698"/>
                      </a:lnTo>
                      <a:lnTo>
                        <a:pt x="1035" y="700"/>
                      </a:lnTo>
                      <a:lnTo>
                        <a:pt x="1036" y="701"/>
                      </a:lnTo>
                      <a:lnTo>
                        <a:pt x="1036" y="703"/>
                      </a:lnTo>
                      <a:lnTo>
                        <a:pt x="1035" y="704"/>
                      </a:lnTo>
                      <a:lnTo>
                        <a:pt x="1036" y="706"/>
                      </a:lnTo>
                      <a:lnTo>
                        <a:pt x="1035" y="706"/>
                      </a:lnTo>
                      <a:lnTo>
                        <a:pt x="1035" y="707"/>
                      </a:lnTo>
                      <a:lnTo>
                        <a:pt x="1035" y="708"/>
                      </a:lnTo>
                      <a:lnTo>
                        <a:pt x="1036" y="710"/>
                      </a:lnTo>
                      <a:lnTo>
                        <a:pt x="1036" y="710"/>
                      </a:lnTo>
                      <a:lnTo>
                        <a:pt x="1036" y="711"/>
                      </a:lnTo>
                      <a:lnTo>
                        <a:pt x="1036" y="711"/>
                      </a:lnTo>
                      <a:lnTo>
                        <a:pt x="1037" y="710"/>
                      </a:lnTo>
                      <a:lnTo>
                        <a:pt x="1037" y="710"/>
                      </a:lnTo>
                      <a:lnTo>
                        <a:pt x="1038" y="711"/>
                      </a:lnTo>
                      <a:lnTo>
                        <a:pt x="1039" y="711"/>
                      </a:lnTo>
                      <a:lnTo>
                        <a:pt x="1039" y="712"/>
                      </a:lnTo>
                      <a:lnTo>
                        <a:pt x="1039" y="712"/>
                      </a:lnTo>
                      <a:lnTo>
                        <a:pt x="1039" y="713"/>
                      </a:lnTo>
                      <a:lnTo>
                        <a:pt x="1039" y="713"/>
                      </a:lnTo>
                      <a:lnTo>
                        <a:pt x="1039" y="715"/>
                      </a:lnTo>
                      <a:lnTo>
                        <a:pt x="1039" y="716"/>
                      </a:lnTo>
                      <a:lnTo>
                        <a:pt x="1036" y="716"/>
                      </a:lnTo>
                      <a:lnTo>
                        <a:pt x="1035" y="716"/>
                      </a:lnTo>
                      <a:lnTo>
                        <a:pt x="1031" y="716"/>
                      </a:lnTo>
                      <a:lnTo>
                        <a:pt x="1030" y="716"/>
                      </a:lnTo>
                      <a:lnTo>
                        <a:pt x="1030" y="718"/>
                      </a:lnTo>
                      <a:lnTo>
                        <a:pt x="1027" y="719"/>
                      </a:lnTo>
                      <a:lnTo>
                        <a:pt x="1027" y="717"/>
                      </a:lnTo>
                      <a:lnTo>
                        <a:pt x="1027" y="716"/>
                      </a:lnTo>
                      <a:lnTo>
                        <a:pt x="1027" y="716"/>
                      </a:lnTo>
                      <a:lnTo>
                        <a:pt x="1027" y="715"/>
                      </a:lnTo>
                      <a:lnTo>
                        <a:pt x="1027" y="715"/>
                      </a:lnTo>
                      <a:lnTo>
                        <a:pt x="1026" y="714"/>
                      </a:lnTo>
                      <a:lnTo>
                        <a:pt x="1026" y="714"/>
                      </a:lnTo>
                      <a:lnTo>
                        <a:pt x="1026" y="710"/>
                      </a:lnTo>
                      <a:lnTo>
                        <a:pt x="1026" y="709"/>
                      </a:lnTo>
                      <a:lnTo>
                        <a:pt x="1025" y="708"/>
                      </a:lnTo>
                      <a:lnTo>
                        <a:pt x="1025" y="707"/>
                      </a:lnTo>
                      <a:lnTo>
                        <a:pt x="1023" y="707"/>
                      </a:lnTo>
                      <a:lnTo>
                        <a:pt x="1023" y="707"/>
                      </a:lnTo>
                      <a:lnTo>
                        <a:pt x="1023" y="706"/>
                      </a:lnTo>
                      <a:lnTo>
                        <a:pt x="1022" y="704"/>
                      </a:lnTo>
                      <a:lnTo>
                        <a:pt x="1021" y="704"/>
                      </a:lnTo>
                      <a:lnTo>
                        <a:pt x="1021" y="706"/>
                      </a:lnTo>
                      <a:lnTo>
                        <a:pt x="1020" y="706"/>
                      </a:lnTo>
                      <a:lnTo>
                        <a:pt x="1020" y="704"/>
                      </a:lnTo>
                      <a:lnTo>
                        <a:pt x="1020" y="702"/>
                      </a:lnTo>
                      <a:lnTo>
                        <a:pt x="1020" y="699"/>
                      </a:lnTo>
                      <a:lnTo>
                        <a:pt x="1020" y="697"/>
                      </a:lnTo>
                      <a:lnTo>
                        <a:pt x="1020" y="694"/>
                      </a:lnTo>
                      <a:lnTo>
                        <a:pt x="1020" y="694"/>
                      </a:lnTo>
                      <a:lnTo>
                        <a:pt x="1021" y="694"/>
                      </a:lnTo>
                      <a:lnTo>
                        <a:pt x="1021" y="698"/>
                      </a:lnTo>
                      <a:lnTo>
                        <a:pt x="1022" y="698"/>
                      </a:lnTo>
                      <a:lnTo>
                        <a:pt x="1023" y="698"/>
                      </a:lnTo>
                      <a:lnTo>
                        <a:pt x="1024" y="699"/>
                      </a:lnTo>
                      <a:lnTo>
                        <a:pt x="1024" y="699"/>
                      </a:lnTo>
                      <a:lnTo>
                        <a:pt x="1025" y="700"/>
                      </a:lnTo>
                      <a:lnTo>
                        <a:pt x="1026" y="700"/>
                      </a:lnTo>
                      <a:lnTo>
                        <a:pt x="1027" y="699"/>
                      </a:lnTo>
                      <a:lnTo>
                        <a:pt x="1027" y="699"/>
                      </a:lnTo>
                      <a:lnTo>
                        <a:pt x="1028" y="699"/>
                      </a:lnTo>
                      <a:lnTo>
                        <a:pt x="1028" y="699"/>
                      </a:lnTo>
                      <a:lnTo>
                        <a:pt x="1029" y="698"/>
                      </a:lnTo>
                      <a:lnTo>
                        <a:pt x="1030" y="696"/>
                      </a:lnTo>
                      <a:lnTo>
                        <a:pt x="1030" y="696"/>
                      </a:lnTo>
                      <a:lnTo>
                        <a:pt x="1030" y="694"/>
                      </a:lnTo>
                      <a:lnTo>
                        <a:pt x="1030" y="694"/>
                      </a:lnTo>
                      <a:lnTo>
                        <a:pt x="1030" y="690"/>
                      </a:lnTo>
                      <a:lnTo>
                        <a:pt x="1030" y="689"/>
                      </a:lnTo>
                      <a:lnTo>
                        <a:pt x="1029" y="689"/>
                      </a:lnTo>
                      <a:lnTo>
                        <a:pt x="1029" y="688"/>
                      </a:lnTo>
                      <a:lnTo>
                        <a:pt x="1028" y="688"/>
                      </a:lnTo>
                      <a:lnTo>
                        <a:pt x="1027" y="687"/>
                      </a:lnTo>
                      <a:lnTo>
                        <a:pt x="1028" y="685"/>
                      </a:lnTo>
                      <a:lnTo>
                        <a:pt x="1028" y="684"/>
                      </a:lnTo>
                      <a:lnTo>
                        <a:pt x="1028" y="683"/>
                      </a:lnTo>
                      <a:lnTo>
                        <a:pt x="1028" y="682"/>
                      </a:lnTo>
                      <a:lnTo>
                        <a:pt x="1029" y="682"/>
                      </a:lnTo>
                      <a:lnTo>
                        <a:pt x="1029" y="681"/>
                      </a:lnTo>
                      <a:lnTo>
                        <a:pt x="1028" y="680"/>
                      </a:lnTo>
                      <a:lnTo>
                        <a:pt x="1027" y="680"/>
                      </a:lnTo>
                      <a:lnTo>
                        <a:pt x="1027" y="680"/>
                      </a:lnTo>
                      <a:lnTo>
                        <a:pt x="1027" y="678"/>
                      </a:lnTo>
                      <a:lnTo>
                        <a:pt x="1028" y="677"/>
                      </a:lnTo>
                      <a:lnTo>
                        <a:pt x="1028" y="676"/>
                      </a:lnTo>
                      <a:lnTo>
                        <a:pt x="1032" y="674"/>
                      </a:lnTo>
                      <a:lnTo>
                        <a:pt x="1034" y="673"/>
                      </a:lnTo>
                      <a:lnTo>
                        <a:pt x="1034" y="673"/>
                      </a:lnTo>
                      <a:lnTo>
                        <a:pt x="1034" y="672"/>
                      </a:lnTo>
                      <a:lnTo>
                        <a:pt x="1035" y="672"/>
                      </a:lnTo>
                      <a:close/>
                      <a:moveTo>
                        <a:pt x="1106" y="646"/>
                      </a:moveTo>
                      <a:lnTo>
                        <a:pt x="1106" y="647"/>
                      </a:lnTo>
                      <a:lnTo>
                        <a:pt x="1106" y="647"/>
                      </a:lnTo>
                      <a:lnTo>
                        <a:pt x="1106" y="647"/>
                      </a:lnTo>
                      <a:lnTo>
                        <a:pt x="1106" y="647"/>
                      </a:lnTo>
                      <a:lnTo>
                        <a:pt x="1106" y="648"/>
                      </a:lnTo>
                      <a:lnTo>
                        <a:pt x="1106" y="649"/>
                      </a:lnTo>
                      <a:lnTo>
                        <a:pt x="1105" y="650"/>
                      </a:lnTo>
                      <a:lnTo>
                        <a:pt x="1105" y="651"/>
                      </a:lnTo>
                      <a:lnTo>
                        <a:pt x="1106" y="651"/>
                      </a:lnTo>
                      <a:lnTo>
                        <a:pt x="1106" y="652"/>
                      </a:lnTo>
                      <a:lnTo>
                        <a:pt x="1106" y="653"/>
                      </a:lnTo>
                      <a:lnTo>
                        <a:pt x="1106" y="654"/>
                      </a:lnTo>
                      <a:lnTo>
                        <a:pt x="1106" y="655"/>
                      </a:lnTo>
                      <a:lnTo>
                        <a:pt x="1105" y="655"/>
                      </a:lnTo>
                      <a:lnTo>
                        <a:pt x="1105" y="655"/>
                      </a:lnTo>
                      <a:lnTo>
                        <a:pt x="1105" y="655"/>
                      </a:lnTo>
                      <a:lnTo>
                        <a:pt x="1106" y="656"/>
                      </a:lnTo>
                      <a:lnTo>
                        <a:pt x="1106" y="658"/>
                      </a:lnTo>
                      <a:lnTo>
                        <a:pt x="1109" y="659"/>
                      </a:lnTo>
                      <a:lnTo>
                        <a:pt x="1109" y="659"/>
                      </a:lnTo>
                      <a:lnTo>
                        <a:pt x="1110" y="659"/>
                      </a:lnTo>
                      <a:lnTo>
                        <a:pt x="1110" y="660"/>
                      </a:lnTo>
                      <a:lnTo>
                        <a:pt x="1111" y="660"/>
                      </a:lnTo>
                      <a:lnTo>
                        <a:pt x="1112" y="661"/>
                      </a:lnTo>
                      <a:lnTo>
                        <a:pt x="1114" y="660"/>
                      </a:lnTo>
                      <a:lnTo>
                        <a:pt x="1116" y="660"/>
                      </a:lnTo>
                      <a:lnTo>
                        <a:pt x="1116" y="660"/>
                      </a:lnTo>
                      <a:lnTo>
                        <a:pt x="1116" y="661"/>
                      </a:lnTo>
                      <a:lnTo>
                        <a:pt x="1116" y="662"/>
                      </a:lnTo>
                      <a:lnTo>
                        <a:pt x="1115" y="662"/>
                      </a:lnTo>
                      <a:lnTo>
                        <a:pt x="1114" y="662"/>
                      </a:lnTo>
                      <a:lnTo>
                        <a:pt x="1113" y="661"/>
                      </a:lnTo>
                      <a:lnTo>
                        <a:pt x="1111" y="661"/>
                      </a:lnTo>
                      <a:lnTo>
                        <a:pt x="1111" y="662"/>
                      </a:lnTo>
                      <a:lnTo>
                        <a:pt x="1110" y="662"/>
                      </a:lnTo>
                      <a:lnTo>
                        <a:pt x="1110" y="662"/>
                      </a:lnTo>
                      <a:lnTo>
                        <a:pt x="1109" y="661"/>
                      </a:lnTo>
                      <a:lnTo>
                        <a:pt x="1107" y="662"/>
                      </a:lnTo>
                      <a:lnTo>
                        <a:pt x="1106" y="662"/>
                      </a:lnTo>
                      <a:lnTo>
                        <a:pt x="1106" y="662"/>
                      </a:lnTo>
                      <a:lnTo>
                        <a:pt x="1106" y="662"/>
                      </a:lnTo>
                      <a:lnTo>
                        <a:pt x="1104" y="662"/>
                      </a:lnTo>
                      <a:lnTo>
                        <a:pt x="1104" y="662"/>
                      </a:lnTo>
                      <a:lnTo>
                        <a:pt x="1104" y="660"/>
                      </a:lnTo>
                      <a:lnTo>
                        <a:pt x="1103" y="660"/>
                      </a:lnTo>
                      <a:lnTo>
                        <a:pt x="1102" y="660"/>
                      </a:lnTo>
                      <a:lnTo>
                        <a:pt x="1101" y="659"/>
                      </a:lnTo>
                      <a:lnTo>
                        <a:pt x="1099" y="659"/>
                      </a:lnTo>
                      <a:lnTo>
                        <a:pt x="1098" y="660"/>
                      </a:lnTo>
                      <a:lnTo>
                        <a:pt x="1095" y="661"/>
                      </a:lnTo>
                      <a:lnTo>
                        <a:pt x="1093" y="662"/>
                      </a:lnTo>
                      <a:lnTo>
                        <a:pt x="1093" y="663"/>
                      </a:lnTo>
                      <a:lnTo>
                        <a:pt x="1092" y="663"/>
                      </a:lnTo>
                      <a:lnTo>
                        <a:pt x="1092" y="666"/>
                      </a:lnTo>
                      <a:lnTo>
                        <a:pt x="1090" y="667"/>
                      </a:lnTo>
                      <a:lnTo>
                        <a:pt x="1090" y="668"/>
                      </a:lnTo>
                      <a:lnTo>
                        <a:pt x="1091" y="668"/>
                      </a:lnTo>
                      <a:lnTo>
                        <a:pt x="1090" y="669"/>
                      </a:lnTo>
                      <a:lnTo>
                        <a:pt x="1089" y="670"/>
                      </a:lnTo>
                      <a:lnTo>
                        <a:pt x="1089" y="670"/>
                      </a:lnTo>
                      <a:lnTo>
                        <a:pt x="1087" y="673"/>
                      </a:lnTo>
                      <a:lnTo>
                        <a:pt x="1087" y="673"/>
                      </a:lnTo>
                      <a:lnTo>
                        <a:pt x="1087" y="674"/>
                      </a:lnTo>
                      <a:lnTo>
                        <a:pt x="1087" y="674"/>
                      </a:lnTo>
                      <a:lnTo>
                        <a:pt x="1086" y="675"/>
                      </a:lnTo>
                      <a:lnTo>
                        <a:pt x="1086" y="675"/>
                      </a:lnTo>
                      <a:lnTo>
                        <a:pt x="1086" y="674"/>
                      </a:lnTo>
                      <a:lnTo>
                        <a:pt x="1086" y="674"/>
                      </a:lnTo>
                      <a:lnTo>
                        <a:pt x="1086" y="673"/>
                      </a:lnTo>
                      <a:lnTo>
                        <a:pt x="1087" y="672"/>
                      </a:lnTo>
                      <a:lnTo>
                        <a:pt x="1087" y="672"/>
                      </a:lnTo>
                      <a:lnTo>
                        <a:pt x="1087" y="671"/>
                      </a:lnTo>
                      <a:lnTo>
                        <a:pt x="1085" y="670"/>
                      </a:lnTo>
                      <a:lnTo>
                        <a:pt x="1084" y="669"/>
                      </a:lnTo>
                      <a:lnTo>
                        <a:pt x="1083" y="670"/>
                      </a:lnTo>
                      <a:lnTo>
                        <a:pt x="1083" y="670"/>
                      </a:lnTo>
                      <a:lnTo>
                        <a:pt x="1082" y="672"/>
                      </a:lnTo>
                      <a:lnTo>
                        <a:pt x="1082" y="672"/>
                      </a:lnTo>
                      <a:lnTo>
                        <a:pt x="1081" y="673"/>
                      </a:lnTo>
                      <a:lnTo>
                        <a:pt x="1082" y="673"/>
                      </a:lnTo>
                      <a:lnTo>
                        <a:pt x="1083" y="673"/>
                      </a:lnTo>
                      <a:lnTo>
                        <a:pt x="1084" y="672"/>
                      </a:lnTo>
                      <a:lnTo>
                        <a:pt x="1084" y="671"/>
                      </a:lnTo>
                      <a:lnTo>
                        <a:pt x="1084" y="671"/>
                      </a:lnTo>
                      <a:lnTo>
                        <a:pt x="1084" y="670"/>
                      </a:lnTo>
                      <a:lnTo>
                        <a:pt x="1085" y="671"/>
                      </a:lnTo>
                      <a:lnTo>
                        <a:pt x="1085" y="671"/>
                      </a:lnTo>
                      <a:lnTo>
                        <a:pt x="1085" y="672"/>
                      </a:lnTo>
                      <a:lnTo>
                        <a:pt x="1085" y="673"/>
                      </a:lnTo>
                      <a:lnTo>
                        <a:pt x="1084" y="674"/>
                      </a:lnTo>
                      <a:lnTo>
                        <a:pt x="1085" y="675"/>
                      </a:lnTo>
                      <a:lnTo>
                        <a:pt x="1085" y="676"/>
                      </a:lnTo>
                      <a:lnTo>
                        <a:pt x="1085" y="677"/>
                      </a:lnTo>
                      <a:lnTo>
                        <a:pt x="1085" y="678"/>
                      </a:lnTo>
                      <a:lnTo>
                        <a:pt x="1086" y="680"/>
                      </a:lnTo>
                      <a:lnTo>
                        <a:pt x="1088" y="680"/>
                      </a:lnTo>
                      <a:lnTo>
                        <a:pt x="1088" y="682"/>
                      </a:lnTo>
                      <a:lnTo>
                        <a:pt x="1088" y="683"/>
                      </a:lnTo>
                      <a:lnTo>
                        <a:pt x="1088" y="683"/>
                      </a:lnTo>
                      <a:lnTo>
                        <a:pt x="1088" y="683"/>
                      </a:lnTo>
                      <a:lnTo>
                        <a:pt x="1087" y="683"/>
                      </a:lnTo>
                      <a:lnTo>
                        <a:pt x="1087" y="683"/>
                      </a:lnTo>
                      <a:lnTo>
                        <a:pt x="1087" y="682"/>
                      </a:lnTo>
                      <a:lnTo>
                        <a:pt x="1086" y="682"/>
                      </a:lnTo>
                      <a:lnTo>
                        <a:pt x="1085" y="681"/>
                      </a:lnTo>
                      <a:lnTo>
                        <a:pt x="1085" y="681"/>
                      </a:lnTo>
                      <a:lnTo>
                        <a:pt x="1085" y="681"/>
                      </a:lnTo>
                      <a:lnTo>
                        <a:pt x="1084" y="679"/>
                      </a:lnTo>
                      <a:lnTo>
                        <a:pt x="1083" y="678"/>
                      </a:lnTo>
                      <a:lnTo>
                        <a:pt x="1082" y="678"/>
                      </a:lnTo>
                      <a:lnTo>
                        <a:pt x="1082" y="678"/>
                      </a:lnTo>
                      <a:lnTo>
                        <a:pt x="1082" y="679"/>
                      </a:lnTo>
                      <a:lnTo>
                        <a:pt x="1081" y="679"/>
                      </a:lnTo>
                      <a:lnTo>
                        <a:pt x="1080" y="678"/>
                      </a:lnTo>
                      <a:lnTo>
                        <a:pt x="1080" y="678"/>
                      </a:lnTo>
                      <a:lnTo>
                        <a:pt x="1079" y="677"/>
                      </a:lnTo>
                      <a:lnTo>
                        <a:pt x="1077" y="677"/>
                      </a:lnTo>
                      <a:lnTo>
                        <a:pt x="1077" y="677"/>
                      </a:lnTo>
                      <a:lnTo>
                        <a:pt x="1075" y="678"/>
                      </a:lnTo>
                      <a:lnTo>
                        <a:pt x="1075" y="678"/>
                      </a:lnTo>
                      <a:lnTo>
                        <a:pt x="1075" y="679"/>
                      </a:lnTo>
                      <a:lnTo>
                        <a:pt x="1075" y="679"/>
                      </a:lnTo>
                      <a:lnTo>
                        <a:pt x="1075" y="681"/>
                      </a:lnTo>
                      <a:lnTo>
                        <a:pt x="1075" y="681"/>
                      </a:lnTo>
                      <a:lnTo>
                        <a:pt x="1075" y="684"/>
                      </a:lnTo>
                      <a:lnTo>
                        <a:pt x="1075" y="685"/>
                      </a:lnTo>
                      <a:lnTo>
                        <a:pt x="1074" y="684"/>
                      </a:lnTo>
                      <a:lnTo>
                        <a:pt x="1074" y="684"/>
                      </a:lnTo>
                      <a:lnTo>
                        <a:pt x="1073" y="683"/>
                      </a:lnTo>
                      <a:lnTo>
                        <a:pt x="1072" y="682"/>
                      </a:lnTo>
                      <a:lnTo>
                        <a:pt x="1072" y="681"/>
                      </a:lnTo>
                      <a:lnTo>
                        <a:pt x="1072" y="681"/>
                      </a:lnTo>
                      <a:lnTo>
                        <a:pt x="1073" y="680"/>
                      </a:lnTo>
                      <a:lnTo>
                        <a:pt x="1073" y="680"/>
                      </a:lnTo>
                      <a:lnTo>
                        <a:pt x="1072" y="679"/>
                      </a:lnTo>
                      <a:lnTo>
                        <a:pt x="1072" y="678"/>
                      </a:lnTo>
                      <a:lnTo>
                        <a:pt x="1072" y="678"/>
                      </a:lnTo>
                      <a:lnTo>
                        <a:pt x="1071" y="678"/>
                      </a:lnTo>
                      <a:lnTo>
                        <a:pt x="1071" y="678"/>
                      </a:lnTo>
                      <a:lnTo>
                        <a:pt x="1069" y="678"/>
                      </a:lnTo>
                      <a:lnTo>
                        <a:pt x="1068" y="678"/>
                      </a:lnTo>
                      <a:lnTo>
                        <a:pt x="1068" y="681"/>
                      </a:lnTo>
                      <a:lnTo>
                        <a:pt x="1068" y="681"/>
                      </a:lnTo>
                      <a:lnTo>
                        <a:pt x="1067" y="681"/>
                      </a:lnTo>
                      <a:lnTo>
                        <a:pt x="1066" y="682"/>
                      </a:lnTo>
                      <a:lnTo>
                        <a:pt x="1066" y="681"/>
                      </a:lnTo>
                      <a:lnTo>
                        <a:pt x="1066" y="681"/>
                      </a:lnTo>
                      <a:lnTo>
                        <a:pt x="1066" y="680"/>
                      </a:lnTo>
                      <a:lnTo>
                        <a:pt x="1066" y="680"/>
                      </a:lnTo>
                      <a:lnTo>
                        <a:pt x="1066" y="679"/>
                      </a:lnTo>
                      <a:lnTo>
                        <a:pt x="1067" y="678"/>
                      </a:lnTo>
                      <a:lnTo>
                        <a:pt x="1066" y="678"/>
                      </a:lnTo>
                      <a:lnTo>
                        <a:pt x="1065" y="678"/>
                      </a:lnTo>
                      <a:lnTo>
                        <a:pt x="1065" y="677"/>
                      </a:lnTo>
                      <a:lnTo>
                        <a:pt x="1062" y="677"/>
                      </a:lnTo>
                      <a:lnTo>
                        <a:pt x="1061" y="677"/>
                      </a:lnTo>
                      <a:lnTo>
                        <a:pt x="1061" y="678"/>
                      </a:lnTo>
                      <a:lnTo>
                        <a:pt x="1060" y="679"/>
                      </a:lnTo>
                      <a:lnTo>
                        <a:pt x="1060" y="679"/>
                      </a:lnTo>
                      <a:lnTo>
                        <a:pt x="1060" y="680"/>
                      </a:lnTo>
                      <a:lnTo>
                        <a:pt x="1060" y="681"/>
                      </a:lnTo>
                      <a:lnTo>
                        <a:pt x="1059" y="681"/>
                      </a:lnTo>
                      <a:lnTo>
                        <a:pt x="1059" y="685"/>
                      </a:lnTo>
                      <a:lnTo>
                        <a:pt x="1058" y="686"/>
                      </a:lnTo>
                      <a:lnTo>
                        <a:pt x="1058" y="686"/>
                      </a:lnTo>
                      <a:lnTo>
                        <a:pt x="1057" y="686"/>
                      </a:lnTo>
                      <a:lnTo>
                        <a:pt x="1056" y="686"/>
                      </a:lnTo>
                      <a:lnTo>
                        <a:pt x="1056" y="688"/>
                      </a:lnTo>
                      <a:lnTo>
                        <a:pt x="1056" y="688"/>
                      </a:lnTo>
                      <a:lnTo>
                        <a:pt x="1055" y="688"/>
                      </a:lnTo>
                      <a:lnTo>
                        <a:pt x="1054" y="689"/>
                      </a:lnTo>
                      <a:lnTo>
                        <a:pt x="1054" y="689"/>
                      </a:lnTo>
                      <a:lnTo>
                        <a:pt x="1053" y="690"/>
                      </a:lnTo>
                      <a:lnTo>
                        <a:pt x="1053" y="691"/>
                      </a:lnTo>
                      <a:lnTo>
                        <a:pt x="1053" y="694"/>
                      </a:lnTo>
                      <a:lnTo>
                        <a:pt x="1053" y="694"/>
                      </a:lnTo>
                      <a:lnTo>
                        <a:pt x="1053" y="696"/>
                      </a:lnTo>
                      <a:lnTo>
                        <a:pt x="1053" y="697"/>
                      </a:lnTo>
                      <a:lnTo>
                        <a:pt x="1052" y="697"/>
                      </a:lnTo>
                      <a:lnTo>
                        <a:pt x="1052" y="697"/>
                      </a:lnTo>
                      <a:lnTo>
                        <a:pt x="1052" y="694"/>
                      </a:lnTo>
                      <a:lnTo>
                        <a:pt x="1051" y="694"/>
                      </a:lnTo>
                      <a:lnTo>
                        <a:pt x="1051" y="692"/>
                      </a:lnTo>
                      <a:lnTo>
                        <a:pt x="1050" y="691"/>
                      </a:lnTo>
                      <a:lnTo>
                        <a:pt x="1050" y="691"/>
                      </a:lnTo>
                      <a:lnTo>
                        <a:pt x="1050" y="691"/>
                      </a:lnTo>
                      <a:lnTo>
                        <a:pt x="1049" y="693"/>
                      </a:lnTo>
                      <a:lnTo>
                        <a:pt x="1049" y="694"/>
                      </a:lnTo>
                      <a:lnTo>
                        <a:pt x="1049" y="696"/>
                      </a:lnTo>
                      <a:lnTo>
                        <a:pt x="1050" y="697"/>
                      </a:lnTo>
                      <a:lnTo>
                        <a:pt x="1050" y="699"/>
                      </a:lnTo>
                      <a:lnTo>
                        <a:pt x="1050" y="700"/>
                      </a:lnTo>
                      <a:lnTo>
                        <a:pt x="1048" y="700"/>
                      </a:lnTo>
                      <a:lnTo>
                        <a:pt x="1048" y="699"/>
                      </a:lnTo>
                      <a:lnTo>
                        <a:pt x="1048" y="698"/>
                      </a:lnTo>
                      <a:lnTo>
                        <a:pt x="1048" y="697"/>
                      </a:lnTo>
                      <a:lnTo>
                        <a:pt x="1048" y="697"/>
                      </a:lnTo>
                      <a:lnTo>
                        <a:pt x="1047" y="697"/>
                      </a:lnTo>
                      <a:lnTo>
                        <a:pt x="1047" y="696"/>
                      </a:lnTo>
                      <a:lnTo>
                        <a:pt x="1047" y="690"/>
                      </a:lnTo>
                      <a:lnTo>
                        <a:pt x="1047" y="688"/>
                      </a:lnTo>
                      <a:lnTo>
                        <a:pt x="1047" y="687"/>
                      </a:lnTo>
                      <a:lnTo>
                        <a:pt x="1047" y="686"/>
                      </a:lnTo>
                      <a:lnTo>
                        <a:pt x="1047" y="686"/>
                      </a:lnTo>
                      <a:lnTo>
                        <a:pt x="1048" y="684"/>
                      </a:lnTo>
                      <a:lnTo>
                        <a:pt x="1049" y="683"/>
                      </a:lnTo>
                      <a:lnTo>
                        <a:pt x="1051" y="684"/>
                      </a:lnTo>
                      <a:lnTo>
                        <a:pt x="1050" y="682"/>
                      </a:lnTo>
                      <a:lnTo>
                        <a:pt x="1051" y="682"/>
                      </a:lnTo>
                      <a:lnTo>
                        <a:pt x="1053" y="682"/>
                      </a:lnTo>
                      <a:lnTo>
                        <a:pt x="1054" y="681"/>
                      </a:lnTo>
                      <a:lnTo>
                        <a:pt x="1055" y="679"/>
                      </a:lnTo>
                      <a:lnTo>
                        <a:pt x="1055" y="678"/>
                      </a:lnTo>
                      <a:lnTo>
                        <a:pt x="1055" y="678"/>
                      </a:lnTo>
                      <a:lnTo>
                        <a:pt x="1055" y="678"/>
                      </a:lnTo>
                      <a:lnTo>
                        <a:pt x="1055" y="677"/>
                      </a:lnTo>
                      <a:lnTo>
                        <a:pt x="1055" y="677"/>
                      </a:lnTo>
                      <a:lnTo>
                        <a:pt x="1056" y="676"/>
                      </a:lnTo>
                      <a:lnTo>
                        <a:pt x="1056" y="676"/>
                      </a:lnTo>
                      <a:lnTo>
                        <a:pt x="1057" y="676"/>
                      </a:lnTo>
                      <a:lnTo>
                        <a:pt x="1058" y="675"/>
                      </a:lnTo>
                      <a:lnTo>
                        <a:pt x="1058" y="674"/>
                      </a:lnTo>
                      <a:lnTo>
                        <a:pt x="1059" y="674"/>
                      </a:lnTo>
                      <a:lnTo>
                        <a:pt x="1059" y="673"/>
                      </a:lnTo>
                      <a:lnTo>
                        <a:pt x="1060" y="672"/>
                      </a:lnTo>
                      <a:lnTo>
                        <a:pt x="1061" y="671"/>
                      </a:lnTo>
                      <a:lnTo>
                        <a:pt x="1062" y="671"/>
                      </a:lnTo>
                      <a:lnTo>
                        <a:pt x="1061" y="671"/>
                      </a:lnTo>
                      <a:lnTo>
                        <a:pt x="1063" y="670"/>
                      </a:lnTo>
                      <a:lnTo>
                        <a:pt x="1064" y="670"/>
                      </a:lnTo>
                      <a:lnTo>
                        <a:pt x="1065" y="670"/>
                      </a:lnTo>
                      <a:lnTo>
                        <a:pt x="1065" y="670"/>
                      </a:lnTo>
                      <a:lnTo>
                        <a:pt x="1065" y="670"/>
                      </a:lnTo>
                      <a:lnTo>
                        <a:pt x="1065" y="669"/>
                      </a:lnTo>
                      <a:lnTo>
                        <a:pt x="1066" y="669"/>
                      </a:lnTo>
                      <a:lnTo>
                        <a:pt x="1067" y="669"/>
                      </a:lnTo>
                      <a:lnTo>
                        <a:pt x="1067" y="668"/>
                      </a:lnTo>
                      <a:lnTo>
                        <a:pt x="1067" y="667"/>
                      </a:lnTo>
                      <a:lnTo>
                        <a:pt x="1067" y="667"/>
                      </a:lnTo>
                      <a:lnTo>
                        <a:pt x="1066" y="667"/>
                      </a:lnTo>
                      <a:lnTo>
                        <a:pt x="1066" y="667"/>
                      </a:lnTo>
                      <a:lnTo>
                        <a:pt x="1065" y="667"/>
                      </a:lnTo>
                      <a:lnTo>
                        <a:pt x="1065" y="667"/>
                      </a:lnTo>
                      <a:lnTo>
                        <a:pt x="1065" y="665"/>
                      </a:lnTo>
                      <a:lnTo>
                        <a:pt x="1065" y="665"/>
                      </a:lnTo>
                      <a:lnTo>
                        <a:pt x="1066" y="665"/>
                      </a:lnTo>
                      <a:lnTo>
                        <a:pt x="1067" y="666"/>
                      </a:lnTo>
                      <a:lnTo>
                        <a:pt x="1067" y="666"/>
                      </a:lnTo>
                      <a:lnTo>
                        <a:pt x="1068" y="666"/>
                      </a:lnTo>
                      <a:lnTo>
                        <a:pt x="1069" y="665"/>
                      </a:lnTo>
                      <a:lnTo>
                        <a:pt x="1068" y="664"/>
                      </a:lnTo>
                      <a:lnTo>
                        <a:pt x="1068" y="663"/>
                      </a:lnTo>
                      <a:lnTo>
                        <a:pt x="1068" y="662"/>
                      </a:lnTo>
                      <a:lnTo>
                        <a:pt x="1067" y="662"/>
                      </a:lnTo>
                      <a:lnTo>
                        <a:pt x="1067" y="662"/>
                      </a:lnTo>
                      <a:lnTo>
                        <a:pt x="1065" y="660"/>
                      </a:lnTo>
                      <a:lnTo>
                        <a:pt x="1064" y="660"/>
                      </a:lnTo>
                      <a:lnTo>
                        <a:pt x="1064" y="655"/>
                      </a:lnTo>
                      <a:lnTo>
                        <a:pt x="1064" y="653"/>
                      </a:lnTo>
                      <a:lnTo>
                        <a:pt x="1063" y="652"/>
                      </a:lnTo>
                      <a:lnTo>
                        <a:pt x="1063" y="651"/>
                      </a:lnTo>
                      <a:lnTo>
                        <a:pt x="1063" y="650"/>
                      </a:lnTo>
                      <a:lnTo>
                        <a:pt x="1063" y="649"/>
                      </a:lnTo>
                      <a:lnTo>
                        <a:pt x="1063" y="649"/>
                      </a:lnTo>
                      <a:lnTo>
                        <a:pt x="1063" y="648"/>
                      </a:lnTo>
                      <a:lnTo>
                        <a:pt x="1063" y="648"/>
                      </a:lnTo>
                      <a:lnTo>
                        <a:pt x="1064" y="648"/>
                      </a:lnTo>
                      <a:lnTo>
                        <a:pt x="1064" y="649"/>
                      </a:lnTo>
                      <a:lnTo>
                        <a:pt x="1064" y="649"/>
                      </a:lnTo>
                      <a:lnTo>
                        <a:pt x="1064" y="650"/>
                      </a:lnTo>
                      <a:lnTo>
                        <a:pt x="1064" y="650"/>
                      </a:lnTo>
                      <a:lnTo>
                        <a:pt x="1064" y="651"/>
                      </a:lnTo>
                      <a:lnTo>
                        <a:pt x="1065" y="652"/>
                      </a:lnTo>
                      <a:lnTo>
                        <a:pt x="1065" y="653"/>
                      </a:lnTo>
                      <a:lnTo>
                        <a:pt x="1065" y="653"/>
                      </a:lnTo>
                      <a:lnTo>
                        <a:pt x="1065" y="654"/>
                      </a:lnTo>
                      <a:lnTo>
                        <a:pt x="1065" y="655"/>
                      </a:lnTo>
                      <a:lnTo>
                        <a:pt x="1065" y="655"/>
                      </a:lnTo>
                      <a:lnTo>
                        <a:pt x="1066" y="656"/>
                      </a:lnTo>
                      <a:lnTo>
                        <a:pt x="1067" y="655"/>
                      </a:lnTo>
                      <a:lnTo>
                        <a:pt x="1067" y="654"/>
                      </a:lnTo>
                      <a:lnTo>
                        <a:pt x="1068" y="654"/>
                      </a:lnTo>
                      <a:lnTo>
                        <a:pt x="1069" y="654"/>
                      </a:lnTo>
                      <a:lnTo>
                        <a:pt x="1071" y="654"/>
                      </a:lnTo>
                      <a:lnTo>
                        <a:pt x="1072" y="655"/>
                      </a:lnTo>
                      <a:lnTo>
                        <a:pt x="1073" y="654"/>
                      </a:lnTo>
                      <a:lnTo>
                        <a:pt x="1074" y="653"/>
                      </a:lnTo>
                      <a:lnTo>
                        <a:pt x="1074" y="652"/>
                      </a:lnTo>
                      <a:lnTo>
                        <a:pt x="1076" y="652"/>
                      </a:lnTo>
                      <a:lnTo>
                        <a:pt x="1076" y="652"/>
                      </a:lnTo>
                      <a:lnTo>
                        <a:pt x="1076" y="651"/>
                      </a:lnTo>
                      <a:lnTo>
                        <a:pt x="1076" y="651"/>
                      </a:lnTo>
                      <a:lnTo>
                        <a:pt x="1076" y="650"/>
                      </a:lnTo>
                      <a:lnTo>
                        <a:pt x="1077" y="649"/>
                      </a:lnTo>
                      <a:lnTo>
                        <a:pt x="1078" y="649"/>
                      </a:lnTo>
                      <a:lnTo>
                        <a:pt x="1079" y="650"/>
                      </a:lnTo>
                      <a:lnTo>
                        <a:pt x="1080" y="650"/>
                      </a:lnTo>
                      <a:lnTo>
                        <a:pt x="1080" y="650"/>
                      </a:lnTo>
                      <a:lnTo>
                        <a:pt x="1082" y="650"/>
                      </a:lnTo>
                      <a:lnTo>
                        <a:pt x="1083" y="650"/>
                      </a:lnTo>
                      <a:lnTo>
                        <a:pt x="1083" y="650"/>
                      </a:lnTo>
                      <a:lnTo>
                        <a:pt x="1083" y="650"/>
                      </a:lnTo>
                      <a:lnTo>
                        <a:pt x="1084" y="650"/>
                      </a:lnTo>
                      <a:lnTo>
                        <a:pt x="1084" y="650"/>
                      </a:lnTo>
                      <a:lnTo>
                        <a:pt x="1083" y="650"/>
                      </a:lnTo>
                      <a:lnTo>
                        <a:pt x="1083" y="651"/>
                      </a:lnTo>
                      <a:lnTo>
                        <a:pt x="1084" y="651"/>
                      </a:lnTo>
                      <a:lnTo>
                        <a:pt x="1084" y="652"/>
                      </a:lnTo>
                      <a:lnTo>
                        <a:pt x="1081" y="654"/>
                      </a:lnTo>
                      <a:lnTo>
                        <a:pt x="1082" y="654"/>
                      </a:lnTo>
                      <a:lnTo>
                        <a:pt x="1080" y="654"/>
                      </a:lnTo>
                      <a:lnTo>
                        <a:pt x="1078" y="655"/>
                      </a:lnTo>
                      <a:lnTo>
                        <a:pt x="1077" y="658"/>
                      </a:lnTo>
                      <a:lnTo>
                        <a:pt x="1077" y="660"/>
                      </a:lnTo>
                      <a:lnTo>
                        <a:pt x="1076" y="660"/>
                      </a:lnTo>
                      <a:lnTo>
                        <a:pt x="1076" y="661"/>
                      </a:lnTo>
                      <a:lnTo>
                        <a:pt x="1075" y="661"/>
                      </a:lnTo>
                      <a:lnTo>
                        <a:pt x="1075" y="662"/>
                      </a:lnTo>
                      <a:lnTo>
                        <a:pt x="1075" y="663"/>
                      </a:lnTo>
                      <a:lnTo>
                        <a:pt x="1074" y="663"/>
                      </a:lnTo>
                      <a:lnTo>
                        <a:pt x="1074" y="663"/>
                      </a:lnTo>
                      <a:lnTo>
                        <a:pt x="1074" y="663"/>
                      </a:lnTo>
                      <a:lnTo>
                        <a:pt x="1074" y="665"/>
                      </a:lnTo>
                      <a:lnTo>
                        <a:pt x="1075" y="665"/>
                      </a:lnTo>
                      <a:lnTo>
                        <a:pt x="1075" y="666"/>
                      </a:lnTo>
                      <a:lnTo>
                        <a:pt x="1074" y="666"/>
                      </a:lnTo>
                      <a:lnTo>
                        <a:pt x="1073" y="666"/>
                      </a:lnTo>
                      <a:lnTo>
                        <a:pt x="1072" y="666"/>
                      </a:lnTo>
                      <a:lnTo>
                        <a:pt x="1074" y="668"/>
                      </a:lnTo>
                      <a:lnTo>
                        <a:pt x="1077" y="668"/>
                      </a:lnTo>
                      <a:lnTo>
                        <a:pt x="1077" y="668"/>
                      </a:lnTo>
                      <a:lnTo>
                        <a:pt x="1077" y="668"/>
                      </a:lnTo>
                      <a:lnTo>
                        <a:pt x="1078" y="668"/>
                      </a:lnTo>
                      <a:lnTo>
                        <a:pt x="1078" y="667"/>
                      </a:lnTo>
                      <a:lnTo>
                        <a:pt x="1077" y="667"/>
                      </a:lnTo>
                      <a:lnTo>
                        <a:pt x="1077" y="667"/>
                      </a:lnTo>
                      <a:lnTo>
                        <a:pt x="1078" y="664"/>
                      </a:lnTo>
                      <a:lnTo>
                        <a:pt x="1078" y="664"/>
                      </a:lnTo>
                      <a:lnTo>
                        <a:pt x="1079" y="665"/>
                      </a:lnTo>
                      <a:lnTo>
                        <a:pt x="1079" y="666"/>
                      </a:lnTo>
                      <a:lnTo>
                        <a:pt x="1078" y="666"/>
                      </a:lnTo>
                      <a:lnTo>
                        <a:pt x="1079" y="667"/>
                      </a:lnTo>
                      <a:lnTo>
                        <a:pt x="1079" y="667"/>
                      </a:lnTo>
                      <a:lnTo>
                        <a:pt x="1080" y="668"/>
                      </a:lnTo>
                      <a:lnTo>
                        <a:pt x="1080" y="667"/>
                      </a:lnTo>
                      <a:lnTo>
                        <a:pt x="1081" y="667"/>
                      </a:lnTo>
                      <a:lnTo>
                        <a:pt x="1080" y="667"/>
                      </a:lnTo>
                      <a:lnTo>
                        <a:pt x="1080" y="666"/>
                      </a:lnTo>
                      <a:lnTo>
                        <a:pt x="1083" y="666"/>
                      </a:lnTo>
                      <a:lnTo>
                        <a:pt x="1083" y="666"/>
                      </a:lnTo>
                      <a:lnTo>
                        <a:pt x="1083" y="665"/>
                      </a:lnTo>
                      <a:lnTo>
                        <a:pt x="1083" y="664"/>
                      </a:lnTo>
                      <a:lnTo>
                        <a:pt x="1084" y="664"/>
                      </a:lnTo>
                      <a:lnTo>
                        <a:pt x="1084" y="664"/>
                      </a:lnTo>
                      <a:lnTo>
                        <a:pt x="1084" y="664"/>
                      </a:lnTo>
                      <a:lnTo>
                        <a:pt x="1084" y="664"/>
                      </a:lnTo>
                      <a:lnTo>
                        <a:pt x="1084" y="663"/>
                      </a:lnTo>
                      <a:lnTo>
                        <a:pt x="1085" y="663"/>
                      </a:lnTo>
                      <a:lnTo>
                        <a:pt x="1085" y="663"/>
                      </a:lnTo>
                      <a:lnTo>
                        <a:pt x="1085" y="663"/>
                      </a:lnTo>
                      <a:lnTo>
                        <a:pt x="1085" y="662"/>
                      </a:lnTo>
                      <a:lnTo>
                        <a:pt x="1086" y="661"/>
                      </a:lnTo>
                      <a:lnTo>
                        <a:pt x="1087" y="661"/>
                      </a:lnTo>
                      <a:lnTo>
                        <a:pt x="1088" y="660"/>
                      </a:lnTo>
                      <a:lnTo>
                        <a:pt x="1089" y="660"/>
                      </a:lnTo>
                      <a:lnTo>
                        <a:pt x="1090" y="659"/>
                      </a:lnTo>
                      <a:lnTo>
                        <a:pt x="1091" y="658"/>
                      </a:lnTo>
                      <a:lnTo>
                        <a:pt x="1091" y="658"/>
                      </a:lnTo>
                      <a:lnTo>
                        <a:pt x="1091" y="656"/>
                      </a:lnTo>
                      <a:lnTo>
                        <a:pt x="1091" y="656"/>
                      </a:lnTo>
                      <a:lnTo>
                        <a:pt x="1092" y="655"/>
                      </a:lnTo>
                      <a:lnTo>
                        <a:pt x="1093" y="655"/>
                      </a:lnTo>
                      <a:lnTo>
                        <a:pt x="1094" y="655"/>
                      </a:lnTo>
                      <a:lnTo>
                        <a:pt x="1094" y="655"/>
                      </a:lnTo>
                      <a:lnTo>
                        <a:pt x="1095" y="655"/>
                      </a:lnTo>
                      <a:lnTo>
                        <a:pt x="1095" y="655"/>
                      </a:lnTo>
                      <a:lnTo>
                        <a:pt x="1096" y="656"/>
                      </a:lnTo>
                      <a:lnTo>
                        <a:pt x="1098" y="656"/>
                      </a:lnTo>
                      <a:lnTo>
                        <a:pt x="1098" y="656"/>
                      </a:lnTo>
                      <a:lnTo>
                        <a:pt x="1099" y="656"/>
                      </a:lnTo>
                      <a:lnTo>
                        <a:pt x="1100" y="655"/>
                      </a:lnTo>
                      <a:lnTo>
                        <a:pt x="1100" y="653"/>
                      </a:lnTo>
                      <a:lnTo>
                        <a:pt x="1100" y="651"/>
                      </a:lnTo>
                      <a:lnTo>
                        <a:pt x="1100" y="651"/>
                      </a:lnTo>
                      <a:lnTo>
                        <a:pt x="1100" y="650"/>
                      </a:lnTo>
                      <a:lnTo>
                        <a:pt x="1100" y="650"/>
                      </a:lnTo>
                      <a:lnTo>
                        <a:pt x="1101" y="649"/>
                      </a:lnTo>
                      <a:lnTo>
                        <a:pt x="1102" y="648"/>
                      </a:lnTo>
                      <a:lnTo>
                        <a:pt x="1102" y="648"/>
                      </a:lnTo>
                      <a:lnTo>
                        <a:pt x="1102" y="647"/>
                      </a:lnTo>
                      <a:lnTo>
                        <a:pt x="1103" y="647"/>
                      </a:lnTo>
                      <a:lnTo>
                        <a:pt x="1104" y="646"/>
                      </a:lnTo>
                      <a:lnTo>
                        <a:pt x="1106" y="646"/>
                      </a:lnTo>
                      <a:lnTo>
                        <a:pt x="1106" y="646"/>
                      </a:lnTo>
                      <a:close/>
                      <a:moveTo>
                        <a:pt x="992" y="627"/>
                      </a:moveTo>
                      <a:lnTo>
                        <a:pt x="993" y="627"/>
                      </a:lnTo>
                      <a:lnTo>
                        <a:pt x="994" y="627"/>
                      </a:lnTo>
                      <a:lnTo>
                        <a:pt x="994" y="628"/>
                      </a:lnTo>
                      <a:lnTo>
                        <a:pt x="994" y="629"/>
                      </a:lnTo>
                      <a:lnTo>
                        <a:pt x="993" y="629"/>
                      </a:lnTo>
                      <a:lnTo>
                        <a:pt x="993" y="630"/>
                      </a:lnTo>
                      <a:lnTo>
                        <a:pt x="994" y="630"/>
                      </a:lnTo>
                      <a:lnTo>
                        <a:pt x="994" y="630"/>
                      </a:lnTo>
                      <a:lnTo>
                        <a:pt x="995" y="631"/>
                      </a:lnTo>
                      <a:lnTo>
                        <a:pt x="995" y="632"/>
                      </a:lnTo>
                      <a:lnTo>
                        <a:pt x="994" y="633"/>
                      </a:lnTo>
                      <a:lnTo>
                        <a:pt x="992" y="632"/>
                      </a:lnTo>
                      <a:lnTo>
                        <a:pt x="992" y="633"/>
                      </a:lnTo>
                      <a:lnTo>
                        <a:pt x="992" y="635"/>
                      </a:lnTo>
                      <a:lnTo>
                        <a:pt x="991" y="635"/>
                      </a:lnTo>
                      <a:lnTo>
                        <a:pt x="991" y="635"/>
                      </a:lnTo>
                      <a:lnTo>
                        <a:pt x="991" y="635"/>
                      </a:lnTo>
                      <a:lnTo>
                        <a:pt x="991" y="635"/>
                      </a:lnTo>
                      <a:lnTo>
                        <a:pt x="991" y="634"/>
                      </a:lnTo>
                      <a:lnTo>
                        <a:pt x="990" y="634"/>
                      </a:lnTo>
                      <a:lnTo>
                        <a:pt x="990" y="635"/>
                      </a:lnTo>
                      <a:lnTo>
                        <a:pt x="990" y="635"/>
                      </a:lnTo>
                      <a:lnTo>
                        <a:pt x="991" y="636"/>
                      </a:lnTo>
                      <a:lnTo>
                        <a:pt x="991" y="636"/>
                      </a:lnTo>
                      <a:lnTo>
                        <a:pt x="991" y="636"/>
                      </a:lnTo>
                      <a:lnTo>
                        <a:pt x="992" y="636"/>
                      </a:lnTo>
                      <a:lnTo>
                        <a:pt x="992" y="636"/>
                      </a:lnTo>
                      <a:lnTo>
                        <a:pt x="992" y="636"/>
                      </a:lnTo>
                      <a:lnTo>
                        <a:pt x="993" y="635"/>
                      </a:lnTo>
                      <a:lnTo>
                        <a:pt x="993" y="636"/>
                      </a:lnTo>
                      <a:lnTo>
                        <a:pt x="993" y="637"/>
                      </a:lnTo>
                      <a:lnTo>
                        <a:pt x="993" y="638"/>
                      </a:lnTo>
                      <a:lnTo>
                        <a:pt x="993" y="640"/>
                      </a:lnTo>
                      <a:lnTo>
                        <a:pt x="993" y="640"/>
                      </a:lnTo>
                      <a:lnTo>
                        <a:pt x="993" y="640"/>
                      </a:lnTo>
                      <a:lnTo>
                        <a:pt x="992" y="641"/>
                      </a:lnTo>
                      <a:lnTo>
                        <a:pt x="990" y="641"/>
                      </a:lnTo>
                      <a:lnTo>
                        <a:pt x="990" y="641"/>
                      </a:lnTo>
                      <a:lnTo>
                        <a:pt x="989" y="642"/>
                      </a:lnTo>
                      <a:lnTo>
                        <a:pt x="988" y="642"/>
                      </a:lnTo>
                      <a:lnTo>
                        <a:pt x="988" y="641"/>
                      </a:lnTo>
                      <a:lnTo>
                        <a:pt x="987" y="641"/>
                      </a:lnTo>
                      <a:lnTo>
                        <a:pt x="987" y="641"/>
                      </a:lnTo>
                      <a:lnTo>
                        <a:pt x="987" y="642"/>
                      </a:lnTo>
                      <a:lnTo>
                        <a:pt x="987" y="643"/>
                      </a:lnTo>
                      <a:lnTo>
                        <a:pt x="986" y="643"/>
                      </a:lnTo>
                      <a:lnTo>
                        <a:pt x="986" y="644"/>
                      </a:lnTo>
                      <a:lnTo>
                        <a:pt x="986" y="645"/>
                      </a:lnTo>
                      <a:lnTo>
                        <a:pt x="987" y="645"/>
                      </a:lnTo>
                      <a:lnTo>
                        <a:pt x="988" y="645"/>
                      </a:lnTo>
                      <a:lnTo>
                        <a:pt x="988" y="644"/>
                      </a:lnTo>
                      <a:lnTo>
                        <a:pt x="989" y="644"/>
                      </a:lnTo>
                      <a:lnTo>
                        <a:pt x="990" y="645"/>
                      </a:lnTo>
                      <a:lnTo>
                        <a:pt x="992" y="645"/>
                      </a:lnTo>
                      <a:lnTo>
                        <a:pt x="992" y="646"/>
                      </a:lnTo>
                      <a:lnTo>
                        <a:pt x="992" y="647"/>
                      </a:lnTo>
                      <a:lnTo>
                        <a:pt x="992" y="647"/>
                      </a:lnTo>
                      <a:lnTo>
                        <a:pt x="993" y="648"/>
                      </a:lnTo>
                      <a:lnTo>
                        <a:pt x="993" y="648"/>
                      </a:lnTo>
                      <a:lnTo>
                        <a:pt x="994" y="647"/>
                      </a:lnTo>
                      <a:lnTo>
                        <a:pt x="995" y="646"/>
                      </a:lnTo>
                      <a:lnTo>
                        <a:pt x="995" y="646"/>
                      </a:lnTo>
                      <a:lnTo>
                        <a:pt x="995" y="647"/>
                      </a:lnTo>
                      <a:lnTo>
                        <a:pt x="995" y="646"/>
                      </a:lnTo>
                      <a:lnTo>
                        <a:pt x="997" y="647"/>
                      </a:lnTo>
                      <a:lnTo>
                        <a:pt x="997" y="647"/>
                      </a:lnTo>
                      <a:lnTo>
                        <a:pt x="997" y="647"/>
                      </a:lnTo>
                      <a:lnTo>
                        <a:pt x="997" y="650"/>
                      </a:lnTo>
                      <a:lnTo>
                        <a:pt x="998" y="650"/>
                      </a:lnTo>
                      <a:lnTo>
                        <a:pt x="999" y="650"/>
                      </a:lnTo>
                      <a:lnTo>
                        <a:pt x="999" y="650"/>
                      </a:lnTo>
                      <a:lnTo>
                        <a:pt x="1000" y="649"/>
                      </a:lnTo>
                      <a:lnTo>
                        <a:pt x="1000" y="649"/>
                      </a:lnTo>
                      <a:lnTo>
                        <a:pt x="1001" y="649"/>
                      </a:lnTo>
                      <a:lnTo>
                        <a:pt x="1001" y="649"/>
                      </a:lnTo>
                      <a:lnTo>
                        <a:pt x="1001" y="650"/>
                      </a:lnTo>
                      <a:lnTo>
                        <a:pt x="1002" y="652"/>
                      </a:lnTo>
                      <a:lnTo>
                        <a:pt x="1002" y="652"/>
                      </a:lnTo>
                      <a:lnTo>
                        <a:pt x="1003" y="651"/>
                      </a:lnTo>
                      <a:lnTo>
                        <a:pt x="1003" y="651"/>
                      </a:lnTo>
                      <a:lnTo>
                        <a:pt x="1004" y="651"/>
                      </a:lnTo>
                      <a:lnTo>
                        <a:pt x="1004" y="649"/>
                      </a:lnTo>
                      <a:lnTo>
                        <a:pt x="1004" y="650"/>
                      </a:lnTo>
                      <a:lnTo>
                        <a:pt x="1004" y="649"/>
                      </a:lnTo>
                      <a:lnTo>
                        <a:pt x="1004" y="650"/>
                      </a:lnTo>
                      <a:lnTo>
                        <a:pt x="1005" y="650"/>
                      </a:lnTo>
                      <a:lnTo>
                        <a:pt x="1005" y="652"/>
                      </a:lnTo>
                      <a:lnTo>
                        <a:pt x="1005" y="652"/>
                      </a:lnTo>
                      <a:lnTo>
                        <a:pt x="1006" y="652"/>
                      </a:lnTo>
                      <a:lnTo>
                        <a:pt x="1006" y="653"/>
                      </a:lnTo>
                      <a:lnTo>
                        <a:pt x="1005" y="654"/>
                      </a:lnTo>
                      <a:lnTo>
                        <a:pt x="1005" y="655"/>
                      </a:lnTo>
                      <a:lnTo>
                        <a:pt x="1006" y="655"/>
                      </a:lnTo>
                      <a:lnTo>
                        <a:pt x="1007" y="655"/>
                      </a:lnTo>
                      <a:lnTo>
                        <a:pt x="1007" y="655"/>
                      </a:lnTo>
                      <a:lnTo>
                        <a:pt x="1007" y="655"/>
                      </a:lnTo>
                      <a:lnTo>
                        <a:pt x="1007" y="655"/>
                      </a:lnTo>
                      <a:lnTo>
                        <a:pt x="1008" y="656"/>
                      </a:lnTo>
                      <a:lnTo>
                        <a:pt x="1008" y="656"/>
                      </a:lnTo>
                      <a:lnTo>
                        <a:pt x="1009" y="658"/>
                      </a:lnTo>
                      <a:lnTo>
                        <a:pt x="1009" y="661"/>
                      </a:lnTo>
                      <a:lnTo>
                        <a:pt x="1008" y="661"/>
                      </a:lnTo>
                      <a:lnTo>
                        <a:pt x="1008" y="662"/>
                      </a:lnTo>
                      <a:lnTo>
                        <a:pt x="1009" y="663"/>
                      </a:lnTo>
                      <a:lnTo>
                        <a:pt x="1009" y="664"/>
                      </a:lnTo>
                      <a:lnTo>
                        <a:pt x="1009" y="664"/>
                      </a:lnTo>
                      <a:lnTo>
                        <a:pt x="1009" y="665"/>
                      </a:lnTo>
                      <a:lnTo>
                        <a:pt x="1009" y="665"/>
                      </a:lnTo>
                      <a:lnTo>
                        <a:pt x="1009" y="666"/>
                      </a:lnTo>
                      <a:lnTo>
                        <a:pt x="1010" y="666"/>
                      </a:lnTo>
                      <a:lnTo>
                        <a:pt x="1010" y="664"/>
                      </a:lnTo>
                      <a:lnTo>
                        <a:pt x="1011" y="664"/>
                      </a:lnTo>
                      <a:lnTo>
                        <a:pt x="1012" y="664"/>
                      </a:lnTo>
                      <a:lnTo>
                        <a:pt x="1013" y="665"/>
                      </a:lnTo>
                      <a:lnTo>
                        <a:pt x="1013" y="664"/>
                      </a:lnTo>
                      <a:lnTo>
                        <a:pt x="1014" y="665"/>
                      </a:lnTo>
                      <a:lnTo>
                        <a:pt x="1015" y="667"/>
                      </a:lnTo>
                      <a:lnTo>
                        <a:pt x="1016" y="669"/>
                      </a:lnTo>
                      <a:lnTo>
                        <a:pt x="1016" y="670"/>
                      </a:lnTo>
                      <a:lnTo>
                        <a:pt x="1017" y="670"/>
                      </a:lnTo>
                      <a:lnTo>
                        <a:pt x="1017" y="671"/>
                      </a:lnTo>
                      <a:lnTo>
                        <a:pt x="1018" y="672"/>
                      </a:lnTo>
                      <a:lnTo>
                        <a:pt x="1018" y="672"/>
                      </a:lnTo>
                      <a:lnTo>
                        <a:pt x="1018" y="673"/>
                      </a:lnTo>
                      <a:lnTo>
                        <a:pt x="1018" y="674"/>
                      </a:lnTo>
                      <a:lnTo>
                        <a:pt x="1017" y="674"/>
                      </a:lnTo>
                      <a:lnTo>
                        <a:pt x="1016" y="673"/>
                      </a:lnTo>
                      <a:lnTo>
                        <a:pt x="1015" y="673"/>
                      </a:lnTo>
                      <a:lnTo>
                        <a:pt x="1014" y="672"/>
                      </a:lnTo>
                      <a:lnTo>
                        <a:pt x="1013" y="672"/>
                      </a:lnTo>
                      <a:lnTo>
                        <a:pt x="1013" y="673"/>
                      </a:lnTo>
                      <a:lnTo>
                        <a:pt x="1012" y="673"/>
                      </a:lnTo>
                      <a:lnTo>
                        <a:pt x="1012" y="674"/>
                      </a:lnTo>
                      <a:lnTo>
                        <a:pt x="1012" y="675"/>
                      </a:lnTo>
                      <a:lnTo>
                        <a:pt x="1011" y="677"/>
                      </a:lnTo>
                      <a:lnTo>
                        <a:pt x="1010" y="677"/>
                      </a:lnTo>
                      <a:lnTo>
                        <a:pt x="1010" y="678"/>
                      </a:lnTo>
                      <a:lnTo>
                        <a:pt x="1010" y="679"/>
                      </a:lnTo>
                      <a:lnTo>
                        <a:pt x="1010" y="680"/>
                      </a:lnTo>
                      <a:lnTo>
                        <a:pt x="1008" y="681"/>
                      </a:lnTo>
                      <a:lnTo>
                        <a:pt x="1008" y="681"/>
                      </a:lnTo>
                      <a:lnTo>
                        <a:pt x="1008" y="681"/>
                      </a:lnTo>
                      <a:lnTo>
                        <a:pt x="1007" y="677"/>
                      </a:lnTo>
                      <a:lnTo>
                        <a:pt x="1008" y="677"/>
                      </a:lnTo>
                      <a:lnTo>
                        <a:pt x="1009" y="676"/>
                      </a:lnTo>
                      <a:lnTo>
                        <a:pt x="1009" y="676"/>
                      </a:lnTo>
                      <a:lnTo>
                        <a:pt x="1010" y="676"/>
                      </a:lnTo>
                      <a:lnTo>
                        <a:pt x="1010" y="675"/>
                      </a:lnTo>
                      <a:lnTo>
                        <a:pt x="1009" y="674"/>
                      </a:lnTo>
                      <a:lnTo>
                        <a:pt x="1009" y="674"/>
                      </a:lnTo>
                      <a:lnTo>
                        <a:pt x="1009" y="674"/>
                      </a:lnTo>
                      <a:lnTo>
                        <a:pt x="1009" y="673"/>
                      </a:lnTo>
                      <a:lnTo>
                        <a:pt x="1010" y="673"/>
                      </a:lnTo>
                      <a:lnTo>
                        <a:pt x="1010" y="673"/>
                      </a:lnTo>
                      <a:lnTo>
                        <a:pt x="1010" y="672"/>
                      </a:lnTo>
                      <a:lnTo>
                        <a:pt x="1010" y="670"/>
                      </a:lnTo>
                      <a:lnTo>
                        <a:pt x="1009" y="670"/>
                      </a:lnTo>
                      <a:lnTo>
                        <a:pt x="1009" y="669"/>
                      </a:lnTo>
                      <a:lnTo>
                        <a:pt x="1008" y="669"/>
                      </a:lnTo>
                      <a:lnTo>
                        <a:pt x="1008" y="670"/>
                      </a:lnTo>
                      <a:lnTo>
                        <a:pt x="1007" y="671"/>
                      </a:lnTo>
                      <a:lnTo>
                        <a:pt x="1007" y="671"/>
                      </a:lnTo>
                      <a:lnTo>
                        <a:pt x="1007" y="671"/>
                      </a:lnTo>
                      <a:lnTo>
                        <a:pt x="1006" y="670"/>
                      </a:lnTo>
                      <a:lnTo>
                        <a:pt x="1006" y="668"/>
                      </a:lnTo>
                      <a:lnTo>
                        <a:pt x="1006" y="667"/>
                      </a:lnTo>
                      <a:lnTo>
                        <a:pt x="1006" y="667"/>
                      </a:lnTo>
                      <a:lnTo>
                        <a:pt x="1005" y="667"/>
                      </a:lnTo>
                      <a:lnTo>
                        <a:pt x="1005" y="666"/>
                      </a:lnTo>
                      <a:lnTo>
                        <a:pt x="1005" y="666"/>
                      </a:lnTo>
                      <a:lnTo>
                        <a:pt x="1004" y="666"/>
                      </a:lnTo>
                      <a:lnTo>
                        <a:pt x="1004" y="665"/>
                      </a:lnTo>
                      <a:lnTo>
                        <a:pt x="1003" y="664"/>
                      </a:lnTo>
                      <a:lnTo>
                        <a:pt x="1003" y="663"/>
                      </a:lnTo>
                      <a:lnTo>
                        <a:pt x="1003" y="663"/>
                      </a:lnTo>
                      <a:lnTo>
                        <a:pt x="1002" y="662"/>
                      </a:lnTo>
                      <a:lnTo>
                        <a:pt x="1002" y="661"/>
                      </a:lnTo>
                      <a:lnTo>
                        <a:pt x="1002" y="661"/>
                      </a:lnTo>
                      <a:lnTo>
                        <a:pt x="1002" y="662"/>
                      </a:lnTo>
                      <a:lnTo>
                        <a:pt x="1001" y="662"/>
                      </a:lnTo>
                      <a:lnTo>
                        <a:pt x="1000" y="661"/>
                      </a:lnTo>
                      <a:lnTo>
                        <a:pt x="1000" y="661"/>
                      </a:lnTo>
                      <a:lnTo>
                        <a:pt x="1000" y="660"/>
                      </a:lnTo>
                      <a:lnTo>
                        <a:pt x="999" y="660"/>
                      </a:lnTo>
                      <a:lnTo>
                        <a:pt x="999" y="658"/>
                      </a:lnTo>
                      <a:lnTo>
                        <a:pt x="998" y="658"/>
                      </a:lnTo>
                      <a:lnTo>
                        <a:pt x="997" y="659"/>
                      </a:lnTo>
                      <a:lnTo>
                        <a:pt x="994" y="658"/>
                      </a:lnTo>
                      <a:lnTo>
                        <a:pt x="993" y="658"/>
                      </a:lnTo>
                      <a:lnTo>
                        <a:pt x="993" y="656"/>
                      </a:lnTo>
                      <a:lnTo>
                        <a:pt x="993" y="656"/>
                      </a:lnTo>
                      <a:lnTo>
                        <a:pt x="992" y="656"/>
                      </a:lnTo>
                      <a:lnTo>
                        <a:pt x="991" y="656"/>
                      </a:lnTo>
                      <a:lnTo>
                        <a:pt x="991" y="656"/>
                      </a:lnTo>
                      <a:lnTo>
                        <a:pt x="991" y="658"/>
                      </a:lnTo>
                      <a:lnTo>
                        <a:pt x="992" y="659"/>
                      </a:lnTo>
                      <a:lnTo>
                        <a:pt x="992" y="660"/>
                      </a:lnTo>
                      <a:lnTo>
                        <a:pt x="992" y="661"/>
                      </a:lnTo>
                      <a:lnTo>
                        <a:pt x="994" y="662"/>
                      </a:lnTo>
                      <a:lnTo>
                        <a:pt x="995" y="663"/>
                      </a:lnTo>
                      <a:lnTo>
                        <a:pt x="995" y="663"/>
                      </a:lnTo>
                      <a:lnTo>
                        <a:pt x="994" y="664"/>
                      </a:lnTo>
                      <a:lnTo>
                        <a:pt x="993" y="664"/>
                      </a:lnTo>
                      <a:lnTo>
                        <a:pt x="993" y="664"/>
                      </a:lnTo>
                      <a:lnTo>
                        <a:pt x="993" y="664"/>
                      </a:lnTo>
                      <a:lnTo>
                        <a:pt x="992" y="665"/>
                      </a:lnTo>
                      <a:lnTo>
                        <a:pt x="992" y="665"/>
                      </a:lnTo>
                      <a:lnTo>
                        <a:pt x="992" y="664"/>
                      </a:lnTo>
                      <a:lnTo>
                        <a:pt x="991" y="664"/>
                      </a:lnTo>
                      <a:lnTo>
                        <a:pt x="991" y="665"/>
                      </a:lnTo>
                      <a:lnTo>
                        <a:pt x="990" y="665"/>
                      </a:lnTo>
                      <a:lnTo>
                        <a:pt x="990" y="665"/>
                      </a:lnTo>
                      <a:lnTo>
                        <a:pt x="989" y="665"/>
                      </a:lnTo>
                      <a:lnTo>
                        <a:pt x="989" y="665"/>
                      </a:lnTo>
                      <a:lnTo>
                        <a:pt x="988" y="665"/>
                      </a:lnTo>
                      <a:lnTo>
                        <a:pt x="988" y="665"/>
                      </a:lnTo>
                      <a:lnTo>
                        <a:pt x="987" y="666"/>
                      </a:lnTo>
                      <a:lnTo>
                        <a:pt x="987" y="668"/>
                      </a:lnTo>
                      <a:lnTo>
                        <a:pt x="988" y="669"/>
                      </a:lnTo>
                      <a:lnTo>
                        <a:pt x="987" y="669"/>
                      </a:lnTo>
                      <a:lnTo>
                        <a:pt x="986" y="667"/>
                      </a:lnTo>
                      <a:lnTo>
                        <a:pt x="985" y="667"/>
                      </a:lnTo>
                      <a:lnTo>
                        <a:pt x="984" y="665"/>
                      </a:lnTo>
                      <a:lnTo>
                        <a:pt x="983" y="665"/>
                      </a:lnTo>
                      <a:lnTo>
                        <a:pt x="983" y="665"/>
                      </a:lnTo>
                      <a:lnTo>
                        <a:pt x="983" y="664"/>
                      </a:lnTo>
                      <a:lnTo>
                        <a:pt x="982" y="664"/>
                      </a:lnTo>
                      <a:lnTo>
                        <a:pt x="982" y="663"/>
                      </a:lnTo>
                      <a:lnTo>
                        <a:pt x="981" y="663"/>
                      </a:lnTo>
                      <a:lnTo>
                        <a:pt x="981" y="663"/>
                      </a:lnTo>
                      <a:lnTo>
                        <a:pt x="980" y="663"/>
                      </a:lnTo>
                      <a:lnTo>
                        <a:pt x="978" y="661"/>
                      </a:lnTo>
                      <a:lnTo>
                        <a:pt x="978" y="660"/>
                      </a:lnTo>
                      <a:lnTo>
                        <a:pt x="979" y="660"/>
                      </a:lnTo>
                      <a:lnTo>
                        <a:pt x="979" y="659"/>
                      </a:lnTo>
                      <a:lnTo>
                        <a:pt x="979" y="659"/>
                      </a:lnTo>
                      <a:lnTo>
                        <a:pt x="979" y="659"/>
                      </a:lnTo>
                      <a:lnTo>
                        <a:pt x="979" y="658"/>
                      </a:lnTo>
                      <a:lnTo>
                        <a:pt x="980" y="658"/>
                      </a:lnTo>
                      <a:lnTo>
                        <a:pt x="979" y="658"/>
                      </a:lnTo>
                      <a:lnTo>
                        <a:pt x="980" y="656"/>
                      </a:lnTo>
                      <a:lnTo>
                        <a:pt x="979" y="656"/>
                      </a:lnTo>
                      <a:lnTo>
                        <a:pt x="979" y="655"/>
                      </a:lnTo>
                      <a:lnTo>
                        <a:pt x="978" y="654"/>
                      </a:lnTo>
                      <a:lnTo>
                        <a:pt x="979" y="653"/>
                      </a:lnTo>
                      <a:lnTo>
                        <a:pt x="979" y="653"/>
                      </a:lnTo>
                      <a:lnTo>
                        <a:pt x="979" y="652"/>
                      </a:lnTo>
                      <a:lnTo>
                        <a:pt x="979" y="652"/>
                      </a:lnTo>
                      <a:lnTo>
                        <a:pt x="979" y="650"/>
                      </a:lnTo>
                      <a:lnTo>
                        <a:pt x="979" y="650"/>
                      </a:lnTo>
                      <a:lnTo>
                        <a:pt x="979" y="650"/>
                      </a:lnTo>
                      <a:lnTo>
                        <a:pt x="978" y="649"/>
                      </a:lnTo>
                      <a:lnTo>
                        <a:pt x="977" y="648"/>
                      </a:lnTo>
                      <a:lnTo>
                        <a:pt x="977" y="647"/>
                      </a:lnTo>
                      <a:lnTo>
                        <a:pt x="976" y="647"/>
                      </a:lnTo>
                      <a:lnTo>
                        <a:pt x="976" y="646"/>
                      </a:lnTo>
                      <a:lnTo>
                        <a:pt x="975" y="646"/>
                      </a:lnTo>
                      <a:lnTo>
                        <a:pt x="975" y="647"/>
                      </a:lnTo>
                      <a:lnTo>
                        <a:pt x="974" y="646"/>
                      </a:lnTo>
                      <a:lnTo>
                        <a:pt x="973" y="645"/>
                      </a:lnTo>
                      <a:lnTo>
                        <a:pt x="972" y="645"/>
                      </a:lnTo>
                      <a:lnTo>
                        <a:pt x="971" y="644"/>
                      </a:lnTo>
                      <a:lnTo>
                        <a:pt x="971" y="643"/>
                      </a:lnTo>
                      <a:lnTo>
                        <a:pt x="971" y="643"/>
                      </a:lnTo>
                      <a:lnTo>
                        <a:pt x="971" y="643"/>
                      </a:lnTo>
                      <a:lnTo>
                        <a:pt x="970" y="643"/>
                      </a:lnTo>
                      <a:lnTo>
                        <a:pt x="970" y="642"/>
                      </a:lnTo>
                      <a:lnTo>
                        <a:pt x="970" y="642"/>
                      </a:lnTo>
                      <a:lnTo>
                        <a:pt x="970" y="642"/>
                      </a:lnTo>
                      <a:lnTo>
                        <a:pt x="970" y="641"/>
                      </a:lnTo>
                      <a:lnTo>
                        <a:pt x="969" y="642"/>
                      </a:lnTo>
                      <a:lnTo>
                        <a:pt x="969" y="641"/>
                      </a:lnTo>
                      <a:lnTo>
                        <a:pt x="969" y="641"/>
                      </a:lnTo>
                      <a:lnTo>
                        <a:pt x="969" y="640"/>
                      </a:lnTo>
                      <a:lnTo>
                        <a:pt x="969" y="640"/>
                      </a:lnTo>
                      <a:lnTo>
                        <a:pt x="969" y="639"/>
                      </a:lnTo>
                      <a:lnTo>
                        <a:pt x="969" y="639"/>
                      </a:lnTo>
                      <a:lnTo>
                        <a:pt x="969" y="638"/>
                      </a:lnTo>
                      <a:lnTo>
                        <a:pt x="968" y="638"/>
                      </a:lnTo>
                      <a:lnTo>
                        <a:pt x="968" y="638"/>
                      </a:lnTo>
                      <a:lnTo>
                        <a:pt x="969" y="638"/>
                      </a:lnTo>
                      <a:lnTo>
                        <a:pt x="970" y="638"/>
                      </a:lnTo>
                      <a:lnTo>
                        <a:pt x="971" y="639"/>
                      </a:lnTo>
                      <a:lnTo>
                        <a:pt x="971" y="639"/>
                      </a:lnTo>
                      <a:lnTo>
                        <a:pt x="971" y="639"/>
                      </a:lnTo>
                      <a:lnTo>
                        <a:pt x="972" y="639"/>
                      </a:lnTo>
                      <a:lnTo>
                        <a:pt x="972" y="639"/>
                      </a:lnTo>
                      <a:lnTo>
                        <a:pt x="973" y="640"/>
                      </a:lnTo>
                      <a:lnTo>
                        <a:pt x="973" y="640"/>
                      </a:lnTo>
                      <a:lnTo>
                        <a:pt x="973" y="640"/>
                      </a:lnTo>
                      <a:lnTo>
                        <a:pt x="974" y="640"/>
                      </a:lnTo>
                      <a:lnTo>
                        <a:pt x="974" y="640"/>
                      </a:lnTo>
                      <a:lnTo>
                        <a:pt x="975" y="640"/>
                      </a:lnTo>
                      <a:lnTo>
                        <a:pt x="975" y="641"/>
                      </a:lnTo>
                      <a:lnTo>
                        <a:pt x="976" y="641"/>
                      </a:lnTo>
                      <a:lnTo>
                        <a:pt x="976" y="641"/>
                      </a:lnTo>
                      <a:lnTo>
                        <a:pt x="976" y="641"/>
                      </a:lnTo>
                      <a:lnTo>
                        <a:pt x="977" y="642"/>
                      </a:lnTo>
                      <a:lnTo>
                        <a:pt x="977" y="641"/>
                      </a:lnTo>
                      <a:lnTo>
                        <a:pt x="977" y="641"/>
                      </a:lnTo>
                      <a:lnTo>
                        <a:pt x="978" y="641"/>
                      </a:lnTo>
                      <a:lnTo>
                        <a:pt x="978" y="640"/>
                      </a:lnTo>
                      <a:lnTo>
                        <a:pt x="978" y="639"/>
                      </a:lnTo>
                      <a:lnTo>
                        <a:pt x="980" y="639"/>
                      </a:lnTo>
                      <a:lnTo>
                        <a:pt x="980" y="640"/>
                      </a:lnTo>
                      <a:lnTo>
                        <a:pt x="981" y="640"/>
                      </a:lnTo>
                      <a:lnTo>
                        <a:pt x="981" y="640"/>
                      </a:lnTo>
                      <a:lnTo>
                        <a:pt x="982" y="640"/>
                      </a:lnTo>
                      <a:lnTo>
                        <a:pt x="982" y="640"/>
                      </a:lnTo>
                      <a:lnTo>
                        <a:pt x="982" y="640"/>
                      </a:lnTo>
                      <a:lnTo>
                        <a:pt x="982" y="639"/>
                      </a:lnTo>
                      <a:lnTo>
                        <a:pt x="983" y="639"/>
                      </a:lnTo>
                      <a:lnTo>
                        <a:pt x="983" y="639"/>
                      </a:lnTo>
                      <a:lnTo>
                        <a:pt x="985" y="638"/>
                      </a:lnTo>
                      <a:lnTo>
                        <a:pt x="985" y="638"/>
                      </a:lnTo>
                      <a:lnTo>
                        <a:pt x="985" y="638"/>
                      </a:lnTo>
                      <a:lnTo>
                        <a:pt x="986" y="638"/>
                      </a:lnTo>
                      <a:lnTo>
                        <a:pt x="986" y="638"/>
                      </a:lnTo>
                      <a:lnTo>
                        <a:pt x="987" y="638"/>
                      </a:lnTo>
                      <a:lnTo>
                        <a:pt x="987" y="638"/>
                      </a:lnTo>
                      <a:lnTo>
                        <a:pt x="987" y="638"/>
                      </a:lnTo>
                      <a:lnTo>
                        <a:pt x="987" y="637"/>
                      </a:lnTo>
                      <a:lnTo>
                        <a:pt x="987" y="637"/>
                      </a:lnTo>
                      <a:lnTo>
                        <a:pt x="987" y="637"/>
                      </a:lnTo>
                      <a:lnTo>
                        <a:pt x="987" y="637"/>
                      </a:lnTo>
                      <a:lnTo>
                        <a:pt x="987" y="633"/>
                      </a:lnTo>
                      <a:lnTo>
                        <a:pt x="987" y="633"/>
                      </a:lnTo>
                      <a:lnTo>
                        <a:pt x="988" y="632"/>
                      </a:lnTo>
                      <a:lnTo>
                        <a:pt x="988" y="630"/>
                      </a:lnTo>
                      <a:lnTo>
                        <a:pt x="988" y="630"/>
                      </a:lnTo>
                      <a:lnTo>
                        <a:pt x="990" y="629"/>
                      </a:lnTo>
                      <a:lnTo>
                        <a:pt x="990" y="629"/>
                      </a:lnTo>
                      <a:lnTo>
                        <a:pt x="990" y="629"/>
                      </a:lnTo>
                      <a:lnTo>
                        <a:pt x="992" y="627"/>
                      </a:lnTo>
                      <a:close/>
                      <a:moveTo>
                        <a:pt x="1010" y="615"/>
                      </a:moveTo>
                      <a:lnTo>
                        <a:pt x="1010" y="616"/>
                      </a:lnTo>
                      <a:lnTo>
                        <a:pt x="1010" y="616"/>
                      </a:lnTo>
                      <a:lnTo>
                        <a:pt x="1010" y="617"/>
                      </a:lnTo>
                      <a:lnTo>
                        <a:pt x="1011" y="617"/>
                      </a:lnTo>
                      <a:lnTo>
                        <a:pt x="1011" y="618"/>
                      </a:lnTo>
                      <a:lnTo>
                        <a:pt x="1011" y="620"/>
                      </a:lnTo>
                      <a:lnTo>
                        <a:pt x="1011" y="621"/>
                      </a:lnTo>
                      <a:lnTo>
                        <a:pt x="1012" y="621"/>
                      </a:lnTo>
                      <a:lnTo>
                        <a:pt x="1012" y="623"/>
                      </a:lnTo>
                      <a:lnTo>
                        <a:pt x="1011" y="624"/>
                      </a:lnTo>
                      <a:lnTo>
                        <a:pt x="1011" y="625"/>
                      </a:lnTo>
                      <a:lnTo>
                        <a:pt x="1011" y="625"/>
                      </a:lnTo>
                      <a:lnTo>
                        <a:pt x="1011" y="625"/>
                      </a:lnTo>
                      <a:lnTo>
                        <a:pt x="1010" y="626"/>
                      </a:lnTo>
                      <a:lnTo>
                        <a:pt x="1010" y="625"/>
                      </a:lnTo>
                      <a:lnTo>
                        <a:pt x="1009" y="625"/>
                      </a:lnTo>
                      <a:lnTo>
                        <a:pt x="1008" y="626"/>
                      </a:lnTo>
                      <a:lnTo>
                        <a:pt x="1009" y="627"/>
                      </a:lnTo>
                      <a:lnTo>
                        <a:pt x="1009" y="627"/>
                      </a:lnTo>
                      <a:lnTo>
                        <a:pt x="1009" y="628"/>
                      </a:lnTo>
                      <a:lnTo>
                        <a:pt x="1009" y="628"/>
                      </a:lnTo>
                      <a:lnTo>
                        <a:pt x="1008" y="628"/>
                      </a:lnTo>
                      <a:lnTo>
                        <a:pt x="1008" y="629"/>
                      </a:lnTo>
                      <a:lnTo>
                        <a:pt x="1008" y="630"/>
                      </a:lnTo>
                      <a:lnTo>
                        <a:pt x="1008" y="631"/>
                      </a:lnTo>
                      <a:lnTo>
                        <a:pt x="1008" y="631"/>
                      </a:lnTo>
                      <a:lnTo>
                        <a:pt x="1009" y="633"/>
                      </a:lnTo>
                      <a:lnTo>
                        <a:pt x="1010" y="634"/>
                      </a:lnTo>
                      <a:lnTo>
                        <a:pt x="1010" y="634"/>
                      </a:lnTo>
                      <a:lnTo>
                        <a:pt x="1010" y="634"/>
                      </a:lnTo>
                      <a:lnTo>
                        <a:pt x="1010" y="635"/>
                      </a:lnTo>
                      <a:lnTo>
                        <a:pt x="1010" y="636"/>
                      </a:lnTo>
                      <a:lnTo>
                        <a:pt x="1009" y="636"/>
                      </a:lnTo>
                      <a:lnTo>
                        <a:pt x="1009" y="637"/>
                      </a:lnTo>
                      <a:lnTo>
                        <a:pt x="1009" y="637"/>
                      </a:lnTo>
                      <a:lnTo>
                        <a:pt x="1009" y="637"/>
                      </a:lnTo>
                      <a:lnTo>
                        <a:pt x="1010" y="637"/>
                      </a:lnTo>
                      <a:lnTo>
                        <a:pt x="1010" y="637"/>
                      </a:lnTo>
                      <a:lnTo>
                        <a:pt x="1010" y="638"/>
                      </a:lnTo>
                      <a:lnTo>
                        <a:pt x="1010" y="638"/>
                      </a:lnTo>
                      <a:lnTo>
                        <a:pt x="1009" y="638"/>
                      </a:lnTo>
                      <a:lnTo>
                        <a:pt x="1009" y="640"/>
                      </a:lnTo>
                      <a:lnTo>
                        <a:pt x="1009" y="641"/>
                      </a:lnTo>
                      <a:lnTo>
                        <a:pt x="1009" y="641"/>
                      </a:lnTo>
                      <a:lnTo>
                        <a:pt x="1008" y="641"/>
                      </a:lnTo>
                      <a:lnTo>
                        <a:pt x="1008" y="642"/>
                      </a:lnTo>
                      <a:lnTo>
                        <a:pt x="1008" y="642"/>
                      </a:lnTo>
                      <a:lnTo>
                        <a:pt x="1007" y="641"/>
                      </a:lnTo>
                      <a:lnTo>
                        <a:pt x="1007" y="641"/>
                      </a:lnTo>
                      <a:lnTo>
                        <a:pt x="1007" y="641"/>
                      </a:lnTo>
                      <a:lnTo>
                        <a:pt x="1007" y="640"/>
                      </a:lnTo>
                      <a:lnTo>
                        <a:pt x="1006" y="639"/>
                      </a:lnTo>
                      <a:lnTo>
                        <a:pt x="1005" y="640"/>
                      </a:lnTo>
                      <a:lnTo>
                        <a:pt x="1005" y="640"/>
                      </a:lnTo>
                      <a:lnTo>
                        <a:pt x="1004" y="642"/>
                      </a:lnTo>
                      <a:lnTo>
                        <a:pt x="1004" y="642"/>
                      </a:lnTo>
                      <a:lnTo>
                        <a:pt x="1004" y="642"/>
                      </a:lnTo>
                      <a:lnTo>
                        <a:pt x="1003" y="642"/>
                      </a:lnTo>
                      <a:lnTo>
                        <a:pt x="1003" y="641"/>
                      </a:lnTo>
                      <a:lnTo>
                        <a:pt x="1003" y="640"/>
                      </a:lnTo>
                      <a:lnTo>
                        <a:pt x="1003" y="639"/>
                      </a:lnTo>
                      <a:lnTo>
                        <a:pt x="1003" y="638"/>
                      </a:lnTo>
                      <a:lnTo>
                        <a:pt x="1003" y="637"/>
                      </a:lnTo>
                      <a:lnTo>
                        <a:pt x="1003" y="635"/>
                      </a:lnTo>
                      <a:lnTo>
                        <a:pt x="1003" y="635"/>
                      </a:lnTo>
                      <a:lnTo>
                        <a:pt x="1003" y="634"/>
                      </a:lnTo>
                      <a:lnTo>
                        <a:pt x="1003" y="634"/>
                      </a:lnTo>
                      <a:lnTo>
                        <a:pt x="1003" y="634"/>
                      </a:lnTo>
                      <a:lnTo>
                        <a:pt x="1003" y="631"/>
                      </a:lnTo>
                      <a:lnTo>
                        <a:pt x="1003" y="631"/>
                      </a:lnTo>
                      <a:lnTo>
                        <a:pt x="1003" y="630"/>
                      </a:lnTo>
                      <a:lnTo>
                        <a:pt x="1004" y="629"/>
                      </a:lnTo>
                      <a:lnTo>
                        <a:pt x="1004" y="628"/>
                      </a:lnTo>
                      <a:lnTo>
                        <a:pt x="1004" y="628"/>
                      </a:lnTo>
                      <a:lnTo>
                        <a:pt x="1005" y="627"/>
                      </a:lnTo>
                      <a:lnTo>
                        <a:pt x="1005" y="627"/>
                      </a:lnTo>
                      <a:lnTo>
                        <a:pt x="1005" y="627"/>
                      </a:lnTo>
                      <a:lnTo>
                        <a:pt x="1005" y="626"/>
                      </a:lnTo>
                      <a:lnTo>
                        <a:pt x="1005" y="626"/>
                      </a:lnTo>
                      <a:lnTo>
                        <a:pt x="1005" y="626"/>
                      </a:lnTo>
                      <a:lnTo>
                        <a:pt x="1005" y="625"/>
                      </a:lnTo>
                      <a:lnTo>
                        <a:pt x="1005" y="624"/>
                      </a:lnTo>
                      <a:lnTo>
                        <a:pt x="1005" y="624"/>
                      </a:lnTo>
                      <a:lnTo>
                        <a:pt x="1005" y="623"/>
                      </a:lnTo>
                      <a:lnTo>
                        <a:pt x="1006" y="622"/>
                      </a:lnTo>
                      <a:lnTo>
                        <a:pt x="1007" y="618"/>
                      </a:lnTo>
                      <a:lnTo>
                        <a:pt x="1007" y="617"/>
                      </a:lnTo>
                      <a:lnTo>
                        <a:pt x="1008" y="616"/>
                      </a:lnTo>
                      <a:lnTo>
                        <a:pt x="1009" y="616"/>
                      </a:lnTo>
                      <a:lnTo>
                        <a:pt x="1009" y="615"/>
                      </a:lnTo>
                      <a:lnTo>
                        <a:pt x="1010" y="615"/>
                      </a:lnTo>
                      <a:lnTo>
                        <a:pt x="1010" y="615"/>
                      </a:lnTo>
                      <a:close/>
                      <a:moveTo>
                        <a:pt x="1365" y="361"/>
                      </a:moveTo>
                      <a:lnTo>
                        <a:pt x="1371" y="361"/>
                      </a:lnTo>
                      <a:lnTo>
                        <a:pt x="1371" y="362"/>
                      </a:lnTo>
                      <a:lnTo>
                        <a:pt x="1372" y="362"/>
                      </a:lnTo>
                      <a:lnTo>
                        <a:pt x="1373" y="362"/>
                      </a:lnTo>
                      <a:lnTo>
                        <a:pt x="1372" y="362"/>
                      </a:lnTo>
                      <a:lnTo>
                        <a:pt x="1372" y="363"/>
                      </a:lnTo>
                      <a:lnTo>
                        <a:pt x="1372" y="363"/>
                      </a:lnTo>
                      <a:lnTo>
                        <a:pt x="1372" y="363"/>
                      </a:lnTo>
                      <a:lnTo>
                        <a:pt x="1372" y="364"/>
                      </a:lnTo>
                      <a:lnTo>
                        <a:pt x="1371" y="364"/>
                      </a:lnTo>
                      <a:lnTo>
                        <a:pt x="1371" y="364"/>
                      </a:lnTo>
                      <a:lnTo>
                        <a:pt x="1370" y="365"/>
                      </a:lnTo>
                      <a:lnTo>
                        <a:pt x="1370" y="365"/>
                      </a:lnTo>
                      <a:lnTo>
                        <a:pt x="1370" y="365"/>
                      </a:lnTo>
                      <a:lnTo>
                        <a:pt x="1368" y="365"/>
                      </a:lnTo>
                      <a:lnTo>
                        <a:pt x="1367" y="365"/>
                      </a:lnTo>
                      <a:lnTo>
                        <a:pt x="1367" y="365"/>
                      </a:lnTo>
                      <a:lnTo>
                        <a:pt x="1366" y="364"/>
                      </a:lnTo>
                      <a:lnTo>
                        <a:pt x="1365" y="365"/>
                      </a:lnTo>
                      <a:lnTo>
                        <a:pt x="1363" y="364"/>
                      </a:lnTo>
                      <a:lnTo>
                        <a:pt x="1363" y="363"/>
                      </a:lnTo>
                      <a:lnTo>
                        <a:pt x="1364" y="361"/>
                      </a:lnTo>
                      <a:lnTo>
                        <a:pt x="1362" y="360"/>
                      </a:lnTo>
                      <a:lnTo>
                        <a:pt x="1363" y="359"/>
                      </a:lnTo>
                      <a:lnTo>
                        <a:pt x="1364" y="359"/>
                      </a:lnTo>
                      <a:lnTo>
                        <a:pt x="1365" y="361"/>
                      </a:lnTo>
                      <a:close/>
                      <a:moveTo>
                        <a:pt x="1335" y="336"/>
                      </a:moveTo>
                      <a:lnTo>
                        <a:pt x="1333" y="328"/>
                      </a:lnTo>
                      <a:lnTo>
                        <a:pt x="1331" y="333"/>
                      </a:lnTo>
                      <a:lnTo>
                        <a:pt x="1333" y="334"/>
                      </a:lnTo>
                      <a:lnTo>
                        <a:pt x="1331" y="335"/>
                      </a:lnTo>
                      <a:lnTo>
                        <a:pt x="1331" y="337"/>
                      </a:lnTo>
                      <a:lnTo>
                        <a:pt x="1330" y="338"/>
                      </a:lnTo>
                      <a:lnTo>
                        <a:pt x="1329" y="336"/>
                      </a:lnTo>
                      <a:lnTo>
                        <a:pt x="1327" y="332"/>
                      </a:lnTo>
                      <a:lnTo>
                        <a:pt x="1328" y="330"/>
                      </a:lnTo>
                      <a:lnTo>
                        <a:pt x="1327" y="329"/>
                      </a:lnTo>
                      <a:lnTo>
                        <a:pt x="1328" y="328"/>
                      </a:lnTo>
                      <a:lnTo>
                        <a:pt x="1329" y="328"/>
                      </a:lnTo>
                      <a:lnTo>
                        <a:pt x="1331" y="327"/>
                      </a:lnTo>
                      <a:lnTo>
                        <a:pt x="1330" y="325"/>
                      </a:lnTo>
                      <a:lnTo>
                        <a:pt x="1335" y="322"/>
                      </a:lnTo>
                      <a:lnTo>
                        <a:pt x="1334" y="320"/>
                      </a:lnTo>
                      <a:lnTo>
                        <a:pt x="1331" y="320"/>
                      </a:lnTo>
                      <a:lnTo>
                        <a:pt x="1330" y="317"/>
                      </a:lnTo>
                      <a:lnTo>
                        <a:pt x="1331" y="318"/>
                      </a:lnTo>
                      <a:lnTo>
                        <a:pt x="1333" y="315"/>
                      </a:lnTo>
                      <a:lnTo>
                        <a:pt x="1336" y="317"/>
                      </a:lnTo>
                      <a:lnTo>
                        <a:pt x="1337" y="312"/>
                      </a:lnTo>
                      <a:lnTo>
                        <a:pt x="1339" y="312"/>
                      </a:lnTo>
                      <a:lnTo>
                        <a:pt x="1337" y="314"/>
                      </a:lnTo>
                      <a:lnTo>
                        <a:pt x="1338" y="317"/>
                      </a:lnTo>
                      <a:lnTo>
                        <a:pt x="1337" y="320"/>
                      </a:lnTo>
                      <a:lnTo>
                        <a:pt x="1337" y="321"/>
                      </a:lnTo>
                      <a:lnTo>
                        <a:pt x="1335" y="326"/>
                      </a:lnTo>
                      <a:lnTo>
                        <a:pt x="1339" y="321"/>
                      </a:lnTo>
                      <a:lnTo>
                        <a:pt x="1341" y="322"/>
                      </a:lnTo>
                      <a:lnTo>
                        <a:pt x="1337" y="333"/>
                      </a:lnTo>
                      <a:lnTo>
                        <a:pt x="1335" y="336"/>
                      </a:lnTo>
                      <a:close/>
                      <a:moveTo>
                        <a:pt x="1341" y="319"/>
                      </a:moveTo>
                      <a:lnTo>
                        <a:pt x="1339" y="319"/>
                      </a:lnTo>
                      <a:lnTo>
                        <a:pt x="1341" y="312"/>
                      </a:lnTo>
                      <a:lnTo>
                        <a:pt x="1340" y="311"/>
                      </a:lnTo>
                      <a:lnTo>
                        <a:pt x="1341" y="308"/>
                      </a:lnTo>
                      <a:lnTo>
                        <a:pt x="1344" y="306"/>
                      </a:lnTo>
                      <a:lnTo>
                        <a:pt x="1345" y="307"/>
                      </a:lnTo>
                      <a:lnTo>
                        <a:pt x="1343" y="311"/>
                      </a:lnTo>
                      <a:lnTo>
                        <a:pt x="1344" y="315"/>
                      </a:lnTo>
                      <a:lnTo>
                        <a:pt x="1341" y="319"/>
                      </a:lnTo>
                      <a:close/>
                      <a:moveTo>
                        <a:pt x="1388" y="288"/>
                      </a:moveTo>
                      <a:lnTo>
                        <a:pt x="1386" y="292"/>
                      </a:lnTo>
                      <a:lnTo>
                        <a:pt x="1387" y="293"/>
                      </a:lnTo>
                      <a:lnTo>
                        <a:pt x="1388" y="294"/>
                      </a:lnTo>
                      <a:lnTo>
                        <a:pt x="1389" y="294"/>
                      </a:lnTo>
                      <a:lnTo>
                        <a:pt x="1390" y="292"/>
                      </a:lnTo>
                      <a:lnTo>
                        <a:pt x="1392" y="289"/>
                      </a:lnTo>
                      <a:lnTo>
                        <a:pt x="1392" y="290"/>
                      </a:lnTo>
                      <a:lnTo>
                        <a:pt x="1392" y="293"/>
                      </a:lnTo>
                      <a:lnTo>
                        <a:pt x="1391" y="300"/>
                      </a:lnTo>
                      <a:lnTo>
                        <a:pt x="1391" y="302"/>
                      </a:lnTo>
                      <a:lnTo>
                        <a:pt x="1389" y="303"/>
                      </a:lnTo>
                      <a:lnTo>
                        <a:pt x="1389" y="304"/>
                      </a:lnTo>
                      <a:lnTo>
                        <a:pt x="1388" y="308"/>
                      </a:lnTo>
                      <a:lnTo>
                        <a:pt x="1388" y="313"/>
                      </a:lnTo>
                      <a:lnTo>
                        <a:pt x="1384" y="315"/>
                      </a:lnTo>
                      <a:lnTo>
                        <a:pt x="1379" y="312"/>
                      </a:lnTo>
                      <a:lnTo>
                        <a:pt x="1377" y="309"/>
                      </a:lnTo>
                      <a:lnTo>
                        <a:pt x="1379" y="297"/>
                      </a:lnTo>
                      <a:lnTo>
                        <a:pt x="1377" y="292"/>
                      </a:lnTo>
                      <a:lnTo>
                        <a:pt x="1374" y="288"/>
                      </a:lnTo>
                      <a:lnTo>
                        <a:pt x="1373" y="288"/>
                      </a:lnTo>
                      <a:lnTo>
                        <a:pt x="1373" y="284"/>
                      </a:lnTo>
                      <a:lnTo>
                        <a:pt x="1373" y="284"/>
                      </a:lnTo>
                      <a:lnTo>
                        <a:pt x="1375" y="285"/>
                      </a:lnTo>
                      <a:lnTo>
                        <a:pt x="1376" y="284"/>
                      </a:lnTo>
                      <a:lnTo>
                        <a:pt x="1378" y="286"/>
                      </a:lnTo>
                      <a:lnTo>
                        <a:pt x="1379" y="284"/>
                      </a:lnTo>
                      <a:lnTo>
                        <a:pt x="1381" y="286"/>
                      </a:lnTo>
                      <a:lnTo>
                        <a:pt x="1382" y="286"/>
                      </a:lnTo>
                      <a:lnTo>
                        <a:pt x="1384" y="288"/>
                      </a:lnTo>
                      <a:lnTo>
                        <a:pt x="1385" y="287"/>
                      </a:lnTo>
                      <a:lnTo>
                        <a:pt x="1384" y="283"/>
                      </a:lnTo>
                      <a:lnTo>
                        <a:pt x="1385" y="281"/>
                      </a:lnTo>
                      <a:lnTo>
                        <a:pt x="1387" y="286"/>
                      </a:lnTo>
                      <a:lnTo>
                        <a:pt x="1387" y="286"/>
                      </a:lnTo>
                      <a:lnTo>
                        <a:pt x="1386" y="287"/>
                      </a:lnTo>
                      <a:lnTo>
                        <a:pt x="1388" y="288"/>
                      </a:lnTo>
                      <a:close/>
                      <a:moveTo>
                        <a:pt x="1414" y="200"/>
                      </a:moveTo>
                      <a:lnTo>
                        <a:pt x="1419" y="200"/>
                      </a:lnTo>
                      <a:lnTo>
                        <a:pt x="1422" y="199"/>
                      </a:lnTo>
                      <a:lnTo>
                        <a:pt x="1423" y="199"/>
                      </a:lnTo>
                      <a:lnTo>
                        <a:pt x="1420" y="203"/>
                      </a:lnTo>
                      <a:lnTo>
                        <a:pt x="1418" y="205"/>
                      </a:lnTo>
                      <a:lnTo>
                        <a:pt x="1416" y="208"/>
                      </a:lnTo>
                      <a:lnTo>
                        <a:pt x="1416" y="210"/>
                      </a:lnTo>
                      <a:lnTo>
                        <a:pt x="1415" y="211"/>
                      </a:lnTo>
                      <a:lnTo>
                        <a:pt x="1414" y="213"/>
                      </a:lnTo>
                      <a:lnTo>
                        <a:pt x="1412" y="214"/>
                      </a:lnTo>
                      <a:lnTo>
                        <a:pt x="1411" y="217"/>
                      </a:lnTo>
                      <a:lnTo>
                        <a:pt x="1409" y="217"/>
                      </a:lnTo>
                      <a:lnTo>
                        <a:pt x="1408" y="221"/>
                      </a:lnTo>
                      <a:lnTo>
                        <a:pt x="1406" y="221"/>
                      </a:lnTo>
                      <a:lnTo>
                        <a:pt x="1401" y="222"/>
                      </a:lnTo>
                      <a:lnTo>
                        <a:pt x="1398" y="221"/>
                      </a:lnTo>
                      <a:lnTo>
                        <a:pt x="1398" y="220"/>
                      </a:lnTo>
                      <a:lnTo>
                        <a:pt x="1396" y="220"/>
                      </a:lnTo>
                      <a:lnTo>
                        <a:pt x="1395" y="218"/>
                      </a:lnTo>
                      <a:lnTo>
                        <a:pt x="1395" y="216"/>
                      </a:lnTo>
                      <a:lnTo>
                        <a:pt x="1397" y="216"/>
                      </a:lnTo>
                      <a:lnTo>
                        <a:pt x="1399" y="214"/>
                      </a:lnTo>
                      <a:lnTo>
                        <a:pt x="1398" y="212"/>
                      </a:lnTo>
                      <a:lnTo>
                        <a:pt x="1399" y="209"/>
                      </a:lnTo>
                      <a:lnTo>
                        <a:pt x="1402" y="207"/>
                      </a:lnTo>
                      <a:lnTo>
                        <a:pt x="1402" y="204"/>
                      </a:lnTo>
                      <a:lnTo>
                        <a:pt x="1403" y="205"/>
                      </a:lnTo>
                      <a:lnTo>
                        <a:pt x="1404" y="205"/>
                      </a:lnTo>
                      <a:lnTo>
                        <a:pt x="1404" y="206"/>
                      </a:lnTo>
                      <a:lnTo>
                        <a:pt x="1409" y="205"/>
                      </a:lnTo>
                      <a:lnTo>
                        <a:pt x="1410" y="203"/>
                      </a:lnTo>
                      <a:lnTo>
                        <a:pt x="1410" y="200"/>
                      </a:lnTo>
                      <a:lnTo>
                        <a:pt x="1412" y="198"/>
                      </a:lnTo>
                      <a:lnTo>
                        <a:pt x="1414" y="200"/>
                      </a:lnTo>
                      <a:close/>
                      <a:moveTo>
                        <a:pt x="1366" y="177"/>
                      </a:moveTo>
                      <a:lnTo>
                        <a:pt x="1363" y="177"/>
                      </a:lnTo>
                      <a:lnTo>
                        <a:pt x="1357" y="184"/>
                      </a:lnTo>
                      <a:lnTo>
                        <a:pt x="1350" y="189"/>
                      </a:lnTo>
                      <a:lnTo>
                        <a:pt x="1348" y="193"/>
                      </a:lnTo>
                      <a:lnTo>
                        <a:pt x="1351" y="189"/>
                      </a:lnTo>
                      <a:lnTo>
                        <a:pt x="1355" y="188"/>
                      </a:lnTo>
                      <a:lnTo>
                        <a:pt x="1358" y="185"/>
                      </a:lnTo>
                      <a:lnTo>
                        <a:pt x="1362" y="184"/>
                      </a:lnTo>
                      <a:lnTo>
                        <a:pt x="1363" y="186"/>
                      </a:lnTo>
                      <a:lnTo>
                        <a:pt x="1356" y="191"/>
                      </a:lnTo>
                      <a:lnTo>
                        <a:pt x="1367" y="186"/>
                      </a:lnTo>
                      <a:lnTo>
                        <a:pt x="1368" y="189"/>
                      </a:lnTo>
                      <a:lnTo>
                        <a:pt x="1367" y="191"/>
                      </a:lnTo>
                      <a:lnTo>
                        <a:pt x="1368" y="192"/>
                      </a:lnTo>
                      <a:lnTo>
                        <a:pt x="1366" y="198"/>
                      </a:lnTo>
                      <a:lnTo>
                        <a:pt x="1368" y="199"/>
                      </a:lnTo>
                      <a:lnTo>
                        <a:pt x="1370" y="197"/>
                      </a:lnTo>
                      <a:lnTo>
                        <a:pt x="1371" y="195"/>
                      </a:lnTo>
                      <a:lnTo>
                        <a:pt x="1373" y="194"/>
                      </a:lnTo>
                      <a:lnTo>
                        <a:pt x="1372" y="193"/>
                      </a:lnTo>
                      <a:lnTo>
                        <a:pt x="1372" y="189"/>
                      </a:lnTo>
                      <a:lnTo>
                        <a:pt x="1374" y="192"/>
                      </a:lnTo>
                      <a:lnTo>
                        <a:pt x="1376" y="190"/>
                      </a:lnTo>
                      <a:lnTo>
                        <a:pt x="1376" y="186"/>
                      </a:lnTo>
                      <a:lnTo>
                        <a:pt x="1380" y="179"/>
                      </a:lnTo>
                      <a:lnTo>
                        <a:pt x="1380" y="184"/>
                      </a:lnTo>
                      <a:lnTo>
                        <a:pt x="1382" y="184"/>
                      </a:lnTo>
                      <a:lnTo>
                        <a:pt x="1383" y="178"/>
                      </a:lnTo>
                      <a:lnTo>
                        <a:pt x="1385" y="175"/>
                      </a:lnTo>
                      <a:lnTo>
                        <a:pt x="1386" y="176"/>
                      </a:lnTo>
                      <a:lnTo>
                        <a:pt x="1388" y="174"/>
                      </a:lnTo>
                      <a:lnTo>
                        <a:pt x="1388" y="172"/>
                      </a:lnTo>
                      <a:lnTo>
                        <a:pt x="1389" y="172"/>
                      </a:lnTo>
                      <a:lnTo>
                        <a:pt x="1392" y="170"/>
                      </a:lnTo>
                      <a:lnTo>
                        <a:pt x="1393" y="172"/>
                      </a:lnTo>
                      <a:lnTo>
                        <a:pt x="1392" y="174"/>
                      </a:lnTo>
                      <a:lnTo>
                        <a:pt x="1393" y="175"/>
                      </a:lnTo>
                      <a:lnTo>
                        <a:pt x="1393" y="176"/>
                      </a:lnTo>
                      <a:lnTo>
                        <a:pt x="1390" y="180"/>
                      </a:lnTo>
                      <a:lnTo>
                        <a:pt x="1386" y="184"/>
                      </a:lnTo>
                      <a:lnTo>
                        <a:pt x="1385" y="187"/>
                      </a:lnTo>
                      <a:lnTo>
                        <a:pt x="1384" y="188"/>
                      </a:lnTo>
                      <a:lnTo>
                        <a:pt x="1383" y="189"/>
                      </a:lnTo>
                      <a:lnTo>
                        <a:pt x="1380" y="191"/>
                      </a:lnTo>
                      <a:lnTo>
                        <a:pt x="1378" y="192"/>
                      </a:lnTo>
                      <a:lnTo>
                        <a:pt x="1376" y="196"/>
                      </a:lnTo>
                      <a:lnTo>
                        <a:pt x="1375" y="195"/>
                      </a:lnTo>
                      <a:lnTo>
                        <a:pt x="1374" y="198"/>
                      </a:lnTo>
                      <a:lnTo>
                        <a:pt x="1376" y="199"/>
                      </a:lnTo>
                      <a:lnTo>
                        <a:pt x="1375" y="204"/>
                      </a:lnTo>
                      <a:lnTo>
                        <a:pt x="1377" y="204"/>
                      </a:lnTo>
                      <a:lnTo>
                        <a:pt x="1379" y="198"/>
                      </a:lnTo>
                      <a:lnTo>
                        <a:pt x="1381" y="195"/>
                      </a:lnTo>
                      <a:lnTo>
                        <a:pt x="1384" y="197"/>
                      </a:lnTo>
                      <a:lnTo>
                        <a:pt x="1387" y="197"/>
                      </a:lnTo>
                      <a:lnTo>
                        <a:pt x="1388" y="197"/>
                      </a:lnTo>
                      <a:lnTo>
                        <a:pt x="1386" y="200"/>
                      </a:lnTo>
                      <a:lnTo>
                        <a:pt x="1386" y="203"/>
                      </a:lnTo>
                      <a:lnTo>
                        <a:pt x="1387" y="203"/>
                      </a:lnTo>
                      <a:lnTo>
                        <a:pt x="1387" y="210"/>
                      </a:lnTo>
                      <a:lnTo>
                        <a:pt x="1386" y="211"/>
                      </a:lnTo>
                      <a:lnTo>
                        <a:pt x="1383" y="211"/>
                      </a:lnTo>
                      <a:lnTo>
                        <a:pt x="1381" y="212"/>
                      </a:lnTo>
                      <a:lnTo>
                        <a:pt x="1380" y="214"/>
                      </a:lnTo>
                      <a:lnTo>
                        <a:pt x="1378" y="214"/>
                      </a:lnTo>
                      <a:lnTo>
                        <a:pt x="1376" y="213"/>
                      </a:lnTo>
                      <a:lnTo>
                        <a:pt x="1367" y="212"/>
                      </a:lnTo>
                      <a:lnTo>
                        <a:pt x="1363" y="213"/>
                      </a:lnTo>
                      <a:lnTo>
                        <a:pt x="1366" y="215"/>
                      </a:lnTo>
                      <a:lnTo>
                        <a:pt x="1366" y="217"/>
                      </a:lnTo>
                      <a:lnTo>
                        <a:pt x="1366" y="222"/>
                      </a:lnTo>
                      <a:lnTo>
                        <a:pt x="1367" y="225"/>
                      </a:lnTo>
                      <a:lnTo>
                        <a:pt x="1368" y="225"/>
                      </a:lnTo>
                      <a:lnTo>
                        <a:pt x="1368" y="222"/>
                      </a:lnTo>
                      <a:lnTo>
                        <a:pt x="1371" y="219"/>
                      </a:lnTo>
                      <a:lnTo>
                        <a:pt x="1372" y="222"/>
                      </a:lnTo>
                      <a:lnTo>
                        <a:pt x="1373" y="221"/>
                      </a:lnTo>
                      <a:lnTo>
                        <a:pt x="1373" y="223"/>
                      </a:lnTo>
                      <a:lnTo>
                        <a:pt x="1374" y="223"/>
                      </a:lnTo>
                      <a:lnTo>
                        <a:pt x="1374" y="226"/>
                      </a:lnTo>
                      <a:lnTo>
                        <a:pt x="1375" y="226"/>
                      </a:lnTo>
                      <a:lnTo>
                        <a:pt x="1376" y="225"/>
                      </a:lnTo>
                      <a:lnTo>
                        <a:pt x="1377" y="226"/>
                      </a:lnTo>
                      <a:lnTo>
                        <a:pt x="1379" y="224"/>
                      </a:lnTo>
                      <a:lnTo>
                        <a:pt x="1380" y="224"/>
                      </a:lnTo>
                      <a:lnTo>
                        <a:pt x="1380" y="225"/>
                      </a:lnTo>
                      <a:lnTo>
                        <a:pt x="1381" y="226"/>
                      </a:lnTo>
                      <a:lnTo>
                        <a:pt x="1383" y="225"/>
                      </a:lnTo>
                      <a:lnTo>
                        <a:pt x="1385" y="224"/>
                      </a:lnTo>
                      <a:lnTo>
                        <a:pt x="1386" y="225"/>
                      </a:lnTo>
                      <a:lnTo>
                        <a:pt x="1384" y="227"/>
                      </a:lnTo>
                      <a:lnTo>
                        <a:pt x="1383" y="229"/>
                      </a:lnTo>
                      <a:lnTo>
                        <a:pt x="1385" y="233"/>
                      </a:lnTo>
                      <a:lnTo>
                        <a:pt x="1384" y="234"/>
                      </a:lnTo>
                      <a:lnTo>
                        <a:pt x="1383" y="233"/>
                      </a:lnTo>
                      <a:lnTo>
                        <a:pt x="1379" y="233"/>
                      </a:lnTo>
                      <a:lnTo>
                        <a:pt x="1376" y="235"/>
                      </a:lnTo>
                      <a:lnTo>
                        <a:pt x="1372" y="241"/>
                      </a:lnTo>
                      <a:lnTo>
                        <a:pt x="1370" y="242"/>
                      </a:lnTo>
                      <a:lnTo>
                        <a:pt x="1370" y="244"/>
                      </a:lnTo>
                      <a:lnTo>
                        <a:pt x="1372" y="243"/>
                      </a:lnTo>
                      <a:lnTo>
                        <a:pt x="1371" y="246"/>
                      </a:lnTo>
                      <a:lnTo>
                        <a:pt x="1371" y="250"/>
                      </a:lnTo>
                      <a:lnTo>
                        <a:pt x="1373" y="249"/>
                      </a:lnTo>
                      <a:lnTo>
                        <a:pt x="1373" y="246"/>
                      </a:lnTo>
                      <a:lnTo>
                        <a:pt x="1378" y="247"/>
                      </a:lnTo>
                      <a:lnTo>
                        <a:pt x="1378" y="246"/>
                      </a:lnTo>
                      <a:lnTo>
                        <a:pt x="1378" y="245"/>
                      </a:lnTo>
                      <a:lnTo>
                        <a:pt x="1380" y="244"/>
                      </a:lnTo>
                      <a:lnTo>
                        <a:pt x="1380" y="246"/>
                      </a:lnTo>
                      <a:lnTo>
                        <a:pt x="1379" y="249"/>
                      </a:lnTo>
                      <a:lnTo>
                        <a:pt x="1382" y="247"/>
                      </a:lnTo>
                      <a:lnTo>
                        <a:pt x="1383" y="249"/>
                      </a:lnTo>
                      <a:lnTo>
                        <a:pt x="1380" y="253"/>
                      </a:lnTo>
                      <a:lnTo>
                        <a:pt x="1377" y="250"/>
                      </a:lnTo>
                      <a:lnTo>
                        <a:pt x="1375" y="252"/>
                      </a:lnTo>
                      <a:lnTo>
                        <a:pt x="1373" y="251"/>
                      </a:lnTo>
                      <a:lnTo>
                        <a:pt x="1371" y="256"/>
                      </a:lnTo>
                      <a:lnTo>
                        <a:pt x="1371" y="258"/>
                      </a:lnTo>
                      <a:lnTo>
                        <a:pt x="1367" y="258"/>
                      </a:lnTo>
                      <a:lnTo>
                        <a:pt x="1367" y="260"/>
                      </a:lnTo>
                      <a:lnTo>
                        <a:pt x="1364" y="259"/>
                      </a:lnTo>
                      <a:lnTo>
                        <a:pt x="1364" y="257"/>
                      </a:lnTo>
                      <a:lnTo>
                        <a:pt x="1367" y="252"/>
                      </a:lnTo>
                      <a:lnTo>
                        <a:pt x="1362" y="252"/>
                      </a:lnTo>
                      <a:lnTo>
                        <a:pt x="1362" y="254"/>
                      </a:lnTo>
                      <a:lnTo>
                        <a:pt x="1361" y="253"/>
                      </a:lnTo>
                      <a:lnTo>
                        <a:pt x="1362" y="249"/>
                      </a:lnTo>
                      <a:lnTo>
                        <a:pt x="1361" y="248"/>
                      </a:lnTo>
                      <a:lnTo>
                        <a:pt x="1358" y="249"/>
                      </a:lnTo>
                      <a:lnTo>
                        <a:pt x="1359" y="251"/>
                      </a:lnTo>
                      <a:lnTo>
                        <a:pt x="1359" y="255"/>
                      </a:lnTo>
                      <a:lnTo>
                        <a:pt x="1361" y="255"/>
                      </a:lnTo>
                      <a:lnTo>
                        <a:pt x="1360" y="258"/>
                      </a:lnTo>
                      <a:lnTo>
                        <a:pt x="1359" y="261"/>
                      </a:lnTo>
                      <a:lnTo>
                        <a:pt x="1356" y="261"/>
                      </a:lnTo>
                      <a:lnTo>
                        <a:pt x="1354" y="263"/>
                      </a:lnTo>
                      <a:lnTo>
                        <a:pt x="1355" y="264"/>
                      </a:lnTo>
                      <a:lnTo>
                        <a:pt x="1356" y="264"/>
                      </a:lnTo>
                      <a:lnTo>
                        <a:pt x="1360" y="263"/>
                      </a:lnTo>
                      <a:lnTo>
                        <a:pt x="1361" y="262"/>
                      </a:lnTo>
                      <a:lnTo>
                        <a:pt x="1362" y="263"/>
                      </a:lnTo>
                      <a:lnTo>
                        <a:pt x="1362" y="264"/>
                      </a:lnTo>
                      <a:lnTo>
                        <a:pt x="1360" y="265"/>
                      </a:lnTo>
                      <a:lnTo>
                        <a:pt x="1360" y="268"/>
                      </a:lnTo>
                      <a:lnTo>
                        <a:pt x="1355" y="276"/>
                      </a:lnTo>
                      <a:lnTo>
                        <a:pt x="1360" y="274"/>
                      </a:lnTo>
                      <a:lnTo>
                        <a:pt x="1361" y="271"/>
                      </a:lnTo>
                      <a:lnTo>
                        <a:pt x="1365" y="266"/>
                      </a:lnTo>
                      <a:lnTo>
                        <a:pt x="1366" y="267"/>
                      </a:lnTo>
                      <a:lnTo>
                        <a:pt x="1367" y="268"/>
                      </a:lnTo>
                      <a:lnTo>
                        <a:pt x="1366" y="269"/>
                      </a:lnTo>
                      <a:lnTo>
                        <a:pt x="1364" y="272"/>
                      </a:lnTo>
                      <a:lnTo>
                        <a:pt x="1365" y="272"/>
                      </a:lnTo>
                      <a:lnTo>
                        <a:pt x="1366" y="273"/>
                      </a:lnTo>
                      <a:lnTo>
                        <a:pt x="1363" y="275"/>
                      </a:lnTo>
                      <a:lnTo>
                        <a:pt x="1363" y="277"/>
                      </a:lnTo>
                      <a:lnTo>
                        <a:pt x="1362" y="279"/>
                      </a:lnTo>
                      <a:lnTo>
                        <a:pt x="1359" y="286"/>
                      </a:lnTo>
                      <a:lnTo>
                        <a:pt x="1361" y="284"/>
                      </a:lnTo>
                      <a:lnTo>
                        <a:pt x="1370" y="275"/>
                      </a:lnTo>
                      <a:lnTo>
                        <a:pt x="1372" y="275"/>
                      </a:lnTo>
                      <a:lnTo>
                        <a:pt x="1370" y="282"/>
                      </a:lnTo>
                      <a:lnTo>
                        <a:pt x="1372" y="281"/>
                      </a:lnTo>
                      <a:lnTo>
                        <a:pt x="1372" y="281"/>
                      </a:lnTo>
                      <a:lnTo>
                        <a:pt x="1368" y="289"/>
                      </a:lnTo>
                      <a:lnTo>
                        <a:pt x="1371" y="292"/>
                      </a:lnTo>
                      <a:lnTo>
                        <a:pt x="1372" y="292"/>
                      </a:lnTo>
                      <a:lnTo>
                        <a:pt x="1375" y="296"/>
                      </a:lnTo>
                      <a:lnTo>
                        <a:pt x="1374" y="298"/>
                      </a:lnTo>
                      <a:lnTo>
                        <a:pt x="1370" y="297"/>
                      </a:lnTo>
                      <a:lnTo>
                        <a:pt x="1370" y="299"/>
                      </a:lnTo>
                      <a:lnTo>
                        <a:pt x="1371" y="301"/>
                      </a:lnTo>
                      <a:lnTo>
                        <a:pt x="1371" y="307"/>
                      </a:lnTo>
                      <a:lnTo>
                        <a:pt x="1370" y="307"/>
                      </a:lnTo>
                      <a:lnTo>
                        <a:pt x="1368" y="305"/>
                      </a:lnTo>
                      <a:lnTo>
                        <a:pt x="1367" y="302"/>
                      </a:lnTo>
                      <a:lnTo>
                        <a:pt x="1366" y="302"/>
                      </a:lnTo>
                      <a:lnTo>
                        <a:pt x="1365" y="303"/>
                      </a:lnTo>
                      <a:lnTo>
                        <a:pt x="1365" y="306"/>
                      </a:lnTo>
                      <a:lnTo>
                        <a:pt x="1365" y="310"/>
                      </a:lnTo>
                      <a:lnTo>
                        <a:pt x="1364" y="309"/>
                      </a:lnTo>
                      <a:lnTo>
                        <a:pt x="1363" y="307"/>
                      </a:lnTo>
                      <a:lnTo>
                        <a:pt x="1360" y="307"/>
                      </a:lnTo>
                      <a:lnTo>
                        <a:pt x="1359" y="308"/>
                      </a:lnTo>
                      <a:lnTo>
                        <a:pt x="1361" y="310"/>
                      </a:lnTo>
                      <a:lnTo>
                        <a:pt x="1360" y="314"/>
                      </a:lnTo>
                      <a:lnTo>
                        <a:pt x="1357" y="318"/>
                      </a:lnTo>
                      <a:lnTo>
                        <a:pt x="1356" y="318"/>
                      </a:lnTo>
                      <a:lnTo>
                        <a:pt x="1356" y="320"/>
                      </a:lnTo>
                      <a:lnTo>
                        <a:pt x="1358" y="321"/>
                      </a:lnTo>
                      <a:lnTo>
                        <a:pt x="1359" y="327"/>
                      </a:lnTo>
                      <a:lnTo>
                        <a:pt x="1358" y="326"/>
                      </a:lnTo>
                      <a:lnTo>
                        <a:pt x="1358" y="329"/>
                      </a:lnTo>
                      <a:lnTo>
                        <a:pt x="1357" y="330"/>
                      </a:lnTo>
                      <a:lnTo>
                        <a:pt x="1358" y="332"/>
                      </a:lnTo>
                      <a:lnTo>
                        <a:pt x="1359" y="334"/>
                      </a:lnTo>
                      <a:lnTo>
                        <a:pt x="1360" y="336"/>
                      </a:lnTo>
                      <a:lnTo>
                        <a:pt x="1361" y="336"/>
                      </a:lnTo>
                      <a:lnTo>
                        <a:pt x="1360" y="341"/>
                      </a:lnTo>
                      <a:lnTo>
                        <a:pt x="1366" y="342"/>
                      </a:lnTo>
                      <a:lnTo>
                        <a:pt x="1366" y="345"/>
                      </a:lnTo>
                      <a:lnTo>
                        <a:pt x="1359" y="346"/>
                      </a:lnTo>
                      <a:lnTo>
                        <a:pt x="1358" y="345"/>
                      </a:lnTo>
                      <a:lnTo>
                        <a:pt x="1359" y="343"/>
                      </a:lnTo>
                      <a:lnTo>
                        <a:pt x="1359" y="342"/>
                      </a:lnTo>
                      <a:lnTo>
                        <a:pt x="1359" y="341"/>
                      </a:lnTo>
                      <a:lnTo>
                        <a:pt x="1358" y="343"/>
                      </a:lnTo>
                      <a:lnTo>
                        <a:pt x="1357" y="343"/>
                      </a:lnTo>
                      <a:lnTo>
                        <a:pt x="1357" y="347"/>
                      </a:lnTo>
                      <a:lnTo>
                        <a:pt x="1355" y="347"/>
                      </a:lnTo>
                      <a:lnTo>
                        <a:pt x="1354" y="347"/>
                      </a:lnTo>
                      <a:lnTo>
                        <a:pt x="1354" y="352"/>
                      </a:lnTo>
                      <a:lnTo>
                        <a:pt x="1355" y="353"/>
                      </a:lnTo>
                      <a:lnTo>
                        <a:pt x="1356" y="358"/>
                      </a:lnTo>
                      <a:lnTo>
                        <a:pt x="1359" y="361"/>
                      </a:lnTo>
                      <a:lnTo>
                        <a:pt x="1360" y="361"/>
                      </a:lnTo>
                      <a:lnTo>
                        <a:pt x="1360" y="361"/>
                      </a:lnTo>
                      <a:lnTo>
                        <a:pt x="1360" y="362"/>
                      </a:lnTo>
                      <a:lnTo>
                        <a:pt x="1362" y="363"/>
                      </a:lnTo>
                      <a:lnTo>
                        <a:pt x="1362" y="363"/>
                      </a:lnTo>
                      <a:lnTo>
                        <a:pt x="1362" y="363"/>
                      </a:lnTo>
                      <a:lnTo>
                        <a:pt x="1362" y="364"/>
                      </a:lnTo>
                      <a:lnTo>
                        <a:pt x="1362" y="364"/>
                      </a:lnTo>
                      <a:lnTo>
                        <a:pt x="1363" y="365"/>
                      </a:lnTo>
                      <a:lnTo>
                        <a:pt x="1363" y="366"/>
                      </a:lnTo>
                      <a:lnTo>
                        <a:pt x="1361" y="365"/>
                      </a:lnTo>
                      <a:lnTo>
                        <a:pt x="1362" y="366"/>
                      </a:lnTo>
                      <a:lnTo>
                        <a:pt x="1361" y="366"/>
                      </a:lnTo>
                      <a:lnTo>
                        <a:pt x="1361" y="367"/>
                      </a:lnTo>
                      <a:lnTo>
                        <a:pt x="1361" y="368"/>
                      </a:lnTo>
                      <a:lnTo>
                        <a:pt x="1362" y="368"/>
                      </a:lnTo>
                      <a:lnTo>
                        <a:pt x="1361" y="369"/>
                      </a:lnTo>
                      <a:lnTo>
                        <a:pt x="1362" y="369"/>
                      </a:lnTo>
                      <a:lnTo>
                        <a:pt x="1362" y="370"/>
                      </a:lnTo>
                      <a:lnTo>
                        <a:pt x="1362" y="370"/>
                      </a:lnTo>
                      <a:lnTo>
                        <a:pt x="1362" y="370"/>
                      </a:lnTo>
                      <a:lnTo>
                        <a:pt x="1361" y="371"/>
                      </a:lnTo>
                      <a:lnTo>
                        <a:pt x="1361" y="371"/>
                      </a:lnTo>
                      <a:lnTo>
                        <a:pt x="1362" y="371"/>
                      </a:lnTo>
                      <a:lnTo>
                        <a:pt x="1362" y="372"/>
                      </a:lnTo>
                      <a:lnTo>
                        <a:pt x="1362" y="372"/>
                      </a:lnTo>
                      <a:lnTo>
                        <a:pt x="1362" y="373"/>
                      </a:lnTo>
                      <a:lnTo>
                        <a:pt x="1361" y="373"/>
                      </a:lnTo>
                      <a:lnTo>
                        <a:pt x="1361" y="373"/>
                      </a:lnTo>
                      <a:lnTo>
                        <a:pt x="1360" y="372"/>
                      </a:lnTo>
                      <a:lnTo>
                        <a:pt x="1360" y="372"/>
                      </a:lnTo>
                      <a:lnTo>
                        <a:pt x="1360" y="371"/>
                      </a:lnTo>
                      <a:lnTo>
                        <a:pt x="1359" y="372"/>
                      </a:lnTo>
                      <a:lnTo>
                        <a:pt x="1357" y="365"/>
                      </a:lnTo>
                      <a:lnTo>
                        <a:pt x="1357" y="365"/>
                      </a:lnTo>
                      <a:lnTo>
                        <a:pt x="1356" y="365"/>
                      </a:lnTo>
                      <a:lnTo>
                        <a:pt x="1356" y="367"/>
                      </a:lnTo>
                      <a:lnTo>
                        <a:pt x="1356" y="367"/>
                      </a:lnTo>
                      <a:lnTo>
                        <a:pt x="1356" y="367"/>
                      </a:lnTo>
                      <a:lnTo>
                        <a:pt x="1356" y="368"/>
                      </a:lnTo>
                      <a:lnTo>
                        <a:pt x="1356" y="368"/>
                      </a:lnTo>
                      <a:lnTo>
                        <a:pt x="1356" y="369"/>
                      </a:lnTo>
                      <a:lnTo>
                        <a:pt x="1355" y="369"/>
                      </a:lnTo>
                      <a:lnTo>
                        <a:pt x="1355" y="369"/>
                      </a:lnTo>
                      <a:lnTo>
                        <a:pt x="1354" y="368"/>
                      </a:lnTo>
                      <a:lnTo>
                        <a:pt x="1354" y="369"/>
                      </a:lnTo>
                      <a:lnTo>
                        <a:pt x="1353" y="368"/>
                      </a:lnTo>
                      <a:lnTo>
                        <a:pt x="1353" y="366"/>
                      </a:lnTo>
                      <a:lnTo>
                        <a:pt x="1352" y="364"/>
                      </a:lnTo>
                      <a:lnTo>
                        <a:pt x="1352" y="364"/>
                      </a:lnTo>
                      <a:lnTo>
                        <a:pt x="1351" y="364"/>
                      </a:lnTo>
                      <a:lnTo>
                        <a:pt x="1351" y="365"/>
                      </a:lnTo>
                      <a:lnTo>
                        <a:pt x="1351" y="365"/>
                      </a:lnTo>
                      <a:lnTo>
                        <a:pt x="1350" y="366"/>
                      </a:lnTo>
                      <a:lnTo>
                        <a:pt x="1351" y="366"/>
                      </a:lnTo>
                      <a:lnTo>
                        <a:pt x="1350" y="366"/>
                      </a:lnTo>
                      <a:lnTo>
                        <a:pt x="1350" y="366"/>
                      </a:lnTo>
                      <a:lnTo>
                        <a:pt x="1350" y="366"/>
                      </a:lnTo>
                      <a:lnTo>
                        <a:pt x="1349" y="365"/>
                      </a:lnTo>
                      <a:lnTo>
                        <a:pt x="1348" y="366"/>
                      </a:lnTo>
                      <a:lnTo>
                        <a:pt x="1347" y="365"/>
                      </a:lnTo>
                      <a:lnTo>
                        <a:pt x="1348" y="366"/>
                      </a:lnTo>
                      <a:lnTo>
                        <a:pt x="1348" y="367"/>
                      </a:lnTo>
                      <a:lnTo>
                        <a:pt x="1348" y="367"/>
                      </a:lnTo>
                      <a:lnTo>
                        <a:pt x="1348" y="367"/>
                      </a:lnTo>
                      <a:lnTo>
                        <a:pt x="1349" y="368"/>
                      </a:lnTo>
                      <a:lnTo>
                        <a:pt x="1348" y="370"/>
                      </a:lnTo>
                      <a:lnTo>
                        <a:pt x="1349" y="370"/>
                      </a:lnTo>
                      <a:lnTo>
                        <a:pt x="1349" y="371"/>
                      </a:lnTo>
                      <a:lnTo>
                        <a:pt x="1350" y="371"/>
                      </a:lnTo>
                      <a:lnTo>
                        <a:pt x="1350" y="371"/>
                      </a:lnTo>
                      <a:lnTo>
                        <a:pt x="1350" y="371"/>
                      </a:lnTo>
                      <a:lnTo>
                        <a:pt x="1350" y="371"/>
                      </a:lnTo>
                      <a:lnTo>
                        <a:pt x="1351" y="370"/>
                      </a:lnTo>
                      <a:lnTo>
                        <a:pt x="1351" y="370"/>
                      </a:lnTo>
                      <a:lnTo>
                        <a:pt x="1351" y="370"/>
                      </a:lnTo>
                      <a:lnTo>
                        <a:pt x="1352" y="371"/>
                      </a:lnTo>
                      <a:lnTo>
                        <a:pt x="1351" y="372"/>
                      </a:lnTo>
                      <a:lnTo>
                        <a:pt x="1352" y="373"/>
                      </a:lnTo>
                      <a:lnTo>
                        <a:pt x="1350" y="373"/>
                      </a:lnTo>
                      <a:lnTo>
                        <a:pt x="1350" y="374"/>
                      </a:lnTo>
                      <a:lnTo>
                        <a:pt x="1351" y="374"/>
                      </a:lnTo>
                      <a:lnTo>
                        <a:pt x="1351" y="375"/>
                      </a:lnTo>
                      <a:lnTo>
                        <a:pt x="1351" y="375"/>
                      </a:lnTo>
                      <a:lnTo>
                        <a:pt x="1350" y="375"/>
                      </a:lnTo>
                      <a:lnTo>
                        <a:pt x="1351" y="376"/>
                      </a:lnTo>
                      <a:lnTo>
                        <a:pt x="1351" y="376"/>
                      </a:lnTo>
                      <a:lnTo>
                        <a:pt x="1351" y="377"/>
                      </a:lnTo>
                      <a:lnTo>
                        <a:pt x="1351" y="377"/>
                      </a:lnTo>
                      <a:lnTo>
                        <a:pt x="1351" y="377"/>
                      </a:lnTo>
                      <a:lnTo>
                        <a:pt x="1351" y="377"/>
                      </a:lnTo>
                      <a:lnTo>
                        <a:pt x="1351" y="378"/>
                      </a:lnTo>
                      <a:lnTo>
                        <a:pt x="1351" y="379"/>
                      </a:lnTo>
                      <a:lnTo>
                        <a:pt x="1351" y="380"/>
                      </a:lnTo>
                      <a:lnTo>
                        <a:pt x="1352" y="380"/>
                      </a:lnTo>
                      <a:lnTo>
                        <a:pt x="1351" y="380"/>
                      </a:lnTo>
                      <a:lnTo>
                        <a:pt x="1350" y="380"/>
                      </a:lnTo>
                      <a:lnTo>
                        <a:pt x="1350" y="380"/>
                      </a:lnTo>
                      <a:lnTo>
                        <a:pt x="1350" y="380"/>
                      </a:lnTo>
                      <a:lnTo>
                        <a:pt x="1350" y="381"/>
                      </a:lnTo>
                      <a:lnTo>
                        <a:pt x="1350" y="381"/>
                      </a:lnTo>
                      <a:lnTo>
                        <a:pt x="1350" y="381"/>
                      </a:lnTo>
                      <a:lnTo>
                        <a:pt x="1349" y="381"/>
                      </a:lnTo>
                      <a:lnTo>
                        <a:pt x="1349" y="382"/>
                      </a:lnTo>
                      <a:lnTo>
                        <a:pt x="1350" y="383"/>
                      </a:lnTo>
                      <a:lnTo>
                        <a:pt x="1350" y="383"/>
                      </a:lnTo>
                      <a:lnTo>
                        <a:pt x="1350" y="383"/>
                      </a:lnTo>
                      <a:lnTo>
                        <a:pt x="1350" y="384"/>
                      </a:lnTo>
                      <a:lnTo>
                        <a:pt x="1350" y="385"/>
                      </a:lnTo>
                      <a:lnTo>
                        <a:pt x="1350" y="385"/>
                      </a:lnTo>
                      <a:lnTo>
                        <a:pt x="1350" y="385"/>
                      </a:lnTo>
                      <a:lnTo>
                        <a:pt x="1351" y="386"/>
                      </a:lnTo>
                      <a:lnTo>
                        <a:pt x="1351" y="387"/>
                      </a:lnTo>
                      <a:lnTo>
                        <a:pt x="1351" y="387"/>
                      </a:lnTo>
                      <a:lnTo>
                        <a:pt x="1350" y="388"/>
                      </a:lnTo>
                      <a:lnTo>
                        <a:pt x="1350" y="388"/>
                      </a:lnTo>
                      <a:lnTo>
                        <a:pt x="1349" y="389"/>
                      </a:lnTo>
                      <a:lnTo>
                        <a:pt x="1348" y="389"/>
                      </a:lnTo>
                      <a:lnTo>
                        <a:pt x="1348" y="390"/>
                      </a:lnTo>
                      <a:lnTo>
                        <a:pt x="1349" y="391"/>
                      </a:lnTo>
                      <a:lnTo>
                        <a:pt x="1349" y="391"/>
                      </a:lnTo>
                      <a:lnTo>
                        <a:pt x="1349" y="391"/>
                      </a:lnTo>
                      <a:lnTo>
                        <a:pt x="1348" y="393"/>
                      </a:lnTo>
                      <a:lnTo>
                        <a:pt x="1348" y="393"/>
                      </a:lnTo>
                      <a:lnTo>
                        <a:pt x="1348" y="394"/>
                      </a:lnTo>
                      <a:lnTo>
                        <a:pt x="1348" y="395"/>
                      </a:lnTo>
                      <a:lnTo>
                        <a:pt x="1346" y="395"/>
                      </a:lnTo>
                      <a:lnTo>
                        <a:pt x="1345" y="394"/>
                      </a:lnTo>
                      <a:lnTo>
                        <a:pt x="1344" y="394"/>
                      </a:lnTo>
                      <a:lnTo>
                        <a:pt x="1344" y="395"/>
                      </a:lnTo>
                      <a:lnTo>
                        <a:pt x="1345" y="396"/>
                      </a:lnTo>
                      <a:lnTo>
                        <a:pt x="1345" y="397"/>
                      </a:lnTo>
                      <a:lnTo>
                        <a:pt x="1346" y="397"/>
                      </a:lnTo>
                      <a:lnTo>
                        <a:pt x="1346" y="397"/>
                      </a:lnTo>
                      <a:lnTo>
                        <a:pt x="1347" y="398"/>
                      </a:lnTo>
                      <a:lnTo>
                        <a:pt x="1347" y="398"/>
                      </a:lnTo>
                      <a:lnTo>
                        <a:pt x="1348" y="399"/>
                      </a:lnTo>
                      <a:lnTo>
                        <a:pt x="1348" y="399"/>
                      </a:lnTo>
                      <a:lnTo>
                        <a:pt x="1348" y="399"/>
                      </a:lnTo>
                      <a:lnTo>
                        <a:pt x="1348" y="400"/>
                      </a:lnTo>
                      <a:lnTo>
                        <a:pt x="1348" y="400"/>
                      </a:lnTo>
                      <a:lnTo>
                        <a:pt x="1348" y="401"/>
                      </a:lnTo>
                      <a:lnTo>
                        <a:pt x="1347" y="402"/>
                      </a:lnTo>
                      <a:lnTo>
                        <a:pt x="1347" y="403"/>
                      </a:lnTo>
                      <a:lnTo>
                        <a:pt x="1348" y="403"/>
                      </a:lnTo>
                      <a:lnTo>
                        <a:pt x="1348" y="403"/>
                      </a:lnTo>
                      <a:lnTo>
                        <a:pt x="1347" y="404"/>
                      </a:lnTo>
                      <a:lnTo>
                        <a:pt x="1347" y="405"/>
                      </a:lnTo>
                      <a:lnTo>
                        <a:pt x="1347" y="406"/>
                      </a:lnTo>
                      <a:lnTo>
                        <a:pt x="1348" y="407"/>
                      </a:lnTo>
                      <a:lnTo>
                        <a:pt x="1348" y="408"/>
                      </a:lnTo>
                      <a:lnTo>
                        <a:pt x="1347" y="409"/>
                      </a:lnTo>
                      <a:lnTo>
                        <a:pt x="1346" y="409"/>
                      </a:lnTo>
                      <a:lnTo>
                        <a:pt x="1346" y="409"/>
                      </a:lnTo>
                      <a:lnTo>
                        <a:pt x="1345" y="410"/>
                      </a:lnTo>
                      <a:lnTo>
                        <a:pt x="1345" y="409"/>
                      </a:lnTo>
                      <a:lnTo>
                        <a:pt x="1345" y="409"/>
                      </a:lnTo>
                      <a:lnTo>
                        <a:pt x="1344" y="409"/>
                      </a:lnTo>
                      <a:lnTo>
                        <a:pt x="1344" y="409"/>
                      </a:lnTo>
                      <a:lnTo>
                        <a:pt x="1343" y="408"/>
                      </a:lnTo>
                      <a:lnTo>
                        <a:pt x="1342" y="409"/>
                      </a:lnTo>
                      <a:lnTo>
                        <a:pt x="1342" y="410"/>
                      </a:lnTo>
                      <a:lnTo>
                        <a:pt x="1343" y="410"/>
                      </a:lnTo>
                      <a:lnTo>
                        <a:pt x="1344" y="410"/>
                      </a:lnTo>
                      <a:lnTo>
                        <a:pt x="1345" y="410"/>
                      </a:lnTo>
                      <a:lnTo>
                        <a:pt x="1346" y="411"/>
                      </a:lnTo>
                      <a:lnTo>
                        <a:pt x="1346" y="411"/>
                      </a:lnTo>
                      <a:lnTo>
                        <a:pt x="1346" y="411"/>
                      </a:lnTo>
                      <a:lnTo>
                        <a:pt x="1347" y="412"/>
                      </a:lnTo>
                      <a:lnTo>
                        <a:pt x="1346" y="412"/>
                      </a:lnTo>
                      <a:lnTo>
                        <a:pt x="1345" y="413"/>
                      </a:lnTo>
                      <a:lnTo>
                        <a:pt x="1345" y="414"/>
                      </a:lnTo>
                      <a:lnTo>
                        <a:pt x="1346" y="414"/>
                      </a:lnTo>
                      <a:lnTo>
                        <a:pt x="1347" y="412"/>
                      </a:lnTo>
                      <a:lnTo>
                        <a:pt x="1348" y="412"/>
                      </a:lnTo>
                      <a:lnTo>
                        <a:pt x="1349" y="413"/>
                      </a:lnTo>
                      <a:lnTo>
                        <a:pt x="1349" y="413"/>
                      </a:lnTo>
                      <a:lnTo>
                        <a:pt x="1348" y="413"/>
                      </a:lnTo>
                      <a:lnTo>
                        <a:pt x="1347" y="414"/>
                      </a:lnTo>
                      <a:lnTo>
                        <a:pt x="1348" y="414"/>
                      </a:lnTo>
                      <a:lnTo>
                        <a:pt x="1348" y="415"/>
                      </a:lnTo>
                      <a:lnTo>
                        <a:pt x="1348" y="415"/>
                      </a:lnTo>
                      <a:lnTo>
                        <a:pt x="1348" y="415"/>
                      </a:lnTo>
                      <a:lnTo>
                        <a:pt x="1348" y="416"/>
                      </a:lnTo>
                      <a:lnTo>
                        <a:pt x="1348" y="416"/>
                      </a:lnTo>
                      <a:lnTo>
                        <a:pt x="1348" y="417"/>
                      </a:lnTo>
                      <a:lnTo>
                        <a:pt x="1348" y="418"/>
                      </a:lnTo>
                      <a:lnTo>
                        <a:pt x="1348" y="419"/>
                      </a:lnTo>
                      <a:lnTo>
                        <a:pt x="1348" y="420"/>
                      </a:lnTo>
                      <a:lnTo>
                        <a:pt x="1348" y="421"/>
                      </a:lnTo>
                      <a:lnTo>
                        <a:pt x="1348" y="422"/>
                      </a:lnTo>
                      <a:lnTo>
                        <a:pt x="1348" y="422"/>
                      </a:lnTo>
                      <a:lnTo>
                        <a:pt x="1347" y="422"/>
                      </a:lnTo>
                      <a:lnTo>
                        <a:pt x="1347" y="422"/>
                      </a:lnTo>
                      <a:lnTo>
                        <a:pt x="1346" y="422"/>
                      </a:lnTo>
                      <a:lnTo>
                        <a:pt x="1346" y="422"/>
                      </a:lnTo>
                      <a:lnTo>
                        <a:pt x="1347" y="421"/>
                      </a:lnTo>
                      <a:lnTo>
                        <a:pt x="1346" y="421"/>
                      </a:lnTo>
                      <a:lnTo>
                        <a:pt x="1346" y="420"/>
                      </a:lnTo>
                      <a:lnTo>
                        <a:pt x="1346" y="419"/>
                      </a:lnTo>
                      <a:lnTo>
                        <a:pt x="1345" y="418"/>
                      </a:lnTo>
                      <a:lnTo>
                        <a:pt x="1345" y="417"/>
                      </a:lnTo>
                      <a:lnTo>
                        <a:pt x="1344" y="416"/>
                      </a:lnTo>
                      <a:lnTo>
                        <a:pt x="1343" y="415"/>
                      </a:lnTo>
                      <a:lnTo>
                        <a:pt x="1343" y="414"/>
                      </a:lnTo>
                      <a:lnTo>
                        <a:pt x="1344" y="414"/>
                      </a:lnTo>
                      <a:lnTo>
                        <a:pt x="1344" y="414"/>
                      </a:lnTo>
                      <a:lnTo>
                        <a:pt x="1344" y="413"/>
                      </a:lnTo>
                      <a:lnTo>
                        <a:pt x="1343" y="413"/>
                      </a:lnTo>
                      <a:lnTo>
                        <a:pt x="1342" y="413"/>
                      </a:lnTo>
                      <a:lnTo>
                        <a:pt x="1342" y="413"/>
                      </a:lnTo>
                      <a:lnTo>
                        <a:pt x="1342" y="414"/>
                      </a:lnTo>
                      <a:lnTo>
                        <a:pt x="1342" y="415"/>
                      </a:lnTo>
                      <a:lnTo>
                        <a:pt x="1341" y="416"/>
                      </a:lnTo>
                      <a:lnTo>
                        <a:pt x="1341" y="416"/>
                      </a:lnTo>
                      <a:lnTo>
                        <a:pt x="1341" y="416"/>
                      </a:lnTo>
                      <a:lnTo>
                        <a:pt x="1341" y="417"/>
                      </a:lnTo>
                      <a:lnTo>
                        <a:pt x="1341" y="418"/>
                      </a:lnTo>
                      <a:lnTo>
                        <a:pt x="1340" y="418"/>
                      </a:lnTo>
                      <a:lnTo>
                        <a:pt x="1340" y="419"/>
                      </a:lnTo>
                      <a:lnTo>
                        <a:pt x="1341" y="420"/>
                      </a:lnTo>
                      <a:lnTo>
                        <a:pt x="1340" y="420"/>
                      </a:lnTo>
                      <a:lnTo>
                        <a:pt x="1340" y="421"/>
                      </a:lnTo>
                      <a:lnTo>
                        <a:pt x="1340" y="421"/>
                      </a:lnTo>
                      <a:lnTo>
                        <a:pt x="1339" y="421"/>
                      </a:lnTo>
                      <a:lnTo>
                        <a:pt x="1340" y="420"/>
                      </a:lnTo>
                      <a:lnTo>
                        <a:pt x="1339" y="419"/>
                      </a:lnTo>
                      <a:lnTo>
                        <a:pt x="1340" y="419"/>
                      </a:lnTo>
                      <a:lnTo>
                        <a:pt x="1340" y="419"/>
                      </a:lnTo>
                      <a:lnTo>
                        <a:pt x="1340" y="418"/>
                      </a:lnTo>
                      <a:lnTo>
                        <a:pt x="1340" y="418"/>
                      </a:lnTo>
                      <a:lnTo>
                        <a:pt x="1340" y="418"/>
                      </a:lnTo>
                      <a:lnTo>
                        <a:pt x="1339" y="417"/>
                      </a:lnTo>
                      <a:lnTo>
                        <a:pt x="1339" y="416"/>
                      </a:lnTo>
                      <a:lnTo>
                        <a:pt x="1338" y="415"/>
                      </a:lnTo>
                      <a:lnTo>
                        <a:pt x="1339" y="415"/>
                      </a:lnTo>
                      <a:lnTo>
                        <a:pt x="1338" y="415"/>
                      </a:lnTo>
                      <a:lnTo>
                        <a:pt x="1339" y="415"/>
                      </a:lnTo>
                      <a:lnTo>
                        <a:pt x="1339" y="414"/>
                      </a:lnTo>
                      <a:lnTo>
                        <a:pt x="1340" y="414"/>
                      </a:lnTo>
                      <a:lnTo>
                        <a:pt x="1340" y="413"/>
                      </a:lnTo>
                      <a:lnTo>
                        <a:pt x="1340" y="411"/>
                      </a:lnTo>
                      <a:lnTo>
                        <a:pt x="1341" y="410"/>
                      </a:lnTo>
                      <a:lnTo>
                        <a:pt x="1340" y="410"/>
                      </a:lnTo>
                      <a:lnTo>
                        <a:pt x="1340" y="410"/>
                      </a:lnTo>
                      <a:lnTo>
                        <a:pt x="1339" y="409"/>
                      </a:lnTo>
                      <a:lnTo>
                        <a:pt x="1339" y="407"/>
                      </a:lnTo>
                      <a:lnTo>
                        <a:pt x="1338" y="407"/>
                      </a:lnTo>
                      <a:lnTo>
                        <a:pt x="1338" y="405"/>
                      </a:lnTo>
                      <a:lnTo>
                        <a:pt x="1338" y="404"/>
                      </a:lnTo>
                      <a:lnTo>
                        <a:pt x="1336" y="403"/>
                      </a:lnTo>
                      <a:lnTo>
                        <a:pt x="1335" y="403"/>
                      </a:lnTo>
                      <a:lnTo>
                        <a:pt x="1333" y="404"/>
                      </a:lnTo>
                      <a:lnTo>
                        <a:pt x="1333" y="404"/>
                      </a:lnTo>
                      <a:lnTo>
                        <a:pt x="1333" y="405"/>
                      </a:lnTo>
                      <a:lnTo>
                        <a:pt x="1333" y="405"/>
                      </a:lnTo>
                      <a:lnTo>
                        <a:pt x="1333" y="406"/>
                      </a:lnTo>
                      <a:lnTo>
                        <a:pt x="1333" y="407"/>
                      </a:lnTo>
                      <a:lnTo>
                        <a:pt x="1333" y="409"/>
                      </a:lnTo>
                      <a:lnTo>
                        <a:pt x="1331" y="410"/>
                      </a:lnTo>
                      <a:lnTo>
                        <a:pt x="1330" y="410"/>
                      </a:lnTo>
                      <a:lnTo>
                        <a:pt x="1330" y="409"/>
                      </a:lnTo>
                      <a:lnTo>
                        <a:pt x="1330" y="409"/>
                      </a:lnTo>
                      <a:lnTo>
                        <a:pt x="1330" y="408"/>
                      </a:lnTo>
                      <a:lnTo>
                        <a:pt x="1329" y="408"/>
                      </a:lnTo>
                      <a:lnTo>
                        <a:pt x="1329" y="406"/>
                      </a:lnTo>
                      <a:lnTo>
                        <a:pt x="1329" y="406"/>
                      </a:lnTo>
                      <a:lnTo>
                        <a:pt x="1329" y="406"/>
                      </a:lnTo>
                      <a:lnTo>
                        <a:pt x="1329" y="406"/>
                      </a:lnTo>
                      <a:lnTo>
                        <a:pt x="1328" y="406"/>
                      </a:lnTo>
                      <a:lnTo>
                        <a:pt x="1327" y="407"/>
                      </a:lnTo>
                      <a:lnTo>
                        <a:pt x="1327" y="407"/>
                      </a:lnTo>
                      <a:lnTo>
                        <a:pt x="1326" y="407"/>
                      </a:lnTo>
                      <a:lnTo>
                        <a:pt x="1326" y="407"/>
                      </a:lnTo>
                      <a:lnTo>
                        <a:pt x="1326" y="407"/>
                      </a:lnTo>
                      <a:lnTo>
                        <a:pt x="1326" y="407"/>
                      </a:lnTo>
                      <a:lnTo>
                        <a:pt x="1326" y="408"/>
                      </a:lnTo>
                      <a:lnTo>
                        <a:pt x="1325" y="408"/>
                      </a:lnTo>
                      <a:lnTo>
                        <a:pt x="1324" y="408"/>
                      </a:lnTo>
                      <a:lnTo>
                        <a:pt x="1324" y="407"/>
                      </a:lnTo>
                      <a:lnTo>
                        <a:pt x="1324" y="407"/>
                      </a:lnTo>
                      <a:lnTo>
                        <a:pt x="1323" y="406"/>
                      </a:lnTo>
                      <a:lnTo>
                        <a:pt x="1324" y="406"/>
                      </a:lnTo>
                      <a:lnTo>
                        <a:pt x="1324" y="406"/>
                      </a:lnTo>
                      <a:lnTo>
                        <a:pt x="1324" y="406"/>
                      </a:lnTo>
                      <a:lnTo>
                        <a:pt x="1325" y="406"/>
                      </a:lnTo>
                      <a:lnTo>
                        <a:pt x="1325" y="405"/>
                      </a:lnTo>
                      <a:lnTo>
                        <a:pt x="1324" y="405"/>
                      </a:lnTo>
                      <a:lnTo>
                        <a:pt x="1324" y="403"/>
                      </a:lnTo>
                      <a:lnTo>
                        <a:pt x="1324" y="402"/>
                      </a:lnTo>
                      <a:lnTo>
                        <a:pt x="1323" y="402"/>
                      </a:lnTo>
                      <a:lnTo>
                        <a:pt x="1323" y="401"/>
                      </a:lnTo>
                      <a:lnTo>
                        <a:pt x="1323" y="401"/>
                      </a:lnTo>
                      <a:lnTo>
                        <a:pt x="1323" y="400"/>
                      </a:lnTo>
                      <a:lnTo>
                        <a:pt x="1323" y="400"/>
                      </a:lnTo>
                      <a:lnTo>
                        <a:pt x="1323" y="399"/>
                      </a:lnTo>
                      <a:lnTo>
                        <a:pt x="1323" y="399"/>
                      </a:lnTo>
                      <a:lnTo>
                        <a:pt x="1323" y="399"/>
                      </a:lnTo>
                      <a:lnTo>
                        <a:pt x="1322" y="398"/>
                      </a:lnTo>
                      <a:lnTo>
                        <a:pt x="1322" y="397"/>
                      </a:lnTo>
                      <a:lnTo>
                        <a:pt x="1324" y="396"/>
                      </a:lnTo>
                      <a:lnTo>
                        <a:pt x="1324" y="397"/>
                      </a:lnTo>
                      <a:lnTo>
                        <a:pt x="1325" y="397"/>
                      </a:lnTo>
                      <a:lnTo>
                        <a:pt x="1324" y="396"/>
                      </a:lnTo>
                      <a:lnTo>
                        <a:pt x="1326" y="396"/>
                      </a:lnTo>
                      <a:lnTo>
                        <a:pt x="1327" y="396"/>
                      </a:lnTo>
                      <a:lnTo>
                        <a:pt x="1327" y="396"/>
                      </a:lnTo>
                      <a:lnTo>
                        <a:pt x="1327" y="395"/>
                      </a:lnTo>
                      <a:lnTo>
                        <a:pt x="1328" y="395"/>
                      </a:lnTo>
                      <a:lnTo>
                        <a:pt x="1328" y="395"/>
                      </a:lnTo>
                      <a:lnTo>
                        <a:pt x="1328" y="395"/>
                      </a:lnTo>
                      <a:lnTo>
                        <a:pt x="1328" y="394"/>
                      </a:lnTo>
                      <a:lnTo>
                        <a:pt x="1328" y="394"/>
                      </a:lnTo>
                      <a:lnTo>
                        <a:pt x="1327" y="393"/>
                      </a:lnTo>
                      <a:lnTo>
                        <a:pt x="1327" y="393"/>
                      </a:lnTo>
                      <a:lnTo>
                        <a:pt x="1325" y="393"/>
                      </a:lnTo>
                      <a:lnTo>
                        <a:pt x="1324" y="391"/>
                      </a:lnTo>
                      <a:lnTo>
                        <a:pt x="1324" y="391"/>
                      </a:lnTo>
                      <a:lnTo>
                        <a:pt x="1325" y="390"/>
                      </a:lnTo>
                      <a:lnTo>
                        <a:pt x="1325" y="390"/>
                      </a:lnTo>
                      <a:lnTo>
                        <a:pt x="1327" y="391"/>
                      </a:lnTo>
                      <a:lnTo>
                        <a:pt x="1327" y="391"/>
                      </a:lnTo>
                      <a:lnTo>
                        <a:pt x="1327" y="390"/>
                      </a:lnTo>
                      <a:lnTo>
                        <a:pt x="1328" y="390"/>
                      </a:lnTo>
                      <a:lnTo>
                        <a:pt x="1328" y="389"/>
                      </a:lnTo>
                      <a:lnTo>
                        <a:pt x="1327" y="389"/>
                      </a:lnTo>
                      <a:lnTo>
                        <a:pt x="1327" y="389"/>
                      </a:lnTo>
                      <a:lnTo>
                        <a:pt x="1327" y="389"/>
                      </a:lnTo>
                      <a:lnTo>
                        <a:pt x="1326" y="389"/>
                      </a:lnTo>
                      <a:lnTo>
                        <a:pt x="1326" y="388"/>
                      </a:lnTo>
                      <a:lnTo>
                        <a:pt x="1326" y="388"/>
                      </a:lnTo>
                      <a:lnTo>
                        <a:pt x="1326" y="388"/>
                      </a:lnTo>
                      <a:lnTo>
                        <a:pt x="1327" y="388"/>
                      </a:lnTo>
                      <a:lnTo>
                        <a:pt x="1327" y="388"/>
                      </a:lnTo>
                      <a:lnTo>
                        <a:pt x="1327" y="387"/>
                      </a:lnTo>
                      <a:lnTo>
                        <a:pt x="1328" y="387"/>
                      </a:lnTo>
                      <a:lnTo>
                        <a:pt x="1327" y="387"/>
                      </a:lnTo>
                      <a:lnTo>
                        <a:pt x="1328" y="387"/>
                      </a:lnTo>
                      <a:lnTo>
                        <a:pt x="1328" y="386"/>
                      </a:lnTo>
                      <a:lnTo>
                        <a:pt x="1328" y="386"/>
                      </a:lnTo>
                      <a:lnTo>
                        <a:pt x="1328" y="384"/>
                      </a:lnTo>
                      <a:lnTo>
                        <a:pt x="1328" y="384"/>
                      </a:lnTo>
                      <a:lnTo>
                        <a:pt x="1328" y="384"/>
                      </a:lnTo>
                      <a:lnTo>
                        <a:pt x="1328" y="383"/>
                      </a:lnTo>
                      <a:lnTo>
                        <a:pt x="1328" y="383"/>
                      </a:lnTo>
                      <a:lnTo>
                        <a:pt x="1328" y="382"/>
                      </a:lnTo>
                      <a:lnTo>
                        <a:pt x="1329" y="382"/>
                      </a:lnTo>
                      <a:lnTo>
                        <a:pt x="1329" y="383"/>
                      </a:lnTo>
                      <a:lnTo>
                        <a:pt x="1331" y="384"/>
                      </a:lnTo>
                      <a:lnTo>
                        <a:pt x="1333" y="383"/>
                      </a:lnTo>
                      <a:lnTo>
                        <a:pt x="1333" y="383"/>
                      </a:lnTo>
                      <a:lnTo>
                        <a:pt x="1333" y="383"/>
                      </a:lnTo>
                      <a:lnTo>
                        <a:pt x="1333" y="382"/>
                      </a:lnTo>
                      <a:lnTo>
                        <a:pt x="1333" y="381"/>
                      </a:lnTo>
                      <a:lnTo>
                        <a:pt x="1334" y="381"/>
                      </a:lnTo>
                      <a:lnTo>
                        <a:pt x="1334" y="382"/>
                      </a:lnTo>
                      <a:lnTo>
                        <a:pt x="1334" y="383"/>
                      </a:lnTo>
                      <a:lnTo>
                        <a:pt x="1334" y="383"/>
                      </a:lnTo>
                      <a:lnTo>
                        <a:pt x="1334" y="383"/>
                      </a:lnTo>
                      <a:lnTo>
                        <a:pt x="1335" y="384"/>
                      </a:lnTo>
                      <a:lnTo>
                        <a:pt x="1335" y="383"/>
                      </a:lnTo>
                      <a:lnTo>
                        <a:pt x="1335" y="383"/>
                      </a:lnTo>
                      <a:lnTo>
                        <a:pt x="1336" y="383"/>
                      </a:lnTo>
                      <a:lnTo>
                        <a:pt x="1336" y="382"/>
                      </a:lnTo>
                      <a:lnTo>
                        <a:pt x="1336" y="381"/>
                      </a:lnTo>
                      <a:lnTo>
                        <a:pt x="1336" y="381"/>
                      </a:lnTo>
                      <a:lnTo>
                        <a:pt x="1336" y="380"/>
                      </a:lnTo>
                      <a:lnTo>
                        <a:pt x="1335" y="380"/>
                      </a:lnTo>
                      <a:lnTo>
                        <a:pt x="1335" y="380"/>
                      </a:lnTo>
                      <a:lnTo>
                        <a:pt x="1334" y="380"/>
                      </a:lnTo>
                      <a:lnTo>
                        <a:pt x="1334" y="380"/>
                      </a:lnTo>
                      <a:lnTo>
                        <a:pt x="1334" y="378"/>
                      </a:lnTo>
                      <a:lnTo>
                        <a:pt x="1335" y="378"/>
                      </a:lnTo>
                      <a:lnTo>
                        <a:pt x="1334" y="376"/>
                      </a:lnTo>
                      <a:lnTo>
                        <a:pt x="1335" y="377"/>
                      </a:lnTo>
                      <a:lnTo>
                        <a:pt x="1335" y="375"/>
                      </a:lnTo>
                      <a:lnTo>
                        <a:pt x="1336" y="375"/>
                      </a:lnTo>
                      <a:lnTo>
                        <a:pt x="1336" y="375"/>
                      </a:lnTo>
                      <a:lnTo>
                        <a:pt x="1335" y="375"/>
                      </a:lnTo>
                      <a:lnTo>
                        <a:pt x="1335" y="375"/>
                      </a:lnTo>
                      <a:lnTo>
                        <a:pt x="1334" y="375"/>
                      </a:lnTo>
                      <a:lnTo>
                        <a:pt x="1334" y="374"/>
                      </a:lnTo>
                      <a:lnTo>
                        <a:pt x="1334" y="374"/>
                      </a:lnTo>
                      <a:lnTo>
                        <a:pt x="1333" y="374"/>
                      </a:lnTo>
                      <a:lnTo>
                        <a:pt x="1334" y="375"/>
                      </a:lnTo>
                      <a:lnTo>
                        <a:pt x="1334" y="375"/>
                      </a:lnTo>
                      <a:lnTo>
                        <a:pt x="1334" y="376"/>
                      </a:lnTo>
                      <a:lnTo>
                        <a:pt x="1334" y="376"/>
                      </a:lnTo>
                      <a:lnTo>
                        <a:pt x="1333" y="376"/>
                      </a:lnTo>
                      <a:lnTo>
                        <a:pt x="1333" y="376"/>
                      </a:lnTo>
                      <a:lnTo>
                        <a:pt x="1331" y="376"/>
                      </a:lnTo>
                      <a:lnTo>
                        <a:pt x="1331" y="375"/>
                      </a:lnTo>
                      <a:lnTo>
                        <a:pt x="1333" y="375"/>
                      </a:lnTo>
                      <a:lnTo>
                        <a:pt x="1331" y="374"/>
                      </a:lnTo>
                      <a:lnTo>
                        <a:pt x="1331" y="374"/>
                      </a:lnTo>
                      <a:lnTo>
                        <a:pt x="1331" y="375"/>
                      </a:lnTo>
                      <a:lnTo>
                        <a:pt x="1330" y="375"/>
                      </a:lnTo>
                      <a:lnTo>
                        <a:pt x="1330" y="375"/>
                      </a:lnTo>
                      <a:lnTo>
                        <a:pt x="1330" y="375"/>
                      </a:lnTo>
                      <a:lnTo>
                        <a:pt x="1330" y="375"/>
                      </a:lnTo>
                      <a:lnTo>
                        <a:pt x="1330" y="374"/>
                      </a:lnTo>
                      <a:lnTo>
                        <a:pt x="1330" y="374"/>
                      </a:lnTo>
                      <a:lnTo>
                        <a:pt x="1330" y="375"/>
                      </a:lnTo>
                      <a:lnTo>
                        <a:pt x="1329" y="375"/>
                      </a:lnTo>
                      <a:lnTo>
                        <a:pt x="1329" y="375"/>
                      </a:lnTo>
                      <a:lnTo>
                        <a:pt x="1328" y="375"/>
                      </a:lnTo>
                      <a:lnTo>
                        <a:pt x="1328" y="374"/>
                      </a:lnTo>
                      <a:lnTo>
                        <a:pt x="1328" y="373"/>
                      </a:lnTo>
                      <a:lnTo>
                        <a:pt x="1329" y="373"/>
                      </a:lnTo>
                      <a:lnTo>
                        <a:pt x="1329" y="373"/>
                      </a:lnTo>
                      <a:lnTo>
                        <a:pt x="1329" y="373"/>
                      </a:lnTo>
                      <a:lnTo>
                        <a:pt x="1329" y="372"/>
                      </a:lnTo>
                      <a:lnTo>
                        <a:pt x="1330" y="372"/>
                      </a:lnTo>
                      <a:lnTo>
                        <a:pt x="1330" y="371"/>
                      </a:lnTo>
                      <a:lnTo>
                        <a:pt x="1330" y="371"/>
                      </a:lnTo>
                      <a:lnTo>
                        <a:pt x="1330" y="370"/>
                      </a:lnTo>
                      <a:lnTo>
                        <a:pt x="1329" y="370"/>
                      </a:lnTo>
                      <a:lnTo>
                        <a:pt x="1329" y="369"/>
                      </a:lnTo>
                      <a:lnTo>
                        <a:pt x="1330" y="369"/>
                      </a:lnTo>
                      <a:lnTo>
                        <a:pt x="1330" y="369"/>
                      </a:lnTo>
                      <a:lnTo>
                        <a:pt x="1331" y="369"/>
                      </a:lnTo>
                      <a:lnTo>
                        <a:pt x="1333" y="371"/>
                      </a:lnTo>
                      <a:lnTo>
                        <a:pt x="1333" y="371"/>
                      </a:lnTo>
                      <a:lnTo>
                        <a:pt x="1334" y="371"/>
                      </a:lnTo>
                      <a:lnTo>
                        <a:pt x="1334" y="371"/>
                      </a:lnTo>
                      <a:lnTo>
                        <a:pt x="1333" y="366"/>
                      </a:lnTo>
                      <a:lnTo>
                        <a:pt x="1331" y="366"/>
                      </a:lnTo>
                      <a:lnTo>
                        <a:pt x="1331" y="359"/>
                      </a:lnTo>
                      <a:lnTo>
                        <a:pt x="1333" y="357"/>
                      </a:lnTo>
                      <a:lnTo>
                        <a:pt x="1334" y="359"/>
                      </a:lnTo>
                      <a:lnTo>
                        <a:pt x="1336" y="357"/>
                      </a:lnTo>
                      <a:lnTo>
                        <a:pt x="1335" y="355"/>
                      </a:lnTo>
                      <a:lnTo>
                        <a:pt x="1337" y="350"/>
                      </a:lnTo>
                      <a:lnTo>
                        <a:pt x="1339" y="345"/>
                      </a:lnTo>
                      <a:lnTo>
                        <a:pt x="1339" y="339"/>
                      </a:lnTo>
                      <a:lnTo>
                        <a:pt x="1344" y="321"/>
                      </a:lnTo>
                      <a:lnTo>
                        <a:pt x="1345" y="320"/>
                      </a:lnTo>
                      <a:lnTo>
                        <a:pt x="1345" y="312"/>
                      </a:lnTo>
                      <a:lnTo>
                        <a:pt x="1347" y="306"/>
                      </a:lnTo>
                      <a:lnTo>
                        <a:pt x="1347" y="303"/>
                      </a:lnTo>
                      <a:lnTo>
                        <a:pt x="1346" y="302"/>
                      </a:lnTo>
                      <a:lnTo>
                        <a:pt x="1345" y="304"/>
                      </a:lnTo>
                      <a:lnTo>
                        <a:pt x="1344" y="303"/>
                      </a:lnTo>
                      <a:lnTo>
                        <a:pt x="1341" y="305"/>
                      </a:lnTo>
                      <a:lnTo>
                        <a:pt x="1339" y="305"/>
                      </a:lnTo>
                      <a:lnTo>
                        <a:pt x="1340" y="301"/>
                      </a:lnTo>
                      <a:lnTo>
                        <a:pt x="1342" y="300"/>
                      </a:lnTo>
                      <a:lnTo>
                        <a:pt x="1342" y="299"/>
                      </a:lnTo>
                      <a:lnTo>
                        <a:pt x="1341" y="298"/>
                      </a:lnTo>
                      <a:lnTo>
                        <a:pt x="1340" y="296"/>
                      </a:lnTo>
                      <a:lnTo>
                        <a:pt x="1340" y="293"/>
                      </a:lnTo>
                      <a:lnTo>
                        <a:pt x="1343" y="284"/>
                      </a:lnTo>
                      <a:lnTo>
                        <a:pt x="1342" y="283"/>
                      </a:lnTo>
                      <a:lnTo>
                        <a:pt x="1342" y="279"/>
                      </a:lnTo>
                      <a:lnTo>
                        <a:pt x="1341" y="280"/>
                      </a:lnTo>
                      <a:lnTo>
                        <a:pt x="1338" y="292"/>
                      </a:lnTo>
                      <a:lnTo>
                        <a:pt x="1337" y="294"/>
                      </a:lnTo>
                      <a:lnTo>
                        <a:pt x="1338" y="285"/>
                      </a:lnTo>
                      <a:lnTo>
                        <a:pt x="1338" y="283"/>
                      </a:lnTo>
                      <a:lnTo>
                        <a:pt x="1340" y="273"/>
                      </a:lnTo>
                      <a:lnTo>
                        <a:pt x="1339" y="275"/>
                      </a:lnTo>
                      <a:lnTo>
                        <a:pt x="1338" y="277"/>
                      </a:lnTo>
                      <a:lnTo>
                        <a:pt x="1336" y="286"/>
                      </a:lnTo>
                      <a:lnTo>
                        <a:pt x="1336" y="289"/>
                      </a:lnTo>
                      <a:lnTo>
                        <a:pt x="1335" y="290"/>
                      </a:lnTo>
                      <a:lnTo>
                        <a:pt x="1334" y="292"/>
                      </a:lnTo>
                      <a:lnTo>
                        <a:pt x="1337" y="276"/>
                      </a:lnTo>
                      <a:lnTo>
                        <a:pt x="1339" y="271"/>
                      </a:lnTo>
                      <a:lnTo>
                        <a:pt x="1339" y="268"/>
                      </a:lnTo>
                      <a:lnTo>
                        <a:pt x="1339" y="265"/>
                      </a:lnTo>
                      <a:lnTo>
                        <a:pt x="1340" y="259"/>
                      </a:lnTo>
                      <a:lnTo>
                        <a:pt x="1342" y="257"/>
                      </a:lnTo>
                      <a:lnTo>
                        <a:pt x="1342" y="255"/>
                      </a:lnTo>
                      <a:lnTo>
                        <a:pt x="1342" y="253"/>
                      </a:lnTo>
                      <a:lnTo>
                        <a:pt x="1337" y="263"/>
                      </a:lnTo>
                      <a:lnTo>
                        <a:pt x="1338" y="266"/>
                      </a:lnTo>
                      <a:lnTo>
                        <a:pt x="1333" y="274"/>
                      </a:lnTo>
                      <a:lnTo>
                        <a:pt x="1329" y="275"/>
                      </a:lnTo>
                      <a:lnTo>
                        <a:pt x="1329" y="269"/>
                      </a:lnTo>
                      <a:lnTo>
                        <a:pt x="1327" y="262"/>
                      </a:lnTo>
                      <a:lnTo>
                        <a:pt x="1325" y="260"/>
                      </a:lnTo>
                      <a:lnTo>
                        <a:pt x="1326" y="260"/>
                      </a:lnTo>
                      <a:lnTo>
                        <a:pt x="1328" y="261"/>
                      </a:lnTo>
                      <a:lnTo>
                        <a:pt x="1328" y="260"/>
                      </a:lnTo>
                      <a:lnTo>
                        <a:pt x="1327" y="257"/>
                      </a:lnTo>
                      <a:lnTo>
                        <a:pt x="1325" y="257"/>
                      </a:lnTo>
                      <a:lnTo>
                        <a:pt x="1324" y="255"/>
                      </a:lnTo>
                      <a:lnTo>
                        <a:pt x="1322" y="255"/>
                      </a:lnTo>
                      <a:lnTo>
                        <a:pt x="1321" y="257"/>
                      </a:lnTo>
                      <a:lnTo>
                        <a:pt x="1319" y="256"/>
                      </a:lnTo>
                      <a:lnTo>
                        <a:pt x="1318" y="254"/>
                      </a:lnTo>
                      <a:lnTo>
                        <a:pt x="1316" y="253"/>
                      </a:lnTo>
                      <a:lnTo>
                        <a:pt x="1313" y="254"/>
                      </a:lnTo>
                      <a:lnTo>
                        <a:pt x="1316" y="256"/>
                      </a:lnTo>
                      <a:lnTo>
                        <a:pt x="1318" y="259"/>
                      </a:lnTo>
                      <a:lnTo>
                        <a:pt x="1321" y="262"/>
                      </a:lnTo>
                      <a:lnTo>
                        <a:pt x="1322" y="261"/>
                      </a:lnTo>
                      <a:lnTo>
                        <a:pt x="1323" y="262"/>
                      </a:lnTo>
                      <a:lnTo>
                        <a:pt x="1324" y="268"/>
                      </a:lnTo>
                      <a:lnTo>
                        <a:pt x="1327" y="270"/>
                      </a:lnTo>
                      <a:lnTo>
                        <a:pt x="1328" y="275"/>
                      </a:lnTo>
                      <a:lnTo>
                        <a:pt x="1326" y="279"/>
                      </a:lnTo>
                      <a:lnTo>
                        <a:pt x="1325" y="279"/>
                      </a:lnTo>
                      <a:lnTo>
                        <a:pt x="1326" y="276"/>
                      </a:lnTo>
                      <a:lnTo>
                        <a:pt x="1325" y="272"/>
                      </a:lnTo>
                      <a:lnTo>
                        <a:pt x="1320" y="277"/>
                      </a:lnTo>
                      <a:lnTo>
                        <a:pt x="1320" y="269"/>
                      </a:lnTo>
                      <a:lnTo>
                        <a:pt x="1319" y="272"/>
                      </a:lnTo>
                      <a:lnTo>
                        <a:pt x="1319" y="277"/>
                      </a:lnTo>
                      <a:lnTo>
                        <a:pt x="1317" y="282"/>
                      </a:lnTo>
                      <a:lnTo>
                        <a:pt x="1319" y="283"/>
                      </a:lnTo>
                      <a:lnTo>
                        <a:pt x="1319" y="285"/>
                      </a:lnTo>
                      <a:lnTo>
                        <a:pt x="1315" y="290"/>
                      </a:lnTo>
                      <a:lnTo>
                        <a:pt x="1312" y="289"/>
                      </a:lnTo>
                      <a:lnTo>
                        <a:pt x="1311" y="287"/>
                      </a:lnTo>
                      <a:lnTo>
                        <a:pt x="1311" y="282"/>
                      </a:lnTo>
                      <a:lnTo>
                        <a:pt x="1308" y="288"/>
                      </a:lnTo>
                      <a:lnTo>
                        <a:pt x="1308" y="290"/>
                      </a:lnTo>
                      <a:lnTo>
                        <a:pt x="1309" y="293"/>
                      </a:lnTo>
                      <a:lnTo>
                        <a:pt x="1308" y="295"/>
                      </a:lnTo>
                      <a:lnTo>
                        <a:pt x="1307" y="299"/>
                      </a:lnTo>
                      <a:lnTo>
                        <a:pt x="1305" y="299"/>
                      </a:lnTo>
                      <a:lnTo>
                        <a:pt x="1305" y="295"/>
                      </a:lnTo>
                      <a:lnTo>
                        <a:pt x="1303" y="295"/>
                      </a:lnTo>
                      <a:lnTo>
                        <a:pt x="1304" y="293"/>
                      </a:lnTo>
                      <a:lnTo>
                        <a:pt x="1302" y="293"/>
                      </a:lnTo>
                      <a:lnTo>
                        <a:pt x="1300" y="295"/>
                      </a:lnTo>
                      <a:lnTo>
                        <a:pt x="1299" y="290"/>
                      </a:lnTo>
                      <a:lnTo>
                        <a:pt x="1298" y="293"/>
                      </a:lnTo>
                      <a:lnTo>
                        <a:pt x="1296" y="292"/>
                      </a:lnTo>
                      <a:lnTo>
                        <a:pt x="1297" y="288"/>
                      </a:lnTo>
                      <a:lnTo>
                        <a:pt x="1296" y="287"/>
                      </a:lnTo>
                      <a:lnTo>
                        <a:pt x="1294" y="286"/>
                      </a:lnTo>
                      <a:lnTo>
                        <a:pt x="1294" y="284"/>
                      </a:lnTo>
                      <a:lnTo>
                        <a:pt x="1293" y="285"/>
                      </a:lnTo>
                      <a:lnTo>
                        <a:pt x="1291" y="285"/>
                      </a:lnTo>
                      <a:lnTo>
                        <a:pt x="1290" y="286"/>
                      </a:lnTo>
                      <a:lnTo>
                        <a:pt x="1288" y="281"/>
                      </a:lnTo>
                      <a:lnTo>
                        <a:pt x="1288" y="277"/>
                      </a:lnTo>
                      <a:lnTo>
                        <a:pt x="1290" y="275"/>
                      </a:lnTo>
                      <a:lnTo>
                        <a:pt x="1294" y="273"/>
                      </a:lnTo>
                      <a:lnTo>
                        <a:pt x="1296" y="273"/>
                      </a:lnTo>
                      <a:lnTo>
                        <a:pt x="1297" y="275"/>
                      </a:lnTo>
                      <a:lnTo>
                        <a:pt x="1302" y="275"/>
                      </a:lnTo>
                      <a:lnTo>
                        <a:pt x="1302" y="274"/>
                      </a:lnTo>
                      <a:lnTo>
                        <a:pt x="1298" y="273"/>
                      </a:lnTo>
                      <a:lnTo>
                        <a:pt x="1298" y="272"/>
                      </a:lnTo>
                      <a:lnTo>
                        <a:pt x="1303" y="269"/>
                      </a:lnTo>
                      <a:lnTo>
                        <a:pt x="1304" y="268"/>
                      </a:lnTo>
                      <a:lnTo>
                        <a:pt x="1299" y="270"/>
                      </a:lnTo>
                      <a:lnTo>
                        <a:pt x="1297" y="270"/>
                      </a:lnTo>
                      <a:lnTo>
                        <a:pt x="1297" y="266"/>
                      </a:lnTo>
                      <a:lnTo>
                        <a:pt x="1297" y="265"/>
                      </a:lnTo>
                      <a:lnTo>
                        <a:pt x="1298" y="264"/>
                      </a:lnTo>
                      <a:lnTo>
                        <a:pt x="1296" y="263"/>
                      </a:lnTo>
                      <a:lnTo>
                        <a:pt x="1293" y="262"/>
                      </a:lnTo>
                      <a:lnTo>
                        <a:pt x="1293" y="261"/>
                      </a:lnTo>
                      <a:lnTo>
                        <a:pt x="1294" y="259"/>
                      </a:lnTo>
                      <a:lnTo>
                        <a:pt x="1292" y="259"/>
                      </a:lnTo>
                      <a:lnTo>
                        <a:pt x="1291" y="261"/>
                      </a:lnTo>
                      <a:lnTo>
                        <a:pt x="1292" y="263"/>
                      </a:lnTo>
                      <a:lnTo>
                        <a:pt x="1294" y="264"/>
                      </a:lnTo>
                      <a:lnTo>
                        <a:pt x="1292" y="268"/>
                      </a:lnTo>
                      <a:lnTo>
                        <a:pt x="1291" y="269"/>
                      </a:lnTo>
                      <a:lnTo>
                        <a:pt x="1289" y="272"/>
                      </a:lnTo>
                      <a:lnTo>
                        <a:pt x="1288" y="274"/>
                      </a:lnTo>
                      <a:lnTo>
                        <a:pt x="1286" y="277"/>
                      </a:lnTo>
                      <a:lnTo>
                        <a:pt x="1286" y="268"/>
                      </a:lnTo>
                      <a:lnTo>
                        <a:pt x="1287" y="267"/>
                      </a:lnTo>
                      <a:lnTo>
                        <a:pt x="1285" y="267"/>
                      </a:lnTo>
                      <a:lnTo>
                        <a:pt x="1284" y="265"/>
                      </a:lnTo>
                      <a:lnTo>
                        <a:pt x="1283" y="267"/>
                      </a:lnTo>
                      <a:lnTo>
                        <a:pt x="1283" y="269"/>
                      </a:lnTo>
                      <a:lnTo>
                        <a:pt x="1283" y="270"/>
                      </a:lnTo>
                      <a:lnTo>
                        <a:pt x="1281" y="268"/>
                      </a:lnTo>
                      <a:lnTo>
                        <a:pt x="1279" y="266"/>
                      </a:lnTo>
                      <a:lnTo>
                        <a:pt x="1278" y="268"/>
                      </a:lnTo>
                      <a:lnTo>
                        <a:pt x="1275" y="268"/>
                      </a:lnTo>
                      <a:lnTo>
                        <a:pt x="1277" y="270"/>
                      </a:lnTo>
                      <a:lnTo>
                        <a:pt x="1277" y="272"/>
                      </a:lnTo>
                      <a:lnTo>
                        <a:pt x="1276" y="271"/>
                      </a:lnTo>
                      <a:lnTo>
                        <a:pt x="1272" y="272"/>
                      </a:lnTo>
                      <a:lnTo>
                        <a:pt x="1271" y="270"/>
                      </a:lnTo>
                      <a:lnTo>
                        <a:pt x="1269" y="270"/>
                      </a:lnTo>
                      <a:lnTo>
                        <a:pt x="1267" y="268"/>
                      </a:lnTo>
                      <a:lnTo>
                        <a:pt x="1267" y="266"/>
                      </a:lnTo>
                      <a:lnTo>
                        <a:pt x="1268" y="266"/>
                      </a:lnTo>
                      <a:lnTo>
                        <a:pt x="1268" y="264"/>
                      </a:lnTo>
                      <a:lnTo>
                        <a:pt x="1265" y="265"/>
                      </a:lnTo>
                      <a:lnTo>
                        <a:pt x="1260" y="261"/>
                      </a:lnTo>
                      <a:lnTo>
                        <a:pt x="1258" y="262"/>
                      </a:lnTo>
                      <a:lnTo>
                        <a:pt x="1256" y="260"/>
                      </a:lnTo>
                      <a:lnTo>
                        <a:pt x="1258" y="257"/>
                      </a:lnTo>
                      <a:lnTo>
                        <a:pt x="1255" y="256"/>
                      </a:lnTo>
                      <a:lnTo>
                        <a:pt x="1258" y="254"/>
                      </a:lnTo>
                      <a:lnTo>
                        <a:pt x="1255" y="252"/>
                      </a:lnTo>
                      <a:lnTo>
                        <a:pt x="1256" y="250"/>
                      </a:lnTo>
                      <a:lnTo>
                        <a:pt x="1255" y="249"/>
                      </a:lnTo>
                      <a:lnTo>
                        <a:pt x="1259" y="247"/>
                      </a:lnTo>
                      <a:lnTo>
                        <a:pt x="1259" y="245"/>
                      </a:lnTo>
                      <a:lnTo>
                        <a:pt x="1259" y="244"/>
                      </a:lnTo>
                      <a:lnTo>
                        <a:pt x="1260" y="242"/>
                      </a:lnTo>
                      <a:lnTo>
                        <a:pt x="1256" y="241"/>
                      </a:lnTo>
                      <a:lnTo>
                        <a:pt x="1255" y="237"/>
                      </a:lnTo>
                      <a:lnTo>
                        <a:pt x="1260" y="232"/>
                      </a:lnTo>
                      <a:lnTo>
                        <a:pt x="1261" y="233"/>
                      </a:lnTo>
                      <a:lnTo>
                        <a:pt x="1264" y="231"/>
                      </a:lnTo>
                      <a:lnTo>
                        <a:pt x="1268" y="231"/>
                      </a:lnTo>
                      <a:lnTo>
                        <a:pt x="1270" y="231"/>
                      </a:lnTo>
                      <a:lnTo>
                        <a:pt x="1276" y="230"/>
                      </a:lnTo>
                      <a:lnTo>
                        <a:pt x="1278" y="232"/>
                      </a:lnTo>
                      <a:lnTo>
                        <a:pt x="1277" y="235"/>
                      </a:lnTo>
                      <a:lnTo>
                        <a:pt x="1279" y="235"/>
                      </a:lnTo>
                      <a:lnTo>
                        <a:pt x="1281" y="235"/>
                      </a:lnTo>
                      <a:lnTo>
                        <a:pt x="1282" y="233"/>
                      </a:lnTo>
                      <a:lnTo>
                        <a:pt x="1283" y="236"/>
                      </a:lnTo>
                      <a:lnTo>
                        <a:pt x="1287" y="235"/>
                      </a:lnTo>
                      <a:lnTo>
                        <a:pt x="1290" y="236"/>
                      </a:lnTo>
                      <a:lnTo>
                        <a:pt x="1290" y="234"/>
                      </a:lnTo>
                      <a:lnTo>
                        <a:pt x="1287" y="233"/>
                      </a:lnTo>
                      <a:lnTo>
                        <a:pt x="1287" y="230"/>
                      </a:lnTo>
                      <a:lnTo>
                        <a:pt x="1288" y="230"/>
                      </a:lnTo>
                      <a:lnTo>
                        <a:pt x="1289" y="231"/>
                      </a:lnTo>
                      <a:lnTo>
                        <a:pt x="1291" y="228"/>
                      </a:lnTo>
                      <a:lnTo>
                        <a:pt x="1297" y="226"/>
                      </a:lnTo>
                      <a:lnTo>
                        <a:pt x="1298" y="227"/>
                      </a:lnTo>
                      <a:lnTo>
                        <a:pt x="1299" y="228"/>
                      </a:lnTo>
                      <a:lnTo>
                        <a:pt x="1300" y="233"/>
                      </a:lnTo>
                      <a:lnTo>
                        <a:pt x="1302" y="238"/>
                      </a:lnTo>
                      <a:lnTo>
                        <a:pt x="1301" y="245"/>
                      </a:lnTo>
                      <a:lnTo>
                        <a:pt x="1304" y="244"/>
                      </a:lnTo>
                      <a:lnTo>
                        <a:pt x="1305" y="243"/>
                      </a:lnTo>
                      <a:lnTo>
                        <a:pt x="1303" y="243"/>
                      </a:lnTo>
                      <a:lnTo>
                        <a:pt x="1304" y="238"/>
                      </a:lnTo>
                      <a:lnTo>
                        <a:pt x="1303" y="238"/>
                      </a:lnTo>
                      <a:lnTo>
                        <a:pt x="1302" y="232"/>
                      </a:lnTo>
                      <a:lnTo>
                        <a:pt x="1300" y="231"/>
                      </a:lnTo>
                      <a:lnTo>
                        <a:pt x="1302" y="231"/>
                      </a:lnTo>
                      <a:lnTo>
                        <a:pt x="1303" y="231"/>
                      </a:lnTo>
                      <a:lnTo>
                        <a:pt x="1305" y="233"/>
                      </a:lnTo>
                      <a:lnTo>
                        <a:pt x="1310" y="235"/>
                      </a:lnTo>
                      <a:lnTo>
                        <a:pt x="1310" y="234"/>
                      </a:lnTo>
                      <a:lnTo>
                        <a:pt x="1308" y="234"/>
                      </a:lnTo>
                      <a:lnTo>
                        <a:pt x="1306" y="232"/>
                      </a:lnTo>
                      <a:lnTo>
                        <a:pt x="1310" y="231"/>
                      </a:lnTo>
                      <a:lnTo>
                        <a:pt x="1306" y="231"/>
                      </a:lnTo>
                      <a:lnTo>
                        <a:pt x="1307" y="227"/>
                      </a:lnTo>
                      <a:lnTo>
                        <a:pt x="1309" y="227"/>
                      </a:lnTo>
                      <a:lnTo>
                        <a:pt x="1309" y="226"/>
                      </a:lnTo>
                      <a:lnTo>
                        <a:pt x="1311" y="225"/>
                      </a:lnTo>
                      <a:lnTo>
                        <a:pt x="1313" y="222"/>
                      </a:lnTo>
                      <a:lnTo>
                        <a:pt x="1313" y="225"/>
                      </a:lnTo>
                      <a:lnTo>
                        <a:pt x="1315" y="228"/>
                      </a:lnTo>
                      <a:lnTo>
                        <a:pt x="1317" y="227"/>
                      </a:lnTo>
                      <a:lnTo>
                        <a:pt x="1321" y="228"/>
                      </a:lnTo>
                      <a:lnTo>
                        <a:pt x="1322" y="231"/>
                      </a:lnTo>
                      <a:lnTo>
                        <a:pt x="1322" y="234"/>
                      </a:lnTo>
                      <a:lnTo>
                        <a:pt x="1322" y="234"/>
                      </a:lnTo>
                      <a:lnTo>
                        <a:pt x="1322" y="241"/>
                      </a:lnTo>
                      <a:lnTo>
                        <a:pt x="1324" y="241"/>
                      </a:lnTo>
                      <a:lnTo>
                        <a:pt x="1325" y="241"/>
                      </a:lnTo>
                      <a:lnTo>
                        <a:pt x="1326" y="234"/>
                      </a:lnTo>
                      <a:lnTo>
                        <a:pt x="1326" y="233"/>
                      </a:lnTo>
                      <a:lnTo>
                        <a:pt x="1325" y="226"/>
                      </a:lnTo>
                      <a:lnTo>
                        <a:pt x="1323" y="225"/>
                      </a:lnTo>
                      <a:lnTo>
                        <a:pt x="1324" y="225"/>
                      </a:lnTo>
                      <a:lnTo>
                        <a:pt x="1325" y="219"/>
                      </a:lnTo>
                      <a:lnTo>
                        <a:pt x="1327" y="217"/>
                      </a:lnTo>
                      <a:lnTo>
                        <a:pt x="1328" y="216"/>
                      </a:lnTo>
                      <a:lnTo>
                        <a:pt x="1329" y="216"/>
                      </a:lnTo>
                      <a:lnTo>
                        <a:pt x="1331" y="219"/>
                      </a:lnTo>
                      <a:lnTo>
                        <a:pt x="1334" y="218"/>
                      </a:lnTo>
                      <a:lnTo>
                        <a:pt x="1334" y="217"/>
                      </a:lnTo>
                      <a:lnTo>
                        <a:pt x="1331" y="216"/>
                      </a:lnTo>
                      <a:lnTo>
                        <a:pt x="1331" y="214"/>
                      </a:lnTo>
                      <a:lnTo>
                        <a:pt x="1333" y="213"/>
                      </a:lnTo>
                      <a:lnTo>
                        <a:pt x="1333" y="211"/>
                      </a:lnTo>
                      <a:lnTo>
                        <a:pt x="1331" y="211"/>
                      </a:lnTo>
                      <a:lnTo>
                        <a:pt x="1333" y="209"/>
                      </a:lnTo>
                      <a:lnTo>
                        <a:pt x="1336" y="210"/>
                      </a:lnTo>
                      <a:lnTo>
                        <a:pt x="1341" y="209"/>
                      </a:lnTo>
                      <a:lnTo>
                        <a:pt x="1343" y="212"/>
                      </a:lnTo>
                      <a:lnTo>
                        <a:pt x="1345" y="212"/>
                      </a:lnTo>
                      <a:lnTo>
                        <a:pt x="1346" y="213"/>
                      </a:lnTo>
                      <a:lnTo>
                        <a:pt x="1348" y="212"/>
                      </a:lnTo>
                      <a:lnTo>
                        <a:pt x="1344" y="210"/>
                      </a:lnTo>
                      <a:lnTo>
                        <a:pt x="1343" y="207"/>
                      </a:lnTo>
                      <a:lnTo>
                        <a:pt x="1340" y="205"/>
                      </a:lnTo>
                      <a:lnTo>
                        <a:pt x="1334" y="205"/>
                      </a:lnTo>
                      <a:lnTo>
                        <a:pt x="1331" y="207"/>
                      </a:lnTo>
                      <a:lnTo>
                        <a:pt x="1329" y="205"/>
                      </a:lnTo>
                      <a:lnTo>
                        <a:pt x="1327" y="206"/>
                      </a:lnTo>
                      <a:lnTo>
                        <a:pt x="1327" y="205"/>
                      </a:lnTo>
                      <a:lnTo>
                        <a:pt x="1329" y="201"/>
                      </a:lnTo>
                      <a:lnTo>
                        <a:pt x="1330" y="200"/>
                      </a:lnTo>
                      <a:lnTo>
                        <a:pt x="1329" y="195"/>
                      </a:lnTo>
                      <a:lnTo>
                        <a:pt x="1327" y="195"/>
                      </a:lnTo>
                      <a:lnTo>
                        <a:pt x="1326" y="196"/>
                      </a:lnTo>
                      <a:lnTo>
                        <a:pt x="1324" y="200"/>
                      </a:lnTo>
                      <a:lnTo>
                        <a:pt x="1323" y="201"/>
                      </a:lnTo>
                      <a:lnTo>
                        <a:pt x="1322" y="210"/>
                      </a:lnTo>
                      <a:lnTo>
                        <a:pt x="1317" y="214"/>
                      </a:lnTo>
                      <a:lnTo>
                        <a:pt x="1316" y="213"/>
                      </a:lnTo>
                      <a:lnTo>
                        <a:pt x="1314" y="213"/>
                      </a:lnTo>
                      <a:lnTo>
                        <a:pt x="1312" y="215"/>
                      </a:lnTo>
                      <a:lnTo>
                        <a:pt x="1311" y="214"/>
                      </a:lnTo>
                      <a:lnTo>
                        <a:pt x="1310" y="214"/>
                      </a:lnTo>
                      <a:lnTo>
                        <a:pt x="1306" y="211"/>
                      </a:lnTo>
                      <a:lnTo>
                        <a:pt x="1306" y="209"/>
                      </a:lnTo>
                      <a:lnTo>
                        <a:pt x="1305" y="204"/>
                      </a:lnTo>
                      <a:lnTo>
                        <a:pt x="1306" y="204"/>
                      </a:lnTo>
                      <a:lnTo>
                        <a:pt x="1307" y="200"/>
                      </a:lnTo>
                      <a:lnTo>
                        <a:pt x="1309" y="197"/>
                      </a:lnTo>
                      <a:lnTo>
                        <a:pt x="1311" y="196"/>
                      </a:lnTo>
                      <a:lnTo>
                        <a:pt x="1312" y="196"/>
                      </a:lnTo>
                      <a:lnTo>
                        <a:pt x="1314" y="195"/>
                      </a:lnTo>
                      <a:lnTo>
                        <a:pt x="1314" y="198"/>
                      </a:lnTo>
                      <a:lnTo>
                        <a:pt x="1316" y="199"/>
                      </a:lnTo>
                      <a:lnTo>
                        <a:pt x="1318" y="199"/>
                      </a:lnTo>
                      <a:lnTo>
                        <a:pt x="1320" y="201"/>
                      </a:lnTo>
                      <a:lnTo>
                        <a:pt x="1322" y="201"/>
                      </a:lnTo>
                      <a:lnTo>
                        <a:pt x="1317" y="197"/>
                      </a:lnTo>
                      <a:lnTo>
                        <a:pt x="1318" y="193"/>
                      </a:lnTo>
                      <a:lnTo>
                        <a:pt x="1319" y="194"/>
                      </a:lnTo>
                      <a:lnTo>
                        <a:pt x="1323" y="192"/>
                      </a:lnTo>
                      <a:lnTo>
                        <a:pt x="1323" y="193"/>
                      </a:lnTo>
                      <a:lnTo>
                        <a:pt x="1325" y="192"/>
                      </a:lnTo>
                      <a:lnTo>
                        <a:pt x="1327" y="191"/>
                      </a:lnTo>
                      <a:lnTo>
                        <a:pt x="1331" y="188"/>
                      </a:lnTo>
                      <a:lnTo>
                        <a:pt x="1330" y="187"/>
                      </a:lnTo>
                      <a:lnTo>
                        <a:pt x="1330" y="185"/>
                      </a:lnTo>
                      <a:lnTo>
                        <a:pt x="1331" y="180"/>
                      </a:lnTo>
                      <a:lnTo>
                        <a:pt x="1334" y="176"/>
                      </a:lnTo>
                      <a:lnTo>
                        <a:pt x="1335" y="176"/>
                      </a:lnTo>
                      <a:lnTo>
                        <a:pt x="1336" y="176"/>
                      </a:lnTo>
                      <a:lnTo>
                        <a:pt x="1338" y="174"/>
                      </a:lnTo>
                      <a:lnTo>
                        <a:pt x="1345" y="172"/>
                      </a:lnTo>
                      <a:lnTo>
                        <a:pt x="1347" y="173"/>
                      </a:lnTo>
                      <a:lnTo>
                        <a:pt x="1348" y="172"/>
                      </a:lnTo>
                      <a:lnTo>
                        <a:pt x="1349" y="171"/>
                      </a:lnTo>
                      <a:lnTo>
                        <a:pt x="1347" y="170"/>
                      </a:lnTo>
                      <a:lnTo>
                        <a:pt x="1346" y="166"/>
                      </a:lnTo>
                      <a:lnTo>
                        <a:pt x="1343" y="168"/>
                      </a:lnTo>
                      <a:lnTo>
                        <a:pt x="1340" y="167"/>
                      </a:lnTo>
                      <a:lnTo>
                        <a:pt x="1339" y="163"/>
                      </a:lnTo>
                      <a:lnTo>
                        <a:pt x="1340" y="161"/>
                      </a:lnTo>
                      <a:lnTo>
                        <a:pt x="1342" y="161"/>
                      </a:lnTo>
                      <a:lnTo>
                        <a:pt x="1343" y="159"/>
                      </a:lnTo>
                      <a:lnTo>
                        <a:pt x="1342" y="156"/>
                      </a:lnTo>
                      <a:lnTo>
                        <a:pt x="1345" y="153"/>
                      </a:lnTo>
                      <a:lnTo>
                        <a:pt x="1346" y="155"/>
                      </a:lnTo>
                      <a:lnTo>
                        <a:pt x="1347" y="157"/>
                      </a:lnTo>
                      <a:lnTo>
                        <a:pt x="1346" y="160"/>
                      </a:lnTo>
                      <a:lnTo>
                        <a:pt x="1345" y="165"/>
                      </a:lnTo>
                      <a:lnTo>
                        <a:pt x="1346" y="165"/>
                      </a:lnTo>
                      <a:lnTo>
                        <a:pt x="1347" y="162"/>
                      </a:lnTo>
                      <a:lnTo>
                        <a:pt x="1347" y="160"/>
                      </a:lnTo>
                      <a:lnTo>
                        <a:pt x="1353" y="152"/>
                      </a:lnTo>
                      <a:lnTo>
                        <a:pt x="1355" y="151"/>
                      </a:lnTo>
                      <a:lnTo>
                        <a:pt x="1357" y="152"/>
                      </a:lnTo>
                      <a:lnTo>
                        <a:pt x="1358" y="153"/>
                      </a:lnTo>
                      <a:lnTo>
                        <a:pt x="1360" y="156"/>
                      </a:lnTo>
                      <a:lnTo>
                        <a:pt x="1360" y="160"/>
                      </a:lnTo>
                      <a:lnTo>
                        <a:pt x="1359" y="163"/>
                      </a:lnTo>
                      <a:lnTo>
                        <a:pt x="1359" y="168"/>
                      </a:lnTo>
                      <a:lnTo>
                        <a:pt x="1364" y="165"/>
                      </a:lnTo>
                      <a:lnTo>
                        <a:pt x="1366" y="167"/>
                      </a:lnTo>
                      <a:lnTo>
                        <a:pt x="1366" y="170"/>
                      </a:lnTo>
                      <a:lnTo>
                        <a:pt x="1364" y="170"/>
                      </a:lnTo>
                      <a:lnTo>
                        <a:pt x="1358" y="174"/>
                      </a:lnTo>
                      <a:lnTo>
                        <a:pt x="1361" y="174"/>
                      </a:lnTo>
                      <a:lnTo>
                        <a:pt x="1365" y="172"/>
                      </a:lnTo>
                      <a:lnTo>
                        <a:pt x="1368" y="174"/>
                      </a:lnTo>
                      <a:lnTo>
                        <a:pt x="1368" y="176"/>
                      </a:lnTo>
                      <a:lnTo>
                        <a:pt x="1366" y="177"/>
                      </a:lnTo>
                      <a:close/>
                      <a:moveTo>
                        <a:pt x="1431" y="120"/>
                      </a:moveTo>
                      <a:lnTo>
                        <a:pt x="1433" y="119"/>
                      </a:lnTo>
                      <a:lnTo>
                        <a:pt x="1432" y="121"/>
                      </a:lnTo>
                      <a:lnTo>
                        <a:pt x="1431" y="120"/>
                      </a:lnTo>
                      <a:close/>
                      <a:moveTo>
                        <a:pt x="1431" y="120"/>
                      </a:moveTo>
                      <a:lnTo>
                        <a:pt x="1426" y="122"/>
                      </a:lnTo>
                      <a:lnTo>
                        <a:pt x="1425" y="119"/>
                      </a:lnTo>
                      <a:lnTo>
                        <a:pt x="1423" y="118"/>
                      </a:lnTo>
                      <a:lnTo>
                        <a:pt x="1422" y="117"/>
                      </a:lnTo>
                      <a:lnTo>
                        <a:pt x="1421" y="112"/>
                      </a:lnTo>
                      <a:lnTo>
                        <a:pt x="1419" y="109"/>
                      </a:lnTo>
                      <a:lnTo>
                        <a:pt x="1418" y="105"/>
                      </a:lnTo>
                      <a:lnTo>
                        <a:pt x="1416" y="105"/>
                      </a:lnTo>
                      <a:lnTo>
                        <a:pt x="1416" y="102"/>
                      </a:lnTo>
                      <a:lnTo>
                        <a:pt x="1415" y="101"/>
                      </a:lnTo>
                      <a:lnTo>
                        <a:pt x="1415" y="98"/>
                      </a:lnTo>
                      <a:lnTo>
                        <a:pt x="1417" y="97"/>
                      </a:lnTo>
                      <a:lnTo>
                        <a:pt x="1417" y="94"/>
                      </a:lnTo>
                      <a:lnTo>
                        <a:pt x="1418" y="94"/>
                      </a:lnTo>
                      <a:lnTo>
                        <a:pt x="1420" y="96"/>
                      </a:lnTo>
                      <a:lnTo>
                        <a:pt x="1422" y="94"/>
                      </a:lnTo>
                      <a:lnTo>
                        <a:pt x="1423" y="96"/>
                      </a:lnTo>
                      <a:lnTo>
                        <a:pt x="1428" y="98"/>
                      </a:lnTo>
                      <a:lnTo>
                        <a:pt x="1428" y="95"/>
                      </a:lnTo>
                      <a:lnTo>
                        <a:pt x="1429" y="93"/>
                      </a:lnTo>
                      <a:lnTo>
                        <a:pt x="1431" y="93"/>
                      </a:lnTo>
                      <a:lnTo>
                        <a:pt x="1434" y="93"/>
                      </a:lnTo>
                      <a:lnTo>
                        <a:pt x="1435" y="95"/>
                      </a:lnTo>
                      <a:lnTo>
                        <a:pt x="1438" y="94"/>
                      </a:lnTo>
                      <a:lnTo>
                        <a:pt x="1441" y="97"/>
                      </a:lnTo>
                      <a:lnTo>
                        <a:pt x="1440" y="104"/>
                      </a:lnTo>
                      <a:lnTo>
                        <a:pt x="1441" y="105"/>
                      </a:lnTo>
                      <a:lnTo>
                        <a:pt x="1443" y="104"/>
                      </a:lnTo>
                      <a:lnTo>
                        <a:pt x="1443" y="106"/>
                      </a:lnTo>
                      <a:lnTo>
                        <a:pt x="1446" y="107"/>
                      </a:lnTo>
                      <a:lnTo>
                        <a:pt x="1446" y="106"/>
                      </a:lnTo>
                      <a:lnTo>
                        <a:pt x="1448" y="101"/>
                      </a:lnTo>
                      <a:lnTo>
                        <a:pt x="1449" y="102"/>
                      </a:lnTo>
                      <a:lnTo>
                        <a:pt x="1450" y="100"/>
                      </a:lnTo>
                      <a:lnTo>
                        <a:pt x="1451" y="100"/>
                      </a:lnTo>
                      <a:lnTo>
                        <a:pt x="1451" y="103"/>
                      </a:lnTo>
                      <a:lnTo>
                        <a:pt x="1453" y="104"/>
                      </a:lnTo>
                      <a:lnTo>
                        <a:pt x="1453" y="109"/>
                      </a:lnTo>
                      <a:lnTo>
                        <a:pt x="1448" y="114"/>
                      </a:lnTo>
                      <a:lnTo>
                        <a:pt x="1447" y="117"/>
                      </a:lnTo>
                      <a:lnTo>
                        <a:pt x="1448" y="118"/>
                      </a:lnTo>
                      <a:lnTo>
                        <a:pt x="1445" y="120"/>
                      </a:lnTo>
                      <a:lnTo>
                        <a:pt x="1445" y="117"/>
                      </a:lnTo>
                      <a:lnTo>
                        <a:pt x="1442" y="117"/>
                      </a:lnTo>
                      <a:lnTo>
                        <a:pt x="1439" y="115"/>
                      </a:lnTo>
                      <a:lnTo>
                        <a:pt x="1439" y="112"/>
                      </a:lnTo>
                      <a:lnTo>
                        <a:pt x="1436" y="112"/>
                      </a:lnTo>
                      <a:lnTo>
                        <a:pt x="1435" y="114"/>
                      </a:lnTo>
                      <a:lnTo>
                        <a:pt x="1433" y="112"/>
                      </a:lnTo>
                      <a:lnTo>
                        <a:pt x="1433" y="110"/>
                      </a:lnTo>
                      <a:lnTo>
                        <a:pt x="1431" y="109"/>
                      </a:lnTo>
                      <a:lnTo>
                        <a:pt x="1430" y="111"/>
                      </a:lnTo>
                      <a:lnTo>
                        <a:pt x="1427" y="110"/>
                      </a:lnTo>
                      <a:lnTo>
                        <a:pt x="1425" y="110"/>
                      </a:lnTo>
                      <a:lnTo>
                        <a:pt x="1425" y="112"/>
                      </a:lnTo>
                      <a:lnTo>
                        <a:pt x="1426" y="113"/>
                      </a:lnTo>
                      <a:lnTo>
                        <a:pt x="1429" y="114"/>
                      </a:lnTo>
                      <a:lnTo>
                        <a:pt x="1430" y="117"/>
                      </a:lnTo>
                      <a:lnTo>
                        <a:pt x="1431" y="117"/>
                      </a:lnTo>
                      <a:lnTo>
                        <a:pt x="1431" y="120"/>
                      </a:lnTo>
                      <a:close/>
                      <a:moveTo>
                        <a:pt x="1322" y="193"/>
                      </a:moveTo>
                      <a:lnTo>
                        <a:pt x="1322" y="192"/>
                      </a:lnTo>
                      <a:lnTo>
                        <a:pt x="1321" y="192"/>
                      </a:lnTo>
                      <a:lnTo>
                        <a:pt x="1318" y="193"/>
                      </a:lnTo>
                      <a:lnTo>
                        <a:pt x="1316" y="191"/>
                      </a:lnTo>
                      <a:lnTo>
                        <a:pt x="1316" y="189"/>
                      </a:lnTo>
                      <a:lnTo>
                        <a:pt x="1318" y="187"/>
                      </a:lnTo>
                      <a:lnTo>
                        <a:pt x="1319" y="187"/>
                      </a:lnTo>
                      <a:lnTo>
                        <a:pt x="1320" y="188"/>
                      </a:lnTo>
                      <a:lnTo>
                        <a:pt x="1321" y="188"/>
                      </a:lnTo>
                      <a:lnTo>
                        <a:pt x="1321" y="186"/>
                      </a:lnTo>
                      <a:lnTo>
                        <a:pt x="1321" y="185"/>
                      </a:lnTo>
                      <a:lnTo>
                        <a:pt x="1320" y="184"/>
                      </a:lnTo>
                      <a:lnTo>
                        <a:pt x="1317" y="185"/>
                      </a:lnTo>
                      <a:lnTo>
                        <a:pt x="1316" y="185"/>
                      </a:lnTo>
                      <a:lnTo>
                        <a:pt x="1313" y="186"/>
                      </a:lnTo>
                      <a:lnTo>
                        <a:pt x="1310" y="184"/>
                      </a:lnTo>
                      <a:lnTo>
                        <a:pt x="1308" y="184"/>
                      </a:lnTo>
                      <a:lnTo>
                        <a:pt x="1309" y="182"/>
                      </a:lnTo>
                      <a:lnTo>
                        <a:pt x="1308" y="180"/>
                      </a:lnTo>
                      <a:lnTo>
                        <a:pt x="1308" y="176"/>
                      </a:lnTo>
                      <a:lnTo>
                        <a:pt x="1309" y="177"/>
                      </a:lnTo>
                      <a:lnTo>
                        <a:pt x="1310" y="175"/>
                      </a:lnTo>
                      <a:lnTo>
                        <a:pt x="1309" y="172"/>
                      </a:lnTo>
                      <a:lnTo>
                        <a:pt x="1312" y="171"/>
                      </a:lnTo>
                      <a:lnTo>
                        <a:pt x="1314" y="170"/>
                      </a:lnTo>
                      <a:lnTo>
                        <a:pt x="1312" y="170"/>
                      </a:lnTo>
                      <a:lnTo>
                        <a:pt x="1309" y="170"/>
                      </a:lnTo>
                      <a:lnTo>
                        <a:pt x="1307" y="170"/>
                      </a:lnTo>
                      <a:lnTo>
                        <a:pt x="1306" y="169"/>
                      </a:lnTo>
                      <a:lnTo>
                        <a:pt x="1306" y="165"/>
                      </a:lnTo>
                      <a:lnTo>
                        <a:pt x="1310" y="163"/>
                      </a:lnTo>
                      <a:lnTo>
                        <a:pt x="1311" y="161"/>
                      </a:lnTo>
                      <a:lnTo>
                        <a:pt x="1312" y="162"/>
                      </a:lnTo>
                      <a:lnTo>
                        <a:pt x="1312" y="160"/>
                      </a:lnTo>
                      <a:lnTo>
                        <a:pt x="1311" y="160"/>
                      </a:lnTo>
                      <a:lnTo>
                        <a:pt x="1308" y="161"/>
                      </a:lnTo>
                      <a:lnTo>
                        <a:pt x="1307" y="162"/>
                      </a:lnTo>
                      <a:lnTo>
                        <a:pt x="1306" y="161"/>
                      </a:lnTo>
                      <a:lnTo>
                        <a:pt x="1308" y="154"/>
                      </a:lnTo>
                      <a:lnTo>
                        <a:pt x="1307" y="153"/>
                      </a:lnTo>
                      <a:lnTo>
                        <a:pt x="1304" y="157"/>
                      </a:lnTo>
                      <a:lnTo>
                        <a:pt x="1301" y="160"/>
                      </a:lnTo>
                      <a:lnTo>
                        <a:pt x="1302" y="161"/>
                      </a:lnTo>
                      <a:lnTo>
                        <a:pt x="1302" y="163"/>
                      </a:lnTo>
                      <a:lnTo>
                        <a:pt x="1300" y="165"/>
                      </a:lnTo>
                      <a:lnTo>
                        <a:pt x="1301" y="166"/>
                      </a:lnTo>
                      <a:lnTo>
                        <a:pt x="1300" y="168"/>
                      </a:lnTo>
                      <a:lnTo>
                        <a:pt x="1299" y="168"/>
                      </a:lnTo>
                      <a:lnTo>
                        <a:pt x="1297" y="166"/>
                      </a:lnTo>
                      <a:lnTo>
                        <a:pt x="1297" y="163"/>
                      </a:lnTo>
                      <a:lnTo>
                        <a:pt x="1294" y="165"/>
                      </a:lnTo>
                      <a:lnTo>
                        <a:pt x="1293" y="163"/>
                      </a:lnTo>
                      <a:lnTo>
                        <a:pt x="1294" y="162"/>
                      </a:lnTo>
                      <a:lnTo>
                        <a:pt x="1298" y="161"/>
                      </a:lnTo>
                      <a:lnTo>
                        <a:pt x="1298" y="159"/>
                      </a:lnTo>
                      <a:lnTo>
                        <a:pt x="1300" y="157"/>
                      </a:lnTo>
                      <a:lnTo>
                        <a:pt x="1299" y="156"/>
                      </a:lnTo>
                      <a:lnTo>
                        <a:pt x="1296" y="157"/>
                      </a:lnTo>
                      <a:lnTo>
                        <a:pt x="1293" y="158"/>
                      </a:lnTo>
                      <a:lnTo>
                        <a:pt x="1292" y="156"/>
                      </a:lnTo>
                      <a:lnTo>
                        <a:pt x="1291" y="157"/>
                      </a:lnTo>
                      <a:lnTo>
                        <a:pt x="1289" y="155"/>
                      </a:lnTo>
                      <a:lnTo>
                        <a:pt x="1287" y="154"/>
                      </a:lnTo>
                      <a:lnTo>
                        <a:pt x="1286" y="154"/>
                      </a:lnTo>
                      <a:lnTo>
                        <a:pt x="1283" y="158"/>
                      </a:lnTo>
                      <a:lnTo>
                        <a:pt x="1280" y="157"/>
                      </a:lnTo>
                      <a:lnTo>
                        <a:pt x="1277" y="158"/>
                      </a:lnTo>
                      <a:lnTo>
                        <a:pt x="1276" y="157"/>
                      </a:lnTo>
                      <a:lnTo>
                        <a:pt x="1275" y="160"/>
                      </a:lnTo>
                      <a:lnTo>
                        <a:pt x="1274" y="160"/>
                      </a:lnTo>
                      <a:lnTo>
                        <a:pt x="1273" y="157"/>
                      </a:lnTo>
                      <a:lnTo>
                        <a:pt x="1270" y="156"/>
                      </a:lnTo>
                      <a:lnTo>
                        <a:pt x="1270" y="154"/>
                      </a:lnTo>
                      <a:lnTo>
                        <a:pt x="1275" y="146"/>
                      </a:lnTo>
                      <a:lnTo>
                        <a:pt x="1276" y="145"/>
                      </a:lnTo>
                      <a:lnTo>
                        <a:pt x="1279" y="146"/>
                      </a:lnTo>
                      <a:lnTo>
                        <a:pt x="1279" y="148"/>
                      </a:lnTo>
                      <a:lnTo>
                        <a:pt x="1281" y="146"/>
                      </a:lnTo>
                      <a:lnTo>
                        <a:pt x="1281" y="148"/>
                      </a:lnTo>
                      <a:lnTo>
                        <a:pt x="1285" y="148"/>
                      </a:lnTo>
                      <a:lnTo>
                        <a:pt x="1284" y="146"/>
                      </a:lnTo>
                      <a:lnTo>
                        <a:pt x="1282" y="146"/>
                      </a:lnTo>
                      <a:lnTo>
                        <a:pt x="1285" y="139"/>
                      </a:lnTo>
                      <a:lnTo>
                        <a:pt x="1284" y="138"/>
                      </a:lnTo>
                      <a:lnTo>
                        <a:pt x="1285" y="131"/>
                      </a:lnTo>
                      <a:lnTo>
                        <a:pt x="1288" y="128"/>
                      </a:lnTo>
                      <a:lnTo>
                        <a:pt x="1291" y="125"/>
                      </a:lnTo>
                      <a:lnTo>
                        <a:pt x="1293" y="127"/>
                      </a:lnTo>
                      <a:lnTo>
                        <a:pt x="1294" y="131"/>
                      </a:lnTo>
                      <a:lnTo>
                        <a:pt x="1293" y="133"/>
                      </a:lnTo>
                      <a:lnTo>
                        <a:pt x="1294" y="136"/>
                      </a:lnTo>
                      <a:lnTo>
                        <a:pt x="1303" y="142"/>
                      </a:lnTo>
                      <a:lnTo>
                        <a:pt x="1305" y="145"/>
                      </a:lnTo>
                      <a:lnTo>
                        <a:pt x="1307" y="145"/>
                      </a:lnTo>
                      <a:lnTo>
                        <a:pt x="1309" y="147"/>
                      </a:lnTo>
                      <a:lnTo>
                        <a:pt x="1311" y="146"/>
                      </a:lnTo>
                      <a:lnTo>
                        <a:pt x="1318" y="146"/>
                      </a:lnTo>
                      <a:lnTo>
                        <a:pt x="1320" y="144"/>
                      </a:lnTo>
                      <a:lnTo>
                        <a:pt x="1320" y="143"/>
                      </a:lnTo>
                      <a:lnTo>
                        <a:pt x="1318" y="144"/>
                      </a:lnTo>
                      <a:lnTo>
                        <a:pt x="1308" y="145"/>
                      </a:lnTo>
                      <a:lnTo>
                        <a:pt x="1302" y="137"/>
                      </a:lnTo>
                      <a:lnTo>
                        <a:pt x="1300" y="135"/>
                      </a:lnTo>
                      <a:lnTo>
                        <a:pt x="1299" y="132"/>
                      </a:lnTo>
                      <a:lnTo>
                        <a:pt x="1300" y="131"/>
                      </a:lnTo>
                      <a:lnTo>
                        <a:pt x="1299" y="130"/>
                      </a:lnTo>
                      <a:lnTo>
                        <a:pt x="1301" y="130"/>
                      </a:lnTo>
                      <a:lnTo>
                        <a:pt x="1305" y="127"/>
                      </a:lnTo>
                      <a:lnTo>
                        <a:pt x="1304" y="124"/>
                      </a:lnTo>
                      <a:lnTo>
                        <a:pt x="1308" y="121"/>
                      </a:lnTo>
                      <a:lnTo>
                        <a:pt x="1310" y="119"/>
                      </a:lnTo>
                      <a:lnTo>
                        <a:pt x="1312" y="119"/>
                      </a:lnTo>
                      <a:lnTo>
                        <a:pt x="1312" y="116"/>
                      </a:lnTo>
                      <a:lnTo>
                        <a:pt x="1312" y="114"/>
                      </a:lnTo>
                      <a:lnTo>
                        <a:pt x="1311" y="113"/>
                      </a:lnTo>
                      <a:lnTo>
                        <a:pt x="1311" y="111"/>
                      </a:lnTo>
                      <a:lnTo>
                        <a:pt x="1310" y="109"/>
                      </a:lnTo>
                      <a:lnTo>
                        <a:pt x="1315" y="106"/>
                      </a:lnTo>
                      <a:lnTo>
                        <a:pt x="1312" y="106"/>
                      </a:lnTo>
                      <a:lnTo>
                        <a:pt x="1314" y="103"/>
                      </a:lnTo>
                      <a:lnTo>
                        <a:pt x="1315" y="100"/>
                      </a:lnTo>
                      <a:lnTo>
                        <a:pt x="1318" y="100"/>
                      </a:lnTo>
                      <a:lnTo>
                        <a:pt x="1319" y="102"/>
                      </a:lnTo>
                      <a:lnTo>
                        <a:pt x="1322" y="102"/>
                      </a:lnTo>
                      <a:lnTo>
                        <a:pt x="1325" y="104"/>
                      </a:lnTo>
                      <a:lnTo>
                        <a:pt x="1325" y="102"/>
                      </a:lnTo>
                      <a:lnTo>
                        <a:pt x="1326" y="103"/>
                      </a:lnTo>
                      <a:lnTo>
                        <a:pt x="1326" y="104"/>
                      </a:lnTo>
                      <a:lnTo>
                        <a:pt x="1327" y="104"/>
                      </a:lnTo>
                      <a:lnTo>
                        <a:pt x="1329" y="102"/>
                      </a:lnTo>
                      <a:lnTo>
                        <a:pt x="1330" y="103"/>
                      </a:lnTo>
                      <a:lnTo>
                        <a:pt x="1329" y="104"/>
                      </a:lnTo>
                      <a:lnTo>
                        <a:pt x="1330" y="105"/>
                      </a:lnTo>
                      <a:lnTo>
                        <a:pt x="1333" y="104"/>
                      </a:lnTo>
                      <a:lnTo>
                        <a:pt x="1331" y="109"/>
                      </a:lnTo>
                      <a:lnTo>
                        <a:pt x="1334" y="108"/>
                      </a:lnTo>
                      <a:lnTo>
                        <a:pt x="1334" y="106"/>
                      </a:lnTo>
                      <a:lnTo>
                        <a:pt x="1329" y="100"/>
                      </a:lnTo>
                      <a:lnTo>
                        <a:pt x="1330" y="99"/>
                      </a:lnTo>
                      <a:lnTo>
                        <a:pt x="1331" y="98"/>
                      </a:lnTo>
                      <a:lnTo>
                        <a:pt x="1330" y="96"/>
                      </a:lnTo>
                      <a:lnTo>
                        <a:pt x="1333" y="95"/>
                      </a:lnTo>
                      <a:lnTo>
                        <a:pt x="1334" y="97"/>
                      </a:lnTo>
                      <a:lnTo>
                        <a:pt x="1336" y="97"/>
                      </a:lnTo>
                      <a:lnTo>
                        <a:pt x="1338" y="92"/>
                      </a:lnTo>
                      <a:lnTo>
                        <a:pt x="1339" y="92"/>
                      </a:lnTo>
                      <a:lnTo>
                        <a:pt x="1340" y="93"/>
                      </a:lnTo>
                      <a:lnTo>
                        <a:pt x="1339" y="94"/>
                      </a:lnTo>
                      <a:lnTo>
                        <a:pt x="1338" y="95"/>
                      </a:lnTo>
                      <a:lnTo>
                        <a:pt x="1339" y="97"/>
                      </a:lnTo>
                      <a:lnTo>
                        <a:pt x="1340" y="97"/>
                      </a:lnTo>
                      <a:lnTo>
                        <a:pt x="1341" y="99"/>
                      </a:lnTo>
                      <a:lnTo>
                        <a:pt x="1340" y="99"/>
                      </a:lnTo>
                      <a:lnTo>
                        <a:pt x="1340" y="102"/>
                      </a:lnTo>
                      <a:lnTo>
                        <a:pt x="1339" y="107"/>
                      </a:lnTo>
                      <a:lnTo>
                        <a:pt x="1340" y="108"/>
                      </a:lnTo>
                      <a:lnTo>
                        <a:pt x="1336" y="113"/>
                      </a:lnTo>
                      <a:lnTo>
                        <a:pt x="1335" y="112"/>
                      </a:lnTo>
                      <a:lnTo>
                        <a:pt x="1334" y="113"/>
                      </a:lnTo>
                      <a:lnTo>
                        <a:pt x="1335" y="116"/>
                      </a:lnTo>
                      <a:lnTo>
                        <a:pt x="1336" y="116"/>
                      </a:lnTo>
                      <a:lnTo>
                        <a:pt x="1336" y="118"/>
                      </a:lnTo>
                      <a:lnTo>
                        <a:pt x="1337" y="118"/>
                      </a:lnTo>
                      <a:lnTo>
                        <a:pt x="1338" y="122"/>
                      </a:lnTo>
                      <a:lnTo>
                        <a:pt x="1337" y="128"/>
                      </a:lnTo>
                      <a:lnTo>
                        <a:pt x="1338" y="129"/>
                      </a:lnTo>
                      <a:lnTo>
                        <a:pt x="1337" y="129"/>
                      </a:lnTo>
                      <a:lnTo>
                        <a:pt x="1337" y="131"/>
                      </a:lnTo>
                      <a:lnTo>
                        <a:pt x="1336" y="134"/>
                      </a:lnTo>
                      <a:lnTo>
                        <a:pt x="1333" y="133"/>
                      </a:lnTo>
                      <a:lnTo>
                        <a:pt x="1331" y="134"/>
                      </a:lnTo>
                      <a:lnTo>
                        <a:pt x="1329" y="133"/>
                      </a:lnTo>
                      <a:lnTo>
                        <a:pt x="1328" y="136"/>
                      </a:lnTo>
                      <a:lnTo>
                        <a:pt x="1326" y="137"/>
                      </a:lnTo>
                      <a:lnTo>
                        <a:pt x="1326" y="139"/>
                      </a:lnTo>
                      <a:lnTo>
                        <a:pt x="1330" y="137"/>
                      </a:lnTo>
                      <a:lnTo>
                        <a:pt x="1333" y="137"/>
                      </a:lnTo>
                      <a:lnTo>
                        <a:pt x="1334" y="139"/>
                      </a:lnTo>
                      <a:lnTo>
                        <a:pt x="1330" y="139"/>
                      </a:lnTo>
                      <a:lnTo>
                        <a:pt x="1328" y="141"/>
                      </a:lnTo>
                      <a:lnTo>
                        <a:pt x="1327" y="143"/>
                      </a:lnTo>
                      <a:lnTo>
                        <a:pt x="1331" y="141"/>
                      </a:lnTo>
                      <a:lnTo>
                        <a:pt x="1335" y="142"/>
                      </a:lnTo>
                      <a:lnTo>
                        <a:pt x="1336" y="145"/>
                      </a:lnTo>
                      <a:lnTo>
                        <a:pt x="1335" y="146"/>
                      </a:lnTo>
                      <a:lnTo>
                        <a:pt x="1333" y="146"/>
                      </a:lnTo>
                      <a:lnTo>
                        <a:pt x="1333" y="148"/>
                      </a:lnTo>
                      <a:lnTo>
                        <a:pt x="1334" y="149"/>
                      </a:lnTo>
                      <a:lnTo>
                        <a:pt x="1334" y="153"/>
                      </a:lnTo>
                      <a:lnTo>
                        <a:pt x="1336" y="149"/>
                      </a:lnTo>
                      <a:lnTo>
                        <a:pt x="1338" y="148"/>
                      </a:lnTo>
                      <a:lnTo>
                        <a:pt x="1339" y="150"/>
                      </a:lnTo>
                      <a:lnTo>
                        <a:pt x="1338" y="151"/>
                      </a:lnTo>
                      <a:lnTo>
                        <a:pt x="1338" y="153"/>
                      </a:lnTo>
                      <a:lnTo>
                        <a:pt x="1340" y="154"/>
                      </a:lnTo>
                      <a:lnTo>
                        <a:pt x="1335" y="157"/>
                      </a:lnTo>
                      <a:lnTo>
                        <a:pt x="1335" y="161"/>
                      </a:lnTo>
                      <a:lnTo>
                        <a:pt x="1334" y="163"/>
                      </a:lnTo>
                      <a:lnTo>
                        <a:pt x="1334" y="166"/>
                      </a:lnTo>
                      <a:lnTo>
                        <a:pt x="1335" y="168"/>
                      </a:lnTo>
                      <a:lnTo>
                        <a:pt x="1336" y="170"/>
                      </a:lnTo>
                      <a:lnTo>
                        <a:pt x="1333" y="172"/>
                      </a:lnTo>
                      <a:lnTo>
                        <a:pt x="1331" y="169"/>
                      </a:lnTo>
                      <a:lnTo>
                        <a:pt x="1329" y="168"/>
                      </a:lnTo>
                      <a:lnTo>
                        <a:pt x="1331" y="172"/>
                      </a:lnTo>
                      <a:lnTo>
                        <a:pt x="1330" y="174"/>
                      </a:lnTo>
                      <a:lnTo>
                        <a:pt x="1328" y="175"/>
                      </a:lnTo>
                      <a:lnTo>
                        <a:pt x="1328" y="178"/>
                      </a:lnTo>
                      <a:lnTo>
                        <a:pt x="1326" y="180"/>
                      </a:lnTo>
                      <a:lnTo>
                        <a:pt x="1327" y="183"/>
                      </a:lnTo>
                      <a:lnTo>
                        <a:pt x="1327" y="185"/>
                      </a:lnTo>
                      <a:lnTo>
                        <a:pt x="1327" y="186"/>
                      </a:lnTo>
                      <a:lnTo>
                        <a:pt x="1325" y="187"/>
                      </a:lnTo>
                      <a:lnTo>
                        <a:pt x="1324" y="188"/>
                      </a:lnTo>
                      <a:lnTo>
                        <a:pt x="1325" y="190"/>
                      </a:lnTo>
                      <a:lnTo>
                        <a:pt x="1323" y="190"/>
                      </a:lnTo>
                      <a:lnTo>
                        <a:pt x="1322" y="193"/>
                      </a:lnTo>
                      <a:close/>
                      <a:moveTo>
                        <a:pt x="1389" y="50"/>
                      </a:moveTo>
                      <a:lnTo>
                        <a:pt x="1389" y="52"/>
                      </a:lnTo>
                      <a:lnTo>
                        <a:pt x="1390" y="50"/>
                      </a:lnTo>
                      <a:lnTo>
                        <a:pt x="1391" y="52"/>
                      </a:lnTo>
                      <a:lnTo>
                        <a:pt x="1393" y="52"/>
                      </a:lnTo>
                      <a:lnTo>
                        <a:pt x="1394" y="54"/>
                      </a:lnTo>
                      <a:lnTo>
                        <a:pt x="1396" y="53"/>
                      </a:lnTo>
                      <a:lnTo>
                        <a:pt x="1395" y="50"/>
                      </a:lnTo>
                      <a:lnTo>
                        <a:pt x="1398" y="52"/>
                      </a:lnTo>
                      <a:lnTo>
                        <a:pt x="1400" y="52"/>
                      </a:lnTo>
                      <a:lnTo>
                        <a:pt x="1400" y="54"/>
                      </a:lnTo>
                      <a:lnTo>
                        <a:pt x="1402" y="56"/>
                      </a:lnTo>
                      <a:lnTo>
                        <a:pt x="1401" y="59"/>
                      </a:lnTo>
                      <a:lnTo>
                        <a:pt x="1401" y="61"/>
                      </a:lnTo>
                      <a:lnTo>
                        <a:pt x="1403" y="61"/>
                      </a:lnTo>
                      <a:lnTo>
                        <a:pt x="1405" y="64"/>
                      </a:lnTo>
                      <a:lnTo>
                        <a:pt x="1404" y="64"/>
                      </a:lnTo>
                      <a:lnTo>
                        <a:pt x="1402" y="63"/>
                      </a:lnTo>
                      <a:lnTo>
                        <a:pt x="1403" y="64"/>
                      </a:lnTo>
                      <a:lnTo>
                        <a:pt x="1403" y="66"/>
                      </a:lnTo>
                      <a:lnTo>
                        <a:pt x="1403" y="68"/>
                      </a:lnTo>
                      <a:lnTo>
                        <a:pt x="1404" y="71"/>
                      </a:lnTo>
                      <a:lnTo>
                        <a:pt x="1405" y="73"/>
                      </a:lnTo>
                      <a:lnTo>
                        <a:pt x="1403" y="75"/>
                      </a:lnTo>
                      <a:lnTo>
                        <a:pt x="1403" y="77"/>
                      </a:lnTo>
                      <a:lnTo>
                        <a:pt x="1405" y="84"/>
                      </a:lnTo>
                      <a:lnTo>
                        <a:pt x="1404" y="85"/>
                      </a:lnTo>
                      <a:lnTo>
                        <a:pt x="1405" y="88"/>
                      </a:lnTo>
                      <a:lnTo>
                        <a:pt x="1406" y="90"/>
                      </a:lnTo>
                      <a:lnTo>
                        <a:pt x="1408" y="90"/>
                      </a:lnTo>
                      <a:lnTo>
                        <a:pt x="1408" y="91"/>
                      </a:lnTo>
                      <a:lnTo>
                        <a:pt x="1405" y="91"/>
                      </a:lnTo>
                      <a:lnTo>
                        <a:pt x="1404" y="92"/>
                      </a:lnTo>
                      <a:lnTo>
                        <a:pt x="1403" y="90"/>
                      </a:lnTo>
                      <a:lnTo>
                        <a:pt x="1397" y="88"/>
                      </a:lnTo>
                      <a:lnTo>
                        <a:pt x="1396" y="87"/>
                      </a:lnTo>
                      <a:lnTo>
                        <a:pt x="1394" y="82"/>
                      </a:lnTo>
                      <a:lnTo>
                        <a:pt x="1391" y="80"/>
                      </a:lnTo>
                      <a:lnTo>
                        <a:pt x="1391" y="82"/>
                      </a:lnTo>
                      <a:lnTo>
                        <a:pt x="1393" y="83"/>
                      </a:lnTo>
                      <a:lnTo>
                        <a:pt x="1393" y="87"/>
                      </a:lnTo>
                      <a:lnTo>
                        <a:pt x="1395" y="92"/>
                      </a:lnTo>
                      <a:lnTo>
                        <a:pt x="1396" y="94"/>
                      </a:lnTo>
                      <a:lnTo>
                        <a:pt x="1398" y="94"/>
                      </a:lnTo>
                      <a:lnTo>
                        <a:pt x="1399" y="95"/>
                      </a:lnTo>
                      <a:lnTo>
                        <a:pt x="1399" y="100"/>
                      </a:lnTo>
                      <a:lnTo>
                        <a:pt x="1397" y="106"/>
                      </a:lnTo>
                      <a:lnTo>
                        <a:pt x="1396" y="104"/>
                      </a:lnTo>
                      <a:lnTo>
                        <a:pt x="1393" y="106"/>
                      </a:lnTo>
                      <a:lnTo>
                        <a:pt x="1392" y="104"/>
                      </a:lnTo>
                      <a:lnTo>
                        <a:pt x="1390" y="102"/>
                      </a:lnTo>
                      <a:lnTo>
                        <a:pt x="1385" y="105"/>
                      </a:lnTo>
                      <a:lnTo>
                        <a:pt x="1386" y="106"/>
                      </a:lnTo>
                      <a:lnTo>
                        <a:pt x="1388" y="106"/>
                      </a:lnTo>
                      <a:lnTo>
                        <a:pt x="1390" y="106"/>
                      </a:lnTo>
                      <a:lnTo>
                        <a:pt x="1393" y="108"/>
                      </a:lnTo>
                      <a:lnTo>
                        <a:pt x="1397" y="108"/>
                      </a:lnTo>
                      <a:lnTo>
                        <a:pt x="1398" y="110"/>
                      </a:lnTo>
                      <a:lnTo>
                        <a:pt x="1398" y="111"/>
                      </a:lnTo>
                      <a:lnTo>
                        <a:pt x="1400" y="111"/>
                      </a:lnTo>
                      <a:lnTo>
                        <a:pt x="1400" y="113"/>
                      </a:lnTo>
                      <a:lnTo>
                        <a:pt x="1400" y="114"/>
                      </a:lnTo>
                      <a:lnTo>
                        <a:pt x="1402" y="115"/>
                      </a:lnTo>
                      <a:lnTo>
                        <a:pt x="1403" y="116"/>
                      </a:lnTo>
                      <a:lnTo>
                        <a:pt x="1401" y="117"/>
                      </a:lnTo>
                      <a:lnTo>
                        <a:pt x="1403" y="121"/>
                      </a:lnTo>
                      <a:lnTo>
                        <a:pt x="1401" y="123"/>
                      </a:lnTo>
                      <a:lnTo>
                        <a:pt x="1399" y="122"/>
                      </a:lnTo>
                      <a:lnTo>
                        <a:pt x="1399" y="123"/>
                      </a:lnTo>
                      <a:lnTo>
                        <a:pt x="1400" y="124"/>
                      </a:lnTo>
                      <a:lnTo>
                        <a:pt x="1401" y="128"/>
                      </a:lnTo>
                      <a:lnTo>
                        <a:pt x="1400" y="129"/>
                      </a:lnTo>
                      <a:lnTo>
                        <a:pt x="1400" y="130"/>
                      </a:lnTo>
                      <a:lnTo>
                        <a:pt x="1397" y="130"/>
                      </a:lnTo>
                      <a:lnTo>
                        <a:pt x="1396" y="131"/>
                      </a:lnTo>
                      <a:lnTo>
                        <a:pt x="1395" y="131"/>
                      </a:lnTo>
                      <a:lnTo>
                        <a:pt x="1395" y="128"/>
                      </a:lnTo>
                      <a:lnTo>
                        <a:pt x="1394" y="129"/>
                      </a:lnTo>
                      <a:lnTo>
                        <a:pt x="1394" y="131"/>
                      </a:lnTo>
                      <a:lnTo>
                        <a:pt x="1394" y="132"/>
                      </a:lnTo>
                      <a:lnTo>
                        <a:pt x="1395" y="132"/>
                      </a:lnTo>
                      <a:lnTo>
                        <a:pt x="1396" y="134"/>
                      </a:lnTo>
                      <a:lnTo>
                        <a:pt x="1395" y="135"/>
                      </a:lnTo>
                      <a:lnTo>
                        <a:pt x="1394" y="134"/>
                      </a:lnTo>
                      <a:lnTo>
                        <a:pt x="1396" y="137"/>
                      </a:lnTo>
                      <a:lnTo>
                        <a:pt x="1399" y="137"/>
                      </a:lnTo>
                      <a:lnTo>
                        <a:pt x="1397" y="140"/>
                      </a:lnTo>
                      <a:lnTo>
                        <a:pt x="1399" y="142"/>
                      </a:lnTo>
                      <a:lnTo>
                        <a:pt x="1397" y="141"/>
                      </a:lnTo>
                      <a:lnTo>
                        <a:pt x="1397" y="143"/>
                      </a:lnTo>
                      <a:lnTo>
                        <a:pt x="1398" y="145"/>
                      </a:lnTo>
                      <a:lnTo>
                        <a:pt x="1397" y="145"/>
                      </a:lnTo>
                      <a:lnTo>
                        <a:pt x="1395" y="147"/>
                      </a:lnTo>
                      <a:lnTo>
                        <a:pt x="1396" y="149"/>
                      </a:lnTo>
                      <a:lnTo>
                        <a:pt x="1392" y="151"/>
                      </a:lnTo>
                      <a:lnTo>
                        <a:pt x="1391" y="152"/>
                      </a:lnTo>
                      <a:lnTo>
                        <a:pt x="1391" y="154"/>
                      </a:lnTo>
                      <a:lnTo>
                        <a:pt x="1390" y="154"/>
                      </a:lnTo>
                      <a:lnTo>
                        <a:pt x="1382" y="147"/>
                      </a:lnTo>
                      <a:lnTo>
                        <a:pt x="1381" y="146"/>
                      </a:lnTo>
                      <a:lnTo>
                        <a:pt x="1380" y="145"/>
                      </a:lnTo>
                      <a:lnTo>
                        <a:pt x="1378" y="148"/>
                      </a:lnTo>
                      <a:lnTo>
                        <a:pt x="1379" y="152"/>
                      </a:lnTo>
                      <a:lnTo>
                        <a:pt x="1381" y="152"/>
                      </a:lnTo>
                      <a:lnTo>
                        <a:pt x="1383" y="154"/>
                      </a:lnTo>
                      <a:lnTo>
                        <a:pt x="1383" y="155"/>
                      </a:lnTo>
                      <a:lnTo>
                        <a:pt x="1380" y="156"/>
                      </a:lnTo>
                      <a:lnTo>
                        <a:pt x="1377" y="154"/>
                      </a:lnTo>
                      <a:lnTo>
                        <a:pt x="1376" y="155"/>
                      </a:lnTo>
                      <a:lnTo>
                        <a:pt x="1372" y="154"/>
                      </a:lnTo>
                      <a:lnTo>
                        <a:pt x="1372" y="151"/>
                      </a:lnTo>
                      <a:lnTo>
                        <a:pt x="1370" y="151"/>
                      </a:lnTo>
                      <a:lnTo>
                        <a:pt x="1367" y="145"/>
                      </a:lnTo>
                      <a:lnTo>
                        <a:pt x="1366" y="141"/>
                      </a:lnTo>
                      <a:lnTo>
                        <a:pt x="1364" y="141"/>
                      </a:lnTo>
                      <a:lnTo>
                        <a:pt x="1364" y="140"/>
                      </a:lnTo>
                      <a:lnTo>
                        <a:pt x="1366" y="139"/>
                      </a:lnTo>
                      <a:lnTo>
                        <a:pt x="1366" y="135"/>
                      </a:lnTo>
                      <a:lnTo>
                        <a:pt x="1365" y="132"/>
                      </a:lnTo>
                      <a:lnTo>
                        <a:pt x="1363" y="131"/>
                      </a:lnTo>
                      <a:lnTo>
                        <a:pt x="1366" y="128"/>
                      </a:lnTo>
                      <a:lnTo>
                        <a:pt x="1365" y="122"/>
                      </a:lnTo>
                      <a:lnTo>
                        <a:pt x="1365" y="119"/>
                      </a:lnTo>
                      <a:lnTo>
                        <a:pt x="1363" y="118"/>
                      </a:lnTo>
                      <a:lnTo>
                        <a:pt x="1364" y="122"/>
                      </a:lnTo>
                      <a:lnTo>
                        <a:pt x="1363" y="123"/>
                      </a:lnTo>
                      <a:lnTo>
                        <a:pt x="1362" y="122"/>
                      </a:lnTo>
                      <a:lnTo>
                        <a:pt x="1361" y="120"/>
                      </a:lnTo>
                      <a:lnTo>
                        <a:pt x="1362" y="116"/>
                      </a:lnTo>
                      <a:lnTo>
                        <a:pt x="1364" y="115"/>
                      </a:lnTo>
                      <a:lnTo>
                        <a:pt x="1361" y="109"/>
                      </a:lnTo>
                      <a:lnTo>
                        <a:pt x="1362" y="107"/>
                      </a:lnTo>
                      <a:lnTo>
                        <a:pt x="1361" y="104"/>
                      </a:lnTo>
                      <a:lnTo>
                        <a:pt x="1364" y="98"/>
                      </a:lnTo>
                      <a:lnTo>
                        <a:pt x="1364" y="95"/>
                      </a:lnTo>
                      <a:lnTo>
                        <a:pt x="1364" y="92"/>
                      </a:lnTo>
                      <a:lnTo>
                        <a:pt x="1367" y="87"/>
                      </a:lnTo>
                      <a:lnTo>
                        <a:pt x="1371" y="83"/>
                      </a:lnTo>
                      <a:lnTo>
                        <a:pt x="1372" y="83"/>
                      </a:lnTo>
                      <a:lnTo>
                        <a:pt x="1372" y="96"/>
                      </a:lnTo>
                      <a:lnTo>
                        <a:pt x="1373" y="98"/>
                      </a:lnTo>
                      <a:lnTo>
                        <a:pt x="1376" y="98"/>
                      </a:lnTo>
                      <a:lnTo>
                        <a:pt x="1379" y="105"/>
                      </a:lnTo>
                      <a:lnTo>
                        <a:pt x="1380" y="104"/>
                      </a:lnTo>
                      <a:lnTo>
                        <a:pt x="1379" y="103"/>
                      </a:lnTo>
                      <a:lnTo>
                        <a:pt x="1379" y="100"/>
                      </a:lnTo>
                      <a:lnTo>
                        <a:pt x="1377" y="97"/>
                      </a:lnTo>
                      <a:lnTo>
                        <a:pt x="1374" y="96"/>
                      </a:lnTo>
                      <a:lnTo>
                        <a:pt x="1373" y="95"/>
                      </a:lnTo>
                      <a:lnTo>
                        <a:pt x="1374" y="92"/>
                      </a:lnTo>
                      <a:lnTo>
                        <a:pt x="1374" y="87"/>
                      </a:lnTo>
                      <a:lnTo>
                        <a:pt x="1374" y="85"/>
                      </a:lnTo>
                      <a:lnTo>
                        <a:pt x="1375" y="85"/>
                      </a:lnTo>
                      <a:lnTo>
                        <a:pt x="1376" y="79"/>
                      </a:lnTo>
                      <a:lnTo>
                        <a:pt x="1375" y="79"/>
                      </a:lnTo>
                      <a:lnTo>
                        <a:pt x="1377" y="71"/>
                      </a:lnTo>
                      <a:lnTo>
                        <a:pt x="1376" y="70"/>
                      </a:lnTo>
                      <a:lnTo>
                        <a:pt x="1377" y="68"/>
                      </a:lnTo>
                      <a:lnTo>
                        <a:pt x="1377" y="68"/>
                      </a:lnTo>
                      <a:lnTo>
                        <a:pt x="1378" y="67"/>
                      </a:lnTo>
                      <a:lnTo>
                        <a:pt x="1377" y="66"/>
                      </a:lnTo>
                      <a:lnTo>
                        <a:pt x="1376" y="65"/>
                      </a:lnTo>
                      <a:lnTo>
                        <a:pt x="1379" y="56"/>
                      </a:lnTo>
                      <a:lnTo>
                        <a:pt x="1378" y="53"/>
                      </a:lnTo>
                      <a:lnTo>
                        <a:pt x="1378" y="52"/>
                      </a:lnTo>
                      <a:lnTo>
                        <a:pt x="1379" y="52"/>
                      </a:lnTo>
                      <a:lnTo>
                        <a:pt x="1381" y="50"/>
                      </a:lnTo>
                      <a:lnTo>
                        <a:pt x="1382" y="52"/>
                      </a:lnTo>
                      <a:lnTo>
                        <a:pt x="1385" y="50"/>
                      </a:lnTo>
                      <a:lnTo>
                        <a:pt x="1386" y="54"/>
                      </a:lnTo>
                      <a:lnTo>
                        <a:pt x="1388" y="56"/>
                      </a:lnTo>
                      <a:lnTo>
                        <a:pt x="1388" y="53"/>
                      </a:lnTo>
                      <a:lnTo>
                        <a:pt x="1388" y="50"/>
                      </a:lnTo>
                      <a:lnTo>
                        <a:pt x="1389" y="50"/>
                      </a:lnTo>
                      <a:close/>
                      <a:moveTo>
                        <a:pt x="1429" y="18"/>
                      </a:moveTo>
                      <a:lnTo>
                        <a:pt x="1431" y="19"/>
                      </a:lnTo>
                      <a:lnTo>
                        <a:pt x="1431" y="18"/>
                      </a:lnTo>
                      <a:lnTo>
                        <a:pt x="1434" y="14"/>
                      </a:lnTo>
                      <a:lnTo>
                        <a:pt x="1435" y="11"/>
                      </a:lnTo>
                      <a:lnTo>
                        <a:pt x="1434" y="8"/>
                      </a:lnTo>
                      <a:lnTo>
                        <a:pt x="1435" y="4"/>
                      </a:lnTo>
                      <a:lnTo>
                        <a:pt x="1437" y="4"/>
                      </a:lnTo>
                      <a:lnTo>
                        <a:pt x="1437" y="2"/>
                      </a:lnTo>
                      <a:lnTo>
                        <a:pt x="1438" y="2"/>
                      </a:lnTo>
                      <a:lnTo>
                        <a:pt x="1438" y="5"/>
                      </a:lnTo>
                      <a:lnTo>
                        <a:pt x="1439" y="5"/>
                      </a:lnTo>
                      <a:lnTo>
                        <a:pt x="1440" y="6"/>
                      </a:lnTo>
                      <a:lnTo>
                        <a:pt x="1442" y="6"/>
                      </a:lnTo>
                      <a:lnTo>
                        <a:pt x="1445" y="7"/>
                      </a:lnTo>
                      <a:lnTo>
                        <a:pt x="1447" y="6"/>
                      </a:lnTo>
                      <a:lnTo>
                        <a:pt x="1448" y="8"/>
                      </a:lnTo>
                      <a:lnTo>
                        <a:pt x="1452" y="7"/>
                      </a:lnTo>
                      <a:lnTo>
                        <a:pt x="1453" y="7"/>
                      </a:lnTo>
                      <a:lnTo>
                        <a:pt x="1451" y="9"/>
                      </a:lnTo>
                      <a:lnTo>
                        <a:pt x="1451" y="12"/>
                      </a:lnTo>
                      <a:lnTo>
                        <a:pt x="1454" y="12"/>
                      </a:lnTo>
                      <a:lnTo>
                        <a:pt x="1455" y="12"/>
                      </a:lnTo>
                      <a:lnTo>
                        <a:pt x="1454" y="14"/>
                      </a:lnTo>
                      <a:lnTo>
                        <a:pt x="1452" y="14"/>
                      </a:lnTo>
                      <a:lnTo>
                        <a:pt x="1448" y="15"/>
                      </a:lnTo>
                      <a:lnTo>
                        <a:pt x="1446" y="17"/>
                      </a:lnTo>
                      <a:lnTo>
                        <a:pt x="1447" y="18"/>
                      </a:lnTo>
                      <a:lnTo>
                        <a:pt x="1449" y="19"/>
                      </a:lnTo>
                      <a:lnTo>
                        <a:pt x="1449" y="21"/>
                      </a:lnTo>
                      <a:lnTo>
                        <a:pt x="1451" y="22"/>
                      </a:lnTo>
                      <a:lnTo>
                        <a:pt x="1450" y="25"/>
                      </a:lnTo>
                      <a:lnTo>
                        <a:pt x="1451" y="29"/>
                      </a:lnTo>
                      <a:lnTo>
                        <a:pt x="1449" y="29"/>
                      </a:lnTo>
                      <a:lnTo>
                        <a:pt x="1450" y="27"/>
                      </a:lnTo>
                      <a:lnTo>
                        <a:pt x="1447" y="28"/>
                      </a:lnTo>
                      <a:lnTo>
                        <a:pt x="1447" y="27"/>
                      </a:lnTo>
                      <a:lnTo>
                        <a:pt x="1445" y="27"/>
                      </a:lnTo>
                      <a:lnTo>
                        <a:pt x="1441" y="26"/>
                      </a:lnTo>
                      <a:lnTo>
                        <a:pt x="1439" y="27"/>
                      </a:lnTo>
                      <a:lnTo>
                        <a:pt x="1442" y="29"/>
                      </a:lnTo>
                      <a:lnTo>
                        <a:pt x="1441" y="32"/>
                      </a:lnTo>
                      <a:lnTo>
                        <a:pt x="1442" y="34"/>
                      </a:lnTo>
                      <a:lnTo>
                        <a:pt x="1446" y="36"/>
                      </a:lnTo>
                      <a:lnTo>
                        <a:pt x="1446" y="38"/>
                      </a:lnTo>
                      <a:lnTo>
                        <a:pt x="1432" y="38"/>
                      </a:lnTo>
                      <a:lnTo>
                        <a:pt x="1432" y="40"/>
                      </a:lnTo>
                      <a:lnTo>
                        <a:pt x="1436" y="40"/>
                      </a:lnTo>
                      <a:lnTo>
                        <a:pt x="1437" y="40"/>
                      </a:lnTo>
                      <a:lnTo>
                        <a:pt x="1441" y="40"/>
                      </a:lnTo>
                      <a:lnTo>
                        <a:pt x="1443" y="41"/>
                      </a:lnTo>
                      <a:lnTo>
                        <a:pt x="1442" y="46"/>
                      </a:lnTo>
                      <a:lnTo>
                        <a:pt x="1438" y="50"/>
                      </a:lnTo>
                      <a:lnTo>
                        <a:pt x="1437" y="54"/>
                      </a:lnTo>
                      <a:lnTo>
                        <a:pt x="1434" y="54"/>
                      </a:lnTo>
                      <a:lnTo>
                        <a:pt x="1431" y="62"/>
                      </a:lnTo>
                      <a:lnTo>
                        <a:pt x="1432" y="64"/>
                      </a:lnTo>
                      <a:lnTo>
                        <a:pt x="1435" y="65"/>
                      </a:lnTo>
                      <a:lnTo>
                        <a:pt x="1435" y="66"/>
                      </a:lnTo>
                      <a:lnTo>
                        <a:pt x="1437" y="67"/>
                      </a:lnTo>
                      <a:lnTo>
                        <a:pt x="1437" y="67"/>
                      </a:lnTo>
                      <a:lnTo>
                        <a:pt x="1437" y="65"/>
                      </a:lnTo>
                      <a:lnTo>
                        <a:pt x="1438" y="65"/>
                      </a:lnTo>
                      <a:lnTo>
                        <a:pt x="1439" y="70"/>
                      </a:lnTo>
                      <a:lnTo>
                        <a:pt x="1438" y="71"/>
                      </a:lnTo>
                      <a:lnTo>
                        <a:pt x="1436" y="70"/>
                      </a:lnTo>
                      <a:lnTo>
                        <a:pt x="1436" y="72"/>
                      </a:lnTo>
                      <a:lnTo>
                        <a:pt x="1434" y="74"/>
                      </a:lnTo>
                      <a:lnTo>
                        <a:pt x="1433" y="74"/>
                      </a:lnTo>
                      <a:lnTo>
                        <a:pt x="1432" y="72"/>
                      </a:lnTo>
                      <a:lnTo>
                        <a:pt x="1430" y="73"/>
                      </a:lnTo>
                      <a:lnTo>
                        <a:pt x="1424" y="71"/>
                      </a:lnTo>
                      <a:lnTo>
                        <a:pt x="1423" y="68"/>
                      </a:lnTo>
                      <a:lnTo>
                        <a:pt x="1423" y="67"/>
                      </a:lnTo>
                      <a:lnTo>
                        <a:pt x="1420" y="69"/>
                      </a:lnTo>
                      <a:lnTo>
                        <a:pt x="1419" y="72"/>
                      </a:lnTo>
                      <a:lnTo>
                        <a:pt x="1417" y="74"/>
                      </a:lnTo>
                      <a:lnTo>
                        <a:pt x="1416" y="74"/>
                      </a:lnTo>
                      <a:lnTo>
                        <a:pt x="1411" y="73"/>
                      </a:lnTo>
                      <a:lnTo>
                        <a:pt x="1411" y="72"/>
                      </a:lnTo>
                      <a:lnTo>
                        <a:pt x="1412" y="71"/>
                      </a:lnTo>
                      <a:lnTo>
                        <a:pt x="1411" y="69"/>
                      </a:lnTo>
                      <a:lnTo>
                        <a:pt x="1408" y="70"/>
                      </a:lnTo>
                      <a:lnTo>
                        <a:pt x="1408" y="70"/>
                      </a:lnTo>
                      <a:lnTo>
                        <a:pt x="1409" y="68"/>
                      </a:lnTo>
                      <a:lnTo>
                        <a:pt x="1409" y="65"/>
                      </a:lnTo>
                      <a:lnTo>
                        <a:pt x="1412" y="65"/>
                      </a:lnTo>
                      <a:lnTo>
                        <a:pt x="1410" y="62"/>
                      </a:lnTo>
                      <a:lnTo>
                        <a:pt x="1410" y="60"/>
                      </a:lnTo>
                      <a:lnTo>
                        <a:pt x="1408" y="55"/>
                      </a:lnTo>
                      <a:lnTo>
                        <a:pt x="1409" y="55"/>
                      </a:lnTo>
                      <a:lnTo>
                        <a:pt x="1413" y="57"/>
                      </a:lnTo>
                      <a:lnTo>
                        <a:pt x="1414" y="57"/>
                      </a:lnTo>
                      <a:lnTo>
                        <a:pt x="1413" y="53"/>
                      </a:lnTo>
                      <a:lnTo>
                        <a:pt x="1411" y="53"/>
                      </a:lnTo>
                      <a:lnTo>
                        <a:pt x="1411" y="50"/>
                      </a:lnTo>
                      <a:lnTo>
                        <a:pt x="1413" y="50"/>
                      </a:lnTo>
                      <a:lnTo>
                        <a:pt x="1411" y="47"/>
                      </a:lnTo>
                      <a:lnTo>
                        <a:pt x="1412" y="44"/>
                      </a:lnTo>
                      <a:lnTo>
                        <a:pt x="1415" y="45"/>
                      </a:lnTo>
                      <a:lnTo>
                        <a:pt x="1415" y="44"/>
                      </a:lnTo>
                      <a:lnTo>
                        <a:pt x="1415" y="43"/>
                      </a:lnTo>
                      <a:lnTo>
                        <a:pt x="1416" y="42"/>
                      </a:lnTo>
                      <a:lnTo>
                        <a:pt x="1415" y="37"/>
                      </a:lnTo>
                      <a:lnTo>
                        <a:pt x="1417" y="37"/>
                      </a:lnTo>
                      <a:lnTo>
                        <a:pt x="1418" y="30"/>
                      </a:lnTo>
                      <a:lnTo>
                        <a:pt x="1416" y="26"/>
                      </a:lnTo>
                      <a:lnTo>
                        <a:pt x="1413" y="25"/>
                      </a:lnTo>
                      <a:lnTo>
                        <a:pt x="1414" y="24"/>
                      </a:lnTo>
                      <a:lnTo>
                        <a:pt x="1419" y="17"/>
                      </a:lnTo>
                      <a:lnTo>
                        <a:pt x="1416" y="16"/>
                      </a:lnTo>
                      <a:lnTo>
                        <a:pt x="1417" y="15"/>
                      </a:lnTo>
                      <a:lnTo>
                        <a:pt x="1422" y="11"/>
                      </a:lnTo>
                      <a:lnTo>
                        <a:pt x="1424" y="8"/>
                      </a:lnTo>
                      <a:lnTo>
                        <a:pt x="1425" y="8"/>
                      </a:lnTo>
                      <a:lnTo>
                        <a:pt x="1425" y="4"/>
                      </a:lnTo>
                      <a:lnTo>
                        <a:pt x="1426" y="2"/>
                      </a:lnTo>
                      <a:lnTo>
                        <a:pt x="1429" y="0"/>
                      </a:lnTo>
                      <a:lnTo>
                        <a:pt x="1430" y="1"/>
                      </a:lnTo>
                      <a:lnTo>
                        <a:pt x="1431" y="8"/>
                      </a:lnTo>
                      <a:lnTo>
                        <a:pt x="1429" y="17"/>
                      </a:lnTo>
                      <a:lnTo>
                        <a:pt x="1429" y="18"/>
                      </a:lnTo>
                      <a:close/>
                    </a:path>
                  </a:pathLst>
                </a:custGeom>
                <a:grpFill/>
                <a:ln w="317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900" dirty="0"/>
                </a:p>
              </p:txBody>
            </p:sp>
            <p:sp>
              <p:nvSpPr>
                <p:cNvPr id="139" name="Northern Ireland" descr="{&quot;Key&quot;:&quot;northern ireland&quot;,&quot;Name&quot;:&quot;Northern Ireland&quot;,&quot;Value&quot;:1.0,&quot;Formula&quot;:&quot;&quot;,&quot;Text&quot;:&quot;1&quot;,&quot;HasValue&quot;:true}">
                  <a:extLst>
                    <a:ext uri="{FF2B5EF4-FFF2-40B4-BE49-F238E27FC236}">
                      <a16:creationId xmlns:a16="http://schemas.microsoft.com/office/drawing/2014/main" id="{0224071A-5D47-CD0C-F9F6-AEF21A80D685}"/>
                    </a:ext>
                  </a:extLst>
                </p:cNvPr>
                <p:cNvSpPr>
                  <a:spLocks noEditPoints="1"/>
                </p:cNvSpPr>
                <p:nvPr/>
              </p:nvSpPr>
              <p:spPr bwMode="auto">
                <a:xfrm>
                  <a:off x="4821238" y="3502025"/>
                  <a:ext cx="915988" cy="746125"/>
                </a:xfrm>
                <a:custGeom>
                  <a:avLst/>
                  <a:gdLst>
                    <a:gd name="T0" fmla="*/ 377 w 577"/>
                    <a:gd name="T1" fmla="*/ 28 h 470"/>
                    <a:gd name="T2" fmla="*/ 397 w 577"/>
                    <a:gd name="T3" fmla="*/ 31 h 470"/>
                    <a:gd name="T4" fmla="*/ 421 w 577"/>
                    <a:gd name="T5" fmla="*/ 36 h 470"/>
                    <a:gd name="T6" fmla="*/ 446 w 577"/>
                    <a:gd name="T7" fmla="*/ 47 h 470"/>
                    <a:gd name="T8" fmla="*/ 450 w 577"/>
                    <a:gd name="T9" fmla="*/ 78 h 470"/>
                    <a:gd name="T10" fmla="*/ 463 w 577"/>
                    <a:gd name="T11" fmla="*/ 108 h 470"/>
                    <a:gd name="T12" fmla="*/ 475 w 577"/>
                    <a:gd name="T13" fmla="*/ 129 h 470"/>
                    <a:gd name="T14" fmla="*/ 497 w 577"/>
                    <a:gd name="T15" fmla="*/ 173 h 470"/>
                    <a:gd name="T16" fmla="*/ 515 w 577"/>
                    <a:gd name="T17" fmla="*/ 195 h 470"/>
                    <a:gd name="T18" fmla="*/ 509 w 577"/>
                    <a:gd name="T19" fmla="*/ 178 h 470"/>
                    <a:gd name="T20" fmla="*/ 520 w 577"/>
                    <a:gd name="T21" fmla="*/ 205 h 470"/>
                    <a:gd name="T22" fmla="*/ 489 w 577"/>
                    <a:gd name="T23" fmla="*/ 226 h 470"/>
                    <a:gd name="T24" fmla="*/ 477 w 577"/>
                    <a:gd name="T25" fmla="*/ 255 h 470"/>
                    <a:gd name="T26" fmla="*/ 497 w 577"/>
                    <a:gd name="T27" fmla="*/ 241 h 470"/>
                    <a:gd name="T28" fmla="*/ 534 w 577"/>
                    <a:gd name="T29" fmla="*/ 237 h 470"/>
                    <a:gd name="T30" fmla="*/ 554 w 577"/>
                    <a:gd name="T31" fmla="*/ 242 h 470"/>
                    <a:gd name="T32" fmla="*/ 562 w 577"/>
                    <a:gd name="T33" fmla="*/ 265 h 470"/>
                    <a:gd name="T34" fmla="*/ 575 w 577"/>
                    <a:gd name="T35" fmla="*/ 307 h 470"/>
                    <a:gd name="T36" fmla="*/ 570 w 577"/>
                    <a:gd name="T37" fmla="*/ 327 h 470"/>
                    <a:gd name="T38" fmla="*/ 565 w 577"/>
                    <a:gd name="T39" fmla="*/ 349 h 470"/>
                    <a:gd name="T40" fmla="*/ 554 w 577"/>
                    <a:gd name="T41" fmla="*/ 342 h 470"/>
                    <a:gd name="T42" fmla="*/ 552 w 577"/>
                    <a:gd name="T43" fmla="*/ 323 h 470"/>
                    <a:gd name="T44" fmla="*/ 555 w 577"/>
                    <a:gd name="T45" fmla="*/ 319 h 470"/>
                    <a:gd name="T46" fmla="*/ 556 w 577"/>
                    <a:gd name="T47" fmla="*/ 308 h 470"/>
                    <a:gd name="T48" fmla="*/ 552 w 577"/>
                    <a:gd name="T49" fmla="*/ 293 h 470"/>
                    <a:gd name="T50" fmla="*/ 540 w 577"/>
                    <a:gd name="T51" fmla="*/ 278 h 470"/>
                    <a:gd name="T52" fmla="*/ 518 w 577"/>
                    <a:gd name="T53" fmla="*/ 284 h 470"/>
                    <a:gd name="T54" fmla="*/ 533 w 577"/>
                    <a:gd name="T55" fmla="*/ 294 h 470"/>
                    <a:gd name="T56" fmla="*/ 531 w 577"/>
                    <a:gd name="T57" fmla="*/ 293 h 470"/>
                    <a:gd name="T58" fmla="*/ 532 w 577"/>
                    <a:gd name="T59" fmla="*/ 304 h 470"/>
                    <a:gd name="T60" fmla="*/ 533 w 577"/>
                    <a:gd name="T61" fmla="*/ 313 h 470"/>
                    <a:gd name="T62" fmla="*/ 534 w 577"/>
                    <a:gd name="T63" fmla="*/ 318 h 470"/>
                    <a:gd name="T64" fmla="*/ 533 w 577"/>
                    <a:gd name="T65" fmla="*/ 326 h 470"/>
                    <a:gd name="T66" fmla="*/ 526 w 577"/>
                    <a:gd name="T67" fmla="*/ 341 h 470"/>
                    <a:gd name="T68" fmla="*/ 536 w 577"/>
                    <a:gd name="T69" fmla="*/ 342 h 470"/>
                    <a:gd name="T70" fmla="*/ 550 w 577"/>
                    <a:gd name="T71" fmla="*/ 342 h 470"/>
                    <a:gd name="T72" fmla="*/ 554 w 577"/>
                    <a:gd name="T73" fmla="*/ 362 h 470"/>
                    <a:gd name="T74" fmla="*/ 550 w 577"/>
                    <a:gd name="T75" fmla="*/ 375 h 470"/>
                    <a:gd name="T76" fmla="*/ 536 w 577"/>
                    <a:gd name="T77" fmla="*/ 385 h 470"/>
                    <a:gd name="T78" fmla="*/ 532 w 577"/>
                    <a:gd name="T79" fmla="*/ 394 h 470"/>
                    <a:gd name="T80" fmla="*/ 517 w 577"/>
                    <a:gd name="T81" fmla="*/ 388 h 470"/>
                    <a:gd name="T82" fmla="*/ 494 w 577"/>
                    <a:gd name="T83" fmla="*/ 385 h 470"/>
                    <a:gd name="T84" fmla="*/ 490 w 577"/>
                    <a:gd name="T85" fmla="*/ 387 h 470"/>
                    <a:gd name="T86" fmla="*/ 468 w 577"/>
                    <a:gd name="T87" fmla="*/ 451 h 470"/>
                    <a:gd name="T88" fmla="*/ 441 w 577"/>
                    <a:gd name="T89" fmla="*/ 466 h 470"/>
                    <a:gd name="T90" fmla="*/ 432 w 577"/>
                    <a:gd name="T91" fmla="*/ 454 h 470"/>
                    <a:gd name="T92" fmla="*/ 410 w 577"/>
                    <a:gd name="T93" fmla="*/ 442 h 470"/>
                    <a:gd name="T94" fmla="*/ 392 w 577"/>
                    <a:gd name="T95" fmla="*/ 429 h 470"/>
                    <a:gd name="T96" fmla="*/ 333 w 577"/>
                    <a:gd name="T97" fmla="*/ 461 h 470"/>
                    <a:gd name="T98" fmla="*/ 204 w 577"/>
                    <a:gd name="T99" fmla="*/ 371 h 470"/>
                    <a:gd name="T100" fmla="*/ 164 w 577"/>
                    <a:gd name="T101" fmla="*/ 436 h 470"/>
                    <a:gd name="T102" fmla="*/ 32 w 577"/>
                    <a:gd name="T103" fmla="*/ 349 h 470"/>
                    <a:gd name="T104" fmla="*/ 77 w 577"/>
                    <a:gd name="T105" fmla="*/ 248 h 470"/>
                    <a:gd name="T106" fmla="*/ 159 w 577"/>
                    <a:gd name="T107" fmla="*/ 138 h 470"/>
                    <a:gd name="T108" fmla="*/ 198 w 577"/>
                    <a:gd name="T109" fmla="*/ 101 h 470"/>
                    <a:gd name="T110" fmla="*/ 237 w 577"/>
                    <a:gd name="T111" fmla="*/ 95 h 470"/>
                    <a:gd name="T112" fmla="*/ 251 w 577"/>
                    <a:gd name="T113" fmla="*/ 70 h 470"/>
                    <a:gd name="T114" fmla="*/ 270 w 577"/>
                    <a:gd name="T115" fmla="*/ 54 h 470"/>
                    <a:gd name="T116" fmla="*/ 306 w 577"/>
                    <a:gd name="T117" fmla="*/ 47 h 470"/>
                    <a:gd name="T118" fmla="*/ 324 w 577"/>
                    <a:gd name="T119" fmla="*/ 40 h 470"/>
                    <a:gd name="T120" fmla="*/ 349 w 577"/>
                    <a:gd name="T121" fmla="*/ 29 h 470"/>
                    <a:gd name="T122" fmla="*/ 420 w 577"/>
                    <a:gd name="T123" fmla="*/ 15 h 470"/>
                    <a:gd name="T124" fmla="*/ 403 w 577"/>
                    <a:gd name="T125" fmla="*/ 1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7" h="470">
                      <a:moveTo>
                        <a:pt x="357" y="23"/>
                      </a:moveTo>
                      <a:lnTo>
                        <a:pt x="357" y="23"/>
                      </a:lnTo>
                      <a:lnTo>
                        <a:pt x="357" y="23"/>
                      </a:lnTo>
                      <a:lnTo>
                        <a:pt x="357" y="23"/>
                      </a:lnTo>
                      <a:lnTo>
                        <a:pt x="358" y="23"/>
                      </a:lnTo>
                      <a:lnTo>
                        <a:pt x="358" y="23"/>
                      </a:lnTo>
                      <a:lnTo>
                        <a:pt x="360" y="23"/>
                      </a:lnTo>
                      <a:lnTo>
                        <a:pt x="360" y="24"/>
                      </a:lnTo>
                      <a:lnTo>
                        <a:pt x="360" y="24"/>
                      </a:lnTo>
                      <a:lnTo>
                        <a:pt x="360" y="25"/>
                      </a:lnTo>
                      <a:lnTo>
                        <a:pt x="361" y="24"/>
                      </a:lnTo>
                      <a:lnTo>
                        <a:pt x="361" y="25"/>
                      </a:lnTo>
                      <a:lnTo>
                        <a:pt x="361" y="25"/>
                      </a:lnTo>
                      <a:lnTo>
                        <a:pt x="361" y="25"/>
                      </a:lnTo>
                      <a:lnTo>
                        <a:pt x="361" y="26"/>
                      </a:lnTo>
                      <a:lnTo>
                        <a:pt x="362" y="26"/>
                      </a:lnTo>
                      <a:lnTo>
                        <a:pt x="362" y="27"/>
                      </a:lnTo>
                      <a:lnTo>
                        <a:pt x="362" y="27"/>
                      </a:lnTo>
                      <a:lnTo>
                        <a:pt x="363" y="27"/>
                      </a:lnTo>
                      <a:lnTo>
                        <a:pt x="364" y="28"/>
                      </a:lnTo>
                      <a:lnTo>
                        <a:pt x="364" y="27"/>
                      </a:lnTo>
                      <a:lnTo>
                        <a:pt x="364" y="28"/>
                      </a:lnTo>
                      <a:lnTo>
                        <a:pt x="365" y="28"/>
                      </a:lnTo>
                      <a:lnTo>
                        <a:pt x="366" y="28"/>
                      </a:lnTo>
                      <a:lnTo>
                        <a:pt x="366" y="28"/>
                      </a:lnTo>
                      <a:lnTo>
                        <a:pt x="367" y="28"/>
                      </a:lnTo>
                      <a:lnTo>
                        <a:pt x="368" y="28"/>
                      </a:lnTo>
                      <a:lnTo>
                        <a:pt x="369" y="28"/>
                      </a:lnTo>
                      <a:lnTo>
                        <a:pt x="369" y="28"/>
                      </a:lnTo>
                      <a:lnTo>
                        <a:pt x="370" y="28"/>
                      </a:lnTo>
                      <a:lnTo>
                        <a:pt x="371" y="29"/>
                      </a:lnTo>
                      <a:lnTo>
                        <a:pt x="371" y="29"/>
                      </a:lnTo>
                      <a:lnTo>
                        <a:pt x="370" y="29"/>
                      </a:lnTo>
                      <a:lnTo>
                        <a:pt x="371" y="30"/>
                      </a:lnTo>
                      <a:lnTo>
                        <a:pt x="371" y="30"/>
                      </a:lnTo>
                      <a:lnTo>
                        <a:pt x="372" y="30"/>
                      </a:lnTo>
                      <a:lnTo>
                        <a:pt x="372" y="30"/>
                      </a:lnTo>
                      <a:lnTo>
                        <a:pt x="372" y="31"/>
                      </a:lnTo>
                      <a:lnTo>
                        <a:pt x="374" y="30"/>
                      </a:lnTo>
                      <a:lnTo>
                        <a:pt x="374" y="30"/>
                      </a:lnTo>
                      <a:lnTo>
                        <a:pt x="375" y="30"/>
                      </a:lnTo>
                      <a:lnTo>
                        <a:pt x="377" y="28"/>
                      </a:lnTo>
                      <a:lnTo>
                        <a:pt x="376" y="27"/>
                      </a:lnTo>
                      <a:lnTo>
                        <a:pt x="377" y="27"/>
                      </a:lnTo>
                      <a:lnTo>
                        <a:pt x="377" y="26"/>
                      </a:lnTo>
                      <a:lnTo>
                        <a:pt x="377" y="26"/>
                      </a:lnTo>
                      <a:lnTo>
                        <a:pt x="378" y="26"/>
                      </a:lnTo>
                      <a:lnTo>
                        <a:pt x="379" y="26"/>
                      </a:lnTo>
                      <a:lnTo>
                        <a:pt x="379" y="26"/>
                      </a:lnTo>
                      <a:lnTo>
                        <a:pt x="379" y="26"/>
                      </a:lnTo>
                      <a:lnTo>
                        <a:pt x="379" y="26"/>
                      </a:lnTo>
                      <a:lnTo>
                        <a:pt x="379" y="26"/>
                      </a:lnTo>
                      <a:lnTo>
                        <a:pt x="379" y="25"/>
                      </a:lnTo>
                      <a:lnTo>
                        <a:pt x="380" y="26"/>
                      </a:lnTo>
                      <a:lnTo>
                        <a:pt x="380" y="25"/>
                      </a:lnTo>
                      <a:lnTo>
                        <a:pt x="380" y="25"/>
                      </a:lnTo>
                      <a:lnTo>
                        <a:pt x="381" y="25"/>
                      </a:lnTo>
                      <a:lnTo>
                        <a:pt x="380" y="25"/>
                      </a:lnTo>
                      <a:lnTo>
                        <a:pt x="381" y="26"/>
                      </a:lnTo>
                      <a:lnTo>
                        <a:pt x="382" y="26"/>
                      </a:lnTo>
                      <a:lnTo>
                        <a:pt x="382" y="27"/>
                      </a:lnTo>
                      <a:lnTo>
                        <a:pt x="382" y="27"/>
                      </a:lnTo>
                      <a:lnTo>
                        <a:pt x="382" y="27"/>
                      </a:lnTo>
                      <a:lnTo>
                        <a:pt x="383" y="27"/>
                      </a:lnTo>
                      <a:lnTo>
                        <a:pt x="384" y="26"/>
                      </a:lnTo>
                      <a:lnTo>
                        <a:pt x="384" y="26"/>
                      </a:lnTo>
                      <a:lnTo>
                        <a:pt x="384" y="27"/>
                      </a:lnTo>
                      <a:lnTo>
                        <a:pt x="385" y="28"/>
                      </a:lnTo>
                      <a:lnTo>
                        <a:pt x="387" y="28"/>
                      </a:lnTo>
                      <a:lnTo>
                        <a:pt x="388" y="28"/>
                      </a:lnTo>
                      <a:lnTo>
                        <a:pt x="387" y="27"/>
                      </a:lnTo>
                      <a:lnTo>
                        <a:pt x="388" y="27"/>
                      </a:lnTo>
                      <a:lnTo>
                        <a:pt x="388" y="27"/>
                      </a:lnTo>
                      <a:lnTo>
                        <a:pt x="388" y="28"/>
                      </a:lnTo>
                      <a:lnTo>
                        <a:pt x="388" y="29"/>
                      </a:lnTo>
                      <a:lnTo>
                        <a:pt x="389" y="29"/>
                      </a:lnTo>
                      <a:lnTo>
                        <a:pt x="389" y="29"/>
                      </a:lnTo>
                      <a:lnTo>
                        <a:pt x="390" y="30"/>
                      </a:lnTo>
                      <a:lnTo>
                        <a:pt x="390" y="30"/>
                      </a:lnTo>
                      <a:lnTo>
                        <a:pt x="393" y="31"/>
                      </a:lnTo>
                      <a:lnTo>
                        <a:pt x="395" y="31"/>
                      </a:lnTo>
                      <a:lnTo>
                        <a:pt x="396" y="31"/>
                      </a:lnTo>
                      <a:lnTo>
                        <a:pt x="397" y="31"/>
                      </a:lnTo>
                      <a:lnTo>
                        <a:pt x="397" y="31"/>
                      </a:lnTo>
                      <a:lnTo>
                        <a:pt x="397" y="32"/>
                      </a:lnTo>
                      <a:lnTo>
                        <a:pt x="398" y="33"/>
                      </a:lnTo>
                      <a:lnTo>
                        <a:pt x="398" y="33"/>
                      </a:lnTo>
                      <a:lnTo>
                        <a:pt x="399" y="34"/>
                      </a:lnTo>
                      <a:lnTo>
                        <a:pt x="400" y="34"/>
                      </a:lnTo>
                      <a:lnTo>
                        <a:pt x="401" y="34"/>
                      </a:lnTo>
                      <a:lnTo>
                        <a:pt x="402" y="35"/>
                      </a:lnTo>
                      <a:lnTo>
                        <a:pt x="402" y="36"/>
                      </a:lnTo>
                      <a:lnTo>
                        <a:pt x="402" y="36"/>
                      </a:lnTo>
                      <a:lnTo>
                        <a:pt x="402" y="36"/>
                      </a:lnTo>
                      <a:lnTo>
                        <a:pt x="403" y="36"/>
                      </a:lnTo>
                      <a:lnTo>
                        <a:pt x="404" y="37"/>
                      </a:lnTo>
                      <a:lnTo>
                        <a:pt x="406" y="37"/>
                      </a:lnTo>
                      <a:lnTo>
                        <a:pt x="407" y="38"/>
                      </a:lnTo>
                      <a:lnTo>
                        <a:pt x="407" y="38"/>
                      </a:lnTo>
                      <a:lnTo>
                        <a:pt x="408" y="39"/>
                      </a:lnTo>
                      <a:lnTo>
                        <a:pt x="408" y="39"/>
                      </a:lnTo>
                      <a:lnTo>
                        <a:pt x="408" y="39"/>
                      </a:lnTo>
                      <a:lnTo>
                        <a:pt x="408" y="40"/>
                      </a:lnTo>
                      <a:lnTo>
                        <a:pt x="408" y="40"/>
                      </a:lnTo>
                      <a:lnTo>
                        <a:pt x="409" y="40"/>
                      </a:lnTo>
                      <a:lnTo>
                        <a:pt x="409" y="40"/>
                      </a:lnTo>
                      <a:lnTo>
                        <a:pt x="411" y="40"/>
                      </a:lnTo>
                      <a:lnTo>
                        <a:pt x="411" y="39"/>
                      </a:lnTo>
                      <a:lnTo>
                        <a:pt x="411" y="39"/>
                      </a:lnTo>
                      <a:lnTo>
                        <a:pt x="413" y="39"/>
                      </a:lnTo>
                      <a:lnTo>
                        <a:pt x="413" y="38"/>
                      </a:lnTo>
                      <a:lnTo>
                        <a:pt x="414" y="38"/>
                      </a:lnTo>
                      <a:lnTo>
                        <a:pt x="414" y="38"/>
                      </a:lnTo>
                      <a:lnTo>
                        <a:pt x="415" y="38"/>
                      </a:lnTo>
                      <a:lnTo>
                        <a:pt x="415" y="37"/>
                      </a:lnTo>
                      <a:lnTo>
                        <a:pt x="416" y="37"/>
                      </a:lnTo>
                      <a:lnTo>
                        <a:pt x="417" y="38"/>
                      </a:lnTo>
                      <a:lnTo>
                        <a:pt x="417" y="37"/>
                      </a:lnTo>
                      <a:lnTo>
                        <a:pt x="418" y="37"/>
                      </a:lnTo>
                      <a:lnTo>
                        <a:pt x="418" y="37"/>
                      </a:lnTo>
                      <a:lnTo>
                        <a:pt x="419" y="37"/>
                      </a:lnTo>
                      <a:lnTo>
                        <a:pt x="419" y="37"/>
                      </a:lnTo>
                      <a:lnTo>
                        <a:pt x="420" y="37"/>
                      </a:lnTo>
                      <a:lnTo>
                        <a:pt x="421" y="36"/>
                      </a:lnTo>
                      <a:lnTo>
                        <a:pt x="421" y="36"/>
                      </a:lnTo>
                      <a:lnTo>
                        <a:pt x="421" y="36"/>
                      </a:lnTo>
                      <a:lnTo>
                        <a:pt x="421" y="35"/>
                      </a:lnTo>
                      <a:lnTo>
                        <a:pt x="422" y="34"/>
                      </a:lnTo>
                      <a:lnTo>
                        <a:pt x="423" y="34"/>
                      </a:lnTo>
                      <a:lnTo>
                        <a:pt x="423" y="33"/>
                      </a:lnTo>
                      <a:lnTo>
                        <a:pt x="423" y="33"/>
                      </a:lnTo>
                      <a:lnTo>
                        <a:pt x="424" y="32"/>
                      </a:lnTo>
                      <a:lnTo>
                        <a:pt x="424" y="32"/>
                      </a:lnTo>
                      <a:lnTo>
                        <a:pt x="425" y="32"/>
                      </a:lnTo>
                      <a:lnTo>
                        <a:pt x="427" y="32"/>
                      </a:lnTo>
                      <a:lnTo>
                        <a:pt x="427" y="32"/>
                      </a:lnTo>
                      <a:lnTo>
                        <a:pt x="428" y="32"/>
                      </a:lnTo>
                      <a:lnTo>
                        <a:pt x="428" y="32"/>
                      </a:lnTo>
                      <a:lnTo>
                        <a:pt x="430" y="33"/>
                      </a:lnTo>
                      <a:lnTo>
                        <a:pt x="431" y="34"/>
                      </a:lnTo>
                      <a:lnTo>
                        <a:pt x="431" y="35"/>
                      </a:lnTo>
                      <a:lnTo>
                        <a:pt x="431" y="35"/>
                      </a:lnTo>
                      <a:lnTo>
                        <a:pt x="432" y="35"/>
                      </a:lnTo>
                      <a:lnTo>
                        <a:pt x="433" y="36"/>
                      </a:lnTo>
                      <a:lnTo>
                        <a:pt x="433" y="37"/>
                      </a:lnTo>
                      <a:lnTo>
                        <a:pt x="434" y="38"/>
                      </a:lnTo>
                      <a:lnTo>
                        <a:pt x="434" y="38"/>
                      </a:lnTo>
                      <a:lnTo>
                        <a:pt x="435" y="38"/>
                      </a:lnTo>
                      <a:lnTo>
                        <a:pt x="436" y="38"/>
                      </a:lnTo>
                      <a:lnTo>
                        <a:pt x="436" y="38"/>
                      </a:lnTo>
                      <a:lnTo>
                        <a:pt x="437" y="38"/>
                      </a:lnTo>
                      <a:lnTo>
                        <a:pt x="438" y="40"/>
                      </a:lnTo>
                      <a:lnTo>
                        <a:pt x="440" y="40"/>
                      </a:lnTo>
                      <a:lnTo>
                        <a:pt x="442" y="42"/>
                      </a:lnTo>
                      <a:lnTo>
                        <a:pt x="443" y="42"/>
                      </a:lnTo>
                      <a:lnTo>
                        <a:pt x="444" y="43"/>
                      </a:lnTo>
                      <a:lnTo>
                        <a:pt x="444" y="43"/>
                      </a:lnTo>
                      <a:lnTo>
                        <a:pt x="445" y="42"/>
                      </a:lnTo>
                      <a:lnTo>
                        <a:pt x="445" y="42"/>
                      </a:lnTo>
                      <a:lnTo>
                        <a:pt x="445" y="42"/>
                      </a:lnTo>
                      <a:lnTo>
                        <a:pt x="445" y="43"/>
                      </a:lnTo>
                      <a:lnTo>
                        <a:pt x="445" y="43"/>
                      </a:lnTo>
                      <a:lnTo>
                        <a:pt x="445" y="43"/>
                      </a:lnTo>
                      <a:lnTo>
                        <a:pt x="445" y="44"/>
                      </a:lnTo>
                      <a:lnTo>
                        <a:pt x="445" y="44"/>
                      </a:lnTo>
                      <a:lnTo>
                        <a:pt x="444" y="44"/>
                      </a:lnTo>
                      <a:lnTo>
                        <a:pt x="445" y="46"/>
                      </a:lnTo>
                      <a:lnTo>
                        <a:pt x="446" y="47"/>
                      </a:lnTo>
                      <a:lnTo>
                        <a:pt x="446" y="47"/>
                      </a:lnTo>
                      <a:lnTo>
                        <a:pt x="446" y="48"/>
                      </a:lnTo>
                      <a:lnTo>
                        <a:pt x="446" y="48"/>
                      </a:lnTo>
                      <a:lnTo>
                        <a:pt x="447" y="49"/>
                      </a:lnTo>
                      <a:lnTo>
                        <a:pt x="447" y="51"/>
                      </a:lnTo>
                      <a:lnTo>
                        <a:pt x="448" y="52"/>
                      </a:lnTo>
                      <a:lnTo>
                        <a:pt x="448" y="53"/>
                      </a:lnTo>
                      <a:lnTo>
                        <a:pt x="449" y="53"/>
                      </a:lnTo>
                      <a:lnTo>
                        <a:pt x="450" y="53"/>
                      </a:lnTo>
                      <a:lnTo>
                        <a:pt x="451" y="53"/>
                      </a:lnTo>
                      <a:lnTo>
                        <a:pt x="451" y="54"/>
                      </a:lnTo>
                      <a:lnTo>
                        <a:pt x="452" y="55"/>
                      </a:lnTo>
                      <a:lnTo>
                        <a:pt x="452" y="55"/>
                      </a:lnTo>
                      <a:lnTo>
                        <a:pt x="452" y="56"/>
                      </a:lnTo>
                      <a:lnTo>
                        <a:pt x="452" y="57"/>
                      </a:lnTo>
                      <a:lnTo>
                        <a:pt x="452" y="57"/>
                      </a:lnTo>
                      <a:lnTo>
                        <a:pt x="452" y="58"/>
                      </a:lnTo>
                      <a:lnTo>
                        <a:pt x="453" y="59"/>
                      </a:lnTo>
                      <a:lnTo>
                        <a:pt x="452" y="59"/>
                      </a:lnTo>
                      <a:lnTo>
                        <a:pt x="453" y="59"/>
                      </a:lnTo>
                      <a:lnTo>
                        <a:pt x="452" y="61"/>
                      </a:lnTo>
                      <a:lnTo>
                        <a:pt x="453" y="61"/>
                      </a:lnTo>
                      <a:lnTo>
                        <a:pt x="453" y="63"/>
                      </a:lnTo>
                      <a:lnTo>
                        <a:pt x="453" y="63"/>
                      </a:lnTo>
                      <a:lnTo>
                        <a:pt x="453" y="63"/>
                      </a:lnTo>
                      <a:lnTo>
                        <a:pt x="453" y="64"/>
                      </a:lnTo>
                      <a:lnTo>
                        <a:pt x="451" y="66"/>
                      </a:lnTo>
                      <a:lnTo>
                        <a:pt x="451" y="66"/>
                      </a:lnTo>
                      <a:lnTo>
                        <a:pt x="450" y="67"/>
                      </a:lnTo>
                      <a:lnTo>
                        <a:pt x="449" y="67"/>
                      </a:lnTo>
                      <a:lnTo>
                        <a:pt x="449" y="69"/>
                      </a:lnTo>
                      <a:lnTo>
                        <a:pt x="449" y="69"/>
                      </a:lnTo>
                      <a:lnTo>
                        <a:pt x="450" y="69"/>
                      </a:lnTo>
                      <a:lnTo>
                        <a:pt x="450" y="70"/>
                      </a:lnTo>
                      <a:lnTo>
                        <a:pt x="451" y="70"/>
                      </a:lnTo>
                      <a:lnTo>
                        <a:pt x="451" y="72"/>
                      </a:lnTo>
                      <a:lnTo>
                        <a:pt x="451" y="72"/>
                      </a:lnTo>
                      <a:lnTo>
                        <a:pt x="451" y="72"/>
                      </a:lnTo>
                      <a:lnTo>
                        <a:pt x="451" y="75"/>
                      </a:lnTo>
                      <a:lnTo>
                        <a:pt x="451" y="75"/>
                      </a:lnTo>
                      <a:lnTo>
                        <a:pt x="450" y="77"/>
                      </a:lnTo>
                      <a:lnTo>
                        <a:pt x="450" y="78"/>
                      </a:lnTo>
                      <a:lnTo>
                        <a:pt x="450" y="78"/>
                      </a:lnTo>
                      <a:lnTo>
                        <a:pt x="449" y="79"/>
                      </a:lnTo>
                      <a:lnTo>
                        <a:pt x="449" y="80"/>
                      </a:lnTo>
                      <a:lnTo>
                        <a:pt x="448" y="81"/>
                      </a:lnTo>
                      <a:lnTo>
                        <a:pt x="448" y="84"/>
                      </a:lnTo>
                      <a:lnTo>
                        <a:pt x="446" y="85"/>
                      </a:lnTo>
                      <a:lnTo>
                        <a:pt x="446" y="86"/>
                      </a:lnTo>
                      <a:lnTo>
                        <a:pt x="447" y="86"/>
                      </a:lnTo>
                      <a:lnTo>
                        <a:pt x="447" y="88"/>
                      </a:lnTo>
                      <a:lnTo>
                        <a:pt x="447" y="88"/>
                      </a:lnTo>
                      <a:lnTo>
                        <a:pt x="447" y="89"/>
                      </a:lnTo>
                      <a:lnTo>
                        <a:pt x="446" y="90"/>
                      </a:lnTo>
                      <a:lnTo>
                        <a:pt x="447" y="91"/>
                      </a:lnTo>
                      <a:lnTo>
                        <a:pt x="446" y="91"/>
                      </a:lnTo>
                      <a:lnTo>
                        <a:pt x="446" y="92"/>
                      </a:lnTo>
                      <a:lnTo>
                        <a:pt x="446" y="93"/>
                      </a:lnTo>
                      <a:lnTo>
                        <a:pt x="446" y="93"/>
                      </a:lnTo>
                      <a:lnTo>
                        <a:pt x="446" y="94"/>
                      </a:lnTo>
                      <a:lnTo>
                        <a:pt x="447" y="94"/>
                      </a:lnTo>
                      <a:lnTo>
                        <a:pt x="447" y="95"/>
                      </a:lnTo>
                      <a:lnTo>
                        <a:pt x="448" y="95"/>
                      </a:lnTo>
                      <a:lnTo>
                        <a:pt x="448" y="96"/>
                      </a:lnTo>
                      <a:lnTo>
                        <a:pt x="450" y="96"/>
                      </a:lnTo>
                      <a:lnTo>
                        <a:pt x="451" y="95"/>
                      </a:lnTo>
                      <a:lnTo>
                        <a:pt x="452" y="95"/>
                      </a:lnTo>
                      <a:lnTo>
                        <a:pt x="453" y="94"/>
                      </a:lnTo>
                      <a:lnTo>
                        <a:pt x="455" y="95"/>
                      </a:lnTo>
                      <a:lnTo>
                        <a:pt x="456" y="94"/>
                      </a:lnTo>
                      <a:lnTo>
                        <a:pt x="460" y="94"/>
                      </a:lnTo>
                      <a:lnTo>
                        <a:pt x="461" y="94"/>
                      </a:lnTo>
                      <a:lnTo>
                        <a:pt x="464" y="95"/>
                      </a:lnTo>
                      <a:lnTo>
                        <a:pt x="465" y="96"/>
                      </a:lnTo>
                      <a:lnTo>
                        <a:pt x="465" y="97"/>
                      </a:lnTo>
                      <a:lnTo>
                        <a:pt x="465" y="99"/>
                      </a:lnTo>
                      <a:lnTo>
                        <a:pt x="465" y="99"/>
                      </a:lnTo>
                      <a:lnTo>
                        <a:pt x="465" y="100"/>
                      </a:lnTo>
                      <a:lnTo>
                        <a:pt x="465" y="101"/>
                      </a:lnTo>
                      <a:lnTo>
                        <a:pt x="464" y="101"/>
                      </a:lnTo>
                      <a:lnTo>
                        <a:pt x="464" y="103"/>
                      </a:lnTo>
                      <a:lnTo>
                        <a:pt x="463" y="104"/>
                      </a:lnTo>
                      <a:lnTo>
                        <a:pt x="464" y="107"/>
                      </a:lnTo>
                      <a:lnTo>
                        <a:pt x="463" y="108"/>
                      </a:lnTo>
                      <a:lnTo>
                        <a:pt x="463" y="108"/>
                      </a:lnTo>
                      <a:lnTo>
                        <a:pt x="462" y="109"/>
                      </a:lnTo>
                      <a:lnTo>
                        <a:pt x="463" y="110"/>
                      </a:lnTo>
                      <a:lnTo>
                        <a:pt x="462" y="110"/>
                      </a:lnTo>
                      <a:lnTo>
                        <a:pt x="462" y="110"/>
                      </a:lnTo>
                      <a:lnTo>
                        <a:pt x="462" y="111"/>
                      </a:lnTo>
                      <a:lnTo>
                        <a:pt x="462" y="111"/>
                      </a:lnTo>
                      <a:lnTo>
                        <a:pt x="462" y="111"/>
                      </a:lnTo>
                      <a:lnTo>
                        <a:pt x="462" y="112"/>
                      </a:lnTo>
                      <a:lnTo>
                        <a:pt x="462" y="113"/>
                      </a:lnTo>
                      <a:lnTo>
                        <a:pt x="461" y="114"/>
                      </a:lnTo>
                      <a:lnTo>
                        <a:pt x="461" y="114"/>
                      </a:lnTo>
                      <a:lnTo>
                        <a:pt x="461" y="114"/>
                      </a:lnTo>
                      <a:lnTo>
                        <a:pt x="460" y="115"/>
                      </a:lnTo>
                      <a:lnTo>
                        <a:pt x="460" y="117"/>
                      </a:lnTo>
                      <a:lnTo>
                        <a:pt x="460" y="118"/>
                      </a:lnTo>
                      <a:lnTo>
                        <a:pt x="459" y="118"/>
                      </a:lnTo>
                      <a:lnTo>
                        <a:pt x="459" y="119"/>
                      </a:lnTo>
                      <a:lnTo>
                        <a:pt x="459" y="120"/>
                      </a:lnTo>
                      <a:lnTo>
                        <a:pt x="460" y="122"/>
                      </a:lnTo>
                      <a:lnTo>
                        <a:pt x="461" y="123"/>
                      </a:lnTo>
                      <a:lnTo>
                        <a:pt x="461" y="123"/>
                      </a:lnTo>
                      <a:lnTo>
                        <a:pt x="461" y="124"/>
                      </a:lnTo>
                      <a:lnTo>
                        <a:pt x="461" y="124"/>
                      </a:lnTo>
                      <a:lnTo>
                        <a:pt x="462" y="123"/>
                      </a:lnTo>
                      <a:lnTo>
                        <a:pt x="463" y="123"/>
                      </a:lnTo>
                      <a:lnTo>
                        <a:pt x="464" y="123"/>
                      </a:lnTo>
                      <a:lnTo>
                        <a:pt x="465" y="123"/>
                      </a:lnTo>
                      <a:lnTo>
                        <a:pt x="467" y="125"/>
                      </a:lnTo>
                      <a:lnTo>
                        <a:pt x="467" y="125"/>
                      </a:lnTo>
                      <a:lnTo>
                        <a:pt x="467" y="126"/>
                      </a:lnTo>
                      <a:lnTo>
                        <a:pt x="467" y="126"/>
                      </a:lnTo>
                      <a:lnTo>
                        <a:pt x="467" y="126"/>
                      </a:lnTo>
                      <a:lnTo>
                        <a:pt x="467" y="127"/>
                      </a:lnTo>
                      <a:lnTo>
                        <a:pt x="468" y="127"/>
                      </a:lnTo>
                      <a:lnTo>
                        <a:pt x="468" y="127"/>
                      </a:lnTo>
                      <a:lnTo>
                        <a:pt x="469" y="126"/>
                      </a:lnTo>
                      <a:lnTo>
                        <a:pt x="471" y="126"/>
                      </a:lnTo>
                      <a:lnTo>
                        <a:pt x="473" y="127"/>
                      </a:lnTo>
                      <a:lnTo>
                        <a:pt x="474" y="128"/>
                      </a:lnTo>
                      <a:lnTo>
                        <a:pt x="474" y="129"/>
                      </a:lnTo>
                      <a:lnTo>
                        <a:pt x="475" y="129"/>
                      </a:lnTo>
                      <a:lnTo>
                        <a:pt x="477" y="134"/>
                      </a:lnTo>
                      <a:lnTo>
                        <a:pt x="478" y="135"/>
                      </a:lnTo>
                      <a:lnTo>
                        <a:pt x="478" y="135"/>
                      </a:lnTo>
                      <a:lnTo>
                        <a:pt x="479" y="136"/>
                      </a:lnTo>
                      <a:lnTo>
                        <a:pt x="480" y="138"/>
                      </a:lnTo>
                      <a:lnTo>
                        <a:pt x="481" y="141"/>
                      </a:lnTo>
                      <a:lnTo>
                        <a:pt x="481" y="143"/>
                      </a:lnTo>
                      <a:lnTo>
                        <a:pt x="482" y="144"/>
                      </a:lnTo>
                      <a:lnTo>
                        <a:pt x="482" y="145"/>
                      </a:lnTo>
                      <a:lnTo>
                        <a:pt x="483" y="146"/>
                      </a:lnTo>
                      <a:lnTo>
                        <a:pt x="483" y="147"/>
                      </a:lnTo>
                      <a:lnTo>
                        <a:pt x="483" y="149"/>
                      </a:lnTo>
                      <a:lnTo>
                        <a:pt x="484" y="150"/>
                      </a:lnTo>
                      <a:lnTo>
                        <a:pt x="486" y="151"/>
                      </a:lnTo>
                      <a:lnTo>
                        <a:pt x="487" y="152"/>
                      </a:lnTo>
                      <a:lnTo>
                        <a:pt x="488" y="152"/>
                      </a:lnTo>
                      <a:lnTo>
                        <a:pt x="489" y="151"/>
                      </a:lnTo>
                      <a:lnTo>
                        <a:pt x="490" y="151"/>
                      </a:lnTo>
                      <a:lnTo>
                        <a:pt x="490" y="151"/>
                      </a:lnTo>
                      <a:lnTo>
                        <a:pt x="491" y="151"/>
                      </a:lnTo>
                      <a:lnTo>
                        <a:pt x="491" y="152"/>
                      </a:lnTo>
                      <a:lnTo>
                        <a:pt x="491" y="154"/>
                      </a:lnTo>
                      <a:lnTo>
                        <a:pt x="491" y="155"/>
                      </a:lnTo>
                      <a:lnTo>
                        <a:pt x="491" y="156"/>
                      </a:lnTo>
                      <a:lnTo>
                        <a:pt x="492" y="160"/>
                      </a:lnTo>
                      <a:lnTo>
                        <a:pt x="492" y="160"/>
                      </a:lnTo>
                      <a:lnTo>
                        <a:pt x="494" y="160"/>
                      </a:lnTo>
                      <a:lnTo>
                        <a:pt x="495" y="161"/>
                      </a:lnTo>
                      <a:lnTo>
                        <a:pt x="498" y="165"/>
                      </a:lnTo>
                      <a:lnTo>
                        <a:pt x="498" y="167"/>
                      </a:lnTo>
                      <a:lnTo>
                        <a:pt x="500" y="169"/>
                      </a:lnTo>
                      <a:lnTo>
                        <a:pt x="500" y="171"/>
                      </a:lnTo>
                      <a:lnTo>
                        <a:pt x="500" y="173"/>
                      </a:lnTo>
                      <a:lnTo>
                        <a:pt x="500" y="173"/>
                      </a:lnTo>
                      <a:lnTo>
                        <a:pt x="500" y="174"/>
                      </a:lnTo>
                      <a:lnTo>
                        <a:pt x="499" y="174"/>
                      </a:lnTo>
                      <a:lnTo>
                        <a:pt x="499" y="173"/>
                      </a:lnTo>
                      <a:lnTo>
                        <a:pt x="499" y="172"/>
                      </a:lnTo>
                      <a:lnTo>
                        <a:pt x="497" y="172"/>
                      </a:lnTo>
                      <a:lnTo>
                        <a:pt x="497" y="172"/>
                      </a:lnTo>
                      <a:lnTo>
                        <a:pt x="496" y="171"/>
                      </a:lnTo>
                      <a:lnTo>
                        <a:pt x="497" y="173"/>
                      </a:lnTo>
                      <a:lnTo>
                        <a:pt x="497" y="175"/>
                      </a:lnTo>
                      <a:lnTo>
                        <a:pt x="497" y="177"/>
                      </a:lnTo>
                      <a:lnTo>
                        <a:pt x="498" y="177"/>
                      </a:lnTo>
                      <a:lnTo>
                        <a:pt x="498" y="178"/>
                      </a:lnTo>
                      <a:lnTo>
                        <a:pt x="498" y="179"/>
                      </a:lnTo>
                      <a:lnTo>
                        <a:pt x="499" y="180"/>
                      </a:lnTo>
                      <a:lnTo>
                        <a:pt x="502" y="181"/>
                      </a:lnTo>
                      <a:lnTo>
                        <a:pt x="503" y="181"/>
                      </a:lnTo>
                      <a:lnTo>
                        <a:pt x="505" y="182"/>
                      </a:lnTo>
                      <a:lnTo>
                        <a:pt x="505" y="182"/>
                      </a:lnTo>
                      <a:lnTo>
                        <a:pt x="505" y="182"/>
                      </a:lnTo>
                      <a:lnTo>
                        <a:pt x="505" y="181"/>
                      </a:lnTo>
                      <a:lnTo>
                        <a:pt x="506" y="181"/>
                      </a:lnTo>
                      <a:lnTo>
                        <a:pt x="506" y="182"/>
                      </a:lnTo>
                      <a:lnTo>
                        <a:pt x="506" y="182"/>
                      </a:lnTo>
                      <a:lnTo>
                        <a:pt x="507" y="182"/>
                      </a:lnTo>
                      <a:lnTo>
                        <a:pt x="507" y="182"/>
                      </a:lnTo>
                      <a:lnTo>
                        <a:pt x="508" y="181"/>
                      </a:lnTo>
                      <a:lnTo>
                        <a:pt x="509" y="181"/>
                      </a:lnTo>
                      <a:lnTo>
                        <a:pt x="511" y="182"/>
                      </a:lnTo>
                      <a:lnTo>
                        <a:pt x="512" y="183"/>
                      </a:lnTo>
                      <a:lnTo>
                        <a:pt x="513" y="184"/>
                      </a:lnTo>
                      <a:lnTo>
                        <a:pt x="513" y="185"/>
                      </a:lnTo>
                      <a:lnTo>
                        <a:pt x="512" y="185"/>
                      </a:lnTo>
                      <a:lnTo>
                        <a:pt x="512" y="185"/>
                      </a:lnTo>
                      <a:lnTo>
                        <a:pt x="512" y="185"/>
                      </a:lnTo>
                      <a:lnTo>
                        <a:pt x="511" y="185"/>
                      </a:lnTo>
                      <a:lnTo>
                        <a:pt x="511" y="184"/>
                      </a:lnTo>
                      <a:lnTo>
                        <a:pt x="510" y="184"/>
                      </a:lnTo>
                      <a:lnTo>
                        <a:pt x="510" y="184"/>
                      </a:lnTo>
                      <a:lnTo>
                        <a:pt x="511" y="185"/>
                      </a:lnTo>
                      <a:lnTo>
                        <a:pt x="511" y="187"/>
                      </a:lnTo>
                      <a:lnTo>
                        <a:pt x="512" y="188"/>
                      </a:lnTo>
                      <a:lnTo>
                        <a:pt x="512" y="188"/>
                      </a:lnTo>
                      <a:lnTo>
                        <a:pt x="513" y="189"/>
                      </a:lnTo>
                      <a:lnTo>
                        <a:pt x="513" y="189"/>
                      </a:lnTo>
                      <a:lnTo>
                        <a:pt x="514" y="190"/>
                      </a:lnTo>
                      <a:lnTo>
                        <a:pt x="514" y="190"/>
                      </a:lnTo>
                      <a:lnTo>
                        <a:pt x="513" y="190"/>
                      </a:lnTo>
                      <a:lnTo>
                        <a:pt x="513" y="191"/>
                      </a:lnTo>
                      <a:lnTo>
                        <a:pt x="514" y="191"/>
                      </a:lnTo>
                      <a:lnTo>
                        <a:pt x="515" y="195"/>
                      </a:lnTo>
                      <a:lnTo>
                        <a:pt x="516" y="196"/>
                      </a:lnTo>
                      <a:lnTo>
                        <a:pt x="516" y="198"/>
                      </a:lnTo>
                      <a:lnTo>
                        <a:pt x="517" y="199"/>
                      </a:lnTo>
                      <a:lnTo>
                        <a:pt x="517" y="199"/>
                      </a:lnTo>
                      <a:lnTo>
                        <a:pt x="517" y="194"/>
                      </a:lnTo>
                      <a:lnTo>
                        <a:pt x="517" y="193"/>
                      </a:lnTo>
                      <a:lnTo>
                        <a:pt x="516" y="194"/>
                      </a:lnTo>
                      <a:lnTo>
                        <a:pt x="516" y="193"/>
                      </a:lnTo>
                      <a:lnTo>
                        <a:pt x="517" y="192"/>
                      </a:lnTo>
                      <a:lnTo>
                        <a:pt x="517" y="192"/>
                      </a:lnTo>
                      <a:lnTo>
                        <a:pt x="517" y="192"/>
                      </a:lnTo>
                      <a:lnTo>
                        <a:pt x="517" y="191"/>
                      </a:lnTo>
                      <a:lnTo>
                        <a:pt x="516" y="191"/>
                      </a:lnTo>
                      <a:lnTo>
                        <a:pt x="516" y="191"/>
                      </a:lnTo>
                      <a:lnTo>
                        <a:pt x="515" y="191"/>
                      </a:lnTo>
                      <a:lnTo>
                        <a:pt x="516" y="190"/>
                      </a:lnTo>
                      <a:lnTo>
                        <a:pt x="516" y="189"/>
                      </a:lnTo>
                      <a:lnTo>
                        <a:pt x="516" y="189"/>
                      </a:lnTo>
                      <a:lnTo>
                        <a:pt x="516" y="188"/>
                      </a:lnTo>
                      <a:lnTo>
                        <a:pt x="515" y="187"/>
                      </a:lnTo>
                      <a:lnTo>
                        <a:pt x="515" y="187"/>
                      </a:lnTo>
                      <a:lnTo>
                        <a:pt x="514" y="187"/>
                      </a:lnTo>
                      <a:lnTo>
                        <a:pt x="515" y="186"/>
                      </a:lnTo>
                      <a:lnTo>
                        <a:pt x="515" y="185"/>
                      </a:lnTo>
                      <a:lnTo>
                        <a:pt x="514" y="185"/>
                      </a:lnTo>
                      <a:lnTo>
                        <a:pt x="513" y="184"/>
                      </a:lnTo>
                      <a:lnTo>
                        <a:pt x="513" y="184"/>
                      </a:lnTo>
                      <a:lnTo>
                        <a:pt x="514" y="184"/>
                      </a:lnTo>
                      <a:lnTo>
                        <a:pt x="514" y="184"/>
                      </a:lnTo>
                      <a:lnTo>
                        <a:pt x="513" y="183"/>
                      </a:lnTo>
                      <a:lnTo>
                        <a:pt x="513" y="183"/>
                      </a:lnTo>
                      <a:lnTo>
                        <a:pt x="512" y="183"/>
                      </a:lnTo>
                      <a:lnTo>
                        <a:pt x="512" y="183"/>
                      </a:lnTo>
                      <a:lnTo>
                        <a:pt x="512" y="183"/>
                      </a:lnTo>
                      <a:lnTo>
                        <a:pt x="512" y="182"/>
                      </a:lnTo>
                      <a:lnTo>
                        <a:pt x="510" y="181"/>
                      </a:lnTo>
                      <a:lnTo>
                        <a:pt x="510" y="180"/>
                      </a:lnTo>
                      <a:lnTo>
                        <a:pt x="510" y="180"/>
                      </a:lnTo>
                      <a:lnTo>
                        <a:pt x="511" y="180"/>
                      </a:lnTo>
                      <a:lnTo>
                        <a:pt x="511" y="180"/>
                      </a:lnTo>
                      <a:lnTo>
                        <a:pt x="509" y="179"/>
                      </a:lnTo>
                      <a:lnTo>
                        <a:pt x="509" y="178"/>
                      </a:lnTo>
                      <a:lnTo>
                        <a:pt x="506" y="177"/>
                      </a:lnTo>
                      <a:lnTo>
                        <a:pt x="506" y="176"/>
                      </a:lnTo>
                      <a:lnTo>
                        <a:pt x="505" y="175"/>
                      </a:lnTo>
                      <a:lnTo>
                        <a:pt x="502" y="173"/>
                      </a:lnTo>
                      <a:lnTo>
                        <a:pt x="501" y="171"/>
                      </a:lnTo>
                      <a:lnTo>
                        <a:pt x="501" y="170"/>
                      </a:lnTo>
                      <a:lnTo>
                        <a:pt x="502" y="170"/>
                      </a:lnTo>
                      <a:lnTo>
                        <a:pt x="502" y="171"/>
                      </a:lnTo>
                      <a:lnTo>
                        <a:pt x="503" y="171"/>
                      </a:lnTo>
                      <a:lnTo>
                        <a:pt x="503" y="170"/>
                      </a:lnTo>
                      <a:lnTo>
                        <a:pt x="503" y="170"/>
                      </a:lnTo>
                      <a:lnTo>
                        <a:pt x="503" y="169"/>
                      </a:lnTo>
                      <a:lnTo>
                        <a:pt x="503" y="168"/>
                      </a:lnTo>
                      <a:lnTo>
                        <a:pt x="505" y="168"/>
                      </a:lnTo>
                      <a:lnTo>
                        <a:pt x="507" y="170"/>
                      </a:lnTo>
                      <a:lnTo>
                        <a:pt x="508" y="170"/>
                      </a:lnTo>
                      <a:lnTo>
                        <a:pt x="508" y="170"/>
                      </a:lnTo>
                      <a:lnTo>
                        <a:pt x="508" y="169"/>
                      </a:lnTo>
                      <a:lnTo>
                        <a:pt x="508" y="168"/>
                      </a:lnTo>
                      <a:lnTo>
                        <a:pt x="508" y="167"/>
                      </a:lnTo>
                      <a:lnTo>
                        <a:pt x="509" y="168"/>
                      </a:lnTo>
                      <a:lnTo>
                        <a:pt x="512" y="169"/>
                      </a:lnTo>
                      <a:lnTo>
                        <a:pt x="515" y="171"/>
                      </a:lnTo>
                      <a:lnTo>
                        <a:pt x="516" y="171"/>
                      </a:lnTo>
                      <a:lnTo>
                        <a:pt x="516" y="172"/>
                      </a:lnTo>
                      <a:lnTo>
                        <a:pt x="520" y="178"/>
                      </a:lnTo>
                      <a:lnTo>
                        <a:pt x="522" y="184"/>
                      </a:lnTo>
                      <a:lnTo>
                        <a:pt x="523" y="185"/>
                      </a:lnTo>
                      <a:lnTo>
                        <a:pt x="523" y="187"/>
                      </a:lnTo>
                      <a:lnTo>
                        <a:pt x="523" y="189"/>
                      </a:lnTo>
                      <a:lnTo>
                        <a:pt x="523" y="189"/>
                      </a:lnTo>
                      <a:lnTo>
                        <a:pt x="523" y="191"/>
                      </a:lnTo>
                      <a:lnTo>
                        <a:pt x="523" y="192"/>
                      </a:lnTo>
                      <a:lnTo>
                        <a:pt x="523" y="195"/>
                      </a:lnTo>
                      <a:lnTo>
                        <a:pt x="523" y="195"/>
                      </a:lnTo>
                      <a:lnTo>
                        <a:pt x="522" y="199"/>
                      </a:lnTo>
                      <a:lnTo>
                        <a:pt x="524" y="202"/>
                      </a:lnTo>
                      <a:lnTo>
                        <a:pt x="523" y="202"/>
                      </a:lnTo>
                      <a:lnTo>
                        <a:pt x="522" y="202"/>
                      </a:lnTo>
                      <a:lnTo>
                        <a:pt x="521" y="204"/>
                      </a:lnTo>
                      <a:lnTo>
                        <a:pt x="521" y="204"/>
                      </a:lnTo>
                      <a:lnTo>
                        <a:pt x="520" y="205"/>
                      </a:lnTo>
                      <a:lnTo>
                        <a:pt x="521" y="205"/>
                      </a:lnTo>
                      <a:lnTo>
                        <a:pt x="520" y="206"/>
                      </a:lnTo>
                      <a:lnTo>
                        <a:pt x="520" y="206"/>
                      </a:lnTo>
                      <a:lnTo>
                        <a:pt x="520" y="206"/>
                      </a:lnTo>
                      <a:lnTo>
                        <a:pt x="519" y="207"/>
                      </a:lnTo>
                      <a:lnTo>
                        <a:pt x="519" y="207"/>
                      </a:lnTo>
                      <a:lnTo>
                        <a:pt x="519" y="208"/>
                      </a:lnTo>
                      <a:lnTo>
                        <a:pt x="519" y="209"/>
                      </a:lnTo>
                      <a:lnTo>
                        <a:pt x="518" y="209"/>
                      </a:lnTo>
                      <a:lnTo>
                        <a:pt x="516" y="211"/>
                      </a:lnTo>
                      <a:lnTo>
                        <a:pt x="515" y="212"/>
                      </a:lnTo>
                      <a:lnTo>
                        <a:pt x="514" y="212"/>
                      </a:lnTo>
                      <a:lnTo>
                        <a:pt x="514" y="212"/>
                      </a:lnTo>
                      <a:lnTo>
                        <a:pt x="513" y="213"/>
                      </a:lnTo>
                      <a:lnTo>
                        <a:pt x="513" y="213"/>
                      </a:lnTo>
                      <a:lnTo>
                        <a:pt x="512" y="215"/>
                      </a:lnTo>
                      <a:lnTo>
                        <a:pt x="511" y="215"/>
                      </a:lnTo>
                      <a:lnTo>
                        <a:pt x="511" y="216"/>
                      </a:lnTo>
                      <a:lnTo>
                        <a:pt x="509" y="216"/>
                      </a:lnTo>
                      <a:lnTo>
                        <a:pt x="509" y="217"/>
                      </a:lnTo>
                      <a:lnTo>
                        <a:pt x="508" y="218"/>
                      </a:lnTo>
                      <a:lnTo>
                        <a:pt x="507" y="218"/>
                      </a:lnTo>
                      <a:lnTo>
                        <a:pt x="507" y="217"/>
                      </a:lnTo>
                      <a:lnTo>
                        <a:pt x="507" y="217"/>
                      </a:lnTo>
                      <a:lnTo>
                        <a:pt x="505" y="217"/>
                      </a:lnTo>
                      <a:lnTo>
                        <a:pt x="501" y="218"/>
                      </a:lnTo>
                      <a:lnTo>
                        <a:pt x="500" y="219"/>
                      </a:lnTo>
                      <a:lnTo>
                        <a:pt x="499" y="220"/>
                      </a:lnTo>
                      <a:lnTo>
                        <a:pt x="498" y="220"/>
                      </a:lnTo>
                      <a:lnTo>
                        <a:pt x="498" y="221"/>
                      </a:lnTo>
                      <a:lnTo>
                        <a:pt x="496" y="222"/>
                      </a:lnTo>
                      <a:lnTo>
                        <a:pt x="496" y="222"/>
                      </a:lnTo>
                      <a:lnTo>
                        <a:pt x="496" y="222"/>
                      </a:lnTo>
                      <a:lnTo>
                        <a:pt x="493" y="222"/>
                      </a:lnTo>
                      <a:lnTo>
                        <a:pt x="492" y="222"/>
                      </a:lnTo>
                      <a:lnTo>
                        <a:pt x="491" y="223"/>
                      </a:lnTo>
                      <a:lnTo>
                        <a:pt x="491" y="225"/>
                      </a:lnTo>
                      <a:lnTo>
                        <a:pt x="490" y="225"/>
                      </a:lnTo>
                      <a:lnTo>
                        <a:pt x="490" y="226"/>
                      </a:lnTo>
                      <a:lnTo>
                        <a:pt x="490" y="225"/>
                      </a:lnTo>
                      <a:lnTo>
                        <a:pt x="489" y="225"/>
                      </a:lnTo>
                      <a:lnTo>
                        <a:pt x="489" y="226"/>
                      </a:lnTo>
                      <a:lnTo>
                        <a:pt x="488" y="226"/>
                      </a:lnTo>
                      <a:lnTo>
                        <a:pt x="485" y="230"/>
                      </a:lnTo>
                      <a:lnTo>
                        <a:pt x="483" y="231"/>
                      </a:lnTo>
                      <a:lnTo>
                        <a:pt x="482" y="232"/>
                      </a:lnTo>
                      <a:lnTo>
                        <a:pt x="481" y="233"/>
                      </a:lnTo>
                      <a:lnTo>
                        <a:pt x="480" y="234"/>
                      </a:lnTo>
                      <a:lnTo>
                        <a:pt x="479" y="236"/>
                      </a:lnTo>
                      <a:lnTo>
                        <a:pt x="479" y="238"/>
                      </a:lnTo>
                      <a:lnTo>
                        <a:pt x="479" y="239"/>
                      </a:lnTo>
                      <a:lnTo>
                        <a:pt x="479" y="239"/>
                      </a:lnTo>
                      <a:lnTo>
                        <a:pt x="479" y="240"/>
                      </a:lnTo>
                      <a:lnTo>
                        <a:pt x="478" y="241"/>
                      </a:lnTo>
                      <a:lnTo>
                        <a:pt x="478" y="242"/>
                      </a:lnTo>
                      <a:lnTo>
                        <a:pt x="477" y="243"/>
                      </a:lnTo>
                      <a:lnTo>
                        <a:pt x="476" y="244"/>
                      </a:lnTo>
                      <a:lnTo>
                        <a:pt x="477" y="244"/>
                      </a:lnTo>
                      <a:lnTo>
                        <a:pt x="476" y="245"/>
                      </a:lnTo>
                      <a:lnTo>
                        <a:pt x="476" y="245"/>
                      </a:lnTo>
                      <a:lnTo>
                        <a:pt x="476" y="246"/>
                      </a:lnTo>
                      <a:lnTo>
                        <a:pt x="477" y="246"/>
                      </a:lnTo>
                      <a:lnTo>
                        <a:pt x="479" y="246"/>
                      </a:lnTo>
                      <a:lnTo>
                        <a:pt x="479" y="247"/>
                      </a:lnTo>
                      <a:lnTo>
                        <a:pt x="479" y="249"/>
                      </a:lnTo>
                      <a:lnTo>
                        <a:pt x="479" y="249"/>
                      </a:lnTo>
                      <a:lnTo>
                        <a:pt x="478" y="249"/>
                      </a:lnTo>
                      <a:lnTo>
                        <a:pt x="478" y="251"/>
                      </a:lnTo>
                      <a:lnTo>
                        <a:pt x="479" y="251"/>
                      </a:lnTo>
                      <a:lnTo>
                        <a:pt x="480" y="250"/>
                      </a:lnTo>
                      <a:lnTo>
                        <a:pt x="480" y="249"/>
                      </a:lnTo>
                      <a:lnTo>
                        <a:pt x="482" y="248"/>
                      </a:lnTo>
                      <a:lnTo>
                        <a:pt x="483" y="248"/>
                      </a:lnTo>
                      <a:lnTo>
                        <a:pt x="483" y="249"/>
                      </a:lnTo>
                      <a:lnTo>
                        <a:pt x="483" y="249"/>
                      </a:lnTo>
                      <a:lnTo>
                        <a:pt x="482" y="250"/>
                      </a:lnTo>
                      <a:lnTo>
                        <a:pt x="482" y="251"/>
                      </a:lnTo>
                      <a:lnTo>
                        <a:pt x="480" y="253"/>
                      </a:lnTo>
                      <a:lnTo>
                        <a:pt x="479" y="253"/>
                      </a:lnTo>
                      <a:lnTo>
                        <a:pt x="478" y="254"/>
                      </a:lnTo>
                      <a:lnTo>
                        <a:pt x="478" y="254"/>
                      </a:lnTo>
                      <a:lnTo>
                        <a:pt x="477" y="255"/>
                      </a:lnTo>
                      <a:lnTo>
                        <a:pt x="477" y="255"/>
                      </a:lnTo>
                      <a:lnTo>
                        <a:pt x="477" y="255"/>
                      </a:lnTo>
                      <a:lnTo>
                        <a:pt x="479" y="254"/>
                      </a:lnTo>
                      <a:lnTo>
                        <a:pt x="480" y="253"/>
                      </a:lnTo>
                      <a:lnTo>
                        <a:pt x="480" y="253"/>
                      </a:lnTo>
                      <a:lnTo>
                        <a:pt x="479" y="254"/>
                      </a:lnTo>
                      <a:lnTo>
                        <a:pt x="478" y="256"/>
                      </a:lnTo>
                      <a:lnTo>
                        <a:pt x="477" y="257"/>
                      </a:lnTo>
                      <a:lnTo>
                        <a:pt x="477" y="257"/>
                      </a:lnTo>
                      <a:lnTo>
                        <a:pt x="478" y="257"/>
                      </a:lnTo>
                      <a:lnTo>
                        <a:pt x="479" y="256"/>
                      </a:lnTo>
                      <a:lnTo>
                        <a:pt x="479" y="256"/>
                      </a:lnTo>
                      <a:lnTo>
                        <a:pt x="479" y="255"/>
                      </a:lnTo>
                      <a:lnTo>
                        <a:pt x="480" y="255"/>
                      </a:lnTo>
                      <a:lnTo>
                        <a:pt x="480" y="254"/>
                      </a:lnTo>
                      <a:lnTo>
                        <a:pt x="481" y="253"/>
                      </a:lnTo>
                      <a:lnTo>
                        <a:pt x="481" y="254"/>
                      </a:lnTo>
                      <a:lnTo>
                        <a:pt x="481" y="254"/>
                      </a:lnTo>
                      <a:lnTo>
                        <a:pt x="481" y="256"/>
                      </a:lnTo>
                      <a:lnTo>
                        <a:pt x="480" y="256"/>
                      </a:lnTo>
                      <a:lnTo>
                        <a:pt x="480" y="257"/>
                      </a:lnTo>
                      <a:lnTo>
                        <a:pt x="481" y="257"/>
                      </a:lnTo>
                      <a:lnTo>
                        <a:pt x="482" y="257"/>
                      </a:lnTo>
                      <a:lnTo>
                        <a:pt x="482" y="257"/>
                      </a:lnTo>
                      <a:lnTo>
                        <a:pt x="481" y="257"/>
                      </a:lnTo>
                      <a:lnTo>
                        <a:pt x="481" y="256"/>
                      </a:lnTo>
                      <a:lnTo>
                        <a:pt x="482" y="254"/>
                      </a:lnTo>
                      <a:lnTo>
                        <a:pt x="482" y="253"/>
                      </a:lnTo>
                      <a:lnTo>
                        <a:pt x="482" y="252"/>
                      </a:lnTo>
                      <a:lnTo>
                        <a:pt x="482" y="251"/>
                      </a:lnTo>
                      <a:lnTo>
                        <a:pt x="483" y="250"/>
                      </a:lnTo>
                      <a:lnTo>
                        <a:pt x="484" y="250"/>
                      </a:lnTo>
                      <a:lnTo>
                        <a:pt x="484" y="248"/>
                      </a:lnTo>
                      <a:lnTo>
                        <a:pt x="486" y="249"/>
                      </a:lnTo>
                      <a:lnTo>
                        <a:pt x="487" y="249"/>
                      </a:lnTo>
                      <a:lnTo>
                        <a:pt x="488" y="249"/>
                      </a:lnTo>
                      <a:lnTo>
                        <a:pt x="488" y="249"/>
                      </a:lnTo>
                      <a:lnTo>
                        <a:pt x="489" y="247"/>
                      </a:lnTo>
                      <a:lnTo>
                        <a:pt x="493" y="245"/>
                      </a:lnTo>
                      <a:lnTo>
                        <a:pt x="494" y="244"/>
                      </a:lnTo>
                      <a:lnTo>
                        <a:pt x="495" y="243"/>
                      </a:lnTo>
                      <a:lnTo>
                        <a:pt x="495" y="243"/>
                      </a:lnTo>
                      <a:lnTo>
                        <a:pt x="497" y="242"/>
                      </a:lnTo>
                      <a:lnTo>
                        <a:pt x="497" y="241"/>
                      </a:lnTo>
                      <a:lnTo>
                        <a:pt x="498" y="240"/>
                      </a:lnTo>
                      <a:lnTo>
                        <a:pt x="499" y="240"/>
                      </a:lnTo>
                      <a:lnTo>
                        <a:pt x="500" y="239"/>
                      </a:lnTo>
                      <a:lnTo>
                        <a:pt x="501" y="239"/>
                      </a:lnTo>
                      <a:lnTo>
                        <a:pt x="501" y="239"/>
                      </a:lnTo>
                      <a:lnTo>
                        <a:pt x="502" y="239"/>
                      </a:lnTo>
                      <a:lnTo>
                        <a:pt x="503" y="238"/>
                      </a:lnTo>
                      <a:lnTo>
                        <a:pt x="506" y="237"/>
                      </a:lnTo>
                      <a:lnTo>
                        <a:pt x="507" y="237"/>
                      </a:lnTo>
                      <a:lnTo>
                        <a:pt x="508" y="236"/>
                      </a:lnTo>
                      <a:lnTo>
                        <a:pt x="508" y="236"/>
                      </a:lnTo>
                      <a:lnTo>
                        <a:pt x="511" y="234"/>
                      </a:lnTo>
                      <a:lnTo>
                        <a:pt x="513" y="233"/>
                      </a:lnTo>
                      <a:lnTo>
                        <a:pt x="513" y="233"/>
                      </a:lnTo>
                      <a:lnTo>
                        <a:pt x="513" y="233"/>
                      </a:lnTo>
                      <a:lnTo>
                        <a:pt x="513" y="234"/>
                      </a:lnTo>
                      <a:lnTo>
                        <a:pt x="514" y="236"/>
                      </a:lnTo>
                      <a:lnTo>
                        <a:pt x="514" y="234"/>
                      </a:lnTo>
                      <a:lnTo>
                        <a:pt x="515" y="234"/>
                      </a:lnTo>
                      <a:lnTo>
                        <a:pt x="515" y="236"/>
                      </a:lnTo>
                      <a:lnTo>
                        <a:pt x="516" y="237"/>
                      </a:lnTo>
                      <a:lnTo>
                        <a:pt x="518" y="237"/>
                      </a:lnTo>
                      <a:lnTo>
                        <a:pt x="519" y="237"/>
                      </a:lnTo>
                      <a:lnTo>
                        <a:pt x="520" y="237"/>
                      </a:lnTo>
                      <a:lnTo>
                        <a:pt x="522" y="237"/>
                      </a:lnTo>
                      <a:lnTo>
                        <a:pt x="522" y="238"/>
                      </a:lnTo>
                      <a:lnTo>
                        <a:pt x="523" y="238"/>
                      </a:lnTo>
                      <a:lnTo>
                        <a:pt x="523" y="237"/>
                      </a:lnTo>
                      <a:lnTo>
                        <a:pt x="525" y="237"/>
                      </a:lnTo>
                      <a:lnTo>
                        <a:pt x="526" y="237"/>
                      </a:lnTo>
                      <a:lnTo>
                        <a:pt x="526" y="237"/>
                      </a:lnTo>
                      <a:lnTo>
                        <a:pt x="526" y="237"/>
                      </a:lnTo>
                      <a:lnTo>
                        <a:pt x="527" y="238"/>
                      </a:lnTo>
                      <a:lnTo>
                        <a:pt x="527" y="237"/>
                      </a:lnTo>
                      <a:lnTo>
                        <a:pt x="528" y="237"/>
                      </a:lnTo>
                      <a:lnTo>
                        <a:pt x="529" y="236"/>
                      </a:lnTo>
                      <a:lnTo>
                        <a:pt x="530" y="236"/>
                      </a:lnTo>
                      <a:lnTo>
                        <a:pt x="531" y="237"/>
                      </a:lnTo>
                      <a:lnTo>
                        <a:pt x="531" y="238"/>
                      </a:lnTo>
                      <a:lnTo>
                        <a:pt x="531" y="238"/>
                      </a:lnTo>
                      <a:lnTo>
                        <a:pt x="533" y="238"/>
                      </a:lnTo>
                      <a:lnTo>
                        <a:pt x="534" y="237"/>
                      </a:lnTo>
                      <a:lnTo>
                        <a:pt x="534" y="236"/>
                      </a:lnTo>
                      <a:lnTo>
                        <a:pt x="534" y="236"/>
                      </a:lnTo>
                      <a:lnTo>
                        <a:pt x="534" y="236"/>
                      </a:lnTo>
                      <a:lnTo>
                        <a:pt x="533" y="234"/>
                      </a:lnTo>
                      <a:lnTo>
                        <a:pt x="533" y="233"/>
                      </a:lnTo>
                      <a:lnTo>
                        <a:pt x="534" y="231"/>
                      </a:lnTo>
                      <a:lnTo>
                        <a:pt x="537" y="231"/>
                      </a:lnTo>
                      <a:lnTo>
                        <a:pt x="537" y="232"/>
                      </a:lnTo>
                      <a:lnTo>
                        <a:pt x="538" y="232"/>
                      </a:lnTo>
                      <a:lnTo>
                        <a:pt x="538" y="234"/>
                      </a:lnTo>
                      <a:lnTo>
                        <a:pt x="539" y="234"/>
                      </a:lnTo>
                      <a:lnTo>
                        <a:pt x="540" y="234"/>
                      </a:lnTo>
                      <a:lnTo>
                        <a:pt x="540" y="233"/>
                      </a:lnTo>
                      <a:lnTo>
                        <a:pt x="540" y="233"/>
                      </a:lnTo>
                      <a:lnTo>
                        <a:pt x="542" y="232"/>
                      </a:lnTo>
                      <a:lnTo>
                        <a:pt x="543" y="232"/>
                      </a:lnTo>
                      <a:lnTo>
                        <a:pt x="543" y="232"/>
                      </a:lnTo>
                      <a:lnTo>
                        <a:pt x="543" y="232"/>
                      </a:lnTo>
                      <a:lnTo>
                        <a:pt x="543" y="233"/>
                      </a:lnTo>
                      <a:lnTo>
                        <a:pt x="544" y="233"/>
                      </a:lnTo>
                      <a:lnTo>
                        <a:pt x="545" y="233"/>
                      </a:lnTo>
                      <a:lnTo>
                        <a:pt x="546" y="232"/>
                      </a:lnTo>
                      <a:lnTo>
                        <a:pt x="546" y="233"/>
                      </a:lnTo>
                      <a:lnTo>
                        <a:pt x="547" y="234"/>
                      </a:lnTo>
                      <a:lnTo>
                        <a:pt x="547" y="233"/>
                      </a:lnTo>
                      <a:lnTo>
                        <a:pt x="548" y="234"/>
                      </a:lnTo>
                      <a:lnTo>
                        <a:pt x="548" y="236"/>
                      </a:lnTo>
                      <a:lnTo>
                        <a:pt x="548" y="237"/>
                      </a:lnTo>
                      <a:lnTo>
                        <a:pt x="549" y="237"/>
                      </a:lnTo>
                      <a:lnTo>
                        <a:pt x="549" y="238"/>
                      </a:lnTo>
                      <a:lnTo>
                        <a:pt x="549" y="238"/>
                      </a:lnTo>
                      <a:lnTo>
                        <a:pt x="549" y="239"/>
                      </a:lnTo>
                      <a:lnTo>
                        <a:pt x="550" y="239"/>
                      </a:lnTo>
                      <a:lnTo>
                        <a:pt x="550" y="239"/>
                      </a:lnTo>
                      <a:lnTo>
                        <a:pt x="552" y="241"/>
                      </a:lnTo>
                      <a:lnTo>
                        <a:pt x="552" y="241"/>
                      </a:lnTo>
                      <a:lnTo>
                        <a:pt x="552" y="241"/>
                      </a:lnTo>
                      <a:lnTo>
                        <a:pt x="552" y="241"/>
                      </a:lnTo>
                      <a:lnTo>
                        <a:pt x="553" y="241"/>
                      </a:lnTo>
                      <a:lnTo>
                        <a:pt x="553" y="241"/>
                      </a:lnTo>
                      <a:lnTo>
                        <a:pt x="553" y="241"/>
                      </a:lnTo>
                      <a:lnTo>
                        <a:pt x="554" y="242"/>
                      </a:lnTo>
                      <a:lnTo>
                        <a:pt x="554" y="242"/>
                      </a:lnTo>
                      <a:lnTo>
                        <a:pt x="554" y="242"/>
                      </a:lnTo>
                      <a:lnTo>
                        <a:pt x="554" y="241"/>
                      </a:lnTo>
                      <a:lnTo>
                        <a:pt x="555" y="242"/>
                      </a:lnTo>
                      <a:lnTo>
                        <a:pt x="555" y="243"/>
                      </a:lnTo>
                      <a:lnTo>
                        <a:pt x="555" y="244"/>
                      </a:lnTo>
                      <a:lnTo>
                        <a:pt x="555" y="246"/>
                      </a:lnTo>
                      <a:lnTo>
                        <a:pt x="556" y="245"/>
                      </a:lnTo>
                      <a:lnTo>
                        <a:pt x="556" y="245"/>
                      </a:lnTo>
                      <a:lnTo>
                        <a:pt x="556" y="245"/>
                      </a:lnTo>
                      <a:lnTo>
                        <a:pt x="557" y="245"/>
                      </a:lnTo>
                      <a:lnTo>
                        <a:pt x="556" y="246"/>
                      </a:lnTo>
                      <a:lnTo>
                        <a:pt x="557" y="246"/>
                      </a:lnTo>
                      <a:lnTo>
                        <a:pt x="557" y="247"/>
                      </a:lnTo>
                      <a:lnTo>
                        <a:pt x="558" y="247"/>
                      </a:lnTo>
                      <a:lnTo>
                        <a:pt x="557" y="248"/>
                      </a:lnTo>
                      <a:lnTo>
                        <a:pt x="558" y="248"/>
                      </a:lnTo>
                      <a:lnTo>
                        <a:pt x="558" y="248"/>
                      </a:lnTo>
                      <a:lnTo>
                        <a:pt x="557" y="249"/>
                      </a:lnTo>
                      <a:lnTo>
                        <a:pt x="556" y="249"/>
                      </a:lnTo>
                      <a:lnTo>
                        <a:pt x="556" y="249"/>
                      </a:lnTo>
                      <a:lnTo>
                        <a:pt x="557" y="250"/>
                      </a:lnTo>
                      <a:lnTo>
                        <a:pt x="556" y="252"/>
                      </a:lnTo>
                      <a:lnTo>
                        <a:pt x="556" y="252"/>
                      </a:lnTo>
                      <a:lnTo>
                        <a:pt x="556" y="254"/>
                      </a:lnTo>
                      <a:lnTo>
                        <a:pt x="557" y="254"/>
                      </a:lnTo>
                      <a:lnTo>
                        <a:pt x="557" y="254"/>
                      </a:lnTo>
                      <a:lnTo>
                        <a:pt x="557" y="255"/>
                      </a:lnTo>
                      <a:lnTo>
                        <a:pt x="556" y="255"/>
                      </a:lnTo>
                      <a:lnTo>
                        <a:pt x="557" y="256"/>
                      </a:lnTo>
                      <a:lnTo>
                        <a:pt x="557" y="257"/>
                      </a:lnTo>
                      <a:lnTo>
                        <a:pt x="557" y="257"/>
                      </a:lnTo>
                      <a:lnTo>
                        <a:pt x="557" y="258"/>
                      </a:lnTo>
                      <a:lnTo>
                        <a:pt x="558" y="258"/>
                      </a:lnTo>
                      <a:lnTo>
                        <a:pt x="558" y="259"/>
                      </a:lnTo>
                      <a:lnTo>
                        <a:pt x="558" y="260"/>
                      </a:lnTo>
                      <a:lnTo>
                        <a:pt x="558" y="261"/>
                      </a:lnTo>
                      <a:lnTo>
                        <a:pt x="559" y="263"/>
                      </a:lnTo>
                      <a:lnTo>
                        <a:pt x="560" y="264"/>
                      </a:lnTo>
                      <a:lnTo>
                        <a:pt x="561" y="264"/>
                      </a:lnTo>
                      <a:lnTo>
                        <a:pt x="562" y="264"/>
                      </a:lnTo>
                      <a:lnTo>
                        <a:pt x="562" y="265"/>
                      </a:lnTo>
                      <a:lnTo>
                        <a:pt x="562" y="265"/>
                      </a:lnTo>
                      <a:lnTo>
                        <a:pt x="562" y="267"/>
                      </a:lnTo>
                      <a:lnTo>
                        <a:pt x="563" y="268"/>
                      </a:lnTo>
                      <a:lnTo>
                        <a:pt x="563" y="269"/>
                      </a:lnTo>
                      <a:lnTo>
                        <a:pt x="565" y="269"/>
                      </a:lnTo>
                      <a:lnTo>
                        <a:pt x="565" y="269"/>
                      </a:lnTo>
                      <a:lnTo>
                        <a:pt x="565" y="269"/>
                      </a:lnTo>
                      <a:lnTo>
                        <a:pt x="566" y="272"/>
                      </a:lnTo>
                      <a:lnTo>
                        <a:pt x="567" y="274"/>
                      </a:lnTo>
                      <a:lnTo>
                        <a:pt x="568" y="275"/>
                      </a:lnTo>
                      <a:lnTo>
                        <a:pt x="567" y="276"/>
                      </a:lnTo>
                      <a:lnTo>
                        <a:pt x="568" y="277"/>
                      </a:lnTo>
                      <a:lnTo>
                        <a:pt x="567" y="277"/>
                      </a:lnTo>
                      <a:lnTo>
                        <a:pt x="567" y="278"/>
                      </a:lnTo>
                      <a:lnTo>
                        <a:pt x="566" y="279"/>
                      </a:lnTo>
                      <a:lnTo>
                        <a:pt x="566" y="280"/>
                      </a:lnTo>
                      <a:lnTo>
                        <a:pt x="566" y="281"/>
                      </a:lnTo>
                      <a:lnTo>
                        <a:pt x="567" y="282"/>
                      </a:lnTo>
                      <a:lnTo>
                        <a:pt x="566" y="284"/>
                      </a:lnTo>
                      <a:lnTo>
                        <a:pt x="566" y="284"/>
                      </a:lnTo>
                      <a:lnTo>
                        <a:pt x="567" y="287"/>
                      </a:lnTo>
                      <a:lnTo>
                        <a:pt x="568" y="287"/>
                      </a:lnTo>
                      <a:lnTo>
                        <a:pt x="568" y="287"/>
                      </a:lnTo>
                      <a:lnTo>
                        <a:pt x="568" y="287"/>
                      </a:lnTo>
                      <a:lnTo>
                        <a:pt x="569" y="288"/>
                      </a:lnTo>
                      <a:lnTo>
                        <a:pt x="569" y="292"/>
                      </a:lnTo>
                      <a:lnTo>
                        <a:pt x="570" y="293"/>
                      </a:lnTo>
                      <a:lnTo>
                        <a:pt x="570" y="296"/>
                      </a:lnTo>
                      <a:lnTo>
                        <a:pt x="571" y="298"/>
                      </a:lnTo>
                      <a:lnTo>
                        <a:pt x="571" y="299"/>
                      </a:lnTo>
                      <a:lnTo>
                        <a:pt x="572" y="300"/>
                      </a:lnTo>
                      <a:lnTo>
                        <a:pt x="573" y="300"/>
                      </a:lnTo>
                      <a:lnTo>
                        <a:pt x="574" y="301"/>
                      </a:lnTo>
                      <a:lnTo>
                        <a:pt x="575" y="301"/>
                      </a:lnTo>
                      <a:lnTo>
                        <a:pt x="576" y="301"/>
                      </a:lnTo>
                      <a:lnTo>
                        <a:pt x="576" y="301"/>
                      </a:lnTo>
                      <a:lnTo>
                        <a:pt x="577" y="302"/>
                      </a:lnTo>
                      <a:lnTo>
                        <a:pt x="577" y="303"/>
                      </a:lnTo>
                      <a:lnTo>
                        <a:pt x="576" y="304"/>
                      </a:lnTo>
                      <a:lnTo>
                        <a:pt x="576" y="305"/>
                      </a:lnTo>
                      <a:lnTo>
                        <a:pt x="575" y="306"/>
                      </a:lnTo>
                      <a:lnTo>
                        <a:pt x="575" y="307"/>
                      </a:lnTo>
                      <a:lnTo>
                        <a:pt x="575" y="307"/>
                      </a:lnTo>
                      <a:lnTo>
                        <a:pt x="576" y="307"/>
                      </a:lnTo>
                      <a:lnTo>
                        <a:pt x="576" y="308"/>
                      </a:lnTo>
                      <a:lnTo>
                        <a:pt x="576" y="309"/>
                      </a:lnTo>
                      <a:lnTo>
                        <a:pt x="576" y="310"/>
                      </a:lnTo>
                      <a:lnTo>
                        <a:pt x="575" y="312"/>
                      </a:lnTo>
                      <a:lnTo>
                        <a:pt x="575" y="313"/>
                      </a:lnTo>
                      <a:lnTo>
                        <a:pt x="576" y="313"/>
                      </a:lnTo>
                      <a:lnTo>
                        <a:pt x="576" y="313"/>
                      </a:lnTo>
                      <a:lnTo>
                        <a:pt x="576" y="314"/>
                      </a:lnTo>
                      <a:lnTo>
                        <a:pt x="575" y="315"/>
                      </a:lnTo>
                      <a:lnTo>
                        <a:pt x="574" y="315"/>
                      </a:lnTo>
                      <a:lnTo>
                        <a:pt x="574" y="315"/>
                      </a:lnTo>
                      <a:lnTo>
                        <a:pt x="573" y="315"/>
                      </a:lnTo>
                      <a:lnTo>
                        <a:pt x="573" y="317"/>
                      </a:lnTo>
                      <a:lnTo>
                        <a:pt x="573" y="318"/>
                      </a:lnTo>
                      <a:lnTo>
                        <a:pt x="572" y="318"/>
                      </a:lnTo>
                      <a:lnTo>
                        <a:pt x="573" y="318"/>
                      </a:lnTo>
                      <a:lnTo>
                        <a:pt x="573" y="319"/>
                      </a:lnTo>
                      <a:lnTo>
                        <a:pt x="572" y="319"/>
                      </a:lnTo>
                      <a:lnTo>
                        <a:pt x="572" y="320"/>
                      </a:lnTo>
                      <a:lnTo>
                        <a:pt x="572" y="320"/>
                      </a:lnTo>
                      <a:lnTo>
                        <a:pt x="572" y="320"/>
                      </a:lnTo>
                      <a:lnTo>
                        <a:pt x="572" y="320"/>
                      </a:lnTo>
                      <a:lnTo>
                        <a:pt x="572" y="320"/>
                      </a:lnTo>
                      <a:lnTo>
                        <a:pt x="571" y="321"/>
                      </a:lnTo>
                      <a:lnTo>
                        <a:pt x="571" y="320"/>
                      </a:lnTo>
                      <a:lnTo>
                        <a:pt x="571" y="320"/>
                      </a:lnTo>
                      <a:lnTo>
                        <a:pt x="570" y="321"/>
                      </a:lnTo>
                      <a:lnTo>
                        <a:pt x="569" y="321"/>
                      </a:lnTo>
                      <a:lnTo>
                        <a:pt x="567" y="323"/>
                      </a:lnTo>
                      <a:lnTo>
                        <a:pt x="567" y="325"/>
                      </a:lnTo>
                      <a:lnTo>
                        <a:pt x="567" y="325"/>
                      </a:lnTo>
                      <a:lnTo>
                        <a:pt x="568" y="325"/>
                      </a:lnTo>
                      <a:lnTo>
                        <a:pt x="568" y="325"/>
                      </a:lnTo>
                      <a:lnTo>
                        <a:pt x="569" y="325"/>
                      </a:lnTo>
                      <a:lnTo>
                        <a:pt x="569" y="326"/>
                      </a:lnTo>
                      <a:lnTo>
                        <a:pt x="569" y="326"/>
                      </a:lnTo>
                      <a:lnTo>
                        <a:pt x="569" y="326"/>
                      </a:lnTo>
                      <a:lnTo>
                        <a:pt x="569" y="327"/>
                      </a:lnTo>
                      <a:lnTo>
                        <a:pt x="570" y="327"/>
                      </a:lnTo>
                      <a:lnTo>
                        <a:pt x="570" y="327"/>
                      </a:lnTo>
                      <a:lnTo>
                        <a:pt x="570" y="327"/>
                      </a:lnTo>
                      <a:lnTo>
                        <a:pt x="571" y="329"/>
                      </a:lnTo>
                      <a:lnTo>
                        <a:pt x="571" y="334"/>
                      </a:lnTo>
                      <a:lnTo>
                        <a:pt x="571" y="334"/>
                      </a:lnTo>
                      <a:lnTo>
                        <a:pt x="570" y="334"/>
                      </a:lnTo>
                      <a:lnTo>
                        <a:pt x="571" y="334"/>
                      </a:lnTo>
                      <a:lnTo>
                        <a:pt x="571" y="335"/>
                      </a:lnTo>
                      <a:lnTo>
                        <a:pt x="571" y="336"/>
                      </a:lnTo>
                      <a:lnTo>
                        <a:pt x="572" y="336"/>
                      </a:lnTo>
                      <a:lnTo>
                        <a:pt x="571" y="338"/>
                      </a:lnTo>
                      <a:lnTo>
                        <a:pt x="571" y="340"/>
                      </a:lnTo>
                      <a:lnTo>
                        <a:pt x="570" y="340"/>
                      </a:lnTo>
                      <a:lnTo>
                        <a:pt x="569" y="340"/>
                      </a:lnTo>
                      <a:lnTo>
                        <a:pt x="569" y="340"/>
                      </a:lnTo>
                      <a:lnTo>
                        <a:pt x="569" y="340"/>
                      </a:lnTo>
                      <a:lnTo>
                        <a:pt x="569" y="340"/>
                      </a:lnTo>
                      <a:lnTo>
                        <a:pt x="568" y="339"/>
                      </a:lnTo>
                      <a:lnTo>
                        <a:pt x="568" y="339"/>
                      </a:lnTo>
                      <a:lnTo>
                        <a:pt x="566" y="340"/>
                      </a:lnTo>
                      <a:lnTo>
                        <a:pt x="566" y="341"/>
                      </a:lnTo>
                      <a:lnTo>
                        <a:pt x="565" y="342"/>
                      </a:lnTo>
                      <a:lnTo>
                        <a:pt x="565" y="342"/>
                      </a:lnTo>
                      <a:lnTo>
                        <a:pt x="566" y="342"/>
                      </a:lnTo>
                      <a:lnTo>
                        <a:pt x="566" y="343"/>
                      </a:lnTo>
                      <a:lnTo>
                        <a:pt x="566" y="344"/>
                      </a:lnTo>
                      <a:lnTo>
                        <a:pt x="565" y="344"/>
                      </a:lnTo>
                      <a:lnTo>
                        <a:pt x="564" y="346"/>
                      </a:lnTo>
                      <a:lnTo>
                        <a:pt x="565" y="346"/>
                      </a:lnTo>
                      <a:lnTo>
                        <a:pt x="565" y="346"/>
                      </a:lnTo>
                      <a:lnTo>
                        <a:pt x="566" y="346"/>
                      </a:lnTo>
                      <a:lnTo>
                        <a:pt x="566" y="346"/>
                      </a:lnTo>
                      <a:lnTo>
                        <a:pt x="567" y="346"/>
                      </a:lnTo>
                      <a:lnTo>
                        <a:pt x="567" y="346"/>
                      </a:lnTo>
                      <a:lnTo>
                        <a:pt x="567" y="346"/>
                      </a:lnTo>
                      <a:lnTo>
                        <a:pt x="567" y="348"/>
                      </a:lnTo>
                      <a:lnTo>
                        <a:pt x="567" y="348"/>
                      </a:lnTo>
                      <a:lnTo>
                        <a:pt x="567" y="349"/>
                      </a:lnTo>
                      <a:lnTo>
                        <a:pt x="566" y="350"/>
                      </a:lnTo>
                      <a:lnTo>
                        <a:pt x="566" y="350"/>
                      </a:lnTo>
                      <a:lnTo>
                        <a:pt x="565" y="349"/>
                      </a:lnTo>
                      <a:lnTo>
                        <a:pt x="565" y="349"/>
                      </a:lnTo>
                      <a:lnTo>
                        <a:pt x="565" y="349"/>
                      </a:lnTo>
                      <a:lnTo>
                        <a:pt x="565" y="349"/>
                      </a:lnTo>
                      <a:lnTo>
                        <a:pt x="564" y="350"/>
                      </a:lnTo>
                      <a:lnTo>
                        <a:pt x="564" y="350"/>
                      </a:lnTo>
                      <a:lnTo>
                        <a:pt x="565" y="352"/>
                      </a:lnTo>
                      <a:lnTo>
                        <a:pt x="565" y="352"/>
                      </a:lnTo>
                      <a:lnTo>
                        <a:pt x="565" y="353"/>
                      </a:lnTo>
                      <a:lnTo>
                        <a:pt x="565" y="352"/>
                      </a:lnTo>
                      <a:lnTo>
                        <a:pt x="564" y="352"/>
                      </a:lnTo>
                      <a:lnTo>
                        <a:pt x="564" y="354"/>
                      </a:lnTo>
                      <a:lnTo>
                        <a:pt x="564" y="354"/>
                      </a:lnTo>
                      <a:lnTo>
                        <a:pt x="564" y="355"/>
                      </a:lnTo>
                      <a:lnTo>
                        <a:pt x="564" y="355"/>
                      </a:lnTo>
                      <a:lnTo>
                        <a:pt x="564" y="355"/>
                      </a:lnTo>
                      <a:lnTo>
                        <a:pt x="564" y="356"/>
                      </a:lnTo>
                      <a:lnTo>
                        <a:pt x="564" y="356"/>
                      </a:lnTo>
                      <a:lnTo>
                        <a:pt x="564" y="357"/>
                      </a:lnTo>
                      <a:lnTo>
                        <a:pt x="564" y="357"/>
                      </a:lnTo>
                      <a:lnTo>
                        <a:pt x="564" y="358"/>
                      </a:lnTo>
                      <a:lnTo>
                        <a:pt x="562" y="359"/>
                      </a:lnTo>
                      <a:lnTo>
                        <a:pt x="561" y="357"/>
                      </a:lnTo>
                      <a:lnTo>
                        <a:pt x="561" y="355"/>
                      </a:lnTo>
                      <a:lnTo>
                        <a:pt x="560" y="355"/>
                      </a:lnTo>
                      <a:lnTo>
                        <a:pt x="560" y="355"/>
                      </a:lnTo>
                      <a:lnTo>
                        <a:pt x="559" y="355"/>
                      </a:lnTo>
                      <a:lnTo>
                        <a:pt x="559" y="355"/>
                      </a:lnTo>
                      <a:lnTo>
                        <a:pt x="559" y="356"/>
                      </a:lnTo>
                      <a:lnTo>
                        <a:pt x="559" y="356"/>
                      </a:lnTo>
                      <a:lnTo>
                        <a:pt x="558" y="355"/>
                      </a:lnTo>
                      <a:lnTo>
                        <a:pt x="557" y="354"/>
                      </a:lnTo>
                      <a:lnTo>
                        <a:pt x="557" y="353"/>
                      </a:lnTo>
                      <a:lnTo>
                        <a:pt x="557" y="350"/>
                      </a:lnTo>
                      <a:lnTo>
                        <a:pt x="557" y="350"/>
                      </a:lnTo>
                      <a:lnTo>
                        <a:pt x="557" y="349"/>
                      </a:lnTo>
                      <a:lnTo>
                        <a:pt x="557" y="349"/>
                      </a:lnTo>
                      <a:lnTo>
                        <a:pt x="557" y="348"/>
                      </a:lnTo>
                      <a:lnTo>
                        <a:pt x="556" y="347"/>
                      </a:lnTo>
                      <a:lnTo>
                        <a:pt x="556" y="347"/>
                      </a:lnTo>
                      <a:lnTo>
                        <a:pt x="556" y="346"/>
                      </a:lnTo>
                      <a:lnTo>
                        <a:pt x="555" y="346"/>
                      </a:lnTo>
                      <a:lnTo>
                        <a:pt x="555" y="346"/>
                      </a:lnTo>
                      <a:lnTo>
                        <a:pt x="555" y="344"/>
                      </a:lnTo>
                      <a:lnTo>
                        <a:pt x="554" y="342"/>
                      </a:lnTo>
                      <a:lnTo>
                        <a:pt x="554" y="342"/>
                      </a:lnTo>
                      <a:lnTo>
                        <a:pt x="553" y="341"/>
                      </a:lnTo>
                      <a:lnTo>
                        <a:pt x="553" y="341"/>
                      </a:lnTo>
                      <a:lnTo>
                        <a:pt x="553" y="341"/>
                      </a:lnTo>
                      <a:lnTo>
                        <a:pt x="552" y="340"/>
                      </a:lnTo>
                      <a:lnTo>
                        <a:pt x="552" y="340"/>
                      </a:lnTo>
                      <a:lnTo>
                        <a:pt x="551" y="338"/>
                      </a:lnTo>
                      <a:lnTo>
                        <a:pt x="551" y="337"/>
                      </a:lnTo>
                      <a:lnTo>
                        <a:pt x="550" y="337"/>
                      </a:lnTo>
                      <a:lnTo>
                        <a:pt x="549" y="337"/>
                      </a:lnTo>
                      <a:lnTo>
                        <a:pt x="548" y="336"/>
                      </a:lnTo>
                      <a:lnTo>
                        <a:pt x="547" y="336"/>
                      </a:lnTo>
                      <a:lnTo>
                        <a:pt x="547" y="337"/>
                      </a:lnTo>
                      <a:lnTo>
                        <a:pt x="547" y="337"/>
                      </a:lnTo>
                      <a:lnTo>
                        <a:pt x="547" y="336"/>
                      </a:lnTo>
                      <a:lnTo>
                        <a:pt x="547" y="336"/>
                      </a:lnTo>
                      <a:lnTo>
                        <a:pt x="547" y="336"/>
                      </a:lnTo>
                      <a:lnTo>
                        <a:pt x="548" y="335"/>
                      </a:lnTo>
                      <a:lnTo>
                        <a:pt x="548" y="335"/>
                      </a:lnTo>
                      <a:lnTo>
                        <a:pt x="547" y="334"/>
                      </a:lnTo>
                      <a:lnTo>
                        <a:pt x="547" y="334"/>
                      </a:lnTo>
                      <a:lnTo>
                        <a:pt x="547" y="333"/>
                      </a:lnTo>
                      <a:lnTo>
                        <a:pt x="547" y="332"/>
                      </a:lnTo>
                      <a:lnTo>
                        <a:pt x="547" y="331"/>
                      </a:lnTo>
                      <a:lnTo>
                        <a:pt x="547" y="330"/>
                      </a:lnTo>
                      <a:lnTo>
                        <a:pt x="547" y="330"/>
                      </a:lnTo>
                      <a:lnTo>
                        <a:pt x="547" y="328"/>
                      </a:lnTo>
                      <a:lnTo>
                        <a:pt x="548" y="328"/>
                      </a:lnTo>
                      <a:lnTo>
                        <a:pt x="548" y="327"/>
                      </a:lnTo>
                      <a:lnTo>
                        <a:pt x="548" y="327"/>
                      </a:lnTo>
                      <a:lnTo>
                        <a:pt x="548" y="326"/>
                      </a:lnTo>
                      <a:lnTo>
                        <a:pt x="548" y="326"/>
                      </a:lnTo>
                      <a:lnTo>
                        <a:pt x="547" y="325"/>
                      </a:lnTo>
                      <a:lnTo>
                        <a:pt x="547" y="325"/>
                      </a:lnTo>
                      <a:lnTo>
                        <a:pt x="548" y="326"/>
                      </a:lnTo>
                      <a:lnTo>
                        <a:pt x="548" y="326"/>
                      </a:lnTo>
                      <a:lnTo>
                        <a:pt x="549" y="324"/>
                      </a:lnTo>
                      <a:lnTo>
                        <a:pt x="549" y="324"/>
                      </a:lnTo>
                      <a:lnTo>
                        <a:pt x="549" y="324"/>
                      </a:lnTo>
                      <a:lnTo>
                        <a:pt x="550" y="323"/>
                      </a:lnTo>
                      <a:lnTo>
                        <a:pt x="550" y="323"/>
                      </a:lnTo>
                      <a:lnTo>
                        <a:pt x="552" y="323"/>
                      </a:lnTo>
                      <a:lnTo>
                        <a:pt x="552" y="322"/>
                      </a:lnTo>
                      <a:lnTo>
                        <a:pt x="552" y="322"/>
                      </a:lnTo>
                      <a:lnTo>
                        <a:pt x="553" y="321"/>
                      </a:lnTo>
                      <a:lnTo>
                        <a:pt x="554" y="321"/>
                      </a:lnTo>
                      <a:lnTo>
                        <a:pt x="554" y="322"/>
                      </a:lnTo>
                      <a:lnTo>
                        <a:pt x="553" y="322"/>
                      </a:lnTo>
                      <a:lnTo>
                        <a:pt x="553" y="323"/>
                      </a:lnTo>
                      <a:lnTo>
                        <a:pt x="554" y="322"/>
                      </a:lnTo>
                      <a:lnTo>
                        <a:pt x="555" y="323"/>
                      </a:lnTo>
                      <a:lnTo>
                        <a:pt x="555" y="323"/>
                      </a:lnTo>
                      <a:lnTo>
                        <a:pt x="554" y="323"/>
                      </a:lnTo>
                      <a:lnTo>
                        <a:pt x="554" y="323"/>
                      </a:lnTo>
                      <a:lnTo>
                        <a:pt x="554" y="324"/>
                      </a:lnTo>
                      <a:lnTo>
                        <a:pt x="555" y="324"/>
                      </a:lnTo>
                      <a:lnTo>
                        <a:pt x="555" y="324"/>
                      </a:lnTo>
                      <a:lnTo>
                        <a:pt x="555" y="324"/>
                      </a:lnTo>
                      <a:lnTo>
                        <a:pt x="555" y="323"/>
                      </a:lnTo>
                      <a:lnTo>
                        <a:pt x="554" y="322"/>
                      </a:lnTo>
                      <a:lnTo>
                        <a:pt x="554" y="322"/>
                      </a:lnTo>
                      <a:lnTo>
                        <a:pt x="555" y="322"/>
                      </a:lnTo>
                      <a:lnTo>
                        <a:pt x="555" y="322"/>
                      </a:lnTo>
                      <a:lnTo>
                        <a:pt x="555" y="322"/>
                      </a:lnTo>
                      <a:lnTo>
                        <a:pt x="556" y="322"/>
                      </a:lnTo>
                      <a:lnTo>
                        <a:pt x="555" y="322"/>
                      </a:lnTo>
                      <a:lnTo>
                        <a:pt x="555" y="321"/>
                      </a:lnTo>
                      <a:lnTo>
                        <a:pt x="555" y="321"/>
                      </a:lnTo>
                      <a:lnTo>
                        <a:pt x="554" y="321"/>
                      </a:lnTo>
                      <a:lnTo>
                        <a:pt x="554" y="321"/>
                      </a:lnTo>
                      <a:lnTo>
                        <a:pt x="553" y="321"/>
                      </a:lnTo>
                      <a:lnTo>
                        <a:pt x="553" y="320"/>
                      </a:lnTo>
                      <a:lnTo>
                        <a:pt x="552" y="320"/>
                      </a:lnTo>
                      <a:lnTo>
                        <a:pt x="553" y="320"/>
                      </a:lnTo>
                      <a:lnTo>
                        <a:pt x="554" y="319"/>
                      </a:lnTo>
                      <a:lnTo>
                        <a:pt x="554" y="319"/>
                      </a:lnTo>
                      <a:lnTo>
                        <a:pt x="555" y="320"/>
                      </a:lnTo>
                      <a:lnTo>
                        <a:pt x="555" y="320"/>
                      </a:lnTo>
                      <a:lnTo>
                        <a:pt x="555" y="320"/>
                      </a:lnTo>
                      <a:lnTo>
                        <a:pt x="556" y="320"/>
                      </a:lnTo>
                      <a:lnTo>
                        <a:pt x="556" y="320"/>
                      </a:lnTo>
                      <a:lnTo>
                        <a:pt x="556" y="320"/>
                      </a:lnTo>
                      <a:lnTo>
                        <a:pt x="556" y="319"/>
                      </a:lnTo>
                      <a:lnTo>
                        <a:pt x="555" y="319"/>
                      </a:lnTo>
                      <a:lnTo>
                        <a:pt x="555" y="318"/>
                      </a:lnTo>
                      <a:lnTo>
                        <a:pt x="556" y="318"/>
                      </a:lnTo>
                      <a:lnTo>
                        <a:pt x="556" y="317"/>
                      </a:lnTo>
                      <a:lnTo>
                        <a:pt x="556" y="317"/>
                      </a:lnTo>
                      <a:lnTo>
                        <a:pt x="556" y="317"/>
                      </a:lnTo>
                      <a:lnTo>
                        <a:pt x="556" y="316"/>
                      </a:lnTo>
                      <a:lnTo>
                        <a:pt x="556" y="315"/>
                      </a:lnTo>
                      <a:lnTo>
                        <a:pt x="556" y="315"/>
                      </a:lnTo>
                      <a:lnTo>
                        <a:pt x="556" y="315"/>
                      </a:lnTo>
                      <a:lnTo>
                        <a:pt x="556" y="315"/>
                      </a:lnTo>
                      <a:lnTo>
                        <a:pt x="556" y="314"/>
                      </a:lnTo>
                      <a:lnTo>
                        <a:pt x="555" y="313"/>
                      </a:lnTo>
                      <a:lnTo>
                        <a:pt x="556" y="313"/>
                      </a:lnTo>
                      <a:lnTo>
                        <a:pt x="556" y="313"/>
                      </a:lnTo>
                      <a:lnTo>
                        <a:pt x="556" y="313"/>
                      </a:lnTo>
                      <a:lnTo>
                        <a:pt x="556" y="313"/>
                      </a:lnTo>
                      <a:lnTo>
                        <a:pt x="555" y="312"/>
                      </a:lnTo>
                      <a:lnTo>
                        <a:pt x="555" y="313"/>
                      </a:lnTo>
                      <a:lnTo>
                        <a:pt x="555" y="313"/>
                      </a:lnTo>
                      <a:lnTo>
                        <a:pt x="555" y="313"/>
                      </a:lnTo>
                      <a:lnTo>
                        <a:pt x="555" y="313"/>
                      </a:lnTo>
                      <a:lnTo>
                        <a:pt x="555" y="312"/>
                      </a:lnTo>
                      <a:lnTo>
                        <a:pt x="554" y="312"/>
                      </a:lnTo>
                      <a:lnTo>
                        <a:pt x="554" y="313"/>
                      </a:lnTo>
                      <a:lnTo>
                        <a:pt x="552" y="313"/>
                      </a:lnTo>
                      <a:lnTo>
                        <a:pt x="552" y="313"/>
                      </a:lnTo>
                      <a:lnTo>
                        <a:pt x="551" y="313"/>
                      </a:lnTo>
                      <a:lnTo>
                        <a:pt x="551" y="313"/>
                      </a:lnTo>
                      <a:lnTo>
                        <a:pt x="552" y="313"/>
                      </a:lnTo>
                      <a:lnTo>
                        <a:pt x="552" y="312"/>
                      </a:lnTo>
                      <a:lnTo>
                        <a:pt x="553" y="312"/>
                      </a:lnTo>
                      <a:lnTo>
                        <a:pt x="553" y="312"/>
                      </a:lnTo>
                      <a:lnTo>
                        <a:pt x="553" y="312"/>
                      </a:lnTo>
                      <a:lnTo>
                        <a:pt x="553" y="312"/>
                      </a:lnTo>
                      <a:lnTo>
                        <a:pt x="553" y="312"/>
                      </a:lnTo>
                      <a:lnTo>
                        <a:pt x="554" y="312"/>
                      </a:lnTo>
                      <a:lnTo>
                        <a:pt x="554" y="310"/>
                      </a:lnTo>
                      <a:lnTo>
                        <a:pt x="555" y="310"/>
                      </a:lnTo>
                      <a:lnTo>
                        <a:pt x="554" y="309"/>
                      </a:lnTo>
                      <a:lnTo>
                        <a:pt x="556" y="308"/>
                      </a:lnTo>
                      <a:lnTo>
                        <a:pt x="556" y="308"/>
                      </a:lnTo>
                      <a:lnTo>
                        <a:pt x="556" y="308"/>
                      </a:lnTo>
                      <a:lnTo>
                        <a:pt x="555" y="308"/>
                      </a:lnTo>
                      <a:lnTo>
                        <a:pt x="555" y="308"/>
                      </a:lnTo>
                      <a:lnTo>
                        <a:pt x="555" y="308"/>
                      </a:lnTo>
                      <a:lnTo>
                        <a:pt x="555" y="308"/>
                      </a:lnTo>
                      <a:lnTo>
                        <a:pt x="555" y="307"/>
                      </a:lnTo>
                      <a:lnTo>
                        <a:pt x="555" y="307"/>
                      </a:lnTo>
                      <a:lnTo>
                        <a:pt x="555" y="307"/>
                      </a:lnTo>
                      <a:lnTo>
                        <a:pt x="555" y="307"/>
                      </a:lnTo>
                      <a:lnTo>
                        <a:pt x="554" y="306"/>
                      </a:lnTo>
                      <a:lnTo>
                        <a:pt x="555" y="306"/>
                      </a:lnTo>
                      <a:lnTo>
                        <a:pt x="554" y="306"/>
                      </a:lnTo>
                      <a:lnTo>
                        <a:pt x="555" y="305"/>
                      </a:lnTo>
                      <a:lnTo>
                        <a:pt x="555" y="305"/>
                      </a:lnTo>
                      <a:lnTo>
                        <a:pt x="554" y="305"/>
                      </a:lnTo>
                      <a:lnTo>
                        <a:pt x="556" y="303"/>
                      </a:lnTo>
                      <a:lnTo>
                        <a:pt x="557" y="303"/>
                      </a:lnTo>
                      <a:lnTo>
                        <a:pt x="556" y="303"/>
                      </a:lnTo>
                      <a:lnTo>
                        <a:pt x="556" y="303"/>
                      </a:lnTo>
                      <a:lnTo>
                        <a:pt x="556" y="303"/>
                      </a:lnTo>
                      <a:lnTo>
                        <a:pt x="555" y="303"/>
                      </a:lnTo>
                      <a:lnTo>
                        <a:pt x="555" y="303"/>
                      </a:lnTo>
                      <a:lnTo>
                        <a:pt x="554" y="303"/>
                      </a:lnTo>
                      <a:lnTo>
                        <a:pt x="554" y="302"/>
                      </a:lnTo>
                      <a:lnTo>
                        <a:pt x="554" y="302"/>
                      </a:lnTo>
                      <a:lnTo>
                        <a:pt x="554" y="302"/>
                      </a:lnTo>
                      <a:lnTo>
                        <a:pt x="555" y="302"/>
                      </a:lnTo>
                      <a:lnTo>
                        <a:pt x="555" y="301"/>
                      </a:lnTo>
                      <a:lnTo>
                        <a:pt x="555" y="300"/>
                      </a:lnTo>
                      <a:lnTo>
                        <a:pt x="555" y="299"/>
                      </a:lnTo>
                      <a:lnTo>
                        <a:pt x="555" y="299"/>
                      </a:lnTo>
                      <a:lnTo>
                        <a:pt x="554" y="299"/>
                      </a:lnTo>
                      <a:lnTo>
                        <a:pt x="553" y="299"/>
                      </a:lnTo>
                      <a:lnTo>
                        <a:pt x="553" y="297"/>
                      </a:lnTo>
                      <a:lnTo>
                        <a:pt x="553" y="296"/>
                      </a:lnTo>
                      <a:lnTo>
                        <a:pt x="553" y="296"/>
                      </a:lnTo>
                      <a:lnTo>
                        <a:pt x="553" y="296"/>
                      </a:lnTo>
                      <a:lnTo>
                        <a:pt x="552" y="295"/>
                      </a:lnTo>
                      <a:lnTo>
                        <a:pt x="553" y="295"/>
                      </a:lnTo>
                      <a:lnTo>
                        <a:pt x="553" y="294"/>
                      </a:lnTo>
                      <a:lnTo>
                        <a:pt x="552" y="294"/>
                      </a:lnTo>
                      <a:lnTo>
                        <a:pt x="552" y="293"/>
                      </a:lnTo>
                      <a:lnTo>
                        <a:pt x="552" y="293"/>
                      </a:lnTo>
                      <a:lnTo>
                        <a:pt x="552" y="292"/>
                      </a:lnTo>
                      <a:lnTo>
                        <a:pt x="552" y="292"/>
                      </a:lnTo>
                      <a:lnTo>
                        <a:pt x="552" y="292"/>
                      </a:lnTo>
                      <a:lnTo>
                        <a:pt x="552" y="292"/>
                      </a:lnTo>
                      <a:lnTo>
                        <a:pt x="552" y="291"/>
                      </a:lnTo>
                      <a:lnTo>
                        <a:pt x="553" y="291"/>
                      </a:lnTo>
                      <a:lnTo>
                        <a:pt x="552" y="290"/>
                      </a:lnTo>
                      <a:lnTo>
                        <a:pt x="551" y="290"/>
                      </a:lnTo>
                      <a:lnTo>
                        <a:pt x="552" y="288"/>
                      </a:lnTo>
                      <a:lnTo>
                        <a:pt x="551" y="287"/>
                      </a:lnTo>
                      <a:lnTo>
                        <a:pt x="551" y="287"/>
                      </a:lnTo>
                      <a:lnTo>
                        <a:pt x="551" y="286"/>
                      </a:lnTo>
                      <a:lnTo>
                        <a:pt x="551" y="286"/>
                      </a:lnTo>
                      <a:lnTo>
                        <a:pt x="550" y="285"/>
                      </a:lnTo>
                      <a:lnTo>
                        <a:pt x="550" y="285"/>
                      </a:lnTo>
                      <a:lnTo>
                        <a:pt x="549" y="285"/>
                      </a:lnTo>
                      <a:lnTo>
                        <a:pt x="549" y="285"/>
                      </a:lnTo>
                      <a:lnTo>
                        <a:pt x="548" y="285"/>
                      </a:lnTo>
                      <a:lnTo>
                        <a:pt x="548" y="285"/>
                      </a:lnTo>
                      <a:lnTo>
                        <a:pt x="548" y="285"/>
                      </a:lnTo>
                      <a:lnTo>
                        <a:pt x="548" y="286"/>
                      </a:lnTo>
                      <a:lnTo>
                        <a:pt x="548" y="286"/>
                      </a:lnTo>
                      <a:lnTo>
                        <a:pt x="547" y="286"/>
                      </a:lnTo>
                      <a:lnTo>
                        <a:pt x="546" y="286"/>
                      </a:lnTo>
                      <a:lnTo>
                        <a:pt x="546" y="285"/>
                      </a:lnTo>
                      <a:lnTo>
                        <a:pt x="545" y="285"/>
                      </a:lnTo>
                      <a:lnTo>
                        <a:pt x="545" y="284"/>
                      </a:lnTo>
                      <a:lnTo>
                        <a:pt x="545" y="284"/>
                      </a:lnTo>
                      <a:lnTo>
                        <a:pt x="545" y="284"/>
                      </a:lnTo>
                      <a:lnTo>
                        <a:pt x="545" y="283"/>
                      </a:lnTo>
                      <a:lnTo>
                        <a:pt x="544" y="283"/>
                      </a:lnTo>
                      <a:lnTo>
                        <a:pt x="543" y="281"/>
                      </a:lnTo>
                      <a:lnTo>
                        <a:pt x="543" y="281"/>
                      </a:lnTo>
                      <a:lnTo>
                        <a:pt x="543" y="281"/>
                      </a:lnTo>
                      <a:lnTo>
                        <a:pt x="543" y="280"/>
                      </a:lnTo>
                      <a:lnTo>
                        <a:pt x="543" y="280"/>
                      </a:lnTo>
                      <a:lnTo>
                        <a:pt x="542" y="280"/>
                      </a:lnTo>
                      <a:lnTo>
                        <a:pt x="542" y="280"/>
                      </a:lnTo>
                      <a:lnTo>
                        <a:pt x="542" y="280"/>
                      </a:lnTo>
                      <a:lnTo>
                        <a:pt x="540" y="280"/>
                      </a:lnTo>
                      <a:lnTo>
                        <a:pt x="540" y="279"/>
                      </a:lnTo>
                      <a:lnTo>
                        <a:pt x="540" y="278"/>
                      </a:lnTo>
                      <a:lnTo>
                        <a:pt x="539" y="276"/>
                      </a:lnTo>
                      <a:lnTo>
                        <a:pt x="536" y="276"/>
                      </a:lnTo>
                      <a:lnTo>
                        <a:pt x="535" y="275"/>
                      </a:lnTo>
                      <a:lnTo>
                        <a:pt x="533" y="275"/>
                      </a:lnTo>
                      <a:lnTo>
                        <a:pt x="533" y="275"/>
                      </a:lnTo>
                      <a:lnTo>
                        <a:pt x="534" y="274"/>
                      </a:lnTo>
                      <a:lnTo>
                        <a:pt x="533" y="274"/>
                      </a:lnTo>
                      <a:lnTo>
                        <a:pt x="532" y="274"/>
                      </a:lnTo>
                      <a:lnTo>
                        <a:pt x="531" y="272"/>
                      </a:lnTo>
                      <a:lnTo>
                        <a:pt x="530" y="272"/>
                      </a:lnTo>
                      <a:lnTo>
                        <a:pt x="530" y="272"/>
                      </a:lnTo>
                      <a:lnTo>
                        <a:pt x="530" y="271"/>
                      </a:lnTo>
                      <a:lnTo>
                        <a:pt x="529" y="271"/>
                      </a:lnTo>
                      <a:lnTo>
                        <a:pt x="528" y="270"/>
                      </a:lnTo>
                      <a:lnTo>
                        <a:pt x="528" y="270"/>
                      </a:lnTo>
                      <a:lnTo>
                        <a:pt x="527" y="269"/>
                      </a:lnTo>
                      <a:lnTo>
                        <a:pt x="526" y="268"/>
                      </a:lnTo>
                      <a:lnTo>
                        <a:pt x="526" y="267"/>
                      </a:lnTo>
                      <a:lnTo>
                        <a:pt x="526" y="267"/>
                      </a:lnTo>
                      <a:lnTo>
                        <a:pt x="524" y="267"/>
                      </a:lnTo>
                      <a:lnTo>
                        <a:pt x="523" y="268"/>
                      </a:lnTo>
                      <a:lnTo>
                        <a:pt x="523" y="270"/>
                      </a:lnTo>
                      <a:lnTo>
                        <a:pt x="522" y="271"/>
                      </a:lnTo>
                      <a:lnTo>
                        <a:pt x="522" y="272"/>
                      </a:lnTo>
                      <a:lnTo>
                        <a:pt x="521" y="272"/>
                      </a:lnTo>
                      <a:lnTo>
                        <a:pt x="522" y="274"/>
                      </a:lnTo>
                      <a:lnTo>
                        <a:pt x="521" y="274"/>
                      </a:lnTo>
                      <a:lnTo>
                        <a:pt x="522" y="276"/>
                      </a:lnTo>
                      <a:lnTo>
                        <a:pt x="521" y="276"/>
                      </a:lnTo>
                      <a:lnTo>
                        <a:pt x="522" y="277"/>
                      </a:lnTo>
                      <a:lnTo>
                        <a:pt x="521" y="278"/>
                      </a:lnTo>
                      <a:lnTo>
                        <a:pt x="521" y="279"/>
                      </a:lnTo>
                      <a:lnTo>
                        <a:pt x="522" y="280"/>
                      </a:lnTo>
                      <a:lnTo>
                        <a:pt x="522" y="281"/>
                      </a:lnTo>
                      <a:lnTo>
                        <a:pt x="520" y="281"/>
                      </a:lnTo>
                      <a:lnTo>
                        <a:pt x="519" y="282"/>
                      </a:lnTo>
                      <a:lnTo>
                        <a:pt x="518" y="283"/>
                      </a:lnTo>
                      <a:lnTo>
                        <a:pt x="517" y="283"/>
                      </a:lnTo>
                      <a:lnTo>
                        <a:pt x="516" y="283"/>
                      </a:lnTo>
                      <a:lnTo>
                        <a:pt x="516" y="283"/>
                      </a:lnTo>
                      <a:lnTo>
                        <a:pt x="518" y="284"/>
                      </a:lnTo>
                      <a:lnTo>
                        <a:pt x="518" y="284"/>
                      </a:lnTo>
                      <a:lnTo>
                        <a:pt x="520" y="284"/>
                      </a:lnTo>
                      <a:lnTo>
                        <a:pt x="521" y="284"/>
                      </a:lnTo>
                      <a:lnTo>
                        <a:pt x="521" y="285"/>
                      </a:lnTo>
                      <a:lnTo>
                        <a:pt x="521" y="285"/>
                      </a:lnTo>
                      <a:lnTo>
                        <a:pt x="522" y="285"/>
                      </a:lnTo>
                      <a:lnTo>
                        <a:pt x="524" y="286"/>
                      </a:lnTo>
                      <a:lnTo>
                        <a:pt x="524" y="286"/>
                      </a:lnTo>
                      <a:lnTo>
                        <a:pt x="524" y="287"/>
                      </a:lnTo>
                      <a:lnTo>
                        <a:pt x="524" y="287"/>
                      </a:lnTo>
                      <a:lnTo>
                        <a:pt x="524" y="288"/>
                      </a:lnTo>
                      <a:lnTo>
                        <a:pt x="525" y="288"/>
                      </a:lnTo>
                      <a:lnTo>
                        <a:pt x="525" y="288"/>
                      </a:lnTo>
                      <a:lnTo>
                        <a:pt x="526" y="289"/>
                      </a:lnTo>
                      <a:lnTo>
                        <a:pt x="525" y="289"/>
                      </a:lnTo>
                      <a:lnTo>
                        <a:pt x="526" y="289"/>
                      </a:lnTo>
                      <a:lnTo>
                        <a:pt x="526" y="289"/>
                      </a:lnTo>
                      <a:lnTo>
                        <a:pt x="526" y="289"/>
                      </a:lnTo>
                      <a:lnTo>
                        <a:pt x="526" y="289"/>
                      </a:lnTo>
                      <a:lnTo>
                        <a:pt x="528" y="289"/>
                      </a:lnTo>
                      <a:lnTo>
                        <a:pt x="528" y="290"/>
                      </a:lnTo>
                      <a:lnTo>
                        <a:pt x="529" y="290"/>
                      </a:lnTo>
                      <a:lnTo>
                        <a:pt x="529" y="290"/>
                      </a:lnTo>
                      <a:lnTo>
                        <a:pt x="529" y="290"/>
                      </a:lnTo>
                      <a:lnTo>
                        <a:pt x="529" y="290"/>
                      </a:lnTo>
                      <a:lnTo>
                        <a:pt x="529" y="290"/>
                      </a:lnTo>
                      <a:lnTo>
                        <a:pt x="530" y="290"/>
                      </a:lnTo>
                      <a:lnTo>
                        <a:pt x="531" y="290"/>
                      </a:lnTo>
                      <a:lnTo>
                        <a:pt x="531" y="291"/>
                      </a:lnTo>
                      <a:lnTo>
                        <a:pt x="531" y="291"/>
                      </a:lnTo>
                      <a:lnTo>
                        <a:pt x="531" y="291"/>
                      </a:lnTo>
                      <a:lnTo>
                        <a:pt x="531" y="292"/>
                      </a:lnTo>
                      <a:lnTo>
                        <a:pt x="533" y="292"/>
                      </a:lnTo>
                      <a:lnTo>
                        <a:pt x="533" y="291"/>
                      </a:lnTo>
                      <a:lnTo>
                        <a:pt x="534" y="291"/>
                      </a:lnTo>
                      <a:lnTo>
                        <a:pt x="535" y="291"/>
                      </a:lnTo>
                      <a:lnTo>
                        <a:pt x="535" y="292"/>
                      </a:lnTo>
                      <a:lnTo>
                        <a:pt x="534" y="292"/>
                      </a:lnTo>
                      <a:lnTo>
                        <a:pt x="534" y="292"/>
                      </a:lnTo>
                      <a:lnTo>
                        <a:pt x="534" y="292"/>
                      </a:lnTo>
                      <a:lnTo>
                        <a:pt x="534" y="293"/>
                      </a:lnTo>
                      <a:lnTo>
                        <a:pt x="533" y="293"/>
                      </a:lnTo>
                      <a:lnTo>
                        <a:pt x="533" y="294"/>
                      </a:lnTo>
                      <a:lnTo>
                        <a:pt x="532" y="295"/>
                      </a:lnTo>
                      <a:lnTo>
                        <a:pt x="533" y="296"/>
                      </a:lnTo>
                      <a:lnTo>
                        <a:pt x="532" y="297"/>
                      </a:lnTo>
                      <a:lnTo>
                        <a:pt x="532" y="297"/>
                      </a:lnTo>
                      <a:lnTo>
                        <a:pt x="534" y="297"/>
                      </a:lnTo>
                      <a:lnTo>
                        <a:pt x="534" y="296"/>
                      </a:lnTo>
                      <a:lnTo>
                        <a:pt x="535" y="296"/>
                      </a:lnTo>
                      <a:lnTo>
                        <a:pt x="535" y="296"/>
                      </a:lnTo>
                      <a:lnTo>
                        <a:pt x="536" y="296"/>
                      </a:lnTo>
                      <a:lnTo>
                        <a:pt x="536" y="295"/>
                      </a:lnTo>
                      <a:lnTo>
                        <a:pt x="536" y="295"/>
                      </a:lnTo>
                      <a:lnTo>
                        <a:pt x="537" y="295"/>
                      </a:lnTo>
                      <a:lnTo>
                        <a:pt x="537" y="294"/>
                      </a:lnTo>
                      <a:lnTo>
                        <a:pt x="538" y="295"/>
                      </a:lnTo>
                      <a:lnTo>
                        <a:pt x="538" y="295"/>
                      </a:lnTo>
                      <a:lnTo>
                        <a:pt x="537" y="295"/>
                      </a:lnTo>
                      <a:lnTo>
                        <a:pt x="537" y="295"/>
                      </a:lnTo>
                      <a:lnTo>
                        <a:pt x="538" y="296"/>
                      </a:lnTo>
                      <a:lnTo>
                        <a:pt x="538" y="296"/>
                      </a:lnTo>
                      <a:lnTo>
                        <a:pt x="537" y="296"/>
                      </a:lnTo>
                      <a:lnTo>
                        <a:pt x="537" y="296"/>
                      </a:lnTo>
                      <a:lnTo>
                        <a:pt x="537" y="296"/>
                      </a:lnTo>
                      <a:lnTo>
                        <a:pt x="536" y="296"/>
                      </a:lnTo>
                      <a:lnTo>
                        <a:pt x="536" y="297"/>
                      </a:lnTo>
                      <a:lnTo>
                        <a:pt x="535" y="298"/>
                      </a:lnTo>
                      <a:lnTo>
                        <a:pt x="535" y="298"/>
                      </a:lnTo>
                      <a:lnTo>
                        <a:pt x="535" y="298"/>
                      </a:lnTo>
                      <a:lnTo>
                        <a:pt x="533" y="299"/>
                      </a:lnTo>
                      <a:lnTo>
                        <a:pt x="533" y="298"/>
                      </a:lnTo>
                      <a:lnTo>
                        <a:pt x="532" y="298"/>
                      </a:lnTo>
                      <a:lnTo>
                        <a:pt x="531" y="298"/>
                      </a:lnTo>
                      <a:lnTo>
                        <a:pt x="531" y="297"/>
                      </a:lnTo>
                      <a:lnTo>
                        <a:pt x="531" y="296"/>
                      </a:lnTo>
                      <a:lnTo>
                        <a:pt x="531" y="295"/>
                      </a:lnTo>
                      <a:lnTo>
                        <a:pt x="532" y="295"/>
                      </a:lnTo>
                      <a:lnTo>
                        <a:pt x="532" y="294"/>
                      </a:lnTo>
                      <a:lnTo>
                        <a:pt x="531" y="294"/>
                      </a:lnTo>
                      <a:lnTo>
                        <a:pt x="532" y="294"/>
                      </a:lnTo>
                      <a:lnTo>
                        <a:pt x="532" y="293"/>
                      </a:lnTo>
                      <a:lnTo>
                        <a:pt x="532" y="292"/>
                      </a:lnTo>
                      <a:lnTo>
                        <a:pt x="532" y="292"/>
                      </a:lnTo>
                      <a:lnTo>
                        <a:pt x="531" y="293"/>
                      </a:lnTo>
                      <a:lnTo>
                        <a:pt x="531" y="293"/>
                      </a:lnTo>
                      <a:lnTo>
                        <a:pt x="531" y="294"/>
                      </a:lnTo>
                      <a:lnTo>
                        <a:pt x="530" y="295"/>
                      </a:lnTo>
                      <a:lnTo>
                        <a:pt x="530" y="295"/>
                      </a:lnTo>
                      <a:lnTo>
                        <a:pt x="530" y="294"/>
                      </a:lnTo>
                      <a:lnTo>
                        <a:pt x="531" y="293"/>
                      </a:lnTo>
                      <a:lnTo>
                        <a:pt x="530" y="292"/>
                      </a:lnTo>
                      <a:lnTo>
                        <a:pt x="530" y="292"/>
                      </a:lnTo>
                      <a:lnTo>
                        <a:pt x="528" y="293"/>
                      </a:lnTo>
                      <a:lnTo>
                        <a:pt x="528" y="295"/>
                      </a:lnTo>
                      <a:lnTo>
                        <a:pt x="528" y="295"/>
                      </a:lnTo>
                      <a:lnTo>
                        <a:pt x="527" y="294"/>
                      </a:lnTo>
                      <a:lnTo>
                        <a:pt x="527" y="294"/>
                      </a:lnTo>
                      <a:lnTo>
                        <a:pt x="526" y="294"/>
                      </a:lnTo>
                      <a:lnTo>
                        <a:pt x="526" y="296"/>
                      </a:lnTo>
                      <a:lnTo>
                        <a:pt x="526" y="296"/>
                      </a:lnTo>
                      <a:lnTo>
                        <a:pt x="526" y="297"/>
                      </a:lnTo>
                      <a:lnTo>
                        <a:pt x="526" y="297"/>
                      </a:lnTo>
                      <a:lnTo>
                        <a:pt x="526" y="298"/>
                      </a:lnTo>
                      <a:lnTo>
                        <a:pt x="526" y="298"/>
                      </a:lnTo>
                      <a:lnTo>
                        <a:pt x="527" y="298"/>
                      </a:lnTo>
                      <a:lnTo>
                        <a:pt x="527" y="299"/>
                      </a:lnTo>
                      <a:lnTo>
                        <a:pt x="527" y="299"/>
                      </a:lnTo>
                      <a:lnTo>
                        <a:pt x="527" y="300"/>
                      </a:lnTo>
                      <a:lnTo>
                        <a:pt x="527" y="300"/>
                      </a:lnTo>
                      <a:lnTo>
                        <a:pt x="528" y="300"/>
                      </a:lnTo>
                      <a:lnTo>
                        <a:pt x="528" y="299"/>
                      </a:lnTo>
                      <a:lnTo>
                        <a:pt x="528" y="299"/>
                      </a:lnTo>
                      <a:lnTo>
                        <a:pt x="529" y="299"/>
                      </a:lnTo>
                      <a:lnTo>
                        <a:pt x="529" y="298"/>
                      </a:lnTo>
                      <a:lnTo>
                        <a:pt x="529" y="298"/>
                      </a:lnTo>
                      <a:lnTo>
                        <a:pt x="531" y="299"/>
                      </a:lnTo>
                      <a:lnTo>
                        <a:pt x="531" y="299"/>
                      </a:lnTo>
                      <a:lnTo>
                        <a:pt x="532" y="301"/>
                      </a:lnTo>
                      <a:lnTo>
                        <a:pt x="531" y="302"/>
                      </a:lnTo>
                      <a:lnTo>
                        <a:pt x="531" y="302"/>
                      </a:lnTo>
                      <a:lnTo>
                        <a:pt x="531" y="302"/>
                      </a:lnTo>
                      <a:lnTo>
                        <a:pt x="530" y="302"/>
                      </a:lnTo>
                      <a:lnTo>
                        <a:pt x="531" y="303"/>
                      </a:lnTo>
                      <a:lnTo>
                        <a:pt x="532" y="303"/>
                      </a:lnTo>
                      <a:lnTo>
                        <a:pt x="532" y="303"/>
                      </a:lnTo>
                      <a:lnTo>
                        <a:pt x="532" y="304"/>
                      </a:lnTo>
                      <a:lnTo>
                        <a:pt x="532" y="304"/>
                      </a:lnTo>
                      <a:lnTo>
                        <a:pt x="532" y="304"/>
                      </a:lnTo>
                      <a:lnTo>
                        <a:pt x="532" y="305"/>
                      </a:lnTo>
                      <a:lnTo>
                        <a:pt x="531" y="305"/>
                      </a:lnTo>
                      <a:lnTo>
                        <a:pt x="532" y="306"/>
                      </a:lnTo>
                      <a:lnTo>
                        <a:pt x="531" y="306"/>
                      </a:lnTo>
                      <a:lnTo>
                        <a:pt x="531" y="306"/>
                      </a:lnTo>
                      <a:lnTo>
                        <a:pt x="531" y="306"/>
                      </a:lnTo>
                      <a:lnTo>
                        <a:pt x="531" y="307"/>
                      </a:lnTo>
                      <a:lnTo>
                        <a:pt x="531" y="306"/>
                      </a:lnTo>
                      <a:lnTo>
                        <a:pt x="532" y="306"/>
                      </a:lnTo>
                      <a:lnTo>
                        <a:pt x="532" y="307"/>
                      </a:lnTo>
                      <a:lnTo>
                        <a:pt x="531" y="308"/>
                      </a:lnTo>
                      <a:lnTo>
                        <a:pt x="531" y="308"/>
                      </a:lnTo>
                      <a:lnTo>
                        <a:pt x="531" y="308"/>
                      </a:lnTo>
                      <a:lnTo>
                        <a:pt x="530" y="308"/>
                      </a:lnTo>
                      <a:lnTo>
                        <a:pt x="530" y="308"/>
                      </a:lnTo>
                      <a:lnTo>
                        <a:pt x="530" y="308"/>
                      </a:lnTo>
                      <a:lnTo>
                        <a:pt x="530" y="309"/>
                      </a:lnTo>
                      <a:lnTo>
                        <a:pt x="530" y="309"/>
                      </a:lnTo>
                      <a:lnTo>
                        <a:pt x="530" y="309"/>
                      </a:lnTo>
                      <a:lnTo>
                        <a:pt x="531" y="310"/>
                      </a:lnTo>
                      <a:lnTo>
                        <a:pt x="531" y="309"/>
                      </a:lnTo>
                      <a:lnTo>
                        <a:pt x="531" y="309"/>
                      </a:lnTo>
                      <a:lnTo>
                        <a:pt x="531" y="309"/>
                      </a:lnTo>
                      <a:lnTo>
                        <a:pt x="531" y="309"/>
                      </a:lnTo>
                      <a:lnTo>
                        <a:pt x="532" y="308"/>
                      </a:lnTo>
                      <a:lnTo>
                        <a:pt x="532" y="308"/>
                      </a:lnTo>
                      <a:lnTo>
                        <a:pt x="533" y="309"/>
                      </a:lnTo>
                      <a:lnTo>
                        <a:pt x="533" y="309"/>
                      </a:lnTo>
                      <a:lnTo>
                        <a:pt x="533" y="310"/>
                      </a:lnTo>
                      <a:lnTo>
                        <a:pt x="533" y="310"/>
                      </a:lnTo>
                      <a:lnTo>
                        <a:pt x="533" y="312"/>
                      </a:lnTo>
                      <a:lnTo>
                        <a:pt x="533" y="312"/>
                      </a:lnTo>
                      <a:lnTo>
                        <a:pt x="533" y="313"/>
                      </a:lnTo>
                      <a:lnTo>
                        <a:pt x="533" y="313"/>
                      </a:lnTo>
                      <a:lnTo>
                        <a:pt x="532" y="313"/>
                      </a:lnTo>
                      <a:lnTo>
                        <a:pt x="532" y="313"/>
                      </a:lnTo>
                      <a:lnTo>
                        <a:pt x="532" y="313"/>
                      </a:lnTo>
                      <a:lnTo>
                        <a:pt x="532" y="314"/>
                      </a:lnTo>
                      <a:lnTo>
                        <a:pt x="533" y="314"/>
                      </a:lnTo>
                      <a:lnTo>
                        <a:pt x="533" y="313"/>
                      </a:lnTo>
                      <a:lnTo>
                        <a:pt x="533" y="313"/>
                      </a:lnTo>
                      <a:lnTo>
                        <a:pt x="533" y="314"/>
                      </a:lnTo>
                      <a:lnTo>
                        <a:pt x="533" y="314"/>
                      </a:lnTo>
                      <a:lnTo>
                        <a:pt x="533" y="314"/>
                      </a:lnTo>
                      <a:lnTo>
                        <a:pt x="532" y="314"/>
                      </a:lnTo>
                      <a:lnTo>
                        <a:pt x="532" y="314"/>
                      </a:lnTo>
                      <a:lnTo>
                        <a:pt x="531" y="314"/>
                      </a:lnTo>
                      <a:lnTo>
                        <a:pt x="531" y="314"/>
                      </a:lnTo>
                      <a:lnTo>
                        <a:pt x="532" y="314"/>
                      </a:lnTo>
                      <a:lnTo>
                        <a:pt x="532" y="315"/>
                      </a:lnTo>
                      <a:lnTo>
                        <a:pt x="533" y="315"/>
                      </a:lnTo>
                      <a:lnTo>
                        <a:pt x="533" y="315"/>
                      </a:lnTo>
                      <a:lnTo>
                        <a:pt x="534" y="315"/>
                      </a:lnTo>
                      <a:lnTo>
                        <a:pt x="534" y="314"/>
                      </a:lnTo>
                      <a:lnTo>
                        <a:pt x="534" y="313"/>
                      </a:lnTo>
                      <a:lnTo>
                        <a:pt x="534" y="313"/>
                      </a:lnTo>
                      <a:lnTo>
                        <a:pt x="534" y="314"/>
                      </a:lnTo>
                      <a:lnTo>
                        <a:pt x="535" y="314"/>
                      </a:lnTo>
                      <a:lnTo>
                        <a:pt x="535" y="313"/>
                      </a:lnTo>
                      <a:lnTo>
                        <a:pt x="534" y="312"/>
                      </a:lnTo>
                      <a:lnTo>
                        <a:pt x="535" y="312"/>
                      </a:lnTo>
                      <a:lnTo>
                        <a:pt x="535" y="312"/>
                      </a:lnTo>
                      <a:lnTo>
                        <a:pt x="535" y="310"/>
                      </a:lnTo>
                      <a:lnTo>
                        <a:pt x="535" y="309"/>
                      </a:lnTo>
                      <a:lnTo>
                        <a:pt x="536" y="310"/>
                      </a:lnTo>
                      <a:lnTo>
                        <a:pt x="536" y="310"/>
                      </a:lnTo>
                      <a:lnTo>
                        <a:pt x="536" y="312"/>
                      </a:lnTo>
                      <a:lnTo>
                        <a:pt x="536" y="312"/>
                      </a:lnTo>
                      <a:lnTo>
                        <a:pt x="536" y="312"/>
                      </a:lnTo>
                      <a:lnTo>
                        <a:pt x="536" y="313"/>
                      </a:lnTo>
                      <a:lnTo>
                        <a:pt x="536" y="314"/>
                      </a:lnTo>
                      <a:lnTo>
                        <a:pt x="535" y="315"/>
                      </a:lnTo>
                      <a:lnTo>
                        <a:pt x="535" y="315"/>
                      </a:lnTo>
                      <a:lnTo>
                        <a:pt x="535" y="315"/>
                      </a:lnTo>
                      <a:lnTo>
                        <a:pt x="535" y="316"/>
                      </a:lnTo>
                      <a:lnTo>
                        <a:pt x="535" y="317"/>
                      </a:lnTo>
                      <a:lnTo>
                        <a:pt x="535" y="317"/>
                      </a:lnTo>
                      <a:lnTo>
                        <a:pt x="534" y="317"/>
                      </a:lnTo>
                      <a:lnTo>
                        <a:pt x="534" y="317"/>
                      </a:lnTo>
                      <a:lnTo>
                        <a:pt x="534" y="317"/>
                      </a:lnTo>
                      <a:lnTo>
                        <a:pt x="534" y="318"/>
                      </a:lnTo>
                      <a:lnTo>
                        <a:pt x="534" y="318"/>
                      </a:lnTo>
                      <a:lnTo>
                        <a:pt x="534" y="318"/>
                      </a:lnTo>
                      <a:lnTo>
                        <a:pt x="533" y="319"/>
                      </a:lnTo>
                      <a:lnTo>
                        <a:pt x="533" y="319"/>
                      </a:lnTo>
                      <a:lnTo>
                        <a:pt x="533" y="320"/>
                      </a:lnTo>
                      <a:lnTo>
                        <a:pt x="533" y="320"/>
                      </a:lnTo>
                      <a:lnTo>
                        <a:pt x="534" y="320"/>
                      </a:lnTo>
                      <a:lnTo>
                        <a:pt x="534" y="320"/>
                      </a:lnTo>
                      <a:lnTo>
                        <a:pt x="534" y="319"/>
                      </a:lnTo>
                      <a:lnTo>
                        <a:pt x="534" y="319"/>
                      </a:lnTo>
                      <a:lnTo>
                        <a:pt x="534" y="319"/>
                      </a:lnTo>
                      <a:lnTo>
                        <a:pt x="535" y="320"/>
                      </a:lnTo>
                      <a:lnTo>
                        <a:pt x="536" y="320"/>
                      </a:lnTo>
                      <a:lnTo>
                        <a:pt x="536" y="320"/>
                      </a:lnTo>
                      <a:lnTo>
                        <a:pt x="535" y="321"/>
                      </a:lnTo>
                      <a:lnTo>
                        <a:pt x="536" y="321"/>
                      </a:lnTo>
                      <a:lnTo>
                        <a:pt x="536" y="321"/>
                      </a:lnTo>
                      <a:lnTo>
                        <a:pt x="536" y="321"/>
                      </a:lnTo>
                      <a:lnTo>
                        <a:pt x="535" y="322"/>
                      </a:lnTo>
                      <a:lnTo>
                        <a:pt x="536" y="322"/>
                      </a:lnTo>
                      <a:lnTo>
                        <a:pt x="536" y="323"/>
                      </a:lnTo>
                      <a:lnTo>
                        <a:pt x="535" y="323"/>
                      </a:lnTo>
                      <a:lnTo>
                        <a:pt x="535" y="324"/>
                      </a:lnTo>
                      <a:lnTo>
                        <a:pt x="534" y="323"/>
                      </a:lnTo>
                      <a:lnTo>
                        <a:pt x="534" y="322"/>
                      </a:lnTo>
                      <a:lnTo>
                        <a:pt x="535" y="322"/>
                      </a:lnTo>
                      <a:lnTo>
                        <a:pt x="535" y="322"/>
                      </a:lnTo>
                      <a:lnTo>
                        <a:pt x="535" y="321"/>
                      </a:lnTo>
                      <a:lnTo>
                        <a:pt x="534" y="322"/>
                      </a:lnTo>
                      <a:lnTo>
                        <a:pt x="534" y="323"/>
                      </a:lnTo>
                      <a:lnTo>
                        <a:pt x="534" y="323"/>
                      </a:lnTo>
                      <a:lnTo>
                        <a:pt x="533" y="323"/>
                      </a:lnTo>
                      <a:lnTo>
                        <a:pt x="533" y="323"/>
                      </a:lnTo>
                      <a:lnTo>
                        <a:pt x="533" y="323"/>
                      </a:lnTo>
                      <a:lnTo>
                        <a:pt x="533" y="323"/>
                      </a:lnTo>
                      <a:lnTo>
                        <a:pt x="533" y="324"/>
                      </a:lnTo>
                      <a:lnTo>
                        <a:pt x="533" y="323"/>
                      </a:lnTo>
                      <a:lnTo>
                        <a:pt x="533" y="323"/>
                      </a:lnTo>
                      <a:lnTo>
                        <a:pt x="534" y="324"/>
                      </a:lnTo>
                      <a:lnTo>
                        <a:pt x="534" y="324"/>
                      </a:lnTo>
                      <a:lnTo>
                        <a:pt x="533" y="324"/>
                      </a:lnTo>
                      <a:lnTo>
                        <a:pt x="533" y="325"/>
                      </a:lnTo>
                      <a:lnTo>
                        <a:pt x="533" y="326"/>
                      </a:lnTo>
                      <a:lnTo>
                        <a:pt x="533" y="326"/>
                      </a:lnTo>
                      <a:lnTo>
                        <a:pt x="532" y="326"/>
                      </a:lnTo>
                      <a:lnTo>
                        <a:pt x="532" y="326"/>
                      </a:lnTo>
                      <a:lnTo>
                        <a:pt x="532" y="327"/>
                      </a:lnTo>
                      <a:lnTo>
                        <a:pt x="533" y="327"/>
                      </a:lnTo>
                      <a:lnTo>
                        <a:pt x="533" y="328"/>
                      </a:lnTo>
                      <a:lnTo>
                        <a:pt x="532" y="329"/>
                      </a:lnTo>
                      <a:lnTo>
                        <a:pt x="532" y="329"/>
                      </a:lnTo>
                      <a:lnTo>
                        <a:pt x="532" y="329"/>
                      </a:lnTo>
                      <a:lnTo>
                        <a:pt x="532" y="330"/>
                      </a:lnTo>
                      <a:lnTo>
                        <a:pt x="532" y="329"/>
                      </a:lnTo>
                      <a:lnTo>
                        <a:pt x="533" y="329"/>
                      </a:lnTo>
                      <a:lnTo>
                        <a:pt x="533" y="330"/>
                      </a:lnTo>
                      <a:lnTo>
                        <a:pt x="533" y="331"/>
                      </a:lnTo>
                      <a:lnTo>
                        <a:pt x="533" y="332"/>
                      </a:lnTo>
                      <a:lnTo>
                        <a:pt x="533" y="333"/>
                      </a:lnTo>
                      <a:lnTo>
                        <a:pt x="533" y="333"/>
                      </a:lnTo>
                      <a:lnTo>
                        <a:pt x="533" y="334"/>
                      </a:lnTo>
                      <a:lnTo>
                        <a:pt x="532" y="334"/>
                      </a:lnTo>
                      <a:lnTo>
                        <a:pt x="531" y="334"/>
                      </a:lnTo>
                      <a:lnTo>
                        <a:pt x="531" y="334"/>
                      </a:lnTo>
                      <a:lnTo>
                        <a:pt x="532" y="335"/>
                      </a:lnTo>
                      <a:lnTo>
                        <a:pt x="532" y="336"/>
                      </a:lnTo>
                      <a:lnTo>
                        <a:pt x="531" y="336"/>
                      </a:lnTo>
                      <a:lnTo>
                        <a:pt x="531" y="337"/>
                      </a:lnTo>
                      <a:lnTo>
                        <a:pt x="531" y="337"/>
                      </a:lnTo>
                      <a:lnTo>
                        <a:pt x="530" y="338"/>
                      </a:lnTo>
                      <a:lnTo>
                        <a:pt x="530" y="338"/>
                      </a:lnTo>
                      <a:lnTo>
                        <a:pt x="530" y="339"/>
                      </a:lnTo>
                      <a:lnTo>
                        <a:pt x="530" y="339"/>
                      </a:lnTo>
                      <a:lnTo>
                        <a:pt x="531" y="339"/>
                      </a:lnTo>
                      <a:lnTo>
                        <a:pt x="529" y="340"/>
                      </a:lnTo>
                      <a:lnTo>
                        <a:pt x="529" y="340"/>
                      </a:lnTo>
                      <a:lnTo>
                        <a:pt x="529" y="340"/>
                      </a:lnTo>
                      <a:lnTo>
                        <a:pt x="529" y="340"/>
                      </a:lnTo>
                      <a:lnTo>
                        <a:pt x="528" y="339"/>
                      </a:lnTo>
                      <a:lnTo>
                        <a:pt x="528" y="340"/>
                      </a:lnTo>
                      <a:lnTo>
                        <a:pt x="527" y="341"/>
                      </a:lnTo>
                      <a:lnTo>
                        <a:pt x="526" y="341"/>
                      </a:lnTo>
                      <a:lnTo>
                        <a:pt x="526" y="342"/>
                      </a:lnTo>
                      <a:lnTo>
                        <a:pt x="526" y="342"/>
                      </a:lnTo>
                      <a:lnTo>
                        <a:pt x="526" y="341"/>
                      </a:lnTo>
                      <a:lnTo>
                        <a:pt x="526" y="341"/>
                      </a:lnTo>
                      <a:lnTo>
                        <a:pt x="526" y="342"/>
                      </a:lnTo>
                      <a:lnTo>
                        <a:pt x="526" y="342"/>
                      </a:lnTo>
                      <a:lnTo>
                        <a:pt x="525" y="342"/>
                      </a:lnTo>
                      <a:lnTo>
                        <a:pt x="524" y="343"/>
                      </a:lnTo>
                      <a:lnTo>
                        <a:pt x="525" y="343"/>
                      </a:lnTo>
                      <a:lnTo>
                        <a:pt x="525" y="343"/>
                      </a:lnTo>
                      <a:lnTo>
                        <a:pt x="525" y="343"/>
                      </a:lnTo>
                      <a:lnTo>
                        <a:pt x="525" y="344"/>
                      </a:lnTo>
                      <a:lnTo>
                        <a:pt x="525" y="344"/>
                      </a:lnTo>
                      <a:lnTo>
                        <a:pt x="526" y="344"/>
                      </a:lnTo>
                      <a:lnTo>
                        <a:pt x="526" y="344"/>
                      </a:lnTo>
                      <a:lnTo>
                        <a:pt x="527" y="344"/>
                      </a:lnTo>
                      <a:lnTo>
                        <a:pt x="527" y="344"/>
                      </a:lnTo>
                      <a:lnTo>
                        <a:pt x="528" y="345"/>
                      </a:lnTo>
                      <a:lnTo>
                        <a:pt x="528" y="346"/>
                      </a:lnTo>
                      <a:lnTo>
                        <a:pt x="528" y="346"/>
                      </a:lnTo>
                      <a:lnTo>
                        <a:pt x="528" y="345"/>
                      </a:lnTo>
                      <a:lnTo>
                        <a:pt x="528" y="345"/>
                      </a:lnTo>
                      <a:lnTo>
                        <a:pt x="529" y="345"/>
                      </a:lnTo>
                      <a:lnTo>
                        <a:pt x="530" y="344"/>
                      </a:lnTo>
                      <a:lnTo>
                        <a:pt x="530" y="344"/>
                      </a:lnTo>
                      <a:lnTo>
                        <a:pt x="530" y="345"/>
                      </a:lnTo>
                      <a:lnTo>
                        <a:pt x="531" y="345"/>
                      </a:lnTo>
                      <a:lnTo>
                        <a:pt x="531" y="345"/>
                      </a:lnTo>
                      <a:lnTo>
                        <a:pt x="532" y="345"/>
                      </a:lnTo>
                      <a:lnTo>
                        <a:pt x="532" y="345"/>
                      </a:lnTo>
                      <a:lnTo>
                        <a:pt x="532" y="344"/>
                      </a:lnTo>
                      <a:lnTo>
                        <a:pt x="533" y="344"/>
                      </a:lnTo>
                      <a:lnTo>
                        <a:pt x="533" y="343"/>
                      </a:lnTo>
                      <a:lnTo>
                        <a:pt x="533" y="342"/>
                      </a:lnTo>
                      <a:lnTo>
                        <a:pt x="533" y="342"/>
                      </a:lnTo>
                      <a:lnTo>
                        <a:pt x="533" y="342"/>
                      </a:lnTo>
                      <a:lnTo>
                        <a:pt x="533" y="343"/>
                      </a:lnTo>
                      <a:lnTo>
                        <a:pt x="534" y="343"/>
                      </a:lnTo>
                      <a:lnTo>
                        <a:pt x="534" y="343"/>
                      </a:lnTo>
                      <a:lnTo>
                        <a:pt x="535" y="343"/>
                      </a:lnTo>
                      <a:lnTo>
                        <a:pt x="535" y="342"/>
                      </a:lnTo>
                      <a:lnTo>
                        <a:pt x="536" y="342"/>
                      </a:lnTo>
                      <a:lnTo>
                        <a:pt x="535" y="342"/>
                      </a:lnTo>
                      <a:lnTo>
                        <a:pt x="536" y="342"/>
                      </a:lnTo>
                      <a:lnTo>
                        <a:pt x="536" y="342"/>
                      </a:lnTo>
                      <a:lnTo>
                        <a:pt x="537" y="341"/>
                      </a:lnTo>
                      <a:lnTo>
                        <a:pt x="538" y="341"/>
                      </a:lnTo>
                      <a:lnTo>
                        <a:pt x="538" y="340"/>
                      </a:lnTo>
                      <a:lnTo>
                        <a:pt x="539" y="340"/>
                      </a:lnTo>
                      <a:lnTo>
                        <a:pt x="540" y="341"/>
                      </a:lnTo>
                      <a:lnTo>
                        <a:pt x="540" y="341"/>
                      </a:lnTo>
                      <a:lnTo>
                        <a:pt x="540" y="341"/>
                      </a:lnTo>
                      <a:lnTo>
                        <a:pt x="542" y="341"/>
                      </a:lnTo>
                      <a:lnTo>
                        <a:pt x="542" y="341"/>
                      </a:lnTo>
                      <a:lnTo>
                        <a:pt x="542" y="340"/>
                      </a:lnTo>
                      <a:lnTo>
                        <a:pt x="542" y="340"/>
                      </a:lnTo>
                      <a:lnTo>
                        <a:pt x="542" y="341"/>
                      </a:lnTo>
                      <a:lnTo>
                        <a:pt x="543" y="341"/>
                      </a:lnTo>
                      <a:lnTo>
                        <a:pt x="543" y="340"/>
                      </a:lnTo>
                      <a:lnTo>
                        <a:pt x="542" y="340"/>
                      </a:lnTo>
                      <a:lnTo>
                        <a:pt x="542" y="340"/>
                      </a:lnTo>
                      <a:lnTo>
                        <a:pt x="543" y="339"/>
                      </a:lnTo>
                      <a:lnTo>
                        <a:pt x="544" y="339"/>
                      </a:lnTo>
                      <a:lnTo>
                        <a:pt x="544" y="339"/>
                      </a:lnTo>
                      <a:lnTo>
                        <a:pt x="545" y="339"/>
                      </a:lnTo>
                      <a:lnTo>
                        <a:pt x="545" y="338"/>
                      </a:lnTo>
                      <a:lnTo>
                        <a:pt x="545" y="338"/>
                      </a:lnTo>
                      <a:lnTo>
                        <a:pt x="546" y="339"/>
                      </a:lnTo>
                      <a:lnTo>
                        <a:pt x="546" y="339"/>
                      </a:lnTo>
                      <a:lnTo>
                        <a:pt x="548" y="339"/>
                      </a:lnTo>
                      <a:lnTo>
                        <a:pt x="549" y="340"/>
                      </a:lnTo>
                      <a:lnTo>
                        <a:pt x="549" y="341"/>
                      </a:lnTo>
                      <a:lnTo>
                        <a:pt x="548" y="342"/>
                      </a:lnTo>
                      <a:lnTo>
                        <a:pt x="548" y="342"/>
                      </a:lnTo>
                      <a:lnTo>
                        <a:pt x="547" y="343"/>
                      </a:lnTo>
                      <a:lnTo>
                        <a:pt x="548" y="343"/>
                      </a:lnTo>
                      <a:lnTo>
                        <a:pt x="548" y="343"/>
                      </a:lnTo>
                      <a:lnTo>
                        <a:pt x="549" y="343"/>
                      </a:lnTo>
                      <a:lnTo>
                        <a:pt x="549" y="345"/>
                      </a:lnTo>
                      <a:lnTo>
                        <a:pt x="550" y="345"/>
                      </a:lnTo>
                      <a:lnTo>
                        <a:pt x="550" y="345"/>
                      </a:lnTo>
                      <a:lnTo>
                        <a:pt x="550" y="345"/>
                      </a:lnTo>
                      <a:lnTo>
                        <a:pt x="550" y="344"/>
                      </a:lnTo>
                      <a:lnTo>
                        <a:pt x="549" y="343"/>
                      </a:lnTo>
                      <a:lnTo>
                        <a:pt x="549" y="343"/>
                      </a:lnTo>
                      <a:lnTo>
                        <a:pt x="550" y="343"/>
                      </a:lnTo>
                      <a:lnTo>
                        <a:pt x="550" y="342"/>
                      </a:lnTo>
                      <a:lnTo>
                        <a:pt x="550" y="341"/>
                      </a:lnTo>
                      <a:lnTo>
                        <a:pt x="551" y="341"/>
                      </a:lnTo>
                      <a:lnTo>
                        <a:pt x="552" y="342"/>
                      </a:lnTo>
                      <a:lnTo>
                        <a:pt x="552" y="342"/>
                      </a:lnTo>
                      <a:lnTo>
                        <a:pt x="552" y="343"/>
                      </a:lnTo>
                      <a:lnTo>
                        <a:pt x="552" y="343"/>
                      </a:lnTo>
                      <a:lnTo>
                        <a:pt x="553" y="344"/>
                      </a:lnTo>
                      <a:lnTo>
                        <a:pt x="553" y="345"/>
                      </a:lnTo>
                      <a:lnTo>
                        <a:pt x="553" y="345"/>
                      </a:lnTo>
                      <a:lnTo>
                        <a:pt x="553" y="346"/>
                      </a:lnTo>
                      <a:lnTo>
                        <a:pt x="554" y="347"/>
                      </a:lnTo>
                      <a:lnTo>
                        <a:pt x="553" y="348"/>
                      </a:lnTo>
                      <a:lnTo>
                        <a:pt x="553" y="348"/>
                      </a:lnTo>
                      <a:lnTo>
                        <a:pt x="553" y="348"/>
                      </a:lnTo>
                      <a:lnTo>
                        <a:pt x="553" y="348"/>
                      </a:lnTo>
                      <a:lnTo>
                        <a:pt x="553" y="348"/>
                      </a:lnTo>
                      <a:lnTo>
                        <a:pt x="553" y="350"/>
                      </a:lnTo>
                      <a:lnTo>
                        <a:pt x="553" y="350"/>
                      </a:lnTo>
                      <a:lnTo>
                        <a:pt x="553" y="352"/>
                      </a:lnTo>
                      <a:lnTo>
                        <a:pt x="553" y="353"/>
                      </a:lnTo>
                      <a:lnTo>
                        <a:pt x="553" y="353"/>
                      </a:lnTo>
                      <a:lnTo>
                        <a:pt x="553" y="354"/>
                      </a:lnTo>
                      <a:lnTo>
                        <a:pt x="554" y="354"/>
                      </a:lnTo>
                      <a:lnTo>
                        <a:pt x="554" y="354"/>
                      </a:lnTo>
                      <a:lnTo>
                        <a:pt x="553" y="353"/>
                      </a:lnTo>
                      <a:lnTo>
                        <a:pt x="553" y="353"/>
                      </a:lnTo>
                      <a:lnTo>
                        <a:pt x="554" y="353"/>
                      </a:lnTo>
                      <a:lnTo>
                        <a:pt x="554" y="354"/>
                      </a:lnTo>
                      <a:lnTo>
                        <a:pt x="554" y="355"/>
                      </a:lnTo>
                      <a:lnTo>
                        <a:pt x="555" y="356"/>
                      </a:lnTo>
                      <a:lnTo>
                        <a:pt x="554" y="358"/>
                      </a:lnTo>
                      <a:lnTo>
                        <a:pt x="555" y="359"/>
                      </a:lnTo>
                      <a:lnTo>
                        <a:pt x="555" y="359"/>
                      </a:lnTo>
                      <a:lnTo>
                        <a:pt x="555" y="359"/>
                      </a:lnTo>
                      <a:lnTo>
                        <a:pt x="555" y="359"/>
                      </a:lnTo>
                      <a:lnTo>
                        <a:pt x="555" y="361"/>
                      </a:lnTo>
                      <a:lnTo>
                        <a:pt x="555" y="361"/>
                      </a:lnTo>
                      <a:lnTo>
                        <a:pt x="554" y="361"/>
                      </a:lnTo>
                      <a:lnTo>
                        <a:pt x="554" y="361"/>
                      </a:lnTo>
                      <a:lnTo>
                        <a:pt x="555" y="361"/>
                      </a:lnTo>
                      <a:lnTo>
                        <a:pt x="554" y="362"/>
                      </a:lnTo>
                      <a:lnTo>
                        <a:pt x="554" y="362"/>
                      </a:lnTo>
                      <a:lnTo>
                        <a:pt x="555" y="363"/>
                      </a:lnTo>
                      <a:lnTo>
                        <a:pt x="556" y="363"/>
                      </a:lnTo>
                      <a:lnTo>
                        <a:pt x="556" y="363"/>
                      </a:lnTo>
                      <a:lnTo>
                        <a:pt x="558" y="364"/>
                      </a:lnTo>
                      <a:lnTo>
                        <a:pt x="558" y="364"/>
                      </a:lnTo>
                      <a:lnTo>
                        <a:pt x="559" y="364"/>
                      </a:lnTo>
                      <a:lnTo>
                        <a:pt x="558" y="364"/>
                      </a:lnTo>
                      <a:lnTo>
                        <a:pt x="558" y="365"/>
                      </a:lnTo>
                      <a:lnTo>
                        <a:pt x="558" y="366"/>
                      </a:lnTo>
                      <a:lnTo>
                        <a:pt x="558" y="366"/>
                      </a:lnTo>
                      <a:lnTo>
                        <a:pt x="557" y="366"/>
                      </a:lnTo>
                      <a:lnTo>
                        <a:pt x="557" y="366"/>
                      </a:lnTo>
                      <a:lnTo>
                        <a:pt x="556" y="367"/>
                      </a:lnTo>
                      <a:lnTo>
                        <a:pt x="556" y="366"/>
                      </a:lnTo>
                      <a:lnTo>
                        <a:pt x="557" y="366"/>
                      </a:lnTo>
                      <a:lnTo>
                        <a:pt x="557" y="365"/>
                      </a:lnTo>
                      <a:lnTo>
                        <a:pt x="557" y="365"/>
                      </a:lnTo>
                      <a:lnTo>
                        <a:pt x="556" y="365"/>
                      </a:lnTo>
                      <a:lnTo>
                        <a:pt x="555" y="365"/>
                      </a:lnTo>
                      <a:lnTo>
                        <a:pt x="555" y="365"/>
                      </a:lnTo>
                      <a:lnTo>
                        <a:pt x="555" y="366"/>
                      </a:lnTo>
                      <a:lnTo>
                        <a:pt x="555" y="366"/>
                      </a:lnTo>
                      <a:lnTo>
                        <a:pt x="555" y="367"/>
                      </a:lnTo>
                      <a:lnTo>
                        <a:pt x="554" y="367"/>
                      </a:lnTo>
                      <a:lnTo>
                        <a:pt x="554" y="366"/>
                      </a:lnTo>
                      <a:lnTo>
                        <a:pt x="553" y="367"/>
                      </a:lnTo>
                      <a:lnTo>
                        <a:pt x="553" y="367"/>
                      </a:lnTo>
                      <a:lnTo>
                        <a:pt x="552" y="367"/>
                      </a:lnTo>
                      <a:lnTo>
                        <a:pt x="552" y="368"/>
                      </a:lnTo>
                      <a:lnTo>
                        <a:pt x="552" y="368"/>
                      </a:lnTo>
                      <a:lnTo>
                        <a:pt x="552" y="369"/>
                      </a:lnTo>
                      <a:lnTo>
                        <a:pt x="552" y="369"/>
                      </a:lnTo>
                      <a:lnTo>
                        <a:pt x="552" y="369"/>
                      </a:lnTo>
                      <a:lnTo>
                        <a:pt x="552" y="370"/>
                      </a:lnTo>
                      <a:lnTo>
                        <a:pt x="552" y="370"/>
                      </a:lnTo>
                      <a:lnTo>
                        <a:pt x="552" y="371"/>
                      </a:lnTo>
                      <a:lnTo>
                        <a:pt x="551" y="371"/>
                      </a:lnTo>
                      <a:lnTo>
                        <a:pt x="551" y="372"/>
                      </a:lnTo>
                      <a:lnTo>
                        <a:pt x="551" y="373"/>
                      </a:lnTo>
                      <a:lnTo>
                        <a:pt x="551" y="374"/>
                      </a:lnTo>
                      <a:lnTo>
                        <a:pt x="550" y="374"/>
                      </a:lnTo>
                      <a:lnTo>
                        <a:pt x="550" y="375"/>
                      </a:lnTo>
                      <a:lnTo>
                        <a:pt x="550" y="375"/>
                      </a:lnTo>
                      <a:lnTo>
                        <a:pt x="550" y="376"/>
                      </a:lnTo>
                      <a:lnTo>
                        <a:pt x="548" y="376"/>
                      </a:lnTo>
                      <a:lnTo>
                        <a:pt x="548" y="377"/>
                      </a:lnTo>
                      <a:lnTo>
                        <a:pt x="548" y="377"/>
                      </a:lnTo>
                      <a:lnTo>
                        <a:pt x="548" y="378"/>
                      </a:lnTo>
                      <a:lnTo>
                        <a:pt x="548" y="378"/>
                      </a:lnTo>
                      <a:lnTo>
                        <a:pt x="548" y="379"/>
                      </a:lnTo>
                      <a:lnTo>
                        <a:pt x="547" y="379"/>
                      </a:lnTo>
                      <a:lnTo>
                        <a:pt x="546" y="379"/>
                      </a:lnTo>
                      <a:lnTo>
                        <a:pt x="546" y="379"/>
                      </a:lnTo>
                      <a:lnTo>
                        <a:pt x="545" y="380"/>
                      </a:lnTo>
                      <a:lnTo>
                        <a:pt x="546" y="380"/>
                      </a:lnTo>
                      <a:lnTo>
                        <a:pt x="545" y="381"/>
                      </a:lnTo>
                      <a:lnTo>
                        <a:pt x="545" y="381"/>
                      </a:lnTo>
                      <a:lnTo>
                        <a:pt x="545" y="382"/>
                      </a:lnTo>
                      <a:lnTo>
                        <a:pt x="544" y="382"/>
                      </a:lnTo>
                      <a:lnTo>
                        <a:pt x="544" y="383"/>
                      </a:lnTo>
                      <a:lnTo>
                        <a:pt x="544" y="383"/>
                      </a:lnTo>
                      <a:lnTo>
                        <a:pt x="543" y="383"/>
                      </a:lnTo>
                      <a:lnTo>
                        <a:pt x="543" y="383"/>
                      </a:lnTo>
                      <a:lnTo>
                        <a:pt x="542" y="383"/>
                      </a:lnTo>
                      <a:lnTo>
                        <a:pt x="542" y="382"/>
                      </a:lnTo>
                      <a:lnTo>
                        <a:pt x="542" y="382"/>
                      </a:lnTo>
                      <a:lnTo>
                        <a:pt x="542" y="381"/>
                      </a:lnTo>
                      <a:lnTo>
                        <a:pt x="540" y="381"/>
                      </a:lnTo>
                      <a:lnTo>
                        <a:pt x="540" y="382"/>
                      </a:lnTo>
                      <a:lnTo>
                        <a:pt x="540" y="382"/>
                      </a:lnTo>
                      <a:lnTo>
                        <a:pt x="540" y="383"/>
                      </a:lnTo>
                      <a:lnTo>
                        <a:pt x="542" y="383"/>
                      </a:lnTo>
                      <a:lnTo>
                        <a:pt x="542" y="383"/>
                      </a:lnTo>
                      <a:lnTo>
                        <a:pt x="542" y="384"/>
                      </a:lnTo>
                      <a:lnTo>
                        <a:pt x="542" y="385"/>
                      </a:lnTo>
                      <a:lnTo>
                        <a:pt x="539" y="388"/>
                      </a:lnTo>
                      <a:lnTo>
                        <a:pt x="538" y="388"/>
                      </a:lnTo>
                      <a:lnTo>
                        <a:pt x="538" y="387"/>
                      </a:lnTo>
                      <a:lnTo>
                        <a:pt x="538" y="387"/>
                      </a:lnTo>
                      <a:lnTo>
                        <a:pt x="538" y="387"/>
                      </a:lnTo>
                      <a:lnTo>
                        <a:pt x="538" y="386"/>
                      </a:lnTo>
                      <a:lnTo>
                        <a:pt x="538" y="386"/>
                      </a:lnTo>
                      <a:lnTo>
                        <a:pt x="537" y="385"/>
                      </a:lnTo>
                      <a:lnTo>
                        <a:pt x="536" y="385"/>
                      </a:lnTo>
                      <a:lnTo>
                        <a:pt x="536" y="385"/>
                      </a:lnTo>
                      <a:lnTo>
                        <a:pt x="536" y="385"/>
                      </a:lnTo>
                      <a:lnTo>
                        <a:pt x="536" y="385"/>
                      </a:lnTo>
                      <a:lnTo>
                        <a:pt x="536" y="386"/>
                      </a:lnTo>
                      <a:lnTo>
                        <a:pt x="536" y="387"/>
                      </a:lnTo>
                      <a:lnTo>
                        <a:pt x="535" y="387"/>
                      </a:lnTo>
                      <a:lnTo>
                        <a:pt x="535" y="387"/>
                      </a:lnTo>
                      <a:lnTo>
                        <a:pt x="534" y="386"/>
                      </a:lnTo>
                      <a:lnTo>
                        <a:pt x="536" y="385"/>
                      </a:lnTo>
                      <a:lnTo>
                        <a:pt x="535" y="385"/>
                      </a:lnTo>
                      <a:lnTo>
                        <a:pt x="536" y="384"/>
                      </a:lnTo>
                      <a:lnTo>
                        <a:pt x="535" y="383"/>
                      </a:lnTo>
                      <a:lnTo>
                        <a:pt x="534" y="383"/>
                      </a:lnTo>
                      <a:lnTo>
                        <a:pt x="534" y="382"/>
                      </a:lnTo>
                      <a:lnTo>
                        <a:pt x="534" y="382"/>
                      </a:lnTo>
                      <a:lnTo>
                        <a:pt x="533" y="383"/>
                      </a:lnTo>
                      <a:lnTo>
                        <a:pt x="532" y="384"/>
                      </a:lnTo>
                      <a:lnTo>
                        <a:pt x="532" y="385"/>
                      </a:lnTo>
                      <a:lnTo>
                        <a:pt x="533" y="385"/>
                      </a:lnTo>
                      <a:lnTo>
                        <a:pt x="533" y="385"/>
                      </a:lnTo>
                      <a:lnTo>
                        <a:pt x="533" y="386"/>
                      </a:lnTo>
                      <a:lnTo>
                        <a:pt x="534" y="387"/>
                      </a:lnTo>
                      <a:lnTo>
                        <a:pt x="534" y="387"/>
                      </a:lnTo>
                      <a:lnTo>
                        <a:pt x="534" y="387"/>
                      </a:lnTo>
                      <a:lnTo>
                        <a:pt x="534" y="387"/>
                      </a:lnTo>
                      <a:lnTo>
                        <a:pt x="534" y="388"/>
                      </a:lnTo>
                      <a:lnTo>
                        <a:pt x="534" y="388"/>
                      </a:lnTo>
                      <a:lnTo>
                        <a:pt x="534" y="388"/>
                      </a:lnTo>
                      <a:lnTo>
                        <a:pt x="534" y="390"/>
                      </a:lnTo>
                      <a:lnTo>
                        <a:pt x="534" y="391"/>
                      </a:lnTo>
                      <a:lnTo>
                        <a:pt x="534" y="391"/>
                      </a:lnTo>
                      <a:lnTo>
                        <a:pt x="534" y="391"/>
                      </a:lnTo>
                      <a:lnTo>
                        <a:pt x="534" y="392"/>
                      </a:lnTo>
                      <a:lnTo>
                        <a:pt x="533" y="391"/>
                      </a:lnTo>
                      <a:lnTo>
                        <a:pt x="533" y="391"/>
                      </a:lnTo>
                      <a:lnTo>
                        <a:pt x="533" y="391"/>
                      </a:lnTo>
                      <a:lnTo>
                        <a:pt x="533" y="391"/>
                      </a:lnTo>
                      <a:lnTo>
                        <a:pt x="533" y="392"/>
                      </a:lnTo>
                      <a:lnTo>
                        <a:pt x="533" y="393"/>
                      </a:lnTo>
                      <a:lnTo>
                        <a:pt x="532" y="393"/>
                      </a:lnTo>
                      <a:lnTo>
                        <a:pt x="532" y="394"/>
                      </a:lnTo>
                      <a:lnTo>
                        <a:pt x="532" y="394"/>
                      </a:lnTo>
                      <a:lnTo>
                        <a:pt x="532" y="395"/>
                      </a:lnTo>
                      <a:lnTo>
                        <a:pt x="531" y="395"/>
                      </a:lnTo>
                      <a:lnTo>
                        <a:pt x="531" y="395"/>
                      </a:lnTo>
                      <a:lnTo>
                        <a:pt x="530" y="395"/>
                      </a:lnTo>
                      <a:lnTo>
                        <a:pt x="530" y="396"/>
                      </a:lnTo>
                      <a:lnTo>
                        <a:pt x="529" y="396"/>
                      </a:lnTo>
                      <a:lnTo>
                        <a:pt x="528" y="396"/>
                      </a:lnTo>
                      <a:lnTo>
                        <a:pt x="528" y="395"/>
                      </a:lnTo>
                      <a:lnTo>
                        <a:pt x="528" y="394"/>
                      </a:lnTo>
                      <a:lnTo>
                        <a:pt x="528" y="393"/>
                      </a:lnTo>
                      <a:lnTo>
                        <a:pt x="527" y="393"/>
                      </a:lnTo>
                      <a:lnTo>
                        <a:pt x="527" y="394"/>
                      </a:lnTo>
                      <a:lnTo>
                        <a:pt x="527" y="394"/>
                      </a:lnTo>
                      <a:lnTo>
                        <a:pt x="527" y="393"/>
                      </a:lnTo>
                      <a:lnTo>
                        <a:pt x="526" y="393"/>
                      </a:lnTo>
                      <a:lnTo>
                        <a:pt x="526" y="392"/>
                      </a:lnTo>
                      <a:lnTo>
                        <a:pt x="527" y="392"/>
                      </a:lnTo>
                      <a:lnTo>
                        <a:pt x="527" y="392"/>
                      </a:lnTo>
                      <a:lnTo>
                        <a:pt x="526" y="392"/>
                      </a:lnTo>
                      <a:lnTo>
                        <a:pt x="526" y="392"/>
                      </a:lnTo>
                      <a:lnTo>
                        <a:pt x="527" y="391"/>
                      </a:lnTo>
                      <a:lnTo>
                        <a:pt x="527" y="391"/>
                      </a:lnTo>
                      <a:lnTo>
                        <a:pt x="526" y="390"/>
                      </a:lnTo>
                      <a:lnTo>
                        <a:pt x="526" y="388"/>
                      </a:lnTo>
                      <a:lnTo>
                        <a:pt x="525" y="388"/>
                      </a:lnTo>
                      <a:lnTo>
                        <a:pt x="525" y="387"/>
                      </a:lnTo>
                      <a:lnTo>
                        <a:pt x="525" y="387"/>
                      </a:lnTo>
                      <a:lnTo>
                        <a:pt x="525" y="388"/>
                      </a:lnTo>
                      <a:lnTo>
                        <a:pt x="524" y="388"/>
                      </a:lnTo>
                      <a:lnTo>
                        <a:pt x="524" y="387"/>
                      </a:lnTo>
                      <a:lnTo>
                        <a:pt x="523" y="386"/>
                      </a:lnTo>
                      <a:lnTo>
                        <a:pt x="521" y="387"/>
                      </a:lnTo>
                      <a:lnTo>
                        <a:pt x="521" y="387"/>
                      </a:lnTo>
                      <a:lnTo>
                        <a:pt x="520" y="387"/>
                      </a:lnTo>
                      <a:lnTo>
                        <a:pt x="519" y="386"/>
                      </a:lnTo>
                      <a:lnTo>
                        <a:pt x="519" y="387"/>
                      </a:lnTo>
                      <a:lnTo>
                        <a:pt x="518" y="387"/>
                      </a:lnTo>
                      <a:lnTo>
                        <a:pt x="518" y="387"/>
                      </a:lnTo>
                      <a:lnTo>
                        <a:pt x="517" y="387"/>
                      </a:lnTo>
                      <a:lnTo>
                        <a:pt x="517" y="387"/>
                      </a:lnTo>
                      <a:lnTo>
                        <a:pt x="517" y="388"/>
                      </a:lnTo>
                      <a:lnTo>
                        <a:pt x="517" y="388"/>
                      </a:lnTo>
                      <a:lnTo>
                        <a:pt x="516" y="387"/>
                      </a:lnTo>
                      <a:lnTo>
                        <a:pt x="516" y="386"/>
                      </a:lnTo>
                      <a:lnTo>
                        <a:pt x="516" y="386"/>
                      </a:lnTo>
                      <a:lnTo>
                        <a:pt x="514" y="386"/>
                      </a:lnTo>
                      <a:lnTo>
                        <a:pt x="511" y="386"/>
                      </a:lnTo>
                      <a:lnTo>
                        <a:pt x="511" y="387"/>
                      </a:lnTo>
                      <a:lnTo>
                        <a:pt x="511" y="387"/>
                      </a:lnTo>
                      <a:lnTo>
                        <a:pt x="510" y="387"/>
                      </a:lnTo>
                      <a:lnTo>
                        <a:pt x="510" y="388"/>
                      </a:lnTo>
                      <a:lnTo>
                        <a:pt x="510" y="388"/>
                      </a:lnTo>
                      <a:lnTo>
                        <a:pt x="509" y="388"/>
                      </a:lnTo>
                      <a:lnTo>
                        <a:pt x="509" y="388"/>
                      </a:lnTo>
                      <a:lnTo>
                        <a:pt x="509" y="387"/>
                      </a:lnTo>
                      <a:lnTo>
                        <a:pt x="508" y="388"/>
                      </a:lnTo>
                      <a:lnTo>
                        <a:pt x="508" y="388"/>
                      </a:lnTo>
                      <a:lnTo>
                        <a:pt x="507" y="388"/>
                      </a:lnTo>
                      <a:lnTo>
                        <a:pt x="506" y="388"/>
                      </a:lnTo>
                      <a:lnTo>
                        <a:pt x="506" y="388"/>
                      </a:lnTo>
                      <a:lnTo>
                        <a:pt x="506" y="388"/>
                      </a:lnTo>
                      <a:lnTo>
                        <a:pt x="505" y="390"/>
                      </a:lnTo>
                      <a:lnTo>
                        <a:pt x="505" y="390"/>
                      </a:lnTo>
                      <a:lnTo>
                        <a:pt x="506" y="390"/>
                      </a:lnTo>
                      <a:lnTo>
                        <a:pt x="506" y="391"/>
                      </a:lnTo>
                      <a:lnTo>
                        <a:pt x="505" y="391"/>
                      </a:lnTo>
                      <a:lnTo>
                        <a:pt x="505" y="390"/>
                      </a:lnTo>
                      <a:lnTo>
                        <a:pt x="505" y="390"/>
                      </a:lnTo>
                      <a:lnTo>
                        <a:pt x="503" y="388"/>
                      </a:lnTo>
                      <a:lnTo>
                        <a:pt x="501" y="388"/>
                      </a:lnTo>
                      <a:lnTo>
                        <a:pt x="501" y="388"/>
                      </a:lnTo>
                      <a:lnTo>
                        <a:pt x="500" y="388"/>
                      </a:lnTo>
                      <a:lnTo>
                        <a:pt x="498" y="390"/>
                      </a:lnTo>
                      <a:lnTo>
                        <a:pt x="496" y="390"/>
                      </a:lnTo>
                      <a:lnTo>
                        <a:pt x="495" y="390"/>
                      </a:lnTo>
                      <a:lnTo>
                        <a:pt x="495" y="390"/>
                      </a:lnTo>
                      <a:lnTo>
                        <a:pt x="495" y="388"/>
                      </a:lnTo>
                      <a:lnTo>
                        <a:pt x="493" y="386"/>
                      </a:lnTo>
                      <a:lnTo>
                        <a:pt x="493" y="386"/>
                      </a:lnTo>
                      <a:lnTo>
                        <a:pt x="493" y="385"/>
                      </a:lnTo>
                      <a:lnTo>
                        <a:pt x="492" y="385"/>
                      </a:lnTo>
                      <a:lnTo>
                        <a:pt x="493" y="384"/>
                      </a:lnTo>
                      <a:lnTo>
                        <a:pt x="493" y="384"/>
                      </a:lnTo>
                      <a:lnTo>
                        <a:pt x="494" y="385"/>
                      </a:lnTo>
                      <a:lnTo>
                        <a:pt x="495" y="385"/>
                      </a:lnTo>
                      <a:lnTo>
                        <a:pt x="496" y="384"/>
                      </a:lnTo>
                      <a:lnTo>
                        <a:pt x="496" y="384"/>
                      </a:lnTo>
                      <a:lnTo>
                        <a:pt x="496" y="383"/>
                      </a:lnTo>
                      <a:lnTo>
                        <a:pt x="496" y="382"/>
                      </a:lnTo>
                      <a:lnTo>
                        <a:pt x="496" y="382"/>
                      </a:lnTo>
                      <a:lnTo>
                        <a:pt x="496" y="380"/>
                      </a:lnTo>
                      <a:lnTo>
                        <a:pt x="495" y="380"/>
                      </a:lnTo>
                      <a:lnTo>
                        <a:pt x="496" y="379"/>
                      </a:lnTo>
                      <a:lnTo>
                        <a:pt x="496" y="377"/>
                      </a:lnTo>
                      <a:lnTo>
                        <a:pt x="496" y="376"/>
                      </a:lnTo>
                      <a:lnTo>
                        <a:pt x="496" y="375"/>
                      </a:lnTo>
                      <a:lnTo>
                        <a:pt x="496" y="375"/>
                      </a:lnTo>
                      <a:lnTo>
                        <a:pt x="495" y="376"/>
                      </a:lnTo>
                      <a:lnTo>
                        <a:pt x="495" y="377"/>
                      </a:lnTo>
                      <a:lnTo>
                        <a:pt x="494" y="377"/>
                      </a:lnTo>
                      <a:lnTo>
                        <a:pt x="494" y="377"/>
                      </a:lnTo>
                      <a:lnTo>
                        <a:pt x="494" y="378"/>
                      </a:lnTo>
                      <a:lnTo>
                        <a:pt x="494" y="379"/>
                      </a:lnTo>
                      <a:lnTo>
                        <a:pt x="494" y="380"/>
                      </a:lnTo>
                      <a:lnTo>
                        <a:pt x="493" y="381"/>
                      </a:lnTo>
                      <a:lnTo>
                        <a:pt x="492" y="381"/>
                      </a:lnTo>
                      <a:lnTo>
                        <a:pt x="492" y="382"/>
                      </a:lnTo>
                      <a:lnTo>
                        <a:pt x="491" y="385"/>
                      </a:lnTo>
                      <a:lnTo>
                        <a:pt x="491" y="385"/>
                      </a:lnTo>
                      <a:lnTo>
                        <a:pt x="491" y="385"/>
                      </a:lnTo>
                      <a:lnTo>
                        <a:pt x="491" y="385"/>
                      </a:lnTo>
                      <a:lnTo>
                        <a:pt x="490" y="385"/>
                      </a:lnTo>
                      <a:lnTo>
                        <a:pt x="489" y="386"/>
                      </a:lnTo>
                      <a:lnTo>
                        <a:pt x="490" y="387"/>
                      </a:lnTo>
                      <a:lnTo>
                        <a:pt x="489" y="387"/>
                      </a:lnTo>
                      <a:lnTo>
                        <a:pt x="489" y="386"/>
                      </a:lnTo>
                      <a:lnTo>
                        <a:pt x="489" y="386"/>
                      </a:lnTo>
                      <a:lnTo>
                        <a:pt x="489" y="387"/>
                      </a:lnTo>
                      <a:lnTo>
                        <a:pt x="488" y="387"/>
                      </a:lnTo>
                      <a:lnTo>
                        <a:pt x="488" y="387"/>
                      </a:lnTo>
                      <a:lnTo>
                        <a:pt x="488" y="390"/>
                      </a:lnTo>
                      <a:lnTo>
                        <a:pt x="488" y="392"/>
                      </a:lnTo>
                      <a:lnTo>
                        <a:pt x="488" y="392"/>
                      </a:lnTo>
                      <a:lnTo>
                        <a:pt x="489" y="388"/>
                      </a:lnTo>
                      <a:lnTo>
                        <a:pt x="490" y="387"/>
                      </a:lnTo>
                      <a:lnTo>
                        <a:pt x="490" y="387"/>
                      </a:lnTo>
                      <a:lnTo>
                        <a:pt x="492" y="387"/>
                      </a:lnTo>
                      <a:lnTo>
                        <a:pt x="492" y="386"/>
                      </a:lnTo>
                      <a:lnTo>
                        <a:pt x="493" y="387"/>
                      </a:lnTo>
                      <a:lnTo>
                        <a:pt x="494" y="388"/>
                      </a:lnTo>
                      <a:lnTo>
                        <a:pt x="494" y="391"/>
                      </a:lnTo>
                      <a:lnTo>
                        <a:pt x="492" y="392"/>
                      </a:lnTo>
                      <a:lnTo>
                        <a:pt x="489" y="395"/>
                      </a:lnTo>
                      <a:lnTo>
                        <a:pt x="489" y="395"/>
                      </a:lnTo>
                      <a:lnTo>
                        <a:pt x="488" y="396"/>
                      </a:lnTo>
                      <a:lnTo>
                        <a:pt x="486" y="397"/>
                      </a:lnTo>
                      <a:lnTo>
                        <a:pt x="484" y="399"/>
                      </a:lnTo>
                      <a:lnTo>
                        <a:pt x="483" y="400"/>
                      </a:lnTo>
                      <a:lnTo>
                        <a:pt x="481" y="403"/>
                      </a:lnTo>
                      <a:lnTo>
                        <a:pt x="481" y="405"/>
                      </a:lnTo>
                      <a:lnTo>
                        <a:pt x="483" y="407"/>
                      </a:lnTo>
                      <a:lnTo>
                        <a:pt x="484" y="409"/>
                      </a:lnTo>
                      <a:lnTo>
                        <a:pt x="485" y="413"/>
                      </a:lnTo>
                      <a:lnTo>
                        <a:pt x="485" y="417"/>
                      </a:lnTo>
                      <a:lnTo>
                        <a:pt x="485" y="421"/>
                      </a:lnTo>
                      <a:lnTo>
                        <a:pt x="483" y="425"/>
                      </a:lnTo>
                      <a:lnTo>
                        <a:pt x="482" y="426"/>
                      </a:lnTo>
                      <a:lnTo>
                        <a:pt x="482" y="428"/>
                      </a:lnTo>
                      <a:lnTo>
                        <a:pt x="482" y="428"/>
                      </a:lnTo>
                      <a:lnTo>
                        <a:pt x="482" y="429"/>
                      </a:lnTo>
                      <a:lnTo>
                        <a:pt x="482" y="431"/>
                      </a:lnTo>
                      <a:lnTo>
                        <a:pt x="481" y="431"/>
                      </a:lnTo>
                      <a:lnTo>
                        <a:pt x="482" y="432"/>
                      </a:lnTo>
                      <a:lnTo>
                        <a:pt x="482" y="434"/>
                      </a:lnTo>
                      <a:lnTo>
                        <a:pt x="482" y="434"/>
                      </a:lnTo>
                      <a:lnTo>
                        <a:pt x="481" y="435"/>
                      </a:lnTo>
                      <a:lnTo>
                        <a:pt x="481" y="435"/>
                      </a:lnTo>
                      <a:lnTo>
                        <a:pt x="481" y="437"/>
                      </a:lnTo>
                      <a:lnTo>
                        <a:pt x="481" y="438"/>
                      </a:lnTo>
                      <a:lnTo>
                        <a:pt x="480" y="439"/>
                      </a:lnTo>
                      <a:lnTo>
                        <a:pt x="479" y="441"/>
                      </a:lnTo>
                      <a:lnTo>
                        <a:pt x="479" y="442"/>
                      </a:lnTo>
                      <a:lnTo>
                        <a:pt x="477" y="442"/>
                      </a:lnTo>
                      <a:lnTo>
                        <a:pt x="477" y="443"/>
                      </a:lnTo>
                      <a:lnTo>
                        <a:pt x="475" y="444"/>
                      </a:lnTo>
                      <a:lnTo>
                        <a:pt x="470" y="449"/>
                      </a:lnTo>
                      <a:lnTo>
                        <a:pt x="469" y="449"/>
                      </a:lnTo>
                      <a:lnTo>
                        <a:pt x="468" y="451"/>
                      </a:lnTo>
                      <a:lnTo>
                        <a:pt x="467" y="451"/>
                      </a:lnTo>
                      <a:lnTo>
                        <a:pt x="468" y="451"/>
                      </a:lnTo>
                      <a:lnTo>
                        <a:pt x="468" y="453"/>
                      </a:lnTo>
                      <a:lnTo>
                        <a:pt x="467" y="453"/>
                      </a:lnTo>
                      <a:lnTo>
                        <a:pt x="467" y="454"/>
                      </a:lnTo>
                      <a:lnTo>
                        <a:pt x="465" y="455"/>
                      </a:lnTo>
                      <a:lnTo>
                        <a:pt x="464" y="455"/>
                      </a:lnTo>
                      <a:lnTo>
                        <a:pt x="463" y="455"/>
                      </a:lnTo>
                      <a:lnTo>
                        <a:pt x="462" y="455"/>
                      </a:lnTo>
                      <a:lnTo>
                        <a:pt x="462" y="456"/>
                      </a:lnTo>
                      <a:lnTo>
                        <a:pt x="461" y="456"/>
                      </a:lnTo>
                      <a:lnTo>
                        <a:pt x="458" y="457"/>
                      </a:lnTo>
                      <a:lnTo>
                        <a:pt x="458" y="457"/>
                      </a:lnTo>
                      <a:lnTo>
                        <a:pt x="457" y="458"/>
                      </a:lnTo>
                      <a:lnTo>
                        <a:pt x="457" y="458"/>
                      </a:lnTo>
                      <a:lnTo>
                        <a:pt x="456" y="459"/>
                      </a:lnTo>
                      <a:lnTo>
                        <a:pt x="456" y="460"/>
                      </a:lnTo>
                      <a:lnTo>
                        <a:pt x="456" y="460"/>
                      </a:lnTo>
                      <a:lnTo>
                        <a:pt x="456" y="461"/>
                      </a:lnTo>
                      <a:lnTo>
                        <a:pt x="455" y="461"/>
                      </a:lnTo>
                      <a:lnTo>
                        <a:pt x="455" y="462"/>
                      </a:lnTo>
                      <a:lnTo>
                        <a:pt x="454" y="462"/>
                      </a:lnTo>
                      <a:lnTo>
                        <a:pt x="454" y="463"/>
                      </a:lnTo>
                      <a:lnTo>
                        <a:pt x="453" y="463"/>
                      </a:lnTo>
                      <a:lnTo>
                        <a:pt x="453" y="463"/>
                      </a:lnTo>
                      <a:lnTo>
                        <a:pt x="452" y="464"/>
                      </a:lnTo>
                      <a:lnTo>
                        <a:pt x="450" y="466"/>
                      </a:lnTo>
                      <a:lnTo>
                        <a:pt x="450" y="466"/>
                      </a:lnTo>
                      <a:lnTo>
                        <a:pt x="450" y="466"/>
                      </a:lnTo>
                      <a:lnTo>
                        <a:pt x="450" y="466"/>
                      </a:lnTo>
                      <a:lnTo>
                        <a:pt x="448" y="467"/>
                      </a:lnTo>
                      <a:lnTo>
                        <a:pt x="447" y="468"/>
                      </a:lnTo>
                      <a:lnTo>
                        <a:pt x="447" y="468"/>
                      </a:lnTo>
                      <a:lnTo>
                        <a:pt x="446" y="469"/>
                      </a:lnTo>
                      <a:lnTo>
                        <a:pt x="446" y="469"/>
                      </a:lnTo>
                      <a:lnTo>
                        <a:pt x="445" y="470"/>
                      </a:lnTo>
                      <a:lnTo>
                        <a:pt x="445" y="470"/>
                      </a:lnTo>
                      <a:lnTo>
                        <a:pt x="445" y="468"/>
                      </a:lnTo>
                      <a:lnTo>
                        <a:pt x="444" y="467"/>
                      </a:lnTo>
                      <a:lnTo>
                        <a:pt x="443" y="467"/>
                      </a:lnTo>
                      <a:lnTo>
                        <a:pt x="441" y="467"/>
                      </a:lnTo>
                      <a:lnTo>
                        <a:pt x="441" y="466"/>
                      </a:lnTo>
                      <a:lnTo>
                        <a:pt x="440" y="466"/>
                      </a:lnTo>
                      <a:lnTo>
                        <a:pt x="440" y="464"/>
                      </a:lnTo>
                      <a:lnTo>
                        <a:pt x="440" y="464"/>
                      </a:lnTo>
                      <a:lnTo>
                        <a:pt x="439" y="463"/>
                      </a:lnTo>
                      <a:lnTo>
                        <a:pt x="438" y="463"/>
                      </a:lnTo>
                      <a:lnTo>
                        <a:pt x="438" y="463"/>
                      </a:lnTo>
                      <a:lnTo>
                        <a:pt x="436" y="462"/>
                      </a:lnTo>
                      <a:lnTo>
                        <a:pt x="437" y="462"/>
                      </a:lnTo>
                      <a:lnTo>
                        <a:pt x="437" y="462"/>
                      </a:lnTo>
                      <a:lnTo>
                        <a:pt x="438" y="461"/>
                      </a:lnTo>
                      <a:lnTo>
                        <a:pt x="437" y="461"/>
                      </a:lnTo>
                      <a:lnTo>
                        <a:pt x="438" y="460"/>
                      </a:lnTo>
                      <a:lnTo>
                        <a:pt x="438" y="460"/>
                      </a:lnTo>
                      <a:lnTo>
                        <a:pt x="439" y="460"/>
                      </a:lnTo>
                      <a:lnTo>
                        <a:pt x="439" y="459"/>
                      </a:lnTo>
                      <a:lnTo>
                        <a:pt x="440" y="460"/>
                      </a:lnTo>
                      <a:lnTo>
                        <a:pt x="440" y="460"/>
                      </a:lnTo>
                      <a:lnTo>
                        <a:pt x="441" y="460"/>
                      </a:lnTo>
                      <a:lnTo>
                        <a:pt x="441" y="461"/>
                      </a:lnTo>
                      <a:lnTo>
                        <a:pt x="442" y="460"/>
                      </a:lnTo>
                      <a:lnTo>
                        <a:pt x="442" y="459"/>
                      </a:lnTo>
                      <a:lnTo>
                        <a:pt x="442" y="459"/>
                      </a:lnTo>
                      <a:lnTo>
                        <a:pt x="442" y="458"/>
                      </a:lnTo>
                      <a:lnTo>
                        <a:pt x="441" y="457"/>
                      </a:lnTo>
                      <a:lnTo>
                        <a:pt x="441" y="457"/>
                      </a:lnTo>
                      <a:lnTo>
                        <a:pt x="440" y="456"/>
                      </a:lnTo>
                      <a:lnTo>
                        <a:pt x="439" y="456"/>
                      </a:lnTo>
                      <a:lnTo>
                        <a:pt x="439" y="457"/>
                      </a:lnTo>
                      <a:lnTo>
                        <a:pt x="439" y="457"/>
                      </a:lnTo>
                      <a:lnTo>
                        <a:pt x="439" y="457"/>
                      </a:lnTo>
                      <a:lnTo>
                        <a:pt x="439" y="455"/>
                      </a:lnTo>
                      <a:lnTo>
                        <a:pt x="438" y="455"/>
                      </a:lnTo>
                      <a:lnTo>
                        <a:pt x="438" y="455"/>
                      </a:lnTo>
                      <a:lnTo>
                        <a:pt x="438" y="455"/>
                      </a:lnTo>
                      <a:lnTo>
                        <a:pt x="436" y="455"/>
                      </a:lnTo>
                      <a:lnTo>
                        <a:pt x="435" y="455"/>
                      </a:lnTo>
                      <a:lnTo>
                        <a:pt x="435" y="455"/>
                      </a:lnTo>
                      <a:lnTo>
                        <a:pt x="433" y="455"/>
                      </a:lnTo>
                      <a:lnTo>
                        <a:pt x="433" y="454"/>
                      </a:lnTo>
                      <a:lnTo>
                        <a:pt x="433" y="454"/>
                      </a:lnTo>
                      <a:lnTo>
                        <a:pt x="432" y="454"/>
                      </a:lnTo>
                      <a:lnTo>
                        <a:pt x="432" y="454"/>
                      </a:lnTo>
                      <a:lnTo>
                        <a:pt x="432" y="454"/>
                      </a:lnTo>
                      <a:lnTo>
                        <a:pt x="432" y="454"/>
                      </a:lnTo>
                      <a:lnTo>
                        <a:pt x="432" y="453"/>
                      </a:lnTo>
                      <a:lnTo>
                        <a:pt x="431" y="453"/>
                      </a:lnTo>
                      <a:lnTo>
                        <a:pt x="431" y="454"/>
                      </a:lnTo>
                      <a:lnTo>
                        <a:pt x="431" y="454"/>
                      </a:lnTo>
                      <a:lnTo>
                        <a:pt x="431" y="454"/>
                      </a:lnTo>
                      <a:lnTo>
                        <a:pt x="430" y="454"/>
                      </a:lnTo>
                      <a:lnTo>
                        <a:pt x="430" y="455"/>
                      </a:lnTo>
                      <a:lnTo>
                        <a:pt x="430" y="456"/>
                      </a:lnTo>
                      <a:lnTo>
                        <a:pt x="428" y="455"/>
                      </a:lnTo>
                      <a:lnTo>
                        <a:pt x="427" y="455"/>
                      </a:lnTo>
                      <a:lnTo>
                        <a:pt x="427" y="454"/>
                      </a:lnTo>
                      <a:lnTo>
                        <a:pt x="427" y="454"/>
                      </a:lnTo>
                      <a:lnTo>
                        <a:pt x="426" y="454"/>
                      </a:lnTo>
                      <a:lnTo>
                        <a:pt x="426" y="454"/>
                      </a:lnTo>
                      <a:lnTo>
                        <a:pt x="425" y="454"/>
                      </a:lnTo>
                      <a:lnTo>
                        <a:pt x="425" y="454"/>
                      </a:lnTo>
                      <a:lnTo>
                        <a:pt x="424" y="454"/>
                      </a:lnTo>
                      <a:lnTo>
                        <a:pt x="423" y="453"/>
                      </a:lnTo>
                      <a:lnTo>
                        <a:pt x="423" y="453"/>
                      </a:lnTo>
                      <a:lnTo>
                        <a:pt x="422" y="452"/>
                      </a:lnTo>
                      <a:lnTo>
                        <a:pt x="421" y="452"/>
                      </a:lnTo>
                      <a:lnTo>
                        <a:pt x="421" y="451"/>
                      </a:lnTo>
                      <a:lnTo>
                        <a:pt x="420" y="451"/>
                      </a:lnTo>
                      <a:lnTo>
                        <a:pt x="419" y="451"/>
                      </a:lnTo>
                      <a:lnTo>
                        <a:pt x="419" y="450"/>
                      </a:lnTo>
                      <a:lnTo>
                        <a:pt x="419" y="449"/>
                      </a:lnTo>
                      <a:lnTo>
                        <a:pt x="418" y="448"/>
                      </a:lnTo>
                      <a:lnTo>
                        <a:pt x="418" y="447"/>
                      </a:lnTo>
                      <a:lnTo>
                        <a:pt x="418" y="444"/>
                      </a:lnTo>
                      <a:lnTo>
                        <a:pt x="418" y="444"/>
                      </a:lnTo>
                      <a:lnTo>
                        <a:pt x="418" y="444"/>
                      </a:lnTo>
                      <a:lnTo>
                        <a:pt x="416" y="443"/>
                      </a:lnTo>
                      <a:lnTo>
                        <a:pt x="414" y="442"/>
                      </a:lnTo>
                      <a:lnTo>
                        <a:pt x="414" y="443"/>
                      </a:lnTo>
                      <a:lnTo>
                        <a:pt x="413" y="443"/>
                      </a:lnTo>
                      <a:lnTo>
                        <a:pt x="413" y="442"/>
                      </a:lnTo>
                      <a:lnTo>
                        <a:pt x="413" y="442"/>
                      </a:lnTo>
                      <a:lnTo>
                        <a:pt x="411" y="442"/>
                      </a:lnTo>
                      <a:lnTo>
                        <a:pt x="411" y="441"/>
                      </a:lnTo>
                      <a:lnTo>
                        <a:pt x="410" y="442"/>
                      </a:lnTo>
                      <a:lnTo>
                        <a:pt x="410" y="442"/>
                      </a:lnTo>
                      <a:lnTo>
                        <a:pt x="409" y="442"/>
                      </a:lnTo>
                      <a:lnTo>
                        <a:pt x="409" y="441"/>
                      </a:lnTo>
                      <a:lnTo>
                        <a:pt x="407" y="442"/>
                      </a:lnTo>
                      <a:lnTo>
                        <a:pt x="407" y="442"/>
                      </a:lnTo>
                      <a:lnTo>
                        <a:pt x="406" y="442"/>
                      </a:lnTo>
                      <a:lnTo>
                        <a:pt x="406" y="443"/>
                      </a:lnTo>
                      <a:lnTo>
                        <a:pt x="405" y="443"/>
                      </a:lnTo>
                      <a:lnTo>
                        <a:pt x="405" y="443"/>
                      </a:lnTo>
                      <a:lnTo>
                        <a:pt x="404" y="442"/>
                      </a:lnTo>
                      <a:lnTo>
                        <a:pt x="404" y="442"/>
                      </a:lnTo>
                      <a:lnTo>
                        <a:pt x="403" y="442"/>
                      </a:lnTo>
                      <a:lnTo>
                        <a:pt x="402" y="440"/>
                      </a:lnTo>
                      <a:lnTo>
                        <a:pt x="401" y="440"/>
                      </a:lnTo>
                      <a:lnTo>
                        <a:pt x="400" y="439"/>
                      </a:lnTo>
                      <a:lnTo>
                        <a:pt x="400" y="439"/>
                      </a:lnTo>
                      <a:lnTo>
                        <a:pt x="400" y="438"/>
                      </a:lnTo>
                      <a:lnTo>
                        <a:pt x="399" y="438"/>
                      </a:lnTo>
                      <a:lnTo>
                        <a:pt x="397" y="437"/>
                      </a:lnTo>
                      <a:lnTo>
                        <a:pt x="396" y="437"/>
                      </a:lnTo>
                      <a:lnTo>
                        <a:pt x="396" y="436"/>
                      </a:lnTo>
                      <a:lnTo>
                        <a:pt x="396" y="435"/>
                      </a:lnTo>
                      <a:lnTo>
                        <a:pt x="396" y="434"/>
                      </a:lnTo>
                      <a:lnTo>
                        <a:pt x="395" y="434"/>
                      </a:lnTo>
                      <a:lnTo>
                        <a:pt x="394" y="431"/>
                      </a:lnTo>
                      <a:lnTo>
                        <a:pt x="394" y="431"/>
                      </a:lnTo>
                      <a:lnTo>
                        <a:pt x="394" y="430"/>
                      </a:lnTo>
                      <a:lnTo>
                        <a:pt x="393" y="430"/>
                      </a:lnTo>
                      <a:lnTo>
                        <a:pt x="393" y="429"/>
                      </a:lnTo>
                      <a:lnTo>
                        <a:pt x="393" y="428"/>
                      </a:lnTo>
                      <a:lnTo>
                        <a:pt x="393" y="426"/>
                      </a:lnTo>
                      <a:lnTo>
                        <a:pt x="392" y="425"/>
                      </a:lnTo>
                      <a:lnTo>
                        <a:pt x="392" y="425"/>
                      </a:lnTo>
                      <a:lnTo>
                        <a:pt x="390" y="424"/>
                      </a:lnTo>
                      <a:lnTo>
                        <a:pt x="390" y="424"/>
                      </a:lnTo>
                      <a:lnTo>
                        <a:pt x="390" y="424"/>
                      </a:lnTo>
                      <a:lnTo>
                        <a:pt x="390" y="426"/>
                      </a:lnTo>
                      <a:lnTo>
                        <a:pt x="390" y="426"/>
                      </a:lnTo>
                      <a:lnTo>
                        <a:pt x="390" y="426"/>
                      </a:lnTo>
                      <a:lnTo>
                        <a:pt x="390" y="428"/>
                      </a:lnTo>
                      <a:lnTo>
                        <a:pt x="392" y="428"/>
                      </a:lnTo>
                      <a:lnTo>
                        <a:pt x="392" y="429"/>
                      </a:lnTo>
                      <a:lnTo>
                        <a:pt x="392" y="430"/>
                      </a:lnTo>
                      <a:lnTo>
                        <a:pt x="392" y="430"/>
                      </a:lnTo>
                      <a:lnTo>
                        <a:pt x="393" y="431"/>
                      </a:lnTo>
                      <a:lnTo>
                        <a:pt x="394" y="433"/>
                      </a:lnTo>
                      <a:lnTo>
                        <a:pt x="394" y="433"/>
                      </a:lnTo>
                      <a:lnTo>
                        <a:pt x="394" y="434"/>
                      </a:lnTo>
                      <a:lnTo>
                        <a:pt x="395" y="435"/>
                      </a:lnTo>
                      <a:lnTo>
                        <a:pt x="395" y="435"/>
                      </a:lnTo>
                      <a:lnTo>
                        <a:pt x="396" y="436"/>
                      </a:lnTo>
                      <a:lnTo>
                        <a:pt x="396" y="437"/>
                      </a:lnTo>
                      <a:lnTo>
                        <a:pt x="397" y="437"/>
                      </a:lnTo>
                      <a:lnTo>
                        <a:pt x="397" y="437"/>
                      </a:lnTo>
                      <a:lnTo>
                        <a:pt x="397" y="437"/>
                      </a:lnTo>
                      <a:lnTo>
                        <a:pt x="397" y="437"/>
                      </a:lnTo>
                      <a:lnTo>
                        <a:pt x="397" y="438"/>
                      </a:lnTo>
                      <a:lnTo>
                        <a:pt x="397" y="438"/>
                      </a:lnTo>
                      <a:lnTo>
                        <a:pt x="397" y="438"/>
                      </a:lnTo>
                      <a:lnTo>
                        <a:pt x="398" y="438"/>
                      </a:lnTo>
                      <a:lnTo>
                        <a:pt x="398" y="438"/>
                      </a:lnTo>
                      <a:lnTo>
                        <a:pt x="398" y="438"/>
                      </a:lnTo>
                      <a:lnTo>
                        <a:pt x="399" y="438"/>
                      </a:lnTo>
                      <a:lnTo>
                        <a:pt x="399" y="438"/>
                      </a:lnTo>
                      <a:lnTo>
                        <a:pt x="399" y="438"/>
                      </a:lnTo>
                      <a:lnTo>
                        <a:pt x="397" y="439"/>
                      </a:lnTo>
                      <a:lnTo>
                        <a:pt x="392" y="443"/>
                      </a:lnTo>
                      <a:lnTo>
                        <a:pt x="387" y="437"/>
                      </a:lnTo>
                      <a:lnTo>
                        <a:pt x="384" y="436"/>
                      </a:lnTo>
                      <a:lnTo>
                        <a:pt x="383" y="437"/>
                      </a:lnTo>
                      <a:lnTo>
                        <a:pt x="382" y="439"/>
                      </a:lnTo>
                      <a:lnTo>
                        <a:pt x="384" y="448"/>
                      </a:lnTo>
                      <a:lnTo>
                        <a:pt x="382" y="451"/>
                      </a:lnTo>
                      <a:lnTo>
                        <a:pt x="380" y="452"/>
                      </a:lnTo>
                      <a:lnTo>
                        <a:pt x="379" y="453"/>
                      </a:lnTo>
                      <a:lnTo>
                        <a:pt x="365" y="457"/>
                      </a:lnTo>
                      <a:lnTo>
                        <a:pt x="364" y="452"/>
                      </a:lnTo>
                      <a:lnTo>
                        <a:pt x="359" y="449"/>
                      </a:lnTo>
                      <a:lnTo>
                        <a:pt x="359" y="453"/>
                      </a:lnTo>
                      <a:lnTo>
                        <a:pt x="351" y="457"/>
                      </a:lnTo>
                      <a:lnTo>
                        <a:pt x="346" y="456"/>
                      </a:lnTo>
                      <a:lnTo>
                        <a:pt x="338" y="459"/>
                      </a:lnTo>
                      <a:lnTo>
                        <a:pt x="335" y="458"/>
                      </a:lnTo>
                      <a:lnTo>
                        <a:pt x="333" y="461"/>
                      </a:lnTo>
                      <a:lnTo>
                        <a:pt x="331" y="461"/>
                      </a:lnTo>
                      <a:lnTo>
                        <a:pt x="328" y="464"/>
                      </a:lnTo>
                      <a:lnTo>
                        <a:pt x="326" y="463"/>
                      </a:lnTo>
                      <a:lnTo>
                        <a:pt x="321" y="455"/>
                      </a:lnTo>
                      <a:lnTo>
                        <a:pt x="316" y="452"/>
                      </a:lnTo>
                      <a:lnTo>
                        <a:pt x="319" y="449"/>
                      </a:lnTo>
                      <a:lnTo>
                        <a:pt x="319" y="445"/>
                      </a:lnTo>
                      <a:lnTo>
                        <a:pt x="321" y="441"/>
                      </a:lnTo>
                      <a:lnTo>
                        <a:pt x="318" y="436"/>
                      </a:lnTo>
                      <a:lnTo>
                        <a:pt x="324" y="429"/>
                      </a:lnTo>
                      <a:lnTo>
                        <a:pt x="326" y="421"/>
                      </a:lnTo>
                      <a:lnTo>
                        <a:pt x="324" y="415"/>
                      </a:lnTo>
                      <a:lnTo>
                        <a:pt x="321" y="412"/>
                      </a:lnTo>
                      <a:lnTo>
                        <a:pt x="311" y="405"/>
                      </a:lnTo>
                      <a:lnTo>
                        <a:pt x="308" y="406"/>
                      </a:lnTo>
                      <a:lnTo>
                        <a:pt x="303" y="412"/>
                      </a:lnTo>
                      <a:lnTo>
                        <a:pt x="291" y="402"/>
                      </a:lnTo>
                      <a:lnTo>
                        <a:pt x="288" y="397"/>
                      </a:lnTo>
                      <a:lnTo>
                        <a:pt x="284" y="383"/>
                      </a:lnTo>
                      <a:lnTo>
                        <a:pt x="277" y="378"/>
                      </a:lnTo>
                      <a:lnTo>
                        <a:pt x="278" y="374"/>
                      </a:lnTo>
                      <a:lnTo>
                        <a:pt x="278" y="374"/>
                      </a:lnTo>
                      <a:lnTo>
                        <a:pt x="275" y="360"/>
                      </a:lnTo>
                      <a:lnTo>
                        <a:pt x="273" y="354"/>
                      </a:lnTo>
                      <a:lnTo>
                        <a:pt x="267" y="352"/>
                      </a:lnTo>
                      <a:lnTo>
                        <a:pt x="266" y="345"/>
                      </a:lnTo>
                      <a:lnTo>
                        <a:pt x="263" y="341"/>
                      </a:lnTo>
                      <a:lnTo>
                        <a:pt x="253" y="333"/>
                      </a:lnTo>
                      <a:lnTo>
                        <a:pt x="241" y="328"/>
                      </a:lnTo>
                      <a:lnTo>
                        <a:pt x="238" y="328"/>
                      </a:lnTo>
                      <a:lnTo>
                        <a:pt x="234" y="333"/>
                      </a:lnTo>
                      <a:lnTo>
                        <a:pt x="234" y="334"/>
                      </a:lnTo>
                      <a:lnTo>
                        <a:pt x="226" y="344"/>
                      </a:lnTo>
                      <a:lnTo>
                        <a:pt x="226" y="348"/>
                      </a:lnTo>
                      <a:lnTo>
                        <a:pt x="224" y="350"/>
                      </a:lnTo>
                      <a:lnTo>
                        <a:pt x="224" y="350"/>
                      </a:lnTo>
                      <a:lnTo>
                        <a:pt x="221" y="353"/>
                      </a:lnTo>
                      <a:lnTo>
                        <a:pt x="216" y="357"/>
                      </a:lnTo>
                      <a:lnTo>
                        <a:pt x="211" y="357"/>
                      </a:lnTo>
                      <a:lnTo>
                        <a:pt x="211" y="363"/>
                      </a:lnTo>
                      <a:lnTo>
                        <a:pt x="207" y="366"/>
                      </a:lnTo>
                      <a:lnTo>
                        <a:pt x="204" y="371"/>
                      </a:lnTo>
                      <a:lnTo>
                        <a:pt x="207" y="372"/>
                      </a:lnTo>
                      <a:lnTo>
                        <a:pt x="210" y="373"/>
                      </a:lnTo>
                      <a:lnTo>
                        <a:pt x="211" y="375"/>
                      </a:lnTo>
                      <a:lnTo>
                        <a:pt x="210" y="376"/>
                      </a:lnTo>
                      <a:lnTo>
                        <a:pt x="211" y="378"/>
                      </a:lnTo>
                      <a:lnTo>
                        <a:pt x="216" y="380"/>
                      </a:lnTo>
                      <a:lnTo>
                        <a:pt x="217" y="396"/>
                      </a:lnTo>
                      <a:lnTo>
                        <a:pt x="217" y="397"/>
                      </a:lnTo>
                      <a:lnTo>
                        <a:pt x="217" y="397"/>
                      </a:lnTo>
                      <a:lnTo>
                        <a:pt x="213" y="399"/>
                      </a:lnTo>
                      <a:lnTo>
                        <a:pt x="206" y="399"/>
                      </a:lnTo>
                      <a:lnTo>
                        <a:pt x="197" y="405"/>
                      </a:lnTo>
                      <a:lnTo>
                        <a:pt x="199" y="407"/>
                      </a:lnTo>
                      <a:lnTo>
                        <a:pt x="195" y="409"/>
                      </a:lnTo>
                      <a:lnTo>
                        <a:pt x="196" y="415"/>
                      </a:lnTo>
                      <a:lnTo>
                        <a:pt x="197" y="416"/>
                      </a:lnTo>
                      <a:lnTo>
                        <a:pt x="197" y="416"/>
                      </a:lnTo>
                      <a:lnTo>
                        <a:pt x="196" y="416"/>
                      </a:lnTo>
                      <a:lnTo>
                        <a:pt x="196" y="416"/>
                      </a:lnTo>
                      <a:lnTo>
                        <a:pt x="194" y="419"/>
                      </a:lnTo>
                      <a:lnTo>
                        <a:pt x="194" y="424"/>
                      </a:lnTo>
                      <a:lnTo>
                        <a:pt x="189" y="433"/>
                      </a:lnTo>
                      <a:lnTo>
                        <a:pt x="187" y="434"/>
                      </a:lnTo>
                      <a:lnTo>
                        <a:pt x="187" y="434"/>
                      </a:lnTo>
                      <a:lnTo>
                        <a:pt x="187" y="434"/>
                      </a:lnTo>
                      <a:lnTo>
                        <a:pt x="187" y="434"/>
                      </a:lnTo>
                      <a:lnTo>
                        <a:pt x="184" y="433"/>
                      </a:lnTo>
                      <a:lnTo>
                        <a:pt x="186" y="428"/>
                      </a:lnTo>
                      <a:lnTo>
                        <a:pt x="185" y="425"/>
                      </a:lnTo>
                      <a:lnTo>
                        <a:pt x="188" y="421"/>
                      </a:lnTo>
                      <a:lnTo>
                        <a:pt x="187" y="418"/>
                      </a:lnTo>
                      <a:lnTo>
                        <a:pt x="184" y="417"/>
                      </a:lnTo>
                      <a:lnTo>
                        <a:pt x="183" y="418"/>
                      </a:lnTo>
                      <a:lnTo>
                        <a:pt x="179" y="424"/>
                      </a:lnTo>
                      <a:lnTo>
                        <a:pt x="179" y="426"/>
                      </a:lnTo>
                      <a:lnTo>
                        <a:pt x="183" y="430"/>
                      </a:lnTo>
                      <a:lnTo>
                        <a:pt x="182" y="434"/>
                      </a:lnTo>
                      <a:lnTo>
                        <a:pt x="183" y="435"/>
                      </a:lnTo>
                      <a:lnTo>
                        <a:pt x="181" y="438"/>
                      </a:lnTo>
                      <a:lnTo>
                        <a:pt x="175" y="436"/>
                      </a:lnTo>
                      <a:lnTo>
                        <a:pt x="171" y="433"/>
                      </a:lnTo>
                      <a:lnTo>
                        <a:pt x="164" y="436"/>
                      </a:lnTo>
                      <a:lnTo>
                        <a:pt x="163" y="435"/>
                      </a:lnTo>
                      <a:lnTo>
                        <a:pt x="164" y="430"/>
                      </a:lnTo>
                      <a:lnTo>
                        <a:pt x="163" y="429"/>
                      </a:lnTo>
                      <a:lnTo>
                        <a:pt x="158" y="429"/>
                      </a:lnTo>
                      <a:lnTo>
                        <a:pt x="158" y="426"/>
                      </a:lnTo>
                      <a:lnTo>
                        <a:pt x="160" y="424"/>
                      </a:lnTo>
                      <a:lnTo>
                        <a:pt x="160" y="423"/>
                      </a:lnTo>
                      <a:lnTo>
                        <a:pt x="154" y="425"/>
                      </a:lnTo>
                      <a:lnTo>
                        <a:pt x="153" y="425"/>
                      </a:lnTo>
                      <a:lnTo>
                        <a:pt x="150" y="428"/>
                      </a:lnTo>
                      <a:lnTo>
                        <a:pt x="150" y="431"/>
                      </a:lnTo>
                      <a:lnTo>
                        <a:pt x="148" y="433"/>
                      </a:lnTo>
                      <a:lnTo>
                        <a:pt x="137" y="430"/>
                      </a:lnTo>
                      <a:lnTo>
                        <a:pt x="136" y="431"/>
                      </a:lnTo>
                      <a:lnTo>
                        <a:pt x="136" y="431"/>
                      </a:lnTo>
                      <a:lnTo>
                        <a:pt x="131" y="432"/>
                      </a:lnTo>
                      <a:lnTo>
                        <a:pt x="127" y="428"/>
                      </a:lnTo>
                      <a:lnTo>
                        <a:pt x="126" y="428"/>
                      </a:lnTo>
                      <a:lnTo>
                        <a:pt x="124" y="425"/>
                      </a:lnTo>
                      <a:lnTo>
                        <a:pt x="120" y="426"/>
                      </a:lnTo>
                      <a:lnTo>
                        <a:pt x="117" y="425"/>
                      </a:lnTo>
                      <a:lnTo>
                        <a:pt x="116" y="418"/>
                      </a:lnTo>
                      <a:lnTo>
                        <a:pt x="110" y="414"/>
                      </a:lnTo>
                      <a:lnTo>
                        <a:pt x="109" y="411"/>
                      </a:lnTo>
                      <a:lnTo>
                        <a:pt x="105" y="412"/>
                      </a:lnTo>
                      <a:lnTo>
                        <a:pt x="101" y="405"/>
                      </a:lnTo>
                      <a:lnTo>
                        <a:pt x="79" y="405"/>
                      </a:lnTo>
                      <a:lnTo>
                        <a:pt x="74" y="406"/>
                      </a:lnTo>
                      <a:lnTo>
                        <a:pt x="68" y="402"/>
                      </a:lnTo>
                      <a:lnTo>
                        <a:pt x="65" y="398"/>
                      </a:lnTo>
                      <a:lnTo>
                        <a:pt x="65" y="388"/>
                      </a:lnTo>
                      <a:lnTo>
                        <a:pt x="63" y="381"/>
                      </a:lnTo>
                      <a:lnTo>
                        <a:pt x="63" y="376"/>
                      </a:lnTo>
                      <a:lnTo>
                        <a:pt x="63" y="374"/>
                      </a:lnTo>
                      <a:lnTo>
                        <a:pt x="49" y="370"/>
                      </a:lnTo>
                      <a:lnTo>
                        <a:pt x="46" y="368"/>
                      </a:lnTo>
                      <a:lnTo>
                        <a:pt x="48" y="367"/>
                      </a:lnTo>
                      <a:lnTo>
                        <a:pt x="43" y="356"/>
                      </a:lnTo>
                      <a:lnTo>
                        <a:pt x="38" y="350"/>
                      </a:lnTo>
                      <a:lnTo>
                        <a:pt x="37" y="350"/>
                      </a:lnTo>
                      <a:lnTo>
                        <a:pt x="36" y="347"/>
                      </a:lnTo>
                      <a:lnTo>
                        <a:pt x="32" y="349"/>
                      </a:lnTo>
                      <a:lnTo>
                        <a:pt x="31" y="348"/>
                      </a:lnTo>
                      <a:lnTo>
                        <a:pt x="28" y="346"/>
                      </a:lnTo>
                      <a:lnTo>
                        <a:pt x="17" y="331"/>
                      </a:lnTo>
                      <a:lnTo>
                        <a:pt x="5" y="321"/>
                      </a:lnTo>
                      <a:lnTo>
                        <a:pt x="7" y="315"/>
                      </a:lnTo>
                      <a:lnTo>
                        <a:pt x="5" y="314"/>
                      </a:lnTo>
                      <a:lnTo>
                        <a:pt x="2" y="314"/>
                      </a:lnTo>
                      <a:lnTo>
                        <a:pt x="0" y="310"/>
                      </a:lnTo>
                      <a:lnTo>
                        <a:pt x="1" y="310"/>
                      </a:lnTo>
                      <a:lnTo>
                        <a:pt x="1" y="309"/>
                      </a:lnTo>
                      <a:lnTo>
                        <a:pt x="7" y="308"/>
                      </a:lnTo>
                      <a:lnTo>
                        <a:pt x="12" y="309"/>
                      </a:lnTo>
                      <a:lnTo>
                        <a:pt x="12" y="307"/>
                      </a:lnTo>
                      <a:lnTo>
                        <a:pt x="14" y="306"/>
                      </a:lnTo>
                      <a:lnTo>
                        <a:pt x="19" y="305"/>
                      </a:lnTo>
                      <a:lnTo>
                        <a:pt x="23" y="302"/>
                      </a:lnTo>
                      <a:lnTo>
                        <a:pt x="26" y="302"/>
                      </a:lnTo>
                      <a:lnTo>
                        <a:pt x="27" y="300"/>
                      </a:lnTo>
                      <a:lnTo>
                        <a:pt x="27" y="294"/>
                      </a:lnTo>
                      <a:lnTo>
                        <a:pt x="36" y="282"/>
                      </a:lnTo>
                      <a:lnTo>
                        <a:pt x="38" y="283"/>
                      </a:lnTo>
                      <a:lnTo>
                        <a:pt x="42" y="283"/>
                      </a:lnTo>
                      <a:lnTo>
                        <a:pt x="43" y="282"/>
                      </a:lnTo>
                      <a:lnTo>
                        <a:pt x="43" y="283"/>
                      </a:lnTo>
                      <a:lnTo>
                        <a:pt x="51" y="285"/>
                      </a:lnTo>
                      <a:lnTo>
                        <a:pt x="53" y="285"/>
                      </a:lnTo>
                      <a:lnTo>
                        <a:pt x="56" y="284"/>
                      </a:lnTo>
                      <a:lnTo>
                        <a:pt x="59" y="284"/>
                      </a:lnTo>
                      <a:lnTo>
                        <a:pt x="73" y="282"/>
                      </a:lnTo>
                      <a:lnTo>
                        <a:pt x="74" y="281"/>
                      </a:lnTo>
                      <a:lnTo>
                        <a:pt x="75" y="276"/>
                      </a:lnTo>
                      <a:lnTo>
                        <a:pt x="80" y="271"/>
                      </a:lnTo>
                      <a:lnTo>
                        <a:pt x="81" y="268"/>
                      </a:lnTo>
                      <a:lnTo>
                        <a:pt x="86" y="267"/>
                      </a:lnTo>
                      <a:lnTo>
                        <a:pt x="91" y="262"/>
                      </a:lnTo>
                      <a:lnTo>
                        <a:pt x="94" y="261"/>
                      </a:lnTo>
                      <a:lnTo>
                        <a:pt x="99" y="259"/>
                      </a:lnTo>
                      <a:lnTo>
                        <a:pt x="98" y="251"/>
                      </a:lnTo>
                      <a:lnTo>
                        <a:pt x="91" y="255"/>
                      </a:lnTo>
                      <a:lnTo>
                        <a:pt x="88" y="255"/>
                      </a:lnTo>
                      <a:lnTo>
                        <a:pt x="83" y="250"/>
                      </a:lnTo>
                      <a:lnTo>
                        <a:pt x="77" y="248"/>
                      </a:lnTo>
                      <a:lnTo>
                        <a:pt x="76" y="247"/>
                      </a:lnTo>
                      <a:lnTo>
                        <a:pt x="73" y="249"/>
                      </a:lnTo>
                      <a:lnTo>
                        <a:pt x="67" y="249"/>
                      </a:lnTo>
                      <a:lnTo>
                        <a:pt x="66" y="243"/>
                      </a:lnTo>
                      <a:lnTo>
                        <a:pt x="60" y="242"/>
                      </a:lnTo>
                      <a:lnTo>
                        <a:pt x="54" y="237"/>
                      </a:lnTo>
                      <a:lnTo>
                        <a:pt x="57" y="229"/>
                      </a:lnTo>
                      <a:lnTo>
                        <a:pt x="52" y="227"/>
                      </a:lnTo>
                      <a:lnTo>
                        <a:pt x="52" y="225"/>
                      </a:lnTo>
                      <a:lnTo>
                        <a:pt x="61" y="224"/>
                      </a:lnTo>
                      <a:lnTo>
                        <a:pt x="62" y="223"/>
                      </a:lnTo>
                      <a:lnTo>
                        <a:pt x="64" y="223"/>
                      </a:lnTo>
                      <a:lnTo>
                        <a:pt x="69" y="214"/>
                      </a:lnTo>
                      <a:lnTo>
                        <a:pt x="72" y="212"/>
                      </a:lnTo>
                      <a:lnTo>
                        <a:pt x="89" y="223"/>
                      </a:lnTo>
                      <a:lnTo>
                        <a:pt x="91" y="223"/>
                      </a:lnTo>
                      <a:lnTo>
                        <a:pt x="93" y="221"/>
                      </a:lnTo>
                      <a:lnTo>
                        <a:pt x="103" y="215"/>
                      </a:lnTo>
                      <a:lnTo>
                        <a:pt x="111" y="208"/>
                      </a:lnTo>
                      <a:lnTo>
                        <a:pt x="112" y="209"/>
                      </a:lnTo>
                      <a:lnTo>
                        <a:pt x="126" y="208"/>
                      </a:lnTo>
                      <a:lnTo>
                        <a:pt x="129" y="210"/>
                      </a:lnTo>
                      <a:lnTo>
                        <a:pt x="134" y="210"/>
                      </a:lnTo>
                      <a:lnTo>
                        <a:pt x="134" y="208"/>
                      </a:lnTo>
                      <a:lnTo>
                        <a:pt x="131" y="203"/>
                      </a:lnTo>
                      <a:lnTo>
                        <a:pt x="132" y="194"/>
                      </a:lnTo>
                      <a:lnTo>
                        <a:pt x="131" y="192"/>
                      </a:lnTo>
                      <a:lnTo>
                        <a:pt x="133" y="189"/>
                      </a:lnTo>
                      <a:lnTo>
                        <a:pt x="138" y="184"/>
                      </a:lnTo>
                      <a:lnTo>
                        <a:pt x="138" y="184"/>
                      </a:lnTo>
                      <a:lnTo>
                        <a:pt x="146" y="178"/>
                      </a:lnTo>
                      <a:lnTo>
                        <a:pt x="147" y="173"/>
                      </a:lnTo>
                      <a:lnTo>
                        <a:pt x="147" y="173"/>
                      </a:lnTo>
                      <a:lnTo>
                        <a:pt x="151" y="168"/>
                      </a:lnTo>
                      <a:lnTo>
                        <a:pt x="152" y="164"/>
                      </a:lnTo>
                      <a:lnTo>
                        <a:pt x="152" y="164"/>
                      </a:lnTo>
                      <a:lnTo>
                        <a:pt x="152" y="164"/>
                      </a:lnTo>
                      <a:lnTo>
                        <a:pt x="154" y="160"/>
                      </a:lnTo>
                      <a:lnTo>
                        <a:pt x="153" y="152"/>
                      </a:lnTo>
                      <a:lnTo>
                        <a:pt x="154" y="140"/>
                      </a:lnTo>
                      <a:lnTo>
                        <a:pt x="154" y="140"/>
                      </a:lnTo>
                      <a:lnTo>
                        <a:pt x="159" y="138"/>
                      </a:lnTo>
                      <a:lnTo>
                        <a:pt x="160" y="137"/>
                      </a:lnTo>
                      <a:lnTo>
                        <a:pt x="160" y="137"/>
                      </a:lnTo>
                      <a:lnTo>
                        <a:pt x="160" y="137"/>
                      </a:lnTo>
                      <a:lnTo>
                        <a:pt x="164" y="136"/>
                      </a:lnTo>
                      <a:lnTo>
                        <a:pt x="164" y="127"/>
                      </a:lnTo>
                      <a:lnTo>
                        <a:pt x="162" y="123"/>
                      </a:lnTo>
                      <a:lnTo>
                        <a:pt x="165" y="119"/>
                      </a:lnTo>
                      <a:lnTo>
                        <a:pt x="164" y="115"/>
                      </a:lnTo>
                      <a:lnTo>
                        <a:pt x="166" y="112"/>
                      </a:lnTo>
                      <a:lnTo>
                        <a:pt x="168" y="107"/>
                      </a:lnTo>
                      <a:lnTo>
                        <a:pt x="173" y="98"/>
                      </a:lnTo>
                      <a:lnTo>
                        <a:pt x="176" y="98"/>
                      </a:lnTo>
                      <a:lnTo>
                        <a:pt x="177" y="98"/>
                      </a:lnTo>
                      <a:lnTo>
                        <a:pt x="183" y="99"/>
                      </a:lnTo>
                      <a:lnTo>
                        <a:pt x="185" y="96"/>
                      </a:lnTo>
                      <a:lnTo>
                        <a:pt x="189" y="96"/>
                      </a:lnTo>
                      <a:lnTo>
                        <a:pt x="192" y="92"/>
                      </a:lnTo>
                      <a:lnTo>
                        <a:pt x="192" y="92"/>
                      </a:lnTo>
                      <a:lnTo>
                        <a:pt x="192" y="92"/>
                      </a:lnTo>
                      <a:lnTo>
                        <a:pt x="195" y="93"/>
                      </a:lnTo>
                      <a:lnTo>
                        <a:pt x="195" y="93"/>
                      </a:lnTo>
                      <a:lnTo>
                        <a:pt x="195" y="94"/>
                      </a:lnTo>
                      <a:lnTo>
                        <a:pt x="194" y="97"/>
                      </a:lnTo>
                      <a:lnTo>
                        <a:pt x="193" y="97"/>
                      </a:lnTo>
                      <a:lnTo>
                        <a:pt x="194" y="99"/>
                      </a:lnTo>
                      <a:lnTo>
                        <a:pt x="193" y="99"/>
                      </a:lnTo>
                      <a:lnTo>
                        <a:pt x="193" y="99"/>
                      </a:lnTo>
                      <a:lnTo>
                        <a:pt x="192" y="98"/>
                      </a:lnTo>
                      <a:lnTo>
                        <a:pt x="192" y="99"/>
                      </a:lnTo>
                      <a:lnTo>
                        <a:pt x="191" y="99"/>
                      </a:lnTo>
                      <a:lnTo>
                        <a:pt x="191" y="100"/>
                      </a:lnTo>
                      <a:lnTo>
                        <a:pt x="191" y="100"/>
                      </a:lnTo>
                      <a:lnTo>
                        <a:pt x="191" y="101"/>
                      </a:lnTo>
                      <a:lnTo>
                        <a:pt x="192" y="100"/>
                      </a:lnTo>
                      <a:lnTo>
                        <a:pt x="193" y="100"/>
                      </a:lnTo>
                      <a:lnTo>
                        <a:pt x="194" y="100"/>
                      </a:lnTo>
                      <a:lnTo>
                        <a:pt x="197" y="99"/>
                      </a:lnTo>
                      <a:lnTo>
                        <a:pt x="198" y="99"/>
                      </a:lnTo>
                      <a:lnTo>
                        <a:pt x="198" y="100"/>
                      </a:lnTo>
                      <a:lnTo>
                        <a:pt x="197" y="101"/>
                      </a:lnTo>
                      <a:lnTo>
                        <a:pt x="198" y="101"/>
                      </a:lnTo>
                      <a:lnTo>
                        <a:pt x="198" y="101"/>
                      </a:lnTo>
                      <a:lnTo>
                        <a:pt x="198" y="99"/>
                      </a:lnTo>
                      <a:lnTo>
                        <a:pt x="198" y="98"/>
                      </a:lnTo>
                      <a:lnTo>
                        <a:pt x="197" y="98"/>
                      </a:lnTo>
                      <a:lnTo>
                        <a:pt x="197" y="97"/>
                      </a:lnTo>
                      <a:lnTo>
                        <a:pt x="198" y="96"/>
                      </a:lnTo>
                      <a:lnTo>
                        <a:pt x="198" y="96"/>
                      </a:lnTo>
                      <a:lnTo>
                        <a:pt x="198" y="95"/>
                      </a:lnTo>
                      <a:lnTo>
                        <a:pt x="199" y="94"/>
                      </a:lnTo>
                      <a:lnTo>
                        <a:pt x="199" y="94"/>
                      </a:lnTo>
                      <a:lnTo>
                        <a:pt x="200" y="94"/>
                      </a:lnTo>
                      <a:lnTo>
                        <a:pt x="201" y="95"/>
                      </a:lnTo>
                      <a:lnTo>
                        <a:pt x="202" y="95"/>
                      </a:lnTo>
                      <a:lnTo>
                        <a:pt x="202" y="96"/>
                      </a:lnTo>
                      <a:lnTo>
                        <a:pt x="202" y="96"/>
                      </a:lnTo>
                      <a:lnTo>
                        <a:pt x="202" y="95"/>
                      </a:lnTo>
                      <a:lnTo>
                        <a:pt x="203" y="95"/>
                      </a:lnTo>
                      <a:lnTo>
                        <a:pt x="209" y="94"/>
                      </a:lnTo>
                      <a:lnTo>
                        <a:pt x="214" y="95"/>
                      </a:lnTo>
                      <a:lnTo>
                        <a:pt x="215" y="95"/>
                      </a:lnTo>
                      <a:lnTo>
                        <a:pt x="216" y="96"/>
                      </a:lnTo>
                      <a:lnTo>
                        <a:pt x="216" y="99"/>
                      </a:lnTo>
                      <a:lnTo>
                        <a:pt x="217" y="100"/>
                      </a:lnTo>
                      <a:lnTo>
                        <a:pt x="218" y="100"/>
                      </a:lnTo>
                      <a:lnTo>
                        <a:pt x="219" y="101"/>
                      </a:lnTo>
                      <a:lnTo>
                        <a:pt x="225" y="101"/>
                      </a:lnTo>
                      <a:lnTo>
                        <a:pt x="227" y="100"/>
                      </a:lnTo>
                      <a:lnTo>
                        <a:pt x="228" y="100"/>
                      </a:lnTo>
                      <a:lnTo>
                        <a:pt x="229" y="100"/>
                      </a:lnTo>
                      <a:lnTo>
                        <a:pt x="230" y="99"/>
                      </a:lnTo>
                      <a:lnTo>
                        <a:pt x="230" y="99"/>
                      </a:lnTo>
                      <a:lnTo>
                        <a:pt x="231" y="99"/>
                      </a:lnTo>
                      <a:lnTo>
                        <a:pt x="232" y="99"/>
                      </a:lnTo>
                      <a:lnTo>
                        <a:pt x="234" y="99"/>
                      </a:lnTo>
                      <a:lnTo>
                        <a:pt x="235" y="98"/>
                      </a:lnTo>
                      <a:lnTo>
                        <a:pt x="236" y="98"/>
                      </a:lnTo>
                      <a:lnTo>
                        <a:pt x="236" y="98"/>
                      </a:lnTo>
                      <a:lnTo>
                        <a:pt x="237" y="97"/>
                      </a:lnTo>
                      <a:lnTo>
                        <a:pt x="236" y="95"/>
                      </a:lnTo>
                      <a:lnTo>
                        <a:pt x="237" y="96"/>
                      </a:lnTo>
                      <a:lnTo>
                        <a:pt x="237" y="96"/>
                      </a:lnTo>
                      <a:lnTo>
                        <a:pt x="237" y="95"/>
                      </a:lnTo>
                      <a:lnTo>
                        <a:pt x="237" y="95"/>
                      </a:lnTo>
                      <a:lnTo>
                        <a:pt x="238" y="95"/>
                      </a:lnTo>
                      <a:lnTo>
                        <a:pt x="238" y="94"/>
                      </a:lnTo>
                      <a:lnTo>
                        <a:pt x="239" y="93"/>
                      </a:lnTo>
                      <a:lnTo>
                        <a:pt x="243" y="91"/>
                      </a:lnTo>
                      <a:lnTo>
                        <a:pt x="245" y="89"/>
                      </a:lnTo>
                      <a:lnTo>
                        <a:pt x="245" y="88"/>
                      </a:lnTo>
                      <a:lnTo>
                        <a:pt x="245" y="87"/>
                      </a:lnTo>
                      <a:lnTo>
                        <a:pt x="244" y="86"/>
                      </a:lnTo>
                      <a:lnTo>
                        <a:pt x="243" y="84"/>
                      </a:lnTo>
                      <a:lnTo>
                        <a:pt x="243" y="80"/>
                      </a:lnTo>
                      <a:lnTo>
                        <a:pt x="243" y="79"/>
                      </a:lnTo>
                      <a:lnTo>
                        <a:pt x="244" y="79"/>
                      </a:lnTo>
                      <a:lnTo>
                        <a:pt x="244" y="78"/>
                      </a:lnTo>
                      <a:lnTo>
                        <a:pt x="244" y="78"/>
                      </a:lnTo>
                      <a:lnTo>
                        <a:pt x="245" y="77"/>
                      </a:lnTo>
                      <a:lnTo>
                        <a:pt x="246" y="77"/>
                      </a:lnTo>
                      <a:lnTo>
                        <a:pt x="247" y="77"/>
                      </a:lnTo>
                      <a:lnTo>
                        <a:pt x="247" y="77"/>
                      </a:lnTo>
                      <a:lnTo>
                        <a:pt x="249" y="77"/>
                      </a:lnTo>
                      <a:lnTo>
                        <a:pt x="249" y="77"/>
                      </a:lnTo>
                      <a:lnTo>
                        <a:pt x="250" y="77"/>
                      </a:lnTo>
                      <a:lnTo>
                        <a:pt x="250" y="77"/>
                      </a:lnTo>
                      <a:lnTo>
                        <a:pt x="250" y="77"/>
                      </a:lnTo>
                      <a:lnTo>
                        <a:pt x="250" y="77"/>
                      </a:lnTo>
                      <a:lnTo>
                        <a:pt x="249" y="76"/>
                      </a:lnTo>
                      <a:lnTo>
                        <a:pt x="249" y="76"/>
                      </a:lnTo>
                      <a:lnTo>
                        <a:pt x="248" y="76"/>
                      </a:lnTo>
                      <a:lnTo>
                        <a:pt x="248" y="75"/>
                      </a:lnTo>
                      <a:lnTo>
                        <a:pt x="248" y="75"/>
                      </a:lnTo>
                      <a:lnTo>
                        <a:pt x="249" y="75"/>
                      </a:lnTo>
                      <a:lnTo>
                        <a:pt x="250" y="76"/>
                      </a:lnTo>
                      <a:lnTo>
                        <a:pt x="249" y="75"/>
                      </a:lnTo>
                      <a:lnTo>
                        <a:pt x="249" y="75"/>
                      </a:lnTo>
                      <a:lnTo>
                        <a:pt x="249" y="74"/>
                      </a:lnTo>
                      <a:lnTo>
                        <a:pt x="249" y="74"/>
                      </a:lnTo>
                      <a:lnTo>
                        <a:pt x="250" y="74"/>
                      </a:lnTo>
                      <a:lnTo>
                        <a:pt x="250" y="73"/>
                      </a:lnTo>
                      <a:lnTo>
                        <a:pt x="250" y="73"/>
                      </a:lnTo>
                      <a:lnTo>
                        <a:pt x="250" y="73"/>
                      </a:lnTo>
                      <a:lnTo>
                        <a:pt x="250" y="71"/>
                      </a:lnTo>
                      <a:lnTo>
                        <a:pt x="251" y="70"/>
                      </a:lnTo>
                      <a:lnTo>
                        <a:pt x="251" y="70"/>
                      </a:lnTo>
                      <a:lnTo>
                        <a:pt x="251" y="69"/>
                      </a:lnTo>
                      <a:lnTo>
                        <a:pt x="252" y="69"/>
                      </a:lnTo>
                      <a:lnTo>
                        <a:pt x="252" y="68"/>
                      </a:lnTo>
                      <a:lnTo>
                        <a:pt x="252" y="67"/>
                      </a:lnTo>
                      <a:lnTo>
                        <a:pt x="252" y="66"/>
                      </a:lnTo>
                      <a:lnTo>
                        <a:pt x="253" y="66"/>
                      </a:lnTo>
                      <a:lnTo>
                        <a:pt x="253" y="65"/>
                      </a:lnTo>
                      <a:lnTo>
                        <a:pt x="253" y="65"/>
                      </a:lnTo>
                      <a:lnTo>
                        <a:pt x="253" y="64"/>
                      </a:lnTo>
                      <a:lnTo>
                        <a:pt x="254" y="64"/>
                      </a:lnTo>
                      <a:lnTo>
                        <a:pt x="254" y="63"/>
                      </a:lnTo>
                      <a:lnTo>
                        <a:pt x="254" y="63"/>
                      </a:lnTo>
                      <a:lnTo>
                        <a:pt x="254" y="61"/>
                      </a:lnTo>
                      <a:lnTo>
                        <a:pt x="254" y="60"/>
                      </a:lnTo>
                      <a:lnTo>
                        <a:pt x="255" y="59"/>
                      </a:lnTo>
                      <a:lnTo>
                        <a:pt x="255" y="58"/>
                      </a:lnTo>
                      <a:lnTo>
                        <a:pt x="255" y="57"/>
                      </a:lnTo>
                      <a:lnTo>
                        <a:pt x="256" y="56"/>
                      </a:lnTo>
                      <a:lnTo>
                        <a:pt x="256" y="53"/>
                      </a:lnTo>
                      <a:lnTo>
                        <a:pt x="256" y="53"/>
                      </a:lnTo>
                      <a:lnTo>
                        <a:pt x="256" y="53"/>
                      </a:lnTo>
                      <a:lnTo>
                        <a:pt x="256" y="52"/>
                      </a:lnTo>
                      <a:lnTo>
                        <a:pt x="256" y="52"/>
                      </a:lnTo>
                      <a:lnTo>
                        <a:pt x="256" y="49"/>
                      </a:lnTo>
                      <a:lnTo>
                        <a:pt x="256" y="49"/>
                      </a:lnTo>
                      <a:lnTo>
                        <a:pt x="255" y="48"/>
                      </a:lnTo>
                      <a:lnTo>
                        <a:pt x="255" y="47"/>
                      </a:lnTo>
                      <a:lnTo>
                        <a:pt x="255" y="47"/>
                      </a:lnTo>
                      <a:lnTo>
                        <a:pt x="255" y="46"/>
                      </a:lnTo>
                      <a:lnTo>
                        <a:pt x="257" y="46"/>
                      </a:lnTo>
                      <a:lnTo>
                        <a:pt x="257" y="46"/>
                      </a:lnTo>
                      <a:lnTo>
                        <a:pt x="259" y="48"/>
                      </a:lnTo>
                      <a:lnTo>
                        <a:pt x="259" y="48"/>
                      </a:lnTo>
                      <a:lnTo>
                        <a:pt x="259" y="48"/>
                      </a:lnTo>
                      <a:lnTo>
                        <a:pt x="262" y="50"/>
                      </a:lnTo>
                      <a:lnTo>
                        <a:pt x="263" y="51"/>
                      </a:lnTo>
                      <a:lnTo>
                        <a:pt x="265" y="53"/>
                      </a:lnTo>
                      <a:lnTo>
                        <a:pt x="266" y="53"/>
                      </a:lnTo>
                      <a:lnTo>
                        <a:pt x="267" y="54"/>
                      </a:lnTo>
                      <a:lnTo>
                        <a:pt x="268" y="54"/>
                      </a:lnTo>
                      <a:lnTo>
                        <a:pt x="268" y="54"/>
                      </a:lnTo>
                      <a:lnTo>
                        <a:pt x="270" y="54"/>
                      </a:lnTo>
                      <a:lnTo>
                        <a:pt x="270" y="55"/>
                      </a:lnTo>
                      <a:lnTo>
                        <a:pt x="272" y="55"/>
                      </a:lnTo>
                      <a:lnTo>
                        <a:pt x="273" y="55"/>
                      </a:lnTo>
                      <a:lnTo>
                        <a:pt x="275" y="55"/>
                      </a:lnTo>
                      <a:lnTo>
                        <a:pt x="277" y="56"/>
                      </a:lnTo>
                      <a:lnTo>
                        <a:pt x="281" y="56"/>
                      </a:lnTo>
                      <a:lnTo>
                        <a:pt x="282" y="56"/>
                      </a:lnTo>
                      <a:lnTo>
                        <a:pt x="286" y="55"/>
                      </a:lnTo>
                      <a:lnTo>
                        <a:pt x="288" y="55"/>
                      </a:lnTo>
                      <a:lnTo>
                        <a:pt x="289" y="55"/>
                      </a:lnTo>
                      <a:lnTo>
                        <a:pt x="292" y="55"/>
                      </a:lnTo>
                      <a:lnTo>
                        <a:pt x="292" y="55"/>
                      </a:lnTo>
                      <a:lnTo>
                        <a:pt x="292" y="55"/>
                      </a:lnTo>
                      <a:lnTo>
                        <a:pt x="293" y="55"/>
                      </a:lnTo>
                      <a:lnTo>
                        <a:pt x="295" y="55"/>
                      </a:lnTo>
                      <a:lnTo>
                        <a:pt x="295" y="54"/>
                      </a:lnTo>
                      <a:lnTo>
                        <a:pt x="295" y="54"/>
                      </a:lnTo>
                      <a:lnTo>
                        <a:pt x="295" y="55"/>
                      </a:lnTo>
                      <a:lnTo>
                        <a:pt x="296" y="55"/>
                      </a:lnTo>
                      <a:lnTo>
                        <a:pt x="295" y="54"/>
                      </a:lnTo>
                      <a:lnTo>
                        <a:pt x="295" y="54"/>
                      </a:lnTo>
                      <a:lnTo>
                        <a:pt x="296" y="54"/>
                      </a:lnTo>
                      <a:lnTo>
                        <a:pt x="296" y="55"/>
                      </a:lnTo>
                      <a:lnTo>
                        <a:pt x="297" y="55"/>
                      </a:lnTo>
                      <a:lnTo>
                        <a:pt x="297" y="55"/>
                      </a:lnTo>
                      <a:lnTo>
                        <a:pt x="297" y="55"/>
                      </a:lnTo>
                      <a:lnTo>
                        <a:pt x="300" y="55"/>
                      </a:lnTo>
                      <a:lnTo>
                        <a:pt x="302" y="54"/>
                      </a:lnTo>
                      <a:lnTo>
                        <a:pt x="304" y="54"/>
                      </a:lnTo>
                      <a:lnTo>
                        <a:pt x="305" y="54"/>
                      </a:lnTo>
                      <a:lnTo>
                        <a:pt x="305" y="53"/>
                      </a:lnTo>
                      <a:lnTo>
                        <a:pt x="305" y="53"/>
                      </a:lnTo>
                      <a:lnTo>
                        <a:pt x="305" y="51"/>
                      </a:lnTo>
                      <a:lnTo>
                        <a:pt x="305" y="49"/>
                      </a:lnTo>
                      <a:lnTo>
                        <a:pt x="306" y="49"/>
                      </a:lnTo>
                      <a:lnTo>
                        <a:pt x="306" y="49"/>
                      </a:lnTo>
                      <a:lnTo>
                        <a:pt x="306" y="49"/>
                      </a:lnTo>
                      <a:lnTo>
                        <a:pt x="306" y="49"/>
                      </a:lnTo>
                      <a:lnTo>
                        <a:pt x="306" y="48"/>
                      </a:lnTo>
                      <a:lnTo>
                        <a:pt x="306" y="48"/>
                      </a:lnTo>
                      <a:lnTo>
                        <a:pt x="305" y="48"/>
                      </a:lnTo>
                      <a:lnTo>
                        <a:pt x="306" y="47"/>
                      </a:lnTo>
                      <a:lnTo>
                        <a:pt x="307" y="47"/>
                      </a:lnTo>
                      <a:lnTo>
                        <a:pt x="308" y="47"/>
                      </a:lnTo>
                      <a:lnTo>
                        <a:pt x="308" y="47"/>
                      </a:lnTo>
                      <a:lnTo>
                        <a:pt x="308" y="46"/>
                      </a:lnTo>
                      <a:lnTo>
                        <a:pt x="308" y="46"/>
                      </a:lnTo>
                      <a:lnTo>
                        <a:pt x="309" y="46"/>
                      </a:lnTo>
                      <a:lnTo>
                        <a:pt x="309" y="46"/>
                      </a:lnTo>
                      <a:lnTo>
                        <a:pt x="309" y="46"/>
                      </a:lnTo>
                      <a:lnTo>
                        <a:pt x="310" y="46"/>
                      </a:lnTo>
                      <a:lnTo>
                        <a:pt x="310" y="44"/>
                      </a:lnTo>
                      <a:lnTo>
                        <a:pt x="311" y="46"/>
                      </a:lnTo>
                      <a:lnTo>
                        <a:pt x="311" y="44"/>
                      </a:lnTo>
                      <a:lnTo>
                        <a:pt x="312" y="44"/>
                      </a:lnTo>
                      <a:lnTo>
                        <a:pt x="313" y="43"/>
                      </a:lnTo>
                      <a:lnTo>
                        <a:pt x="313" y="43"/>
                      </a:lnTo>
                      <a:lnTo>
                        <a:pt x="314" y="43"/>
                      </a:lnTo>
                      <a:lnTo>
                        <a:pt x="315" y="43"/>
                      </a:lnTo>
                      <a:lnTo>
                        <a:pt x="316" y="43"/>
                      </a:lnTo>
                      <a:lnTo>
                        <a:pt x="320" y="43"/>
                      </a:lnTo>
                      <a:lnTo>
                        <a:pt x="320" y="43"/>
                      </a:lnTo>
                      <a:lnTo>
                        <a:pt x="320" y="42"/>
                      </a:lnTo>
                      <a:lnTo>
                        <a:pt x="320" y="41"/>
                      </a:lnTo>
                      <a:lnTo>
                        <a:pt x="320" y="41"/>
                      </a:lnTo>
                      <a:lnTo>
                        <a:pt x="320" y="40"/>
                      </a:lnTo>
                      <a:lnTo>
                        <a:pt x="320" y="40"/>
                      </a:lnTo>
                      <a:lnTo>
                        <a:pt x="320" y="40"/>
                      </a:lnTo>
                      <a:lnTo>
                        <a:pt x="319" y="41"/>
                      </a:lnTo>
                      <a:lnTo>
                        <a:pt x="319" y="40"/>
                      </a:lnTo>
                      <a:lnTo>
                        <a:pt x="319" y="39"/>
                      </a:lnTo>
                      <a:lnTo>
                        <a:pt x="319" y="38"/>
                      </a:lnTo>
                      <a:lnTo>
                        <a:pt x="319" y="38"/>
                      </a:lnTo>
                      <a:lnTo>
                        <a:pt x="320" y="38"/>
                      </a:lnTo>
                      <a:lnTo>
                        <a:pt x="320" y="38"/>
                      </a:lnTo>
                      <a:lnTo>
                        <a:pt x="321" y="39"/>
                      </a:lnTo>
                      <a:lnTo>
                        <a:pt x="321" y="40"/>
                      </a:lnTo>
                      <a:lnTo>
                        <a:pt x="322" y="41"/>
                      </a:lnTo>
                      <a:lnTo>
                        <a:pt x="322" y="41"/>
                      </a:lnTo>
                      <a:lnTo>
                        <a:pt x="322" y="41"/>
                      </a:lnTo>
                      <a:lnTo>
                        <a:pt x="322" y="41"/>
                      </a:lnTo>
                      <a:lnTo>
                        <a:pt x="322" y="41"/>
                      </a:lnTo>
                      <a:lnTo>
                        <a:pt x="323" y="41"/>
                      </a:lnTo>
                      <a:lnTo>
                        <a:pt x="324" y="40"/>
                      </a:lnTo>
                      <a:lnTo>
                        <a:pt x="324" y="40"/>
                      </a:lnTo>
                      <a:lnTo>
                        <a:pt x="325" y="40"/>
                      </a:lnTo>
                      <a:lnTo>
                        <a:pt x="327" y="40"/>
                      </a:lnTo>
                      <a:lnTo>
                        <a:pt x="329" y="40"/>
                      </a:lnTo>
                      <a:lnTo>
                        <a:pt x="330" y="40"/>
                      </a:lnTo>
                      <a:lnTo>
                        <a:pt x="331" y="40"/>
                      </a:lnTo>
                      <a:lnTo>
                        <a:pt x="334" y="39"/>
                      </a:lnTo>
                      <a:lnTo>
                        <a:pt x="334" y="39"/>
                      </a:lnTo>
                      <a:lnTo>
                        <a:pt x="335" y="39"/>
                      </a:lnTo>
                      <a:lnTo>
                        <a:pt x="335" y="38"/>
                      </a:lnTo>
                      <a:lnTo>
                        <a:pt x="336" y="38"/>
                      </a:lnTo>
                      <a:lnTo>
                        <a:pt x="336" y="38"/>
                      </a:lnTo>
                      <a:lnTo>
                        <a:pt x="337" y="38"/>
                      </a:lnTo>
                      <a:lnTo>
                        <a:pt x="337" y="37"/>
                      </a:lnTo>
                      <a:lnTo>
                        <a:pt x="337" y="37"/>
                      </a:lnTo>
                      <a:lnTo>
                        <a:pt x="337" y="37"/>
                      </a:lnTo>
                      <a:lnTo>
                        <a:pt x="338" y="37"/>
                      </a:lnTo>
                      <a:lnTo>
                        <a:pt x="338" y="37"/>
                      </a:lnTo>
                      <a:lnTo>
                        <a:pt x="339" y="37"/>
                      </a:lnTo>
                      <a:lnTo>
                        <a:pt x="339" y="36"/>
                      </a:lnTo>
                      <a:lnTo>
                        <a:pt x="341" y="35"/>
                      </a:lnTo>
                      <a:lnTo>
                        <a:pt x="342" y="35"/>
                      </a:lnTo>
                      <a:lnTo>
                        <a:pt x="342" y="37"/>
                      </a:lnTo>
                      <a:lnTo>
                        <a:pt x="343" y="37"/>
                      </a:lnTo>
                      <a:lnTo>
                        <a:pt x="342" y="36"/>
                      </a:lnTo>
                      <a:lnTo>
                        <a:pt x="342" y="35"/>
                      </a:lnTo>
                      <a:lnTo>
                        <a:pt x="343" y="35"/>
                      </a:lnTo>
                      <a:lnTo>
                        <a:pt x="343" y="35"/>
                      </a:lnTo>
                      <a:lnTo>
                        <a:pt x="343" y="35"/>
                      </a:lnTo>
                      <a:lnTo>
                        <a:pt x="345" y="35"/>
                      </a:lnTo>
                      <a:lnTo>
                        <a:pt x="346" y="34"/>
                      </a:lnTo>
                      <a:lnTo>
                        <a:pt x="346" y="32"/>
                      </a:lnTo>
                      <a:lnTo>
                        <a:pt x="346" y="32"/>
                      </a:lnTo>
                      <a:lnTo>
                        <a:pt x="345" y="32"/>
                      </a:lnTo>
                      <a:lnTo>
                        <a:pt x="346" y="31"/>
                      </a:lnTo>
                      <a:lnTo>
                        <a:pt x="347" y="30"/>
                      </a:lnTo>
                      <a:lnTo>
                        <a:pt x="348" y="30"/>
                      </a:lnTo>
                      <a:lnTo>
                        <a:pt x="348" y="29"/>
                      </a:lnTo>
                      <a:lnTo>
                        <a:pt x="348" y="29"/>
                      </a:lnTo>
                      <a:lnTo>
                        <a:pt x="348" y="29"/>
                      </a:lnTo>
                      <a:lnTo>
                        <a:pt x="348" y="28"/>
                      </a:lnTo>
                      <a:lnTo>
                        <a:pt x="349" y="29"/>
                      </a:lnTo>
                      <a:lnTo>
                        <a:pt x="350" y="28"/>
                      </a:lnTo>
                      <a:lnTo>
                        <a:pt x="350" y="28"/>
                      </a:lnTo>
                      <a:lnTo>
                        <a:pt x="351" y="28"/>
                      </a:lnTo>
                      <a:lnTo>
                        <a:pt x="351" y="27"/>
                      </a:lnTo>
                      <a:lnTo>
                        <a:pt x="351" y="26"/>
                      </a:lnTo>
                      <a:lnTo>
                        <a:pt x="351" y="26"/>
                      </a:lnTo>
                      <a:lnTo>
                        <a:pt x="353" y="26"/>
                      </a:lnTo>
                      <a:lnTo>
                        <a:pt x="353" y="25"/>
                      </a:lnTo>
                      <a:lnTo>
                        <a:pt x="355" y="25"/>
                      </a:lnTo>
                      <a:lnTo>
                        <a:pt x="355" y="25"/>
                      </a:lnTo>
                      <a:lnTo>
                        <a:pt x="355" y="25"/>
                      </a:lnTo>
                      <a:lnTo>
                        <a:pt x="356" y="24"/>
                      </a:lnTo>
                      <a:lnTo>
                        <a:pt x="357" y="23"/>
                      </a:lnTo>
                      <a:close/>
                      <a:moveTo>
                        <a:pt x="407" y="0"/>
                      </a:moveTo>
                      <a:lnTo>
                        <a:pt x="407" y="1"/>
                      </a:lnTo>
                      <a:lnTo>
                        <a:pt x="408" y="1"/>
                      </a:lnTo>
                      <a:lnTo>
                        <a:pt x="410" y="2"/>
                      </a:lnTo>
                      <a:lnTo>
                        <a:pt x="411" y="2"/>
                      </a:lnTo>
                      <a:lnTo>
                        <a:pt x="412" y="3"/>
                      </a:lnTo>
                      <a:lnTo>
                        <a:pt x="415" y="3"/>
                      </a:lnTo>
                      <a:lnTo>
                        <a:pt x="415" y="3"/>
                      </a:lnTo>
                      <a:lnTo>
                        <a:pt x="415" y="2"/>
                      </a:lnTo>
                      <a:lnTo>
                        <a:pt x="416" y="2"/>
                      </a:lnTo>
                      <a:lnTo>
                        <a:pt x="417" y="3"/>
                      </a:lnTo>
                      <a:lnTo>
                        <a:pt x="417" y="3"/>
                      </a:lnTo>
                      <a:lnTo>
                        <a:pt x="417" y="3"/>
                      </a:lnTo>
                      <a:lnTo>
                        <a:pt x="418" y="3"/>
                      </a:lnTo>
                      <a:lnTo>
                        <a:pt x="421" y="4"/>
                      </a:lnTo>
                      <a:lnTo>
                        <a:pt x="422" y="5"/>
                      </a:lnTo>
                      <a:lnTo>
                        <a:pt x="422" y="6"/>
                      </a:lnTo>
                      <a:lnTo>
                        <a:pt x="421" y="7"/>
                      </a:lnTo>
                      <a:lnTo>
                        <a:pt x="421" y="7"/>
                      </a:lnTo>
                      <a:lnTo>
                        <a:pt x="421" y="9"/>
                      </a:lnTo>
                      <a:lnTo>
                        <a:pt x="421" y="9"/>
                      </a:lnTo>
                      <a:lnTo>
                        <a:pt x="421" y="10"/>
                      </a:lnTo>
                      <a:lnTo>
                        <a:pt x="420" y="10"/>
                      </a:lnTo>
                      <a:lnTo>
                        <a:pt x="420" y="12"/>
                      </a:lnTo>
                      <a:lnTo>
                        <a:pt x="421" y="12"/>
                      </a:lnTo>
                      <a:lnTo>
                        <a:pt x="420" y="13"/>
                      </a:lnTo>
                      <a:lnTo>
                        <a:pt x="420" y="13"/>
                      </a:lnTo>
                      <a:lnTo>
                        <a:pt x="420" y="14"/>
                      </a:lnTo>
                      <a:lnTo>
                        <a:pt x="420" y="15"/>
                      </a:lnTo>
                      <a:lnTo>
                        <a:pt x="420" y="16"/>
                      </a:lnTo>
                      <a:lnTo>
                        <a:pt x="419" y="17"/>
                      </a:lnTo>
                      <a:lnTo>
                        <a:pt x="420" y="17"/>
                      </a:lnTo>
                      <a:lnTo>
                        <a:pt x="420" y="18"/>
                      </a:lnTo>
                      <a:lnTo>
                        <a:pt x="419" y="18"/>
                      </a:lnTo>
                      <a:lnTo>
                        <a:pt x="419" y="20"/>
                      </a:lnTo>
                      <a:lnTo>
                        <a:pt x="418" y="20"/>
                      </a:lnTo>
                      <a:lnTo>
                        <a:pt x="418" y="21"/>
                      </a:lnTo>
                      <a:lnTo>
                        <a:pt x="417" y="21"/>
                      </a:lnTo>
                      <a:lnTo>
                        <a:pt x="417" y="20"/>
                      </a:lnTo>
                      <a:lnTo>
                        <a:pt x="417" y="20"/>
                      </a:lnTo>
                      <a:lnTo>
                        <a:pt x="417" y="20"/>
                      </a:lnTo>
                      <a:lnTo>
                        <a:pt x="417" y="19"/>
                      </a:lnTo>
                      <a:lnTo>
                        <a:pt x="416" y="19"/>
                      </a:lnTo>
                      <a:lnTo>
                        <a:pt x="415" y="17"/>
                      </a:lnTo>
                      <a:lnTo>
                        <a:pt x="415" y="14"/>
                      </a:lnTo>
                      <a:lnTo>
                        <a:pt x="416" y="13"/>
                      </a:lnTo>
                      <a:lnTo>
                        <a:pt x="416" y="12"/>
                      </a:lnTo>
                      <a:lnTo>
                        <a:pt x="418" y="11"/>
                      </a:lnTo>
                      <a:lnTo>
                        <a:pt x="417" y="11"/>
                      </a:lnTo>
                      <a:lnTo>
                        <a:pt x="417" y="11"/>
                      </a:lnTo>
                      <a:lnTo>
                        <a:pt x="417" y="10"/>
                      </a:lnTo>
                      <a:lnTo>
                        <a:pt x="417" y="9"/>
                      </a:lnTo>
                      <a:lnTo>
                        <a:pt x="416" y="9"/>
                      </a:lnTo>
                      <a:lnTo>
                        <a:pt x="416" y="9"/>
                      </a:lnTo>
                      <a:lnTo>
                        <a:pt x="416" y="9"/>
                      </a:lnTo>
                      <a:lnTo>
                        <a:pt x="416" y="7"/>
                      </a:lnTo>
                      <a:lnTo>
                        <a:pt x="416" y="7"/>
                      </a:lnTo>
                      <a:lnTo>
                        <a:pt x="412" y="7"/>
                      </a:lnTo>
                      <a:lnTo>
                        <a:pt x="410" y="6"/>
                      </a:lnTo>
                      <a:lnTo>
                        <a:pt x="409" y="7"/>
                      </a:lnTo>
                      <a:lnTo>
                        <a:pt x="409" y="7"/>
                      </a:lnTo>
                      <a:lnTo>
                        <a:pt x="408" y="7"/>
                      </a:lnTo>
                      <a:lnTo>
                        <a:pt x="407" y="7"/>
                      </a:lnTo>
                      <a:lnTo>
                        <a:pt x="407" y="7"/>
                      </a:lnTo>
                      <a:lnTo>
                        <a:pt x="406" y="9"/>
                      </a:lnTo>
                      <a:lnTo>
                        <a:pt x="405" y="9"/>
                      </a:lnTo>
                      <a:lnTo>
                        <a:pt x="405" y="9"/>
                      </a:lnTo>
                      <a:lnTo>
                        <a:pt x="404" y="9"/>
                      </a:lnTo>
                      <a:lnTo>
                        <a:pt x="404" y="9"/>
                      </a:lnTo>
                      <a:lnTo>
                        <a:pt x="404" y="9"/>
                      </a:lnTo>
                      <a:lnTo>
                        <a:pt x="403" y="10"/>
                      </a:lnTo>
                      <a:lnTo>
                        <a:pt x="403" y="10"/>
                      </a:lnTo>
                      <a:lnTo>
                        <a:pt x="403" y="9"/>
                      </a:lnTo>
                      <a:lnTo>
                        <a:pt x="402" y="9"/>
                      </a:lnTo>
                      <a:lnTo>
                        <a:pt x="402" y="9"/>
                      </a:lnTo>
                      <a:lnTo>
                        <a:pt x="400" y="9"/>
                      </a:lnTo>
                      <a:lnTo>
                        <a:pt x="399" y="9"/>
                      </a:lnTo>
                      <a:lnTo>
                        <a:pt x="398" y="9"/>
                      </a:lnTo>
                      <a:lnTo>
                        <a:pt x="398" y="7"/>
                      </a:lnTo>
                      <a:lnTo>
                        <a:pt x="398" y="7"/>
                      </a:lnTo>
                      <a:lnTo>
                        <a:pt x="398" y="6"/>
                      </a:lnTo>
                      <a:lnTo>
                        <a:pt x="399" y="6"/>
                      </a:lnTo>
                      <a:lnTo>
                        <a:pt x="399" y="5"/>
                      </a:lnTo>
                      <a:lnTo>
                        <a:pt x="399" y="4"/>
                      </a:lnTo>
                      <a:lnTo>
                        <a:pt x="399" y="4"/>
                      </a:lnTo>
                      <a:lnTo>
                        <a:pt x="400" y="4"/>
                      </a:lnTo>
                      <a:lnTo>
                        <a:pt x="401" y="2"/>
                      </a:lnTo>
                      <a:lnTo>
                        <a:pt x="402" y="2"/>
                      </a:lnTo>
                      <a:lnTo>
                        <a:pt x="402" y="3"/>
                      </a:lnTo>
                      <a:lnTo>
                        <a:pt x="402" y="3"/>
                      </a:lnTo>
                      <a:lnTo>
                        <a:pt x="403" y="2"/>
                      </a:lnTo>
                      <a:lnTo>
                        <a:pt x="403" y="2"/>
                      </a:lnTo>
                      <a:lnTo>
                        <a:pt x="403" y="2"/>
                      </a:lnTo>
                      <a:lnTo>
                        <a:pt x="403" y="2"/>
                      </a:lnTo>
                      <a:lnTo>
                        <a:pt x="404" y="2"/>
                      </a:lnTo>
                      <a:lnTo>
                        <a:pt x="404" y="1"/>
                      </a:lnTo>
                      <a:lnTo>
                        <a:pt x="404" y="1"/>
                      </a:lnTo>
                      <a:lnTo>
                        <a:pt x="404" y="1"/>
                      </a:lnTo>
                      <a:lnTo>
                        <a:pt x="405" y="1"/>
                      </a:lnTo>
                      <a:lnTo>
                        <a:pt x="405" y="1"/>
                      </a:lnTo>
                      <a:lnTo>
                        <a:pt x="406" y="1"/>
                      </a:lnTo>
                      <a:lnTo>
                        <a:pt x="406" y="1"/>
                      </a:lnTo>
                      <a:lnTo>
                        <a:pt x="406" y="1"/>
                      </a:lnTo>
                      <a:lnTo>
                        <a:pt x="406" y="1"/>
                      </a:lnTo>
                      <a:lnTo>
                        <a:pt x="407" y="0"/>
                      </a:lnTo>
                      <a:close/>
                    </a:path>
                  </a:pathLst>
                </a:custGeom>
                <a:grpFill/>
                <a:ln w="317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900" dirty="0"/>
                </a:p>
              </p:txBody>
            </p:sp>
            <p:sp>
              <p:nvSpPr>
                <p:cNvPr id="140" name="Isle of Man" descr="{&quot;Key&quot;:&quot;isle of man&quot;,&quot;Name&quot;:&quot;Isle of Man&quot;,&quot;Value&quot;:1.0,&quot;Formula&quot;:&quot;&quot;,&quot;Text&quot;:&quot;1&quot;,&quot;HasValue&quot;:true}">
                  <a:extLst>
                    <a:ext uri="{FF2B5EF4-FFF2-40B4-BE49-F238E27FC236}">
                      <a16:creationId xmlns:a16="http://schemas.microsoft.com/office/drawing/2014/main" id="{47E0155F-9CE3-5D8C-8D20-8C91EEA33083}"/>
                    </a:ext>
                  </a:extLst>
                </p:cNvPr>
                <p:cNvSpPr>
                  <a:spLocks noEditPoints="1"/>
                </p:cNvSpPr>
                <p:nvPr/>
              </p:nvSpPr>
              <p:spPr bwMode="auto">
                <a:xfrm>
                  <a:off x="5940425" y="4021138"/>
                  <a:ext cx="173038" cy="212725"/>
                </a:xfrm>
                <a:custGeom>
                  <a:avLst/>
                  <a:gdLst>
                    <a:gd name="T0" fmla="*/ 4 w 109"/>
                    <a:gd name="T1" fmla="*/ 133 h 134"/>
                    <a:gd name="T2" fmla="*/ 2 w 109"/>
                    <a:gd name="T3" fmla="*/ 134 h 134"/>
                    <a:gd name="T4" fmla="*/ 0 w 109"/>
                    <a:gd name="T5" fmla="*/ 131 h 134"/>
                    <a:gd name="T6" fmla="*/ 4 w 109"/>
                    <a:gd name="T7" fmla="*/ 128 h 134"/>
                    <a:gd name="T8" fmla="*/ 93 w 109"/>
                    <a:gd name="T9" fmla="*/ 34 h 134"/>
                    <a:gd name="T10" fmla="*/ 93 w 109"/>
                    <a:gd name="T11" fmla="*/ 35 h 134"/>
                    <a:gd name="T12" fmla="*/ 95 w 109"/>
                    <a:gd name="T13" fmla="*/ 36 h 134"/>
                    <a:gd name="T14" fmla="*/ 100 w 109"/>
                    <a:gd name="T15" fmla="*/ 39 h 134"/>
                    <a:gd name="T16" fmla="*/ 108 w 109"/>
                    <a:gd name="T17" fmla="*/ 41 h 134"/>
                    <a:gd name="T18" fmla="*/ 108 w 109"/>
                    <a:gd name="T19" fmla="*/ 45 h 134"/>
                    <a:gd name="T20" fmla="*/ 106 w 109"/>
                    <a:gd name="T21" fmla="*/ 48 h 134"/>
                    <a:gd name="T22" fmla="*/ 103 w 109"/>
                    <a:gd name="T23" fmla="*/ 53 h 134"/>
                    <a:gd name="T24" fmla="*/ 100 w 109"/>
                    <a:gd name="T25" fmla="*/ 50 h 134"/>
                    <a:gd name="T26" fmla="*/ 99 w 109"/>
                    <a:gd name="T27" fmla="*/ 60 h 134"/>
                    <a:gd name="T28" fmla="*/ 97 w 109"/>
                    <a:gd name="T29" fmla="*/ 65 h 134"/>
                    <a:gd name="T30" fmla="*/ 92 w 109"/>
                    <a:gd name="T31" fmla="*/ 70 h 134"/>
                    <a:gd name="T32" fmla="*/ 92 w 109"/>
                    <a:gd name="T33" fmla="*/ 78 h 134"/>
                    <a:gd name="T34" fmla="*/ 89 w 109"/>
                    <a:gd name="T35" fmla="*/ 86 h 134"/>
                    <a:gd name="T36" fmla="*/ 83 w 109"/>
                    <a:gd name="T37" fmla="*/ 90 h 134"/>
                    <a:gd name="T38" fmla="*/ 76 w 109"/>
                    <a:gd name="T39" fmla="*/ 91 h 134"/>
                    <a:gd name="T40" fmla="*/ 75 w 109"/>
                    <a:gd name="T41" fmla="*/ 97 h 134"/>
                    <a:gd name="T42" fmla="*/ 74 w 109"/>
                    <a:gd name="T43" fmla="*/ 101 h 134"/>
                    <a:gd name="T44" fmla="*/ 66 w 109"/>
                    <a:gd name="T45" fmla="*/ 105 h 134"/>
                    <a:gd name="T46" fmla="*/ 63 w 109"/>
                    <a:gd name="T47" fmla="*/ 106 h 134"/>
                    <a:gd name="T48" fmla="*/ 58 w 109"/>
                    <a:gd name="T49" fmla="*/ 114 h 134"/>
                    <a:gd name="T50" fmla="*/ 49 w 109"/>
                    <a:gd name="T51" fmla="*/ 116 h 134"/>
                    <a:gd name="T52" fmla="*/ 47 w 109"/>
                    <a:gd name="T53" fmla="*/ 117 h 134"/>
                    <a:gd name="T54" fmla="*/ 45 w 109"/>
                    <a:gd name="T55" fmla="*/ 122 h 134"/>
                    <a:gd name="T56" fmla="*/ 44 w 109"/>
                    <a:gd name="T57" fmla="*/ 125 h 134"/>
                    <a:gd name="T58" fmla="*/ 47 w 109"/>
                    <a:gd name="T59" fmla="*/ 124 h 134"/>
                    <a:gd name="T60" fmla="*/ 43 w 109"/>
                    <a:gd name="T61" fmla="*/ 131 h 134"/>
                    <a:gd name="T62" fmla="*/ 43 w 109"/>
                    <a:gd name="T63" fmla="*/ 128 h 134"/>
                    <a:gd name="T64" fmla="*/ 40 w 109"/>
                    <a:gd name="T65" fmla="*/ 123 h 134"/>
                    <a:gd name="T66" fmla="*/ 35 w 109"/>
                    <a:gd name="T67" fmla="*/ 126 h 134"/>
                    <a:gd name="T68" fmla="*/ 34 w 109"/>
                    <a:gd name="T69" fmla="*/ 127 h 134"/>
                    <a:gd name="T70" fmla="*/ 31 w 109"/>
                    <a:gd name="T71" fmla="*/ 124 h 134"/>
                    <a:gd name="T72" fmla="*/ 29 w 109"/>
                    <a:gd name="T73" fmla="*/ 122 h 134"/>
                    <a:gd name="T74" fmla="*/ 24 w 109"/>
                    <a:gd name="T75" fmla="*/ 120 h 134"/>
                    <a:gd name="T76" fmla="*/ 20 w 109"/>
                    <a:gd name="T77" fmla="*/ 122 h 134"/>
                    <a:gd name="T78" fmla="*/ 19 w 109"/>
                    <a:gd name="T79" fmla="*/ 125 h 134"/>
                    <a:gd name="T80" fmla="*/ 16 w 109"/>
                    <a:gd name="T81" fmla="*/ 125 h 134"/>
                    <a:gd name="T82" fmla="*/ 12 w 109"/>
                    <a:gd name="T83" fmla="*/ 128 h 134"/>
                    <a:gd name="T84" fmla="*/ 9 w 109"/>
                    <a:gd name="T85" fmla="*/ 128 h 134"/>
                    <a:gd name="T86" fmla="*/ 7 w 109"/>
                    <a:gd name="T87" fmla="*/ 126 h 134"/>
                    <a:gd name="T88" fmla="*/ 12 w 109"/>
                    <a:gd name="T89" fmla="*/ 120 h 134"/>
                    <a:gd name="T90" fmla="*/ 11 w 109"/>
                    <a:gd name="T91" fmla="*/ 118 h 134"/>
                    <a:gd name="T92" fmla="*/ 11 w 109"/>
                    <a:gd name="T93" fmla="*/ 114 h 134"/>
                    <a:gd name="T94" fmla="*/ 15 w 109"/>
                    <a:gd name="T95" fmla="*/ 111 h 134"/>
                    <a:gd name="T96" fmla="*/ 19 w 109"/>
                    <a:gd name="T97" fmla="*/ 105 h 134"/>
                    <a:gd name="T98" fmla="*/ 19 w 109"/>
                    <a:gd name="T99" fmla="*/ 98 h 134"/>
                    <a:gd name="T100" fmla="*/ 18 w 109"/>
                    <a:gd name="T101" fmla="*/ 88 h 134"/>
                    <a:gd name="T102" fmla="*/ 22 w 109"/>
                    <a:gd name="T103" fmla="*/ 82 h 134"/>
                    <a:gd name="T104" fmla="*/ 22 w 109"/>
                    <a:gd name="T105" fmla="*/ 75 h 134"/>
                    <a:gd name="T106" fmla="*/ 27 w 109"/>
                    <a:gd name="T107" fmla="*/ 70 h 134"/>
                    <a:gd name="T108" fmla="*/ 28 w 109"/>
                    <a:gd name="T109" fmla="*/ 70 h 134"/>
                    <a:gd name="T110" fmla="*/ 33 w 109"/>
                    <a:gd name="T111" fmla="*/ 67 h 134"/>
                    <a:gd name="T112" fmla="*/ 40 w 109"/>
                    <a:gd name="T113" fmla="*/ 60 h 134"/>
                    <a:gd name="T114" fmla="*/ 50 w 109"/>
                    <a:gd name="T115" fmla="*/ 42 h 134"/>
                    <a:gd name="T116" fmla="*/ 58 w 109"/>
                    <a:gd name="T117" fmla="*/ 22 h 134"/>
                    <a:gd name="T118" fmla="*/ 78 w 109"/>
                    <a:gd name="T119" fmla="*/ 6 h 134"/>
                    <a:gd name="T120" fmla="*/ 97 w 109"/>
                    <a:gd name="T121" fmla="*/ 1 h 134"/>
                    <a:gd name="T122" fmla="*/ 93 w 109"/>
                    <a:gd name="T123" fmla="*/ 3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 h="134">
                      <a:moveTo>
                        <a:pt x="5" y="128"/>
                      </a:moveTo>
                      <a:lnTo>
                        <a:pt x="6" y="129"/>
                      </a:lnTo>
                      <a:lnTo>
                        <a:pt x="6" y="130"/>
                      </a:lnTo>
                      <a:lnTo>
                        <a:pt x="4" y="132"/>
                      </a:lnTo>
                      <a:lnTo>
                        <a:pt x="4" y="133"/>
                      </a:lnTo>
                      <a:lnTo>
                        <a:pt x="3" y="133"/>
                      </a:lnTo>
                      <a:lnTo>
                        <a:pt x="3" y="134"/>
                      </a:lnTo>
                      <a:lnTo>
                        <a:pt x="2" y="133"/>
                      </a:lnTo>
                      <a:lnTo>
                        <a:pt x="2" y="133"/>
                      </a:lnTo>
                      <a:lnTo>
                        <a:pt x="2" y="134"/>
                      </a:lnTo>
                      <a:lnTo>
                        <a:pt x="2" y="133"/>
                      </a:lnTo>
                      <a:lnTo>
                        <a:pt x="1" y="134"/>
                      </a:lnTo>
                      <a:lnTo>
                        <a:pt x="1" y="134"/>
                      </a:lnTo>
                      <a:lnTo>
                        <a:pt x="0" y="133"/>
                      </a:lnTo>
                      <a:lnTo>
                        <a:pt x="0" y="131"/>
                      </a:lnTo>
                      <a:lnTo>
                        <a:pt x="0" y="129"/>
                      </a:lnTo>
                      <a:lnTo>
                        <a:pt x="2" y="128"/>
                      </a:lnTo>
                      <a:lnTo>
                        <a:pt x="3" y="129"/>
                      </a:lnTo>
                      <a:lnTo>
                        <a:pt x="4" y="128"/>
                      </a:lnTo>
                      <a:lnTo>
                        <a:pt x="4" y="128"/>
                      </a:lnTo>
                      <a:lnTo>
                        <a:pt x="5" y="128"/>
                      </a:lnTo>
                      <a:close/>
                      <a:moveTo>
                        <a:pt x="93" y="32"/>
                      </a:moveTo>
                      <a:lnTo>
                        <a:pt x="94" y="34"/>
                      </a:lnTo>
                      <a:lnTo>
                        <a:pt x="94" y="34"/>
                      </a:lnTo>
                      <a:lnTo>
                        <a:pt x="93" y="34"/>
                      </a:lnTo>
                      <a:lnTo>
                        <a:pt x="92" y="32"/>
                      </a:lnTo>
                      <a:lnTo>
                        <a:pt x="92" y="32"/>
                      </a:lnTo>
                      <a:lnTo>
                        <a:pt x="93" y="34"/>
                      </a:lnTo>
                      <a:lnTo>
                        <a:pt x="93" y="35"/>
                      </a:lnTo>
                      <a:lnTo>
                        <a:pt x="93" y="35"/>
                      </a:lnTo>
                      <a:lnTo>
                        <a:pt x="94" y="34"/>
                      </a:lnTo>
                      <a:lnTo>
                        <a:pt x="95" y="34"/>
                      </a:lnTo>
                      <a:lnTo>
                        <a:pt x="94" y="35"/>
                      </a:lnTo>
                      <a:lnTo>
                        <a:pt x="94" y="35"/>
                      </a:lnTo>
                      <a:lnTo>
                        <a:pt x="95" y="36"/>
                      </a:lnTo>
                      <a:lnTo>
                        <a:pt x="96" y="35"/>
                      </a:lnTo>
                      <a:lnTo>
                        <a:pt x="97" y="35"/>
                      </a:lnTo>
                      <a:lnTo>
                        <a:pt x="95" y="36"/>
                      </a:lnTo>
                      <a:lnTo>
                        <a:pt x="96" y="37"/>
                      </a:lnTo>
                      <a:lnTo>
                        <a:pt x="100" y="39"/>
                      </a:lnTo>
                      <a:lnTo>
                        <a:pt x="100" y="39"/>
                      </a:lnTo>
                      <a:lnTo>
                        <a:pt x="100" y="38"/>
                      </a:lnTo>
                      <a:lnTo>
                        <a:pt x="102" y="40"/>
                      </a:lnTo>
                      <a:lnTo>
                        <a:pt x="104" y="40"/>
                      </a:lnTo>
                      <a:lnTo>
                        <a:pt x="108" y="41"/>
                      </a:lnTo>
                      <a:lnTo>
                        <a:pt x="108" y="42"/>
                      </a:lnTo>
                      <a:lnTo>
                        <a:pt x="109" y="43"/>
                      </a:lnTo>
                      <a:lnTo>
                        <a:pt x="109" y="44"/>
                      </a:lnTo>
                      <a:lnTo>
                        <a:pt x="109" y="44"/>
                      </a:lnTo>
                      <a:lnTo>
                        <a:pt x="108" y="45"/>
                      </a:lnTo>
                      <a:lnTo>
                        <a:pt x="108" y="46"/>
                      </a:lnTo>
                      <a:lnTo>
                        <a:pt x="107" y="46"/>
                      </a:lnTo>
                      <a:lnTo>
                        <a:pt x="106" y="45"/>
                      </a:lnTo>
                      <a:lnTo>
                        <a:pt x="106" y="45"/>
                      </a:lnTo>
                      <a:lnTo>
                        <a:pt x="106" y="48"/>
                      </a:lnTo>
                      <a:lnTo>
                        <a:pt x="106" y="49"/>
                      </a:lnTo>
                      <a:lnTo>
                        <a:pt x="105" y="51"/>
                      </a:lnTo>
                      <a:lnTo>
                        <a:pt x="104" y="51"/>
                      </a:lnTo>
                      <a:lnTo>
                        <a:pt x="104" y="52"/>
                      </a:lnTo>
                      <a:lnTo>
                        <a:pt x="103" y="53"/>
                      </a:lnTo>
                      <a:lnTo>
                        <a:pt x="102" y="55"/>
                      </a:lnTo>
                      <a:lnTo>
                        <a:pt x="102" y="55"/>
                      </a:lnTo>
                      <a:lnTo>
                        <a:pt x="101" y="54"/>
                      </a:lnTo>
                      <a:lnTo>
                        <a:pt x="100" y="50"/>
                      </a:lnTo>
                      <a:lnTo>
                        <a:pt x="100" y="50"/>
                      </a:lnTo>
                      <a:lnTo>
                        <a:pt x="100" y="53"/>
                      </a:lnTo>
                      <a:lnTo>
                        <a:pt x="102" y="55"/>
                      </a:lnTo>
                      <a:lnTo>
                        <a:pt x="102" y="56"/>
                      </a:lnTo>
                      <a:lnTo>
                        <a:pt x="100" y="58"/>
                      </a:lnTo>
                      <a:lnTo>
                        <a:pt x="99" y="60"/>
                      </a:lnTo>
                      <a:lnTo>
                        <a:pt x="99" y="60"/>
                      </a:lnTo>
                      <a:lnTo>
                        <a:pt x="96" y="61"/>
                      </a:lnTo>
                      <a:lnTo>
                        <a:pt x="96" y="64"/>
                      </a:lnTo>
                      <a:lnTo>
                        <a:pt x="97" y="64"/>
                      </a:lnTo>
                      <a:lnTo>
                        <a:pt x="97" y="65"/>
                      </a:lnTo>
                      <a:lnTo>
                        <a:pt x="96" y="68"/>
                      </a:lnTo>
                      <a:lnTo>
                        <a:pt x="93" y="70"/>
                      </a:lnTo>
                      <a:lnTo>
                        <a:pt x="92" y="70"/>
                      </a:lnTo>
                      <a:lnTo>
                        <a:pt x="92" y="69"/>
                      </a:lnTo>
                      <a:lnTo>
                        <a:pt x="92" y="70"/>
                      </a:lnTo>
                      <a:lnTo>
                        <a:pt x="91" y="71"/>
                      </a:lnTo>
                      <a:lnTo>
                        <a:pt x="90" y="73"/>
                      </a:lnTo>
                      <a:lnTo>
                        <a:pt x="90" y="77"/>
                      </a:lnTo>
                      <a:lnTo>
                        <a:pt x="90" y="77"/>
                      </a:lnTo>
                      <a:lnTo>
                        <a:pt x="92" y="78"/>
                      </a:lnTo>
                      <a:lnTo>
                        <a:pt x="92" y="79"/>
                      </a:lnTo>
                      <a:lnTo>
                        <a:pt x="92" y="80"/>
                      </a:lnTo>
                      <a:lnTo>
                        <a:pt x="92" y="81"/>
                      </a:lnTo>
                      <a:lnTo>
                        <a:pt x="90" y="83"/>
                      </a:lnTo>
                      <a:lnTo>
                        <a:pt x="89" y="86"/>
                      </a:lnTo>
                      <a:lnTo>
                        <a:pt x="86" y="87"/>
                      </a:lnTo>
                      <a:lnTo>
                        <a:pt x="86" y="87"/>
                      </a:lnTo>
                      <a:lnTo>
                        <a:pt x="85" y="89"/>
                      </a:lnTo>
                      <a:lnTo>
                        <a:pt x="85" y="89"/>
                      </a:lnTo>
                      <a:lnTo>
                        <a:pt x="83" y="90"/>
                      </a:lnTo>
                      <a:lnTo>
                        <a:pt x="82" y="90"/>
                      </a:lnTo>
                      <a:lnTo>
                        <a:pt x="81" y="89"/>
                      </a:lnTo>
                      <a:lnTo>
                        <a:pt x="80" y="91"/>
                      </a:lnTo>
                      <a:lnTo>
                        <a:pt x="77" y="90"/>
                      </a:lnTo>
                      <a:lnTo>
                        <a:pt x="76" y="91"/>
                      </a:lnTo>
                      <a:lnTo>
                        <a:pt x="75" y="93"/>
                      </a:lnTo>
                      <a:lnTo>
                        <a:pt x="74" y="94"/>
                      </a:lnTo>
                      <a:lnTo>
                        <a:pt x="74" y="95"/>
                      </a:lnTo>
                      <a:lnTo>
                        <a:pt x="75" y="97"/>
                      </a:lnTo>
                      <a:lnTo>
                        <a:pt x="75" y="97"/>
                      </a:lnTo>
                      <a:lnTo>
                        <a:pt x="76" y="98"/>
                      </a:lnTo>
                      <a:lnTo>
                        <a:pt x="76" y="97"/>
                      </a:lnTo>
                      <a:lnTo>
                        <a:pt x="76" y="98"/>
                      </a:lnTo>
                      <a:lnTo>
                        <a:pt x="76" y="99"/>
                      </a:lnTo>
                      <a:lnTo>
                        <a:pt x="74" y="101"/>
                      </a:lnTo>
                      <a:lnTo>
                        <a:pt x="72" y="103"/>
                      </a:lnTo>
                      <a:lnTo>
                        <a:pt x="69" y="105"/>
                      </a:lnTo>
                      <a:lnTo>
                        <a:pt x="67" y="105"/>
                      </a:lnTo>
                      <a:lnTo>
                        <a:pt x="67" y="105"/>
                      </a:lnTo>
                      <a:lnTo>
                        <a:pt x="66" y="105"/>
                      </a:lnTo>
                      <a:lnTo>
                        <a:pt x="66" y="105"/>
                      </a:lnTo>
                      <a:lnTo>
                        <a:pt x="65" y="106"/>
                      </a:lnTo>
                      <a:lnTo>
                        <a:pt x="65" y="105"/>
                      </a:lnTo>
                      <a:lnTo>
                        <a:pt x="64" y="106"/>
                      </a:lnTo>
                      <a:lnTo>
                        <a:pt x="63" y="106"/>
                      </a:lnTo>
                      <a:lnTo>
                        <a:pt x="63" y="107"/>
                      </a:lnTo>
                      <a:lnTo>
                        <a:pt x="63" y="109"/>
                      </a:lnTo>
                      <a:lnTo>
                        <a:pt x="61" y="111"/>
                      </a:lnTo>
                      <a:lnTo>
                        <a:pt x="59" y="113"/>
                      </a:lnTo>
                      <a:lnTo>
                        <a:pt x="58" y="114"/>
                      </a:lnTo>
                      <a:lnTo>
                        <a:pt x="54" y="114"/>
                      </a:lnTo>
                      <a:lnTo>
                        <a:pt x="52" y="114"/>
                      </a:lnTo>
                      <a:lnTo>
                        <a:pt x="52" y="114"/>
                      </a:lnTo>
                      <a:lnTo>
                        <a:pt x="50" y="115"/>
                      </a:lnTo>
                      <a:lnTo>
                        <a:pt x="49" y="116"/>
                      </a:lnTo>
                      <a:lnTo>
                        <a:pt x="48" y="116"/>
                      </a:lnTo>
                      <a:lnTo>
                        <a:pt x="48" y="117"/>
                      </a:lnTo>
                      <a:lnTo>
                        <a:pt x="48" y="118"/>
                      </a:lnTo>
                      <a:lnTo>
                        <a:pt x="47" y="118"/>
                      </a:lnTo>
                      <a:lnTo>
                        <a:pt x="47" y="117"/>
                      </a:lnTo>
                      <a:lnTo>
                        <a:pt x="47" y="118"/>
                      </a:lnTo>
                      <a:lnTo>
                        <a:pt x="46" y="119"/>
                      </a:lnTo>
                      <a:lnTo>
                        <a:pt x="46" y="119"/>
                      </a:lnTo>
                      <a:lnTo>
                        <a:pt x="45" y="121"/>
                      </a:lnTo>
                      <a:lnTo>
                        <a:pt x="45" y="122"/>
                      </a:lnTo>
                      <a:lnTo>
                        <a:pt x="44" y="122"/>
                      </a:lnTo>
                      <a:lnTo>
                        <a:pt x="44" y="122"/>
                      </a:lnTo>
                      <a:lnTo>
                        <a:pt x="43" y="123"/>
                      </a:lnTo>
                      <a:lnTo>
                        <a:pt x="43" y="124"/>
                      </a:lnTo>
                      <a:lnTo>
                        <a:pt x="44" y="125"/>
                      </a:lnTo>
                      <a:lnTo>
                        <a:pt x="45" y="125"/>
                      </a:lnTo>
                      <a:lnTo>
                        <a:pt x="46" y="124"/>
                      </a:lnTo>
                      <a:lnTo>
                        <a:pt x="47" y="123"/>
                      </a:lnTo>
                      <a:lnTo>
                        <a:pt x="47" y="124"/>
                      </a:lnTo>
                      <a:lnTo>
                        <a:pt x="47" y="124"/>
                      </a:lnTo>
                      <a:lnTo>
                        <a:pt x="46" y="124"/>
                      </a:lnTo>
                      <a:lnTo>
                        <a:pt x="46" y="125"/>
                      </a:lnTo>
                      <a:lnTo>
                        <a:pt x="44" y="128"/>
                      </a:lnTo>
                      <a:lnTo>
                        <a:pt x="44" y="128"/>
                      </a:lnTo>
                      <a:lnTo>
                        <a:pt x="43" y="131"/>
                      </a:lnTo>
                      <a:lnTo>
                        <a:pt x="42" y="131"/>
                      </a:lnTo>
                      <a:lnTo>
                        <a:pt x="42" y="130"/>
                      </a:lnTo>
                      <a:lnTo>
                        <a:pt x="41" y="130"/>
                      </a:lnTo>
                      <a:lnTo>
                        <a:pt x="42" y="130"/>
                      </a:lnTo>
                      <a:lnTo>
                        <a:pt x="43" y="128"/>
                      </a:lnTo>
                      <a:lnTo>
                        <a:pt x="43" y="127"/>
                      </a:lnTo>
                      <a:lnTo>
                        <a:pt x="43" y="126"/>
                      </a:lnTo>
                      <a:lnTo>
                        <a:pt x="42" y="124"/>
                      </a:lnTo>
                      <a:lnTo>
                        <a:pt x="41" y="123"/>
                      </a:lnTo>
                      <a:lnTo>
                        <a:pt x="40" y="123"/>
                      </a:lnTo>
                      <a:lnTo>
                        <a:pt x="38" y="123"/>
                      </a:lnTo>
                      <a:lnTo>
                        <a:pt x="38" y="123"/>
                      </a:lnTo>
                      <a:lnTo>
                        <a:pt x="37" y="124"/>
                      </a:lnTo>
                      <a:lnTo>
                        <a:pt x="36" y="125"/>
                      </a:lnTo>
                      <a:lnTo>
                        <a:pt x="35" y="126"/>
                      </a:lnTo>
                      <a:lnTo>
                        <a:pt x="35" y="126"/>
                      </a:lnTo>
                      <a:lnTo>
                        <a:pt x="35" y="127"/>
                      </a:lnTo>
                      <a:lnTo>
                        <a:pt x="35" y="127"/>
                      </a:lnTo>
                      <a:lnTo>
                        <a:pt x="35" y="127"/>
                      </a:lnTo>
                      <a:lnTo>
                        <a:pt x="34" y="127"/>
                      </a:lnTo>
                      <a:lnTo>
                        <a:pt x="34" y="128"/>
                      </a:lnTo>
                      <a:lnTo>
                        <a:pt x="33" y="127"/>
                      </a:lnTo>
                      <a:lnTo>
                        <a:pt x="31" y="126"/>
                      </a:lnTo>
                      <a:lnTo>
                        <a:pt x="31" y="125"/>
                      </a:lnTo>
                      <a:lnTo>
                        <a:pt x="31" y="124"/>
                      </a:lnTo>
                      <a:lnTo>
                        <a:pt x="31" y="124"/>
                      </a:lnTo>
                      <a:lnTo>
                        <a:pt x="30" y="124"/>
                      </a:lnTo>
                      <a:lnTo>
                        <a:pt x="30" y="123"/>
                      </a:lnTo>
                      <a:lnTo>
                        <a:pt x="30" y="123"/>
                      </a:lnTo>
                      <a:lnTo>
                        <a:pt x="29" y="122"/>
                      </a:lnTo>
                      <a:lnTo>
                        <a:pt x="29" y="122"/>
                      </a:lnTo>
                      <a:lnTo>
                        <a:pt x="29" y="121"/>
                      </a:lnTo>
                      <a:lnTo>
                        <a:pt x="27" y="120"/>
                      </a:lnTo>
                      <a:lnTo>
                        <a:pt x="25" y="120"/>
                      </a:lnTo>
                      <a:lnTo>
                        <a:pt x="24" y="120"/>
                      </a:lnTo>
                      <a:lnTo>
                        <a:pt x="22" y="120"/>
                      </a:lnTo>
                      <a:lnTo>
                        <a:pt x="21" y="120"/>
                      </a:lnTo>
                      <a:lnTo>
                        <a:pt x="20" y="121"/>
                      </a:lnTo>
                      <a:lnTo>
                        <a:pt x="20" y="122"/>
                      </a:lnTo>
                      <a:lnTo>
                        <a:pt x="20" y="122"/>
                      </a:lnTo>
                      <a:lnTo>
                        <a:pt x="19" y="122"/>
                      </a:lnTo>
                      <a:lnTo>
                        <a:pt x="19" y="122"/>
                      </a:lnTo>
                      <a:lnTo>
                        <a:pt x="18" y="124"/>
                      </a:lnTo>
                      <a:lnTo>
                        <a:pt x="19" y="124"/>
                      </a:lnTo>
                      <a:lnTo>
                        <a:pt x="19" y="125"/>
                      </a:lnTo>
                      <a:lnTo>
                        <a:pt x="19" y="125"/>
                      </a:lnTo>
                      <a:lnTo>
                        <a:pt x="19" y="126"/>
                      </a:lnTo>
                      <a:lnTo>
                        <a:pt x="18" y="126"/>
                      </a:lnTo>
                      <a:lnTo>
                        <a:pt x="17" y="125"/>
                      </a:lnTo>
                      <a:lnTo>
                        <a:pt x="16" y="125"/>
                      </a:lnTo>
                      <a:lnTo>
                        <a:pt x="15" y="127"/>
                      </a:lnTo>
                      <a:lnTo>
                        <a:pt x="15" y="128"/>
                      </a:lnTo>
                      <a:lnTo>
                        <a:pt x="15" y="128"/>
                      </a:lnTo>
                      <a:lnTo>
                        <a:pt x="13" y="128"/>
                      </a:lnTo>
                      <a:lnTo>
                        <a:pt x="12" y="128"/>
                      </a:lnTo>
                      <a:lnTo>
                        <a:pt x="11" y="129"/>
                      </a:lnTo>
                      <a:lnTo>
                        <a:pt x="11" y="130"/>
                      </a:lnTo>
                      <a:lnTo>
                        <a:pt x="10" y="130"/>
                      </a:lnTo>
                      <a:lnTo>
                        <a:pt x="9" y="128"/>
                      </a:lnTo>
                      <a:lnTo>
                        <a:pt x="9" y="128"/>
                      </a:lnTo>
                      <a:lnTo>
                        <a:pt x="8" y="128"/>
                      </a:lnTo>
                      <a:lnTo>
                        <a:pt x="8" y="128"/>
                      </a:lnTo>
                      <a:lnTo>
                        <a:pt x="7" y="127"/>
                      </a:lnTo>
                      <a:lnTo>
                        <a:pt x="7" y="126"/>
                      </a:lnTo>
                      <a:lnTo>
                        <a:pt x="7" y="126"/>
                      </a:lnTo>
                      <a:lnTo>
                        <a:pt x="8" y="125"/>
                      </a:lnTo>
                      <a:lnTo>
                        <a:pt x="8" y="124"/>
                      </a:lnTo>
                      <a:lnTo>
                        <a:pt x="10" y="123"/>
                      </a:lnTo>
                      <a:lnTo>
                        <a:pt x="12" y="120"/>
                      </a:lnTo>
                      <a:lnTo>
                        <a:pt x="12" y="120"/>
                      </a:lnTo>
                      <a:lnTo>
                        <a:pt x="14" y="120"/>
                      </a:lnTo>
                      <a:lnTo>
                        <a:pt x="14" y="119"/>
                      </a:lnTo>
                      <a:lnTo>
                        <a:pt x="13" y="118"/>
                      </a:lnTo>
                      <a:lnTo>
                        <a:pt x="13" y="118"/>
                      </a:lnTo>
                      <a:lnTo>
                        <a:pt x="11" y="118"/>
                      </a:lnTo>
                      <a:lnTo>
                        <a:pt x="10" y="117"/>
                      </a:lnTo>
                      <a:lnTo>
                        <a:pt x="10" y="116"/>
                      </a:lnTo>
                      <a:lnTo>
                        <a:pt x="10" y="115"/>
                      </a:lnTo>
                      <a:lnTo>
                        <a:pt x="11" y="115"/>
                      </a:lnTo>
                      <a:lnTo>
                        <a:pt x="11" y="114"/>
                      </a:lnTo>
                      <a:lnTo>
                        <a:pt x="11" y="113"/>
                      </a:lnTo>
                      <a:lnTo>
                        <a:pt x="12" y="112"/>
                      </a:lnTo>
                      <a:lnTo>
                        <a:pt x="14" y="112"/>
                      </a:lnTo>
                      <a:lnTo>
                        <a:pt x="15" y="111"/>
                      </a:lnTo>
                      <a:lnTo>
                        <a:pt x="15" y="111"/>
                      </a:lnTo>
                      <a:lnTo>
                        <a:pt x="15" y="112"/>
                      </a:lnTo>
                      <a:lnTo>
                        <a:pt x="16" y="112"/>
                      </a:lnTo>
                      <a:lnTo>
                        <a:pt x="16" y="108"/>
                      </a:lnTo>
                      <a:lnTo>
                        <a:pt x="17" y="107"/>
                      </a:lnTo>
                      <a:lnTo>
                        <a:pt x="19" y="105"/>
                      </a:lnTo>
                      <a:lnTo>
                        <a:pt x="19" y="103"/>
                      </a:lnTo>
                      <a:lnTo>
                        <a:pt x="19" y="102"/>
                      </a:lnTo>
                      <a:lnTo>
                        <a:pt x="20" y="101"/>
                      </a:lnTo>
                      <a:lnTo>
                        <a:pt x="20" y="98"/>
                      </a:lnTo>
                      <a:lnTo>
                        <a:pt x="19" y="98"/>
                      </a:lnTo>
                      <a:lnTo>
                        <a:pt x="20" y="95"/>
                      </a:lnTo>
                      <a:lnTo>
                        <a:pt x="18" y="91"/>
                      </a:lnTo>
                      <a:lnTo>
                        <a:pt x="18" y="89"/>
                      </a:lnTo>
                      <a:lnTo>
                        <a:pt x="18" y="89"/>
                      </a:lnTo>
                      <a:lnTo>
                        <a:pt x="18" y="88"/>
                      </a:lnTo>
                      <a:lnTo>
                        <a:pt x="18" y="88"/>
                      </a:lnTo>
                      <a:lnTo>
                        <a:pt x="19" y="87"/>
                      </a:lnTo>
                      <a:lnTo>
                        <a:pt x="20" y="86"/>
                      </a:lnTo>
                      <a:lnTo>
                        <a:pt x="22" y="83"/>
                      </a:lnTo>
                      <a:lnTo>
                        <a:pt x="22" y="82"/>
                      </a:lnTo>
                      <a:lnTo>
                        <a:pt x="22" y="81"/>
                      </a:lnTo>
                      <a:lnTo>
                        <a:pt x="22" y="80"/>
                      </a:lnTo>
                      <a:lnTo>
                        <a:pt x="24" y="78"/>
                      </a:lnTo>
                      <a:lnTo>
                        <a:pt x="24" y="78"/>
                      </a:lnTo>
                      <a:lnTo>
                        <a:pt x="22" y="75"/>
                      </a:lnTo>
                      <a:lnTo>
                        <a:pt x="22" y="75"/>
                      </a:lnTo>
                      <a:lnTo>
                        <a:pt x="25" y="73"/>
                      </a:lnTo>
                      <a:lnTo>
                        <a:pt x="25" y="72"/>
                      </a:lnTo>
                      <a:lnTo>
                        <a:pt x="26" y="71"/>
                      </a:lnTo>
                      <a:lnTo>
                        <a:pt x="27" y="70"/>
                      </a:lnTo>
                      <a:lnTo>
                        <a:pt x="27" y="69"/>
                      </a:lnTo>
                      <a:lnTo>
                        <a:pt x="28" y="69"/>
                      </a:lnTo>
                      <a:lnTo>
                        <a:pt x="27" y="70"/>
                      </a:lnTo>
                      <a:lnTo>
                        <a:pt x="27" y="70"/>
                      </a:lnTo>
                      <a:lnTo>
                        <a:pt x="28" y="70"/>
                      </a:lnTo>
                      <a:lnTo>
                        <a:pt x="29" y="70"/>
                      </a:lnTo>
                      <a:lnTo>
                        <a:pt x="30" y="69"/>
                      </a:lnTo>
                      <a:lnTo>
                        <a:pt x="31" y="68"/>
                      </a:lnTo>
                      <a:lnTo>
                        <a:pt x="31" y="68"/>
                      </a:lnTo>
                      <a:lnTo>
                        <a:pt x="33" y="67"/>
                      </a:lnTo>
                      <a:lnTo>
                        <a:pt x="35" y="66"/>
                      </a:lnTo>
                      <a:lnTo>
                        <a:pt x="36" y="65"/>
                      </a:lnTo>
                      <a:lnTo>
                        <a:pt x="36" y="64"/>
                      </a:lnTo>
                      <a:lnTo>
                        <a:pt x="38" y="60"/>
                      </a:lnTo>
                      <a:lnTo>
                        <a:pt x="40" y="60"/>
                      </a:lnTo>
                      <a:lnTo>
                        <a:pt x="40" y="59"/>
                      </a:lnTo>
                      <a:lnTo>
                        <a:pt x="42" y="57"/>
                      </a:lnTo>
                      <a:lnTo>
                        <a:pt x="45" y="53"/>
                      </a:lnTo>
                      <a:lnTo>
                        <a:pt x="48" y="48"/>
                      </a:lnTo>
                      <a:lnTo>
                        <a:pt x="50" y="42"/>
                      </a:lnTo>
                      <a:lnTo>
                        <a:pt x="51" y="38"/>
                      </a:lnTo>
                      <a:lnTo>
                        <a:pt x="54" y="33"/>
                      </a:lnTo>
                      <a:lnTo>
                        <a:pt x="55" y="32"/>
                      </a:lnTo>
                      <a:lnTo>
                        <a:pt x="56" y="31"/>
                      </a:lnTo>
                      <a:lnTo>
                        <a:pt x="58" y="22"/>
                      </a:lnTo>
                      <a:lnTo>
                        <a:pt x="59" y="21"/>
                      </a:lnTo>
                      <a:lnTo>
                        <a:pt x="62" y="18"/>
                      </a:lnTo>
                      <a:lnTo>
                        <a:pt x="66" y="14"/>
                      </a:lnTo>
                      <a:lnTo>
                        <a:pt x="77" y="7"/>
                      </a:lnTo>
                      <a:lnTo>
                        <a:pt x="78" y="6"/>
                      </a:lnTo>
                      <a:lnTo>
                        <a:pt x="84" y="5"/>
                      </a:lnTo>
                      <a:lnTo>
                        <a:pt x="89" y="3"/>
                      </a:lnTo>
                      <a:lnTo>
                        <a:pt x="95" y="1"/>
                      </a:lnTo>
                      <a:lnTo>
                        <a:pt x="97" y="0"/>
                      </a:lnTo>
                      <a:lnTo>
                        <a:pt x="97" y="1"/>
                      </a:lnTo>
                      <a:lnTo>
                        <a:pt x="97" y="9"/>
                      </a:lnTo>
                      <a:lnTo>
                        <a:pt x="96" y="15"/>
                      </a:lnTo>
                      <a:lnTo>
                        <a:pt x="93" y="22"/>
                      </a:lnTo>
                      <a:lnTo>
                        <a:pt x="93" y="27"/>
                      </a:lnTo>
                      <a:lnTo>
                        <a:pt x="93" y="32"/>
                      </a:lnTo>
                      <a:close/>
                    </a:path>
                  </a:pathLst>
                </a:custGeom>
                <a:grpFill/>
                <a:ln w="317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900" dirty="0"/>
                </a:p>
              </p:txBody>
            </p:sp>
          </p:grpSp>
          <p:grpSp>
            <p:nvGrpSpPr>
              <p:cNvPr id="62" name="Etiquettes">
                <a:extLst>
                  <a:ext uri="{FF2B5EF4-FFF2-40B4-BE49-F238E27FC236}">
                    <a16:creationId xmlns:a16="http://schemas.microsoft.com/office/drawing/2014/main" id="{598E14F9-DE7F-798F-9B78-6145117BD72C}"/>
                  </a:ext>
                </a:extLst>
              </p:cNvPr>
              <p:cNvGrpSpPr/>
              <p:nvPr/>
            </p:nvGrpSpPr>
            <p:grpSpPr>
              <a:xfrm>
                <a:off x="5252721" y="2763124"/>
                <a:ext cx="3001554" cy="3489264"/>
                <a:chOff x="5252721" y="2745723"/>
                <a:chExt cx="3001554" cy="3524157"/>
              </a:xfrm>
              <a:grpFill/>
            </p:grpSpPr>
            <p:sp>
              <p:nvSpPr>
                <p:cNvPr id="115" name="Etiquette - North East" hidden="1">
                  <a:extLst>
                    <a:ext uri="{FF2B5EF4-FFF2-40B4-BE49-F238E27FC236}">
                      <a16:creationId xmlns:a16="http://schemas.microsoft.com/office/drawing/2014/main" id="{71CC72FB-6B56-4975-FAA9-576950B848D9}"/>
                    </a:ext>
                  </a:extLst>
                </p:cNvPr>
                <p:cNvSpPr>
                  <a:spLocks noChangeArrowheads="1"/>
                </p:cNvSpPr>
                <p:nvPr/>
              </p:nvSpPr>
              <p:spPr bwMode="auto">
                <a:xfrm>
                  <a:off x="6902757" y="3834793"/>
                  <a:ext cx="444026" cy="279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chemeClr val="lt2"/>
                      </a:solidFill>
                      <a:latin typeface="+mn-lt"/>
                    </a:rPr>
                    <a:t>North East</a:t>
                  </a:r>
                </a:p>
              </p:txBody>
            </p:sp>
            <p:sp>
              <p:nvSpPr>
                <p:cNvPr id="116" name="Etiquette - Yorkshire &amp; the Humbert" hidden="1">
                  <a:extLst>
                    <a:ext uri="{FF2B5EF4-FFF2-40B4-BE49-F238E27FC236}">
                      <a16:creationId xmlns:a16="http://schemas.microsoft.com/office/drawing/2014/main" id="{A4D86744-F375-5998-3B4A-0F9502DDDBEC}"/>
                    </a:ext>
                  </a:extLst>
                </p:cNvPr>
                <p:cNvSpPr>
                  <a:spLocks noChangeArrowheads="1"/>
                </p:cNvSpPr>
                <p:nvPr/>
              </p:nvSpPr>
              <p:spPr bwMode="auto">
                <a:xfrm>
                  <a:off x="7013256" y="4362684"/>
                  <a:ext cx="674689" cy="279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chemeClr val="lt2"/>
                      </a:solidFill>
                      <a:latin typeface="+mn-lt"/>
                    </a:rPr>
                    <a:t>Yorkshire &amp; the Humbert</a:t>
                  </a:r>
                </a:p>
              </p:txBody>
            </p:sp>
            <p:sp>
              <p:nvSpPr>
                <p:cNvPr id="117" name="Etiquette - Northern Ireland" hidden="1">
                  <a:extLst>
                    <a:ext uri="{FF2B5EF4-FFF2-40B4-BE49-F238E27FC236}">
                      <a16:creationId xmlns:a16="http://schemas.microsoft.com/office/drawing/2014/main" id="{57362992-5B8D-FAD9-F1CE-F69BE417273F}"/>
                    </a:ext>
                  </a:extLst>
                </p:cNvPr>
                <p:cNvSpPr>
                  <a:spLocks noChangeArrowheads="1"/>
                </p:cNvSpPr>
                <p:nvPr/>
              </p:nvSpPr>
              <p:spPr bwMode="auto">
                <a:xfrm>
                  <a:off x="5252721" y="4018708"/>
                  <a:ext cx="538677" cy="279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chemeClr val="lt2"/>
                      </a:solidFill>
                      <a:latin typeface="+mn-lt"/>
                    </a:rPr>
                    <a:t>Northern Ireland</a:t>
                  </a:r>
                </a:p>
              </p:txBody>
            </p:sp>
            <p:sp>
              <p:nvSpPr>
                <p:cNvPr id="118" name="Etiquette - Wales" hidden="1">
                  <a:extLst>
                    <a:ext uri="{FF2B5EF4-FFF2-40B4-BE49-F238E27FC236}">
                      <a16:creationId xmlns:a16="http://schemas.microsoft.com/office/drawing/2014/main" id="{DAD1A492-DBE7-34F6-F63A-BFE564AA75D6}"/>
                    </a:ext>
                  </a:extLst>
                </p:cNvPr>
                <p:cNvSpPr>
                  <a:spLocks noChangeArrowheads="1"/>
                </p:cNvSpPr>
                <p:nvPr/>
              </p:nvSpPr>
              <p:spPr bwMode="auto">
                <a:xfrm>
                  <a:off x="6341823" y="5574746"/>
                  <a:ext cx="307777" cy="1398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chemeClr val="lt2"/>
                      </a:solidFill>
                      <a:latin typeface="+mn-lt"/>
                    </a:rPr>
                    <a:t>Wales</a:t>
                  </a:r>
                </a:p>
              </p:txBody>
            </p:sp>
            <p:sp>
              <p:nvSpPr>
                <p:cNvPr id="119" name="Etiquette - North West" hidden="1">
                  <a:extLst>
                    <a:ext uri="{FF2B5EF4-FFF2-40B4-BE49-F238E27FC236}">
                      <a16:creationId xmlns:a16="http://schemas.microsoft.com/office/drawing/2014/main" id="{0091672B-D09C-F41F-0D0F-AAC9597028AE}"/>
                    </a:ext>
                  </a:extLst>
                </p:cNvPr>
                <p:cNvSpPr>
                  <a:spLocks noChangeArrowheads="1"/>
                </p:cNvSpPr>
                <p:nvPr/>
              </p:nvSpPr>
              <p:spPr bwMode="auto">
                <a:xfrm>
                  <a:off x="6584058" y="4065829"/>
                  <a:ext cx="371161" cy="279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chemeClr val="lt2"/>
                      </a:solidFill>
                      <a:latin typeface="+mn-lt"/>
                    </a:rPr>
                    <a:t>North West</a:t>
                  </a:r>
                </a:p>
              </p:txBody>
            </p:sp>
            <p:sp>
              <p:nvSpPr>
                <p:cNvPr id="120" name="Etiquette - West Midlands" hidden="1">
                  <a:extLst>
                    <a:ext uri="{FF2B5EF4-FFF2-40B4-BE49-F238E27FC236}">
                      <a16:creationId xmlns:a16="http://schemas.microsoft.com/office/drawing/2014/main" id="{CCCADEC9-0499-C764-825B-174D2A3C359E}"/>
                    </a:ext>
                  </a:extLst>
                </p:cNvPr>
                <p:cNvSpPr>
                  <a:spLocks noChangeArrowheads="1"/>
                </p:cNvSpPr>
                <p:nvPr/>
              </p:nvSpPr>
              <p:spPr bwMode="auto">
                <a:xfrm>
                  <a:off x="6730598" y="5284643"/>
                  <a:ext cx="529918" cy="279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chemeClr val="lt2"/>
                      </a:solidFill>
                      <a:latin typeface="+mn-lt"/>
                    </a:rPr>
                    <a:t>West Midlands</a:t>
                  </a:r>
                </a:p>
              </p:txBody>
            </p:sp>
            <p:sp>
              <p:nvSpPr>
                <p:cNvPr id="121" name="Etiquette - East Midlands" hidden="1">
                  <a:extLst>
                    <a:ext uri="{FF2B5EF4-FFF2-40B4-BE49-F238E27FC236}">
                      <a16:creationId xmlns:a16="http://schemas.microsoft.com/office/drawing/2014/main" id="{08730502-C953-A602-1C0B-2B6D0FAB4D51}"/>
                    </a:ext>
                  </a:extLst>
                </p:cNvPr>
                <p:cNvSpPr>
                  <a:spLocks noChangeArrowheads="1"/>
                </p:cNvSpPr>
                <p:nvPr/>
              </p:nvSpPr>
              <p:spPr bwMode="auto">
                <a:xfrm>
                  <a:off x="7211040" y="4971968"/>
                  <a:ext cx="541841" cy="279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chemeClr val="lt2"/>
                      </a:solidFill>
                      <a:latin typeface="+mn-lt"/>
                    </a:rPr>
                    <a:t>East Midlands</a:t>
                  </a:r>
                </a:p>
              </p:txBody>
            </p:sp>
            <p:sp>
              <p:nvSpPr>
                <p:cNvPr id="122" name="Etiquette - Eastern Region" hidden="1">
                  <a:extLst>
                    <a:ext uri="{FF2B5EF4-FFF2-40B4-BE49-F238E27FC236}">
                      <a16:creationId xmlns:a16="http://schemas.microsoft.com/office/drawing/2014/main" id="{26E8C5B5-3869-162B-6731-BC5D7A3BB155}"/>
                    </a:ext>
                  </a:extLst>
                </p:cNvPr>
                <p:cNvSpPr>
                  <a:spLocks noChangeArrowheads="1"/>
                </p:cNvSpPr>
                <p:nvPr/>
              </p:nvSpPr>
              <p:spPr bwMode="auto">
                <a:xfrm>
                  <a:off x="7674015" y="5373329"/>
                  <a:ext cx="580260" cy="2797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chemeClr val="lt2"/>
                      </a:solidFill>
                      <a:latin typeface="+mn-lt"/>
                    </a:rPr>
                    <a:t>Eastern Region</a:t>
                  </a:r>
                </a:p>
              </p:txBody>
            </p:sp>
            <p:sp>
              <p:nvSpPr>
                <p:cNvPr id="123" name="Etiquette - South East" hidden="1">
                  <a:extLst>
                    <a:ext uri="{FF2B5EF4-FFF2-40B4-BE49-F238E27FC236}">
                      <a16:creationId xmlns:a16="http://schemas.microsoft.com/office/drawing/2014/main" id="{46928249-C2DC-B257-7852-0990597E3BBF}"/>
                    </a:ext>
                  </a:extLst>
                </p:cNvPr>
                <p:cNvSpPr>
                  <a:spLocks noChangeArrowheads="1"/>
                </p:cNvSpPr>
                <p:nvPr/>
              </p:nvSpPr>
              <p:spPr bwMode="auto">
                <a:xfrm>
                  <a:off x="7225662" y="6038354"/>
                  <a:ext cx="567464" cy="1398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chemeClr val="lt2"/>
                      </a:solidFill>
                      <a:latin typeface="+mn-lt"/>
                    </a:rPr>
                    <a:t>South East</a:t>
                  </a:r>
                </a:p>
              </p:txBody>
            </p:sp>
            <p:sp>
              <p:nvSpPr>
                <p:cNvPr id="124" name="Etiquette - South West" hidden="1">
                  <a:extLst>
                    <a:ext uri="{FF2B5EF4-FFF2-40B4-BE49-F238E27FC236}">
                      <a16:creationId xmlns:a16="http://schemas.microsoft.com/office/drawing/2014/main" id="{E4043183-4113-6708-B4F0-68058D024125}"/>
                    </a:ext>
                  </a:extLst>
                </p:cNvPr>
                <p:cNvSpPr>
                  <a:spLocks noChangeArrowheads="1"/>
                </p:cNvSpPr>
                <p:nvPr/>
              </p:nvSpPr>
              <p:spPr bwMode="auto">
                <a:xfrm>
                  <a:off x="6460375" y="6129996"/>
                  <a:ext cx="599523" cy="1398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chemeClr val="lt2"/>
                      </a:solidFill>
                      <a:latin typeface="+mn-lt"/>
                    </a:rPr>
                    <a:t>South West</a:t>
                  </a:r>
                </a:p>
              </p:txBody>
            </p:sp>
            <p:sp>
              <p:nvSpPr>
                <p:cNvPr id="125" name="Etiquette - London" hidden="1">
                  <a:extLst>
                    <a:ext uri="{FF2B5EF4-FFF2-40B4-BE49-F238E27FC236}">
                      <a16:creationId xmlns:a16="http://schemas.microsoft.com/office/drawing/2014/main" id="{C8983A5B-CF21-9A82-B494-549F8DB27AF2}"/>
                    </a:ext>
                  </a:extLst>
                </p:cNvPr>
                <p:cNvSpPr>
                  <a:spLocks noChangeArrowheads="1"/>
                </p:cNvSpPr>
                <p:nvPr/>
              </p:nvSpPr>
              <p:spPr bwMode="auto">
                <a:xfrm>
                  <a:off x="7598917" y="5828181"/>
                  <a:ext cx="392736" cy="1398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chemeClr val="lt2"/>
                      </a:solidFill>
                      <a:latin typeface="+mn-lt"/>
                    </a:rPr>
                    <a:t>London</a:t>
                  </a:r>
                </a:p>
              </p:txBody>
            </p:sp>
            <p:sp>
              <p:nvSpPr>
                <p:cNvPr id="126" name="Etiquette - Scotland" hidden="1">
                  <a:extLst>
                    <a:ext uri="{FF2B5EF4-FFF2-40B4-BE49-F238E27FC236}">
                      <a16:creationId xmlns:a16="http://schemas.microsoft.com/office/drawing/2014/main" id="{CC5FA211-EBDA-1683-AA6D-80DB588A435A}"/>
                    </a:ext>
                  </a:extLst>
                </p:cNvPr>
                <p:cNvSpPr>
                  <a:spLocks noChangeArrowheads="1"/>
                </p:cNvSpPr>
                <p:nvPr/>
              </p:nvSpPr>
              <p:spPr bwMode="auto">
                <a:xfrm>
                  <a:off x="6246275" y="2745723"/>
                  <a:ext cx="456856" cy="1398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chemeClr val="lt2"/>
                      </a:solidFill>
                      <a:latin typeface="+mn-lt"/>
                    </a:rPr>
                    <a:t>Scotland</a:t>
                  </a:r>
                </a:p>
              </p:txBody>
            </p:sp>
            <p:sp>
              <p:nvSpPr>
                <p:cNvPr id="127" name="Etiquette - Isle of Man" hidden="1">
                  <a:extLst>
                    <a:ext uri="{FF2B5EF4-FFF2-40B4-BE49-F238E27FC236}">
                      <a16:creationId xmlns:a16="http://schemas.microsoft.com/office/drawing/2014/main" id="{477544C3-237F-8138-BBA5-0D2D28500576}"/>
                    </a:ext>
                  </a:extLst>
                </p:cNvPr>
                <p:cNvSpPr>
                  <a:spLocks noChangeArrowheads="1"/>
                </p:cNvSpPr>
                <p:nvPr/>
              </p:nvSpPr>
              <p:spPr bwMode="auto">
                <a:xfrm>
                  <a:off x="5968485" y="4476503"/>
                  <a:ext cx="565861" cy="1398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900" dirty="0">
                      <a:solidFill>
                        <a:schemeClr val="lt2"/>
                      </a:solidFill>
                      <a:latin typeface="+mn-lt"/>
                    </a:rPr>
                    <a:t>Isle of Man</a:t>
                  </a:r>
                </a:p>
              </p:txBody>
            </p:sp>
          </p:grpSp>
          <p:grpSp>
            <p:nvGrpSpPr>
              <p:cNvPr id="63" name="GradientColorLegend">
                <a:extLst>
                  <a:ext uri="{FF2B5EF4-FFF2-40B4-BE49-F238E27FC236}">
                    <a16:creationId xmlns:a16="http://schemas.microsoft.com/office/drawing/2014/main" id="{63716723-CD14-9558-0B68-776DC08CF418}"/>
                  </a:ext>
                </a:extLst>
              </p:cNvPr>
              <p:cNvGrpSpPr/>
              <p:nvPr/>
            </p:nvGrpSpPr>
            <p:grpSpPr>
              <a:xfrm>
                <a:off x="4033825" y="2348493"/>
                <a:ext cx="203581" cy="1669569"/>
                <a:chOff x="1024416" y="2429113"/>
                <a:chExt cx="203581" cy="1669569"/>
              </a:xfrm>
              <a:grpFill/>
            </p:grpSpPr>
            <p:sp>
              <p:nvSpPr>
                <p:cNvPr id="109" name="Etiquette - GradientColorLegend - DARK - Shape" hidden="1">
                  <a:extLst>
                    <a:ext uri="{FF2B5EF4-FFF2-40B4-BE49-F238E27FC236}">
                      <a16:creationId xmlns:a16="http://schemas.microsoft.com/office/drawing/2014/main" id="{0CA5ADDB-1A14-1653-6F39-F51B72E3A83D}"/>
                    </a:ext>
                  </a:extLst>
                </p:cNvPr>
                <p:cNvSpPr/>
                <p:nvPr/>
              </p:nvSpPr>
              <p:spPr>
                <a:xfrm>
                  <a:off x="1066170" y="2575168"/>
                  <a:ext cx="120073" cy="138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10" name="Etiquette - GradientColorLegend - DARK - MaxValue" hidden="1">
                  <a:extLst>
                    <a:ext uri="{FF2B5EF4-FFF2-40B4-BE49-F238E27FC236}">
                      <a16:creationId xmlns:a16="http://schemas.microsoft.com/office/drawing/2014/main" id="{D27CBC2F-C54A-F2AF-3C76-43E810290EDB}"/>
                    </a:ext>
                  </a:extLst>
                </p:cNvPr>
                <p:cNvSpPr txBox="1"/>
                <p:nvPr/>
              </p:nvSpPr>
              <p:spPr>
                <a:xfrm>
                  <a:off x="1024416" y="2429113"/>
                  <a:ext cx="203581" cy="138499"/>
                </a:xfrm>
                <a:prstGeom prst="rect">
                  <a:avLst/>
                </a:prstGeom>
                <a:grpFill/>
              </p:spPr>
              <p:txBody>
                <a:bodyPr wrap="none" lIns="0" tIns="0" rIns="0" bIns="0" rtlCol="0" anchor="b">
                  <a:spAutoFit/>
                </a:bodyPr>
                <a:lstStyle/>
                <a:p>
                  <a:pPr algn="ctr"/>
                  <a:r>
                    <a:rPr lang="en-US" sz="900" dirty="0"/>
                    <a:t>Max</a:t>
                  </a:r>
                </a:p>
              </p:txBody>
            </p:sp>
            <p:sp>
              <p:nvSpPr>
                <p:cNvPr id="111" name="Etiquette - GradientColorLegend - DARK - MinValue" hidden="1">
                  <a:extLst>
                    <a:ext uri="{FF2B5EF4-FFF2-40B4-BE49-F238E27FC236}">
                      <a16:creationId xmlns:a16="http://schemas.microsoft.com/office/drawing/2014/main" id="{BE8B2B77-6187-66C8-325B-479190B74549}"/>
                    </a:ext>
                  </a:extLst>
                </p:cNvPr>
                <p:cNvSpPr txBox="1"/>
                <p:nvPr/>
              </p:nvSpPr>
              <p:spPr>
                <a:xfrm>
                  <a:off x="1032430" y="3960183"/>
                  <a:ext cx="187552" cy="138499"/>
                </a:xfrm>
                <a:prstGeom prst="rect">
                  <a:avLst/>
                </a:prstGeom>
                <a:grpFill/>
              </p:spPr>
              <p:txBody>
                <a:bodyPr wrap="none" lIns="0" tIns="0" rIns="0" bIns="0" rtlCol="0">
                  <a:spAutoFit/>
                </a:bodyPr>
                <a:lstStyle/>
                <a:p>
                  <a:pPr algn="ctr"/>
                  <a:r>
                    <a:rPr lang="en-US" sz="900" dirty="0"/>
                    <a:t>Min</a:t>
                  </a:r>
                </a:p>
              </p:txBody>
            </p:sp>
          </p:grpSp>
          <p:grpSp>
            <p:nvGrpSpPr>
              <p:cNvPr id="64" name="RangeColorLegend">
                <a:extLst>
                  <a:ext uri="{FF2B5EF4-FFF2-40B4-BE49-F238E27FC236}">
                    <a16:creationId xmlns:a16="http://schemas.microsoft.com/office/drawing/2014/main" id="{EEF0F4D3-6672-C5FB-49B1-4F169E82F9FA}"/>
                  </a:ext>
                </a:extLst>
              </p:cNvPr>
              <p:cNvGrpSpPr/>
              <p:nvPr/>
            </p:nvGrpSpPr>
            <p:grpSpPr>
              <a:xfrm>
                <a:off x="3426090" y="2241614"/>
                <a:ext cx="1270800" cy="1538880"/>
                <a:chOff x="9083984" y="4374334"/>
                <a:chExt cx="1270800" cy="1538880"/>
              </a:xfrm>
              <a:grpFill/>
            </p:grpSpPr>
            <p:sp>
              <p:nvSpPr>
                <p:cNvPr id="75" name="Etiquette - RangeColorLegend - DARK - Color - 2" hidden="1">
                  <a:extLst>
                    <a:ext uri="{FF2B5EF4-FFF2-40B4-BE49-F238E27FC236}">
                      <a16:creationId xmlns:a16="http://schemas.microsoft.com/office/drawing/2014/main" id="{3F417C86-382D-9E74-FA7C-C4886B325577}"/>
                    </a:ext>
                  </a:extLst>
                </p:cNvPr>
                <p:cNvSpPr/>
                <p:nvPr/>
              </p:nvSpPr>
              <p:spPr>
                <a:xfrm>
                  <a:off x="9083984" y="4528222"/>
                  <a:ext cx="154800" cy="153888"/>
                </a:xfrm>
                <a:prstGeom prst="rect">
                  <a:avLst/>
                </a:prstGeom>
                <a:grpFill/>
                <a:ln>
                  <a:solidFill>
                    <a:schemeClr val="tx1"/>
                  </a:solidFill>
                </a:ln>
              </p:spPr>
              <p:txBody>
                <a:bodyPr wrap="square" lIns="0" tIns="0" rIns="0" bIns="0" anchor="ctr">
                  <a:noAutofit/>
                </a:bodyPr>
                <a:lstStyle/>
                <a:p>
                  <a:pPr algn="ctr"/>
                  <a:endParaRPr lang="en-US" sz="900" dirty="0"/>
                </a:p>
              </p:txBody>
            </p:sp>
            <p:sp>
              <p:nvSpPr>
                <p:cNvPr id="76" name="Etiquette - RangeColorLegend - DARK - Color - 1" hidden="1">
                  <a:extLst>
                    <a:ext uri="{FF2B5EF4-FFF2-40B4-BE49-F238E27FC236}">
                      <a16:creationId xmlns:a16="http://schemas.microsoft.com/office/drawing/2014/main" id="{F5BF2AC7-2B7C-FC59-8553-3A6EE902A8C6}"/>
                    </a:ext>
                  </a:extLst>
                </p:cNvPr>
                <p:cNvSpPr/>
                <p:nvPr/>
              </p:nvSpPr>
              <p:spPr>
                <a:xfrm>
                  <a:off x="9083984" y="4374334"/>
                  <a:ext cx="154800" cy="153888"/>
                </a:xfrm>
                <a:prstGeom prst="rect">
                  <a:avLst/>
                </a:prstGeom>
                <a:grpFill/>
                <a:ln>
                  <a:solidFill>
                    <a:schemeClr val="tx1"/>
                  </a:solidFill>
                </a:ln>
              </p:spPr>
              <p:txBody>
                <a:bodyPr wrap="square" lIns="0" tIns="0" rIns="0" bIns="0" anchor="ctr">
                  <a:noAutofit/>
                </a:bodyPr>
                <a:lstStyle/>
                <a:p>
                  <a:pPr algn="ctr"/>
                  <a:endParaRPr lang="en-US" sz="900" dirty="0"/>
                </a:p>
              </p:txBody>
            </p:sp>
            <p:sp>
              <p:nvSpPr>
                <p:cNvPr id="77" name="Etiquette - RangeColorLegend - DARK - Number - 2" hidden="1">
                  <a:extLst>
                    <a:ext uri="{FF2B5EF4-FFF2-40B4-BE49-F238E27FC236}">
                      <a16:creationId xmlns:a16="http://schemas.microsoft.com/office/drawing/2014/main" id="{86F2043B-AD72-CB12-CBF5-9848BFFE6182}"/>
                    </a:ext>
                  </a:extLst>
                </p:cNvPr>
                <p:cNvSpPr/>
                <p:nvPr/>
              </p:nvSpPr>
              <p:spPr>
                <a:xfrm>
                  <a:off x="9238784" y="4528222"/>
                  <a:ext cx="1116000" cy="153888"/>
                </a:xfrm>
                <a:prstGeom prst="rect">
                  <a:avLst/>
                </a:prstGeom>
                <a:grpFill/>
                <a:ln>
                  <a:noFill/>
                </a:ln>
              </p:spPr>
              <p:txBody>
                <a:bodyPr wrap="none" lIns="72000" tIns="0" rIns="0" bIns="0" anchor="ctr">
                  <a:noAutofit/>
                </a:bodyPr>
                <a:lstStyle/>
                <a:p>
                  <a:r>
                    <a:rPr lang="en-US" sz="900"/>
                    <a:t>&lt; 1</a:t>
                  </a:r>
                  <a:endParaRPr lang="en-US" sz="900" dirty="0"/>
                </a:p>
              </p:txBody>
            </p:sp>
            <p:sp>
              <p:nvSpPr>
                <p:cNvPr id="78" name="Etiquette - RangeColorLegend - DARK - Number - 1" hidden="1">
                  <a:extLst>
                    <a:ext uri="{FF2B5EF4-FFF2-40B4-BE49-F238E27FC236}">
                      <a16:creationId xmlns:a16="http://schemas.microsoft.com/office/drawing/2014/main" id="{0A7A2273-5D31-F85C-FF04-A0C92AF85111}"/>
                    </a:ext>
                  </a:extLst>
                </p:cNvPr>
                <p:cNvSpPr/>
                <p:nvPr/>
              </p:nvSpPr>
              <p:spPr>
                <a:xfrm>
                  <a:off x="9238784" y="4374334"/>
                  <a:ext cx="1116000" cy="153888"/>
                </a:xfrm>
                <a:prstGeom prst="rect">
                  <a:avLst/>
                </a:prstGeom>
                <a:grpFill/>
                <a:ln>
                  <a:noFill/>
                </a:ln>
              </p:spPr>
              <p:txBody>
                <a:bodyPr wrap="none" lIns="72000" tIns="0" rIns="0" bIns="0" anchor="ctr">
                  <a:noAutofit/>
                </a:bodyPr>
                <a:lstStyle/>
                <a:p>
                  <a:r>
                    <a:rPr lang="en-US" sz="900"/>
                    <a:t>1+</a:t>
                  </a:r>
                  <a:endParaRPr lang="en-US" sz="900" dirty="0"/>
                </a:p>
              </p:txBody>
            </p:sp>
            <p:sp>
              <p:nvSpPr>
                <p:cNvPr id="79" name="Etiquette - RangeColorLegend - DARK - Color - 4" hidden="1">
                  <a:extLst>
                    <a:ext uri="{FF2B5EF4-FFF2-40B4-BE49-F238E27FC236}">
                      <a16:creationId xmlns:a16="http://schemas.microsoft.com/office/drawing/2014/main" id="{E20A2DD8-CF77-3DF3-7BA7-A5F0D4440167}"/>
                    </a:ext>
                  </a:extLst>
                </p:cNvPr>
                <p:cNvSpPr/>
                <p:nvPr/>
              </p:nvSpPr>
              <p:spPr>
                <a:xfrm>
                  <a:off x="9083984" y="4835998"/>
                  <a:ext cx="154800" cy="153888"/>
                </a:xfrm>
                <a:prstGeom prst="rect">
                  <a:avLst/>
                </a:prstGeom>
                <a:grpFill/>
                <a:ln>
                  <a:solidFill>
                    <a:schemeClr val="tx1"/>
                  </a:solidFill>
                </a:ln>
              </p:spPr>
              <p:txBody>
                <a:bodyPr wrap="square" lIns="0" tIns="0" rIns="0" bIns="0" anchor="ctr">
                  <a:noAutofit/>
                </a:bodyPr>
                <a:lstStyle/>
                <a:p>
                  <a:pPr algn="ctr"/>
                  <a:endParaRPr lang="en-US" sz="900" dirty="0"/>
                </a:p>
              </p:txBody>
            </p:sp>
            <p:sp>
              <p:nvSpPr>
                <p:cNvPr id="89" name="Etiquette - RangeColorLegend - DARK - Color - 3" hidden="1">
                  <a:extLst>
                    <a:ext uri="{FF2B5EF4-FFF2-40B4-BE49-F238E27FC236}">
                      <a16:creationId xmlns:a16="http://schemas.microsoft.com/office/drawing/2014/main" id="{E8F6BA85-58AD-49E2-1F17-0F4831A7FA59}"/>
                    </a:ext>
                  </a:extLst>
                </p:cNvPr>
                <p:cNvSpPr/>
                <p:nvPr/>
              </p:nvSpPr>
              <p:spPr>
                <a:xfrm>
                  <a:off x="9083984" y="4682110"/>
                  <a:ext cx="154800" cy="153888"/>
                </a:xfrm>
                <a:prstGeom prst="rect">
                  <a:avLst/>
                </a:prstGeom>
                <a:grpFill/>
                <a:ln>
                  <a:solidFill>
                    <a:schemeClr val="tx1"/>
                  </a:solidFill>
                </a:ln>
              </p:spPr>
              <p:txBody>
                <a:bodyPr wrap="square" lIns="0" tIns="0" rIns="0" bIns="0" anchor="ctr">
                  <a:noAutofit/>
                </a:bodyPr>
                <a:lstStyle/>
                <a:p>
                  <a:pPr algn="ctr"/>
                  <a:endParaRPr lang="en-US" sz="900" dirty="0"/>
                </a:p>
              </p:txBody>
            </p:sp>
            <p:sp>
              <p:nvSpPr>
                <p:cNvPr id="90" name="Etiquette - RangeColorLegend - DARK - Number - 4" hidden="1">
                  <a:extLst>
                    <a:ext uri="{FF2B5EF4-FFF2-40B4-BE49-F238E27FC236}">
                      <a16:creationId xmlns:a16="http://schemas.microsoft.com/office/drawing/2014/main" id="{A6ACD9A2-FD0A-D57B-A013-1FD882A8D207}"/>
                    </a:ext>
                  </a:extLst>
                </p:cNvPr>
                <p:cNvSpPr/>
                <p:nvPr/>
              </p:nvSpPr>
              <p:spPr>
                <a:xfrm>
                  <a:off x="9238784" y="4835998"/>
                  <a:ext cx="1116000" cy="153888"/>
                </a:xfrm>
                <a:prstGeom prst="rect">
                  <a:avLst/>
                </a:prstGeom>
                <a:grpFill/>
                <a:ln>
                  <a:noFill/>
                </a:ln>
              </p:spPr>
              <p:txBody>
                <a:bodyPr wrap="none" lIns="72000" tIns="0" rIns="0" bIns="0" anchor="ctr">
                  <a:noAutofit/>
                </a:bodyPr>
                <a:lstStyle/>
                <a:p>
                  <a:r>
                    <a:rPr lang="en-US" sz="900" dirty="0"/>
                    <a:t>[300 to 400[</a:t>
                  </a:r>
                </a:p>
              </p:txBody>
            </p:sp>
            <p:sp>
              <p:nvSpPr>
                <p:cNvPr id="92" name="Etiquette - RangeColorLegend - DARK - Number - 3" hidden="1">
                  <a:extLst>
                    <a:ext uri="{FF2B5EF4-FFF2-40B4-BE49-F238E27FC236}">
                      <a16:creationId xmlns:a16="http://schemas.microsoft.com/office/drawing/2014/main" id="{EDEC11D8-BC04-D3EA-918A-DF32BC539971}"/>
                    </a:ext>
                  </a:extLst>
                </p:cNvPr>
                <p:cNvSpPr/>
                <p:nvPr/>
              </p:nvSpPr>
              <p:spPr>
                <a:xfrm>
                  <a:off x="9238784" y="4682110"/>
                  <a:ext cx="1116000" cy="153888"/>
                </a:xfrm>
                <a:prstGeom prst="rect">
                  <a:avLst/>
                </a:prstGeom>
                <a:grpFill/>
                <a:ln>
                  <a:noFill/>
                </a:ln>
              </p:spPr>
              <p:txBody>
                <a:bodyPr wrap="none" lIns="72000" tIns="0" rIns="0" bIns="0" anchor="ctr">
                  <a:noAutofit/>
                </a:bodyPr>
                <a:lstStyle/>
                <a:p>
                  <a:r>
                    <a:rPr lang="en-US" sz="900" dirty="0"/>
                    <a:t>[200 to 300[</a:t>
                  </a:r>
                </a:p>
              </p:txBody>
            </p:sp>
            <p:sp>
              <p:nvSpPr>
                <p:cNvPr id="94" name="Etiquette - RangeColorLegend - DARK - Color - 5" hidden="1">
                  <a:extLst>
                    <a:ext uri="{FF2B5EF4-FFF2-40B4-BE49-F238E27FC236}">
                      <a16:creationId xmlns:a16="http://schemas.microsoft.com/office/drawing/2014/main" id="{71B465B8-9D7E-7A10-D587-0EFD01F1DE69}"/>
                    </a:ext>
                  </a:extLst>
                </p:cNvPr>
                <p:cNvSpPr/>
                <p:nvPr/>
              </p:nvSpPr>
              <p:spPr>
                <a:xfrm>
                  <a:off x="9083984" y="4989886"/>
                  <a:ext cx="154800" cy="153888"/>
                </a:xfrm>
                <a:prstGeom prst="rect">
                  <a:avLst/>
                </a:prstGeom>
                <a:grpFill/>
                <a:ln>
                  <a:solidFill>
                    <a:schemeClr val="tx1"/>
                  </a:solidFill>
                </a:ln>
              </p:spPr>
              <p:txBody>
                <a:bodyPr wrap="square" lIns="0" tIns="0" rIns="0" bIns="0" anchor="ctr">
                  <a:noAutofit/>
                </a:bodyPr>
                <a:lstStyle/>
                <a:p>
                  <a:pPr algn="ctr"/>
                  <a:endParaRPr lang="en-US" sz="900" dirty="0"/>
                </a:p>
              </p:txBody>
            </p:sp>
            <p:sp>
              <p:nvSpPr>
                <p:cNvPr id="95" name="Etiquette - RangeColorLegend - DARK - Number - 5" hidden="1">
                  <a:extLst>
                    <a:ext uri="{FF2B5EF4-FFF2-40B4-BE49-F238E27FC236}">
                      <a16:creationId xmlns:a16="http://schemas.microsoft.com/office/drawing/2014/main" id="{D647E2AA-ED88-54E6-FD47-3766E1601650}"/>
                    </a:ext>
                  </a:extLst>
                </p:cNvPr>
                <p:cNvSpPr/>
                <p:nvPr/>
              </p:nvSpPr>
              <p:spPr>
                <a:xfrm>
                  <a:off x="9238784" y="4989886"/>
                  <a:ext cx="1116000" cy="153888"/>
                </a:xfrm>
                <a:prstGeom prst="rect">
                  <a:avLst/>
                </a:prstGeom>
                <a:grpFill/>
                <a:ln>
                  <a:noFill/>
                </a:ln>
              </p:spPr>
              <p:txBody>
                <a:bodyPr wrap="none" lIns="72000" tIns="0" rIns="0" bIns="0" anchor="ctr">
                  <a:noAutofit/>
                </a:bodyPr>
                <a:lstStyle/>
                <a:p>
                  <a:r>
                    <a:rPr lang="en-US" sz="900" dirty="0"/>
                    <a:t>400+</a:t>
                  </a:r>
                </a:p>
              </p:txBody>
            </p:sp>
            <p:sp>
              <p:nvSpPr>
                <p:cNvPr id="96" name="Etiquette - RangeColorLegend - DARK - Color - 6" hidden="1">
                  <a:extLst>
                    <a:ext uri="{FF2B5EF4-FFF2-40B4-BE49-F238E27FC236}">
                      <a16:creationId xmlns:a16="http://schemas.microsoft.com/office/drawing/2014/main" id="{8B1E02EE-67F8-4A2B-C3C7-21F91F42BE9B}"/>
                    </a:ext>
                  </a:extLst>
                </p:cNvPr>
                <p:cNvSpPr/>
                <p:nvPr/>
              </p:nvSpPr>
              <p:spPr>
                <a:xfrm>
                  <a:off x="9083984" y="5143774"/>
                  <a:ext cx="154800" cy="153888"/>
                </a:xfrm>
                <a:prstGeom prst="rect">
                  <a:avLst/>
                </a:prstGeom>
                <a:grpFill/>
                <a:ln>
                  <a:solidFill>
                    <a:schemeClr val="tx1"/>
                  </a:solidFill>
                </a:ln>
              </p:spPr>
              <p:txBody>
                <a:bodyPr wrap="square" lIns="0" tIns="0" rIns="0" bIns="0" anchor="ctr">
                  <a:noAutofit/>
                </a:bodyPr>
                <a:lstStyle/>
                <a:p>
                  <a:pPr algn="ctr"/>
                  <a:endParaRPr lang="en-US" sz="900" dirty="0"/>
                </a:p>
              </p:txBody>
            </p:sp>
            <p:sp>
              <p:nvSpPr>
                <p:cNvPr id="97" name="Etiquette - RangeColorLegend - DARK - Number - 6" hidden="1">
                  <a:extLst>
                    <a:ext uri="{FF2B5EF4-FFF2-40B4-BE49-F238E27FC236}">
                      <a16:creationId xmlns:a16="http://schemas.microsoft.com/office/drawing/2014/main" id="{C0228749-9252-E7A7-6DB5-4B2BC4C8BE25}"/>
                    </a:ext>
                  </a:extLst>
                </p:cNvPr>
                <p:cNvSpPr/>
                <p:nvPr/>
              </p:nvSpPr>
              <p:spPr>
                <a:xfrm>
                  <a:off x="9238784" y="5143774"/>
                  <a:ext cx="1116000" cy="153888"/>
                </a:xfrm>
                <a:prstGeom prst="rect">
                  <a:avLst/>
                </a:prstGeom>
                <a:grpFill/>
                <a:ln>
                  <a:noFill/>
                </a:ln>
              </p:spPr>
              <p:txBody>
                <a:bodyPr wrap="none" lIns="72000" tIns="0" rIns="0" bIns="0" anchor="ctr">
                  <a:noAutofit/>
                </a:bodyPr>
                <a:lstStyle/>
                <a:p>
                  <a:r>
                    <a:rPr lang="en-US" sz="900" dirty="0"/>
                    <a:t>400+</a:t>
                  </a:r>
                </a:p>
              </p:txBody>
            </p:sp>
            <p:sp>
              <p:nvSpPr>
                <p:cNvPr id="98" name="Etiquette - RangeColorLegend - DARK - Color - 7" hidden="1">
                  <a:extLst>
                    <a:ext uri="{FF2B5EF4-FFF2-40B4-BE49-F238E27FC236}">
                      <a16:creationId xmlns:a16="http://schemas.microsoft.com/office/drawing/2014/main" id="{51AB9B94-EACE-8B78-1A11-D003F39A5FF0}"/>
                    </a:ext>
                  </a:extLst>
                </p:cNvPr>
                <p:cNvSpPr/>
                <p:nvPr/>
              </p:nvSpPr>
              <p:spPr>
                <a:xfrm>
                  <a:off x="9083984" y="5297662"/>
                  <a:ext cx="154800" cy="153888"/>
                </a:xfrm>
                <a:prstGeom prst="rect">
                  <a:avLst/>
                </a:prstGeom>
                <a:grpFill/>
                <a:ln>
                  <a:solidFill>
                    <a:schemeClr val="tx1"/>
                  </a:solidFill>
                </a:ln>
              </p:spPr>
              <p:txBody>
                <a:bodyPr wrap="square" lIns="0" tIns="0" rIns="0" bIns="0" anchor="ctr">
                  <a:noAutofit/>
                </a:bodyPr>
                <a:lstStyle/>
                <a:p>
                  <a:pPr algn="ctr"/>
                  <a:endParaRPr lang="en-US" sz="900" dirty="0"/>
                </a:p>
              </p:txBody>
            </p:sp>
            <p:sp>
              <p:nvSpPr>
                <p:cNvPr id="99" name="Etiquette - RangeColorLegend - DARK - Number - 7" hidden="1">
                  <a:extLst>
                    <a:ext uri="{FF2B5EF4-FFF2-40B4-BE49-F238E27FC236}">
                      <a16:creationId xmlns:a16="http://schemas.microsoft.com/office/drawing/2014/main" id="{6862E268-539A-4304-D676-78FDD571487E}"/>
                    </a:ext>
                  </a:extLst>
                </p:cNvPr>
                <p:cNvSpPr/>
                <p:nvPr/>
              </p:nvSpPr>
              <p:spPr>
                <a:xfrm>
                  <a:off x="9238784" y="5297662"/>
                  <a:ext cx="1116000" cy="153888"/>
                </a:xfrm>
                <a:prstGeom prst="rect">
                  <a:avLst/>
                </a:prstGeom>
                <a:grpFill/>
                <a:ln>
                  <a:noFill/>
                </a:ln>
              </p:spPr>
              <p:txBody>
                <a:bodyPr wrap="none" lIns="72000" tIns="0" rIns="0" bIns="0" anchor="ctr">
                  <a:noAutofit/>
                </a:bodyPr>
                <a:lstStyle/>
                <a:p>
                  <a:r>
                    <a:rPr lang="en-US" sz="900" dirty="0"/>
                    <a:t>400+</a:t>
                  </a:r>
                </a:p>
              </p:txBody>
            </p:sp>
            <p:sp>
              <p:nvSpPr>
                <p:cNvPr id="100" name="Etiquette - RangeColorLegend - DARK - Color - 8" hidden="1">
                  <a:extLst>
                    <a:ext uri="{FF2B5EF4-FFF2-40B4-BE49-F238E27FC236}">
                      <a16:creationId xmlns:a16="http://schemas.microsoft.com/office/drawing/2014/main" id="{B1652D7F-30AE-EE14-B863-0C8B1165BF7A}"/>
                    </a:ext>
                  </a:extLst>
                </p:cNvPr>
                <p:cNvSpPr/>
                <p:nvPr/>
              </p:nvSpPr>
              <p:spPr>
                <a:xfrm>
                  <a:off x="9083984" y="5451550"/>
                  <a:ext cx="154800" cy="153888"/>
                </a:xfrm>
                <a:prstGeom prst="rect">
                  <a:avLst/>
                </a:prstGeom>
                <a:grpFill/>
                <a:ln>
                  <a:solidFill>
                    <a:schemeClr val="tx1"/>
                  </a:solidFill>
                </a:ln>
              </p:spPr>
              <p:txBody>
                <a:bodyPr wrap="square" lIns="0" tIns="0" rIns="0" bIns="0" anchor="ctr">
                  <a:noAutofit/>
                </a:bodyPr>
                <a:lstStyle/>
                <a:p>
                  <a:pPr algn="ctr"/>
                  <a:endParaRPr lang="en-US" sz="900" dirty="0"/>
                </a:p>
              </p:txBody>
            </p:sp>
            <p:sp>
              <p:nvSpPr>
                <p:cNvPr id="101" name="Etiquette - RangeColorLegend - DARK - Number - 8" hidden="1">
                  <a:extLst>
                    <a:ext uri="{FF2B5EF4-FFF2-40B4-BE49-F238E27FC236}">
                      <a16:creationId xmlns:a16="http://schemas.microsoft.com/office/drawing/2014/main" id="{A2BA74B4-F731-5779-4C53-7135D1DFCDD5}"/>
                    </a:ext>
                  </a:extLst>
                </p:cNvPr>
                <p:cNvSpPr/>
                <p:nvPr/>
              </p:nvSpPr>
              <p:spPr>
                <a:xfrm>
                  <a:off x="9238784" y="5451550"/>
                  <a:ext cx="1116000" cy="153888"/>
                </a:xfrm>
                <a:prstGeom prst="rect">
                  <a:avLst/>
                </a:prstGeom>
                <a:grpFill/>
                <a:ln>
                  <a:noFill/>
                </a:ln>
              </p:spPr>
              <p:txBody>
                <a:bodyPr wrap="none" lIns="72000" tIns="0" rIns="0" bIns="0" anchor="ctr">
                  <a:noAutofit/>
                </a:bodyPr>
                <a:lstStyle/>
                <a:p>
                  <a:r>
                    <a:rPr lang="en-US" sz="900" dirty="0"/>
                    <a:t>400+</a:t>
                  </a:r>
                </a:p>
              </p:txBody>
            </p:sp>
            <p:sp>
              <p:nvSpPr>
                <p:cNvPr id="105" name="Etiquette - RangeColorLegend - DARK - Color - 9" hidden="1">
                  <a:extLst>
                    <a:ext uri="{FF2B5EF4-FFF2-40B4-BE49-F238E27FC236}">
                      <a16:creationId xmlns:a16="http://schemas.microsoft.com/office/drawing/2014/main" id="{EC006180-CE13-5994-C7F3-A6B4CFE9865C}"/>
                    </a:ext>
                  </a:extLst>
                </p:cNvPr>
                <p:cNvSpPr/>
                <p:nvPr/>
              </p:nvSpPr>
              <p:spPr>
                <a:xfrm>
                  <a:off x="9083984" y="5605438"/>
                  <a:ext cx="154800" cy="153888"/>
                </a:xfrm>
                <a:prstGeom prst="rect">
                  <a:avLst/>
                </a:prstGeom>
                <a:grpFill/>
                <a:ln>
                  <a:solidFill>
                    <a:schemeClr val="tx1"/>
                  </a:solidFill>
                </a:ln>
              </p:spPr>
              <p:txBody>
                <a:bodyPr wrap="square" lIns="0" tIns="0" rIns="0" bIns="0" anchor="ctr">
                  <a:noAutofit/>
                </a:bodyPr>
                <a:lstStyle/>
                <a:p>
                  <a:pPr algn="ctr"/>
                  <a:endParaRPr lang="en-US" sz="900" dirty="0"/>
                </a:p>
              </p:txBody>
            </p:sp>
            <p:sp>
              <p:nvSpPr>
                <p:cNvPr id="106" name="Etiquette - RangeColorLegend - DARK - Number - 9" hidden="1">
                  <a:extLst>
                    <a:ext uri="{FF2B5EF4-FFF2-40B4-BE49-F238E27FC236}">
                      <a16:creationId xmlns:a16="http://schemas.microsoft.com/office/drawing/2014/main" id="{7601B49F-7116-699D-A88E-F222143BA1D3}"/>
                    </a:ext>
                  </a:extLst>
                </p:cNvPr>
                <p:cNvSpPr/>
                <p:nvPr/>
              </p:nvSpPr>
              <p:spPr>
                <a:xfrm>
                  <a:off x="9238784" y="5605438"/>
                  <a:ext cx="1116000" cy="153888"/>
                </a:xfrm>
                <a:prstGeom prst="rect">
                  <a:avLst/>
                </a:prstGeom>
                <a:grpFill/>
                <a:ln>
                  <a:noFill/>
                </a:ln>
              </p:spPr>
              <p:txBody>
                <a:bodyPr wrap="none" lIns="72000" tIns="0" rIns="0" bIns="0" anchor="ctr">
                  <a:noAutofit/>
                </a:bodyPr>
                <a:lstStyle/>
                <a:p>
                  <a:r>
                    <a:rPr lang="en-US" sz="900" dirty="0"/>
                    <a:t>400+</a:t>
                  </a:r>
                </a:p>
              </p:txBody>
            </p:sp>
            <p:sp>
              <p:nvSpPr>
                <p:cNvPr id="107" name="Etiquette - RangeColorLegend - DARK - Color - 10" hidden="1">
                  <a:extLst>
                    <a:ext uri="{FF2B5EF4-FFF2-40B4-BE49-F238E27FC236}">
                      <a16:creationId xmlns:a16="http://schemas.microsoft.com/office/drawing/2014/main" id="{FEAACFF1-A643-65DD-8EDD-118C590B90F2}"/>
                    </a:ext>
                  </a:extLst>
                </p:cNvPr>
                <p:cNvSpPr/>
                <p:nvPr/>
              </p:nvSpPr>
              <p:spPr>
                <a:xfrm>
                  <a:off x="9083984" y="5759326"/>
                  <a:ext cx="154800" cy="153888"/>
                </a:xfrm>
                <a:prstGeom prst="rect">
                  <a:avLst/>
                </a:prstGeom>
                <a:grpFill/>
                <a:ln>
                  <a:solidFill>
                    <a:schemeClr val="tx1"/>
                  </a:solidFill>
                </a:ln>
              </p:spPr>
              <p:txBody>
                <a:bodyPr wrap="square" lIns="0" tIns="0" rIns="0" bIns="0" anchor="ctr">
                  <a:noAutofit/>
                </a:bodyPr>
                <a:lstStyle/>
                <a:p>
                  <a:pPr algn="ctr"/>
                  <a:endParaRPr lang="en-US" sz="900" dirty="0"/>
                </a:p>
              </p:txBody>
            </p:sp>
            <p:sp>
              <p:nvSpPr>
                <p:cNvPr id="108" name="Etiquette - RangeColorLegend - DARK - Number - 10" hidden="1">
                  <a:extLst>
                    <a:ext uri="{FF2B5EF4-FFF2-40B4-BE49-F238E27FC236}">
                      <a16:creationId xmlns:a16="http://schemas.microsoft.com/office/drawing/2014/main" id="{F695C0A5-E6B6-9F1E-F929-E3131DF00ADD}"/>
                    </a:ext>
                  </a:extLst>
                </p:cNvPr>
                <p:cNvSpPr/>
                <p:nvPr/>
              </p:nvSpPr>
              <p:spPr>
                <a:xfrm>
                  <a:off x="9238784" y="5759326"/>
                  <a:ext cx="1116000" cy="153888"/>
                </a:xfrm>
                <a:prstGeom prst="rect">
                  <a:avLst/>
                </a:prstGeom>
                <a:grpFill/>
                <a:ln>
                  <a:noFill/>
                </a:ln>
              </p:spPr>
              <p:txBody>
                <a:bodyPr wrap="none" lIns="72000" tIns="0" rIns="0" bIns="0" anchor="ctr">
                  <a:noAutofit/>
                </a:bodyPr>
                <a:lstStyle/>
                <a:p>
                  <a:r>
                    <a:rPr lang="en-US" sz="900" dirty="0"/>
                    <a:t>400+</a:t>
                  </a:r>
                </a:p>
              </p:txBody>
            </p:sp>
          </p:grpSp>
        </p:grpSp>
        <p:sp>
          <p:nvSpPr>
            <p:cNvPr id="143" name="POWER_USER_DATA_MAP_STORAGE">
              <a:extLst>
                <a:ext uri="{FF2B5EF4-FFF2-40B4-BE49-F238E27FC236}">
                  <a16:creationId xmlns:a16="http://schemas.microsoft.com/office/drawing/2014/main" id="{BEDBED7F-ECBF-0C67-49FC-14E5C1C68E8D}"/>
                </a:ext>
              </a:extLst>
            </p:cNvPr>
            <p:cNvSpPr/>
            <p:nvPr/>
          </p:nvSpPr>
          <p:spPr>
            <a:xfrm>
              <a:off x="3426090" y="906888"/>
              <a:ext cx="0" cy="0"/>
            </a:xfrm>
            <a:prstGeom prst="rect">
              <a:avLst/>
            </a:prstGeom>
            <a:grp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sz="1200" dirty="0" err="1">
                <a:solidFill>
                  <a:schemeClr val="bg1"/>
                </a:solidFill>
              </a:endParaRPr>
            </a:p>
          </p:txBody>
        </p:sp>
      </p:grpSp>
      <p:sp>
        <p:nvSpPr>
          <p:cNvPr id="2" name="Title 1">
            <a:extLst>
              <a:ext uri="{FF2B5EF4-FFF2-40B4-BE49-F238E27FC236}">
                <a16:creationId xmlns:a16="http://schemas.microsoft.com/office/drawing/2014/main" id="{E634D057-D7F5-707B-17D7-F46C465BCA64}"/>
              </a:ext>
            </a:extLst>
          </p:cNvPr>
          <p:cNvSpPr>
            <a:spLocks noGrp="1"/>
          </p:cNvSpPr>
          <p:nvPr>
            <p:ph type="title"/>
          </p:nvPr>
        </p:nvSpPr>
        <p:spPr>
          <a:solidFill>
            <a:schemeClr val="tx1"/>
          </a:solidFill>
        </p:spPr>
        <p:txBody>
          <a:bodyPr/>
          <a:lstStyle/>
          <a:p>
            <a:r>
              <a:rPr lang="cs-CZ" dirty="0"/>
              <a:t>Přístup a vývoj jaderné energetiky </a:t>
            </a:r>
            <a:r>
              <a:rPr lang="cs-CZ" b="0" i="0" dirty="0">
                <a:solidFill>
                  <a:srgbClr val="4D5156"/>
                </a:solidFill>
                <a:effectLst/>
                <a:highlight>
                  <a:srgbClr val="FFFFFF"/>
                </a:highlight>
                <a:latin typeface="Arial" panose="020B0604020202020204"/>
              </a:rPr>
              <a:t>–</a:t>
            </a:r>
            <a:r>
              <a:rPr lang="cs-CZ" dirty="0"/>
              <a:t> Velká Británie</a:t>
            </a:r>
          </a:p>
        </p:txBody>
      </p:sp>
      <p:sp>
        <p:nvSpPr>
          <p:cNvPr id="149" name="Content Placeholder 1">
            <a:extLst>
              <a:ext uri="{FF2B5EF4-FFF2-40B4-BE49-F238E27FC236}">
                <a16:creationId xmlns:a16="http://schemas.microsoft.com/office/drawing/2014/main" id="{1C32BBD8-94E7-829F-4FF0-91097C2BF814}"/>
              </a:ext>
            </a:extLst>
          </p:cNvPr>
          <p:cNvSpPr txBox="1">
            <a:spLocks/>
          </p:cNvSpPr>
          <p:nvPr/>
        </p:nvSpPr>
        <p:spPr>
          <a:xfrm>
            <a:off x="617845" y="3376347"/>
            <a:ext cx="4486821" cy="1145293"/>
          </a:xfrm>
          <a:prstGeom prst="rect">
            <a:avLst/>
          </a:prstGeom>
          <a:ln>
            <a:noFill/>
          </a:ln>
        </p:spPr>
        <p:txBody>
          <a:bodyPr vert="horz" lIns="72000" tIns="72000" rIns="72000" bIns="7200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lgn="just">
              <a:buClr>
                <a:schemeClr val="accent3"/>
              </a:buClr>
            </a:pPr>
            <a:r>
              <a:rPr lang="cs-CZ" sz="1000" b="1" dirty="0"/>
              <a:t>Jaderná energetika má v UK </a:t>
            </a:r>
            <a:r>
              <a:rPr lang="cs-CZ" sz="1000" dirty="0"/>
              <a:t>silnou historii s vrcholem na konci minulého století s nejvyšším podílem na výrobě 27 % v roce 1998. </a:t>
            </a:r>
            <a:r>
              <a:rPr lang="cs-CZ" sz="1000" b="1" dirty="0"/>
              <a:t>V roce 2023 to bylo 13 %.</a:t>
            </a:r>
          </a:p>
          <a:p>
            <a:pPr marL="180000" indent="-180000" algn="just">
              <a:buClr>
                <a:schemeClr val="accent3"/>
              </a:buClr>
            </a:pPr>
            <a:r>
              <a:rPr lang="cs-CZ" sz="1000" dirty="0"/>
              <a:t>Oproti roku 2000 poklesl instalovaný výkon JE zhruba na polovinu z důvodu ukončení provozu elektráren z 60. a 70. let.</a:t>
            </a:r>
          </a:p>
          <a:p>
            <a:pPr marL="180000" indent="-180000" algn="just">
              <a:buClr>
                <a:schemeClr val="accent3"/>
              </a:buClr>
            </a:pPr>
            <a:endParaRPr lang="cs-CZ" sz="1000" dirty="0"/>
          </a:p>
        </p:txBody>
      </p:sp>
      <p:sp>
        <p:nvSpPr>
          <p:cNvPr id="5" name="Content Placeholder 1">
            <a:extLst>
              <a:ext uri="{FF2B5EF4-FFF2-40B4-BE49-F238E27FC236}">
                <a16:creationId xmlns:a16="http://schemas.microsoft.com/office/drawing/2014/main" id="{DB66FC72-3EE6-24AF-868F-E1955023514D}"/>
              </a:ext>
            </a:extLst>
          </p:cNvPr>
          <p:cNvSpPr txBox="1">
            <a:spLocks/>
          </p:cNvSpPr>
          <p:nvPr/>
        </p:nvSpPr>
        <p:spPr>
          <a:xfrm>
            <a:off x="2653630" y="1041532"/>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4</a:t>
            </a:r>
          </a:p>
        </p:txBody>
      </p:sp>
      <p:sp>
        <p:nvSpPr>
          <p:cNvPr id="6" name="Content Placeholder 1">
            <a:extLst>
              <a:ext uri="{FF2B5EF4-FFF2-40B4-BE49-F238E27FC236}">
                <a16:creationId xmlns:a16="http://schemas.microsoft.com/office/drawing/2014/main" id="{62034DA1-95C8-B5A1-638A-63E3006D965A}"/>
              </a:ext>
            </a:extLst>
          </p:cNvPr>
          <p:cNvSpPr txBox="1">
            <a:spLocks/>
          </p:cNvSpPr>
          <p:nvPr/>
        </p:nvSpPr>
        <p:spPr>
          <a:xfrm>
            <a:off x="3128999" y="1098369"/>
            <a:ext cx="1607391" cy="217844"/>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1200" b="1" dirty="0"/>
              <a:t>Jaderné elektrárny</a:t>
            </a:r>
          </a:p>
        </p:txBody>
      </p:sp>
      <p:sp>
        <p:nvSpPr>
          <p:cNvPr id="7" name="Content Placeholder 1">
            <a:extLst>
              <a:ext uri="{FF2B5EF4-FFF2-40B4-BE49-F238E27FC236}">
                <a16:creationId xmlns:a16="http://schemas.microsoft.com/office/drawing/2014/main" id="{14FF269E-1EE0-B326-6CD5-2B6B6D650927}"/>
              </a:ext>
            </a:extLst>
          </p:cNvPr>
          <p:cNvSpPr txBox="1">
            <a:spLocks/>
          </p:cNvSpPr>
          <p:nvPr/>
        </p:nvSpPr>
        <p:spPr>
          <a:xfrm>
            <a:off x="2666203" y="1365159"/>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9</a:t>
            </a:r>
          </a:p>
        </p:txBody>
      </p:sp>
      <p:sp>
        <p:nvSpPr>
          <p:cNvPr id="8" name="Content Placeholder 1">
            <a:extLst>
              <a:ext uri="{FF2B5EF4-FFF2-40B4-BE49-F238E27FC236}">
                <a16:creationId xmlns:a16="http://schemas.microsoft.com/office/drawing/2014/main" id="{E031AE52-ED6A-9065-B66B-9468EDBE69C3}"/>
              </a:ext>
            </a:extLst>
          </p:cNvPr>
          <p:cNvSpPr txBox="1">
            <a:spLocks/>
          </p:cNvSpPr>
          <p:nvPr/>
        </p:nvSpPr>
        <p:spPr>
          <a:xfrm>
            <a:off x="3128999" y="1443888"/>
            <a:ext cx="1423369" cy="174061"/>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1200" b="1" dirty="0"/>
              <a:t>reaktorů</a:t>
            </a:r>
          </a:p>
        </p:txBody>
      </p:sp>
      <p:sp>
        <p:nvSpPr>
          <p:cNvPr id="9" name="Content Placeholder 1">
            <a:extLst>
              <a:ext uri="{FF2B5EF4-FFF2-40B4-BE49-F238E27FC236}">
                <a16:creationId xmlns:a16="http://schemas.microsoft.com/office/drawing/2014/main" id="{4B0CB057-B72D-DCD5-6522-B9F3D21A8613}"/>
              </a:ext>
            </a:extLst>
          </p:cNvPr>
          <p:cNvSpPr txBox="1">
            <a:spLocks/>
          </p:cNvSpPr>
          <p:nvPr/>
        </p:nvSpPr>
        <p:spPr>
          <a:xfrm>
            <a:off x="2654294" y="1690534"/>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5,9</a:t>
            </a:r>
          </a:p>
        </p:txBody>
      </p:sp>
      <p:sp>
        <p:nvSpPr>
          <p:cNvPr id="10" name="Content Placeholder 1">
            <a:extLst>
              <a:ext uri="{FF2B5EF4-FFF2-40B4-BE49-F238E27FC236}">
                <a16:creationId xmlns:a16="http://schemas.microsoft.com/office/drawing/2014/main" id="{057E0C4E-4573-D5D0-5A6D-88D9DEA2432B}"/>
              </a:ext>
            </a:extLst>
          </p:cNvPr>
          <p:cNvSpPr txBox="1">
            <a:spLocks/>
          </p:cNvSpPr>
          <p:nvPr/>
        </p:nvSpPr>
        <p:spPr>
          <a:xfrm>
            <a:off x="3128999" y="1731037"/>
            <a:ext cx="1948971" cy="250512"/>
          </a:xfrm>
          <a:prstGeom prst="rect">
            <a:avLst/>
          </a:prstGeom>
          <a:ln>
            <a:noFill/>
          </a:ln>
        </p:spPr>
        <p:txBody>
          <a:bodyPr vert="horz" lIns="0" tIns="0" rIns="0" bIns="0" rtlCol="0" anchor="ctr"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1200" b="1" dirty="0"/>
              <a:t>GW instalovaného výkonu</a:t>
            </a:r>
          </a:p>
        </p:txBody>
      </p:sp>
      <p:sp>
        <p:nvSpPr>
          <p:cNvPr id="11" name="Content Placeholder 1">
            <a:extLst>
              <a:ext uri="{FF2B5EF4-FFF2-40B4-BE49-F238E27FC236}">
                <a16:creationId xmlns:a16="http://schemas.microsoft.com/office/drawing/2014/main" id="{5D34984B-17A5-703B-623D-2D81A71A9ECA}"/>
              </a:ext>
            </a:extLst>
          </p:cNvPr>
          <p:cNvSpPr txBox="1">
            <a:spLocks/>
          </p:cNvSpPr>
          <p:nvPr/>
        </p:nvSpPr>
        <p:spPr>
          <a:xfrm>
            <a:off x="2648739" y="2012188"/>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15</a:t>
            </a:r>
          </a:p>
        </p:txBody>
      </p:sp>
      <p:sp>
        <p:nvSpPr>
          <p:cNvPr id="12" name="Content Placeholder 1">
            <a:extLst>
              <a:ext uri="{FF2B5EF4-FFF2-40B4-BE49-F238E27FC236}">
                <a16:creationId xmlns:a16="http://schemas.microsoft.com/office/drawing/2014/main" id="{04846804-A294-05C2-7AC5-FBB3AEE11E55}"/>
              </a:ext>
            </a:extLst>
          </p:cNvPr>
          <p:cNvSpPr txBox="1">
            <a:spLocks/>
          </p:cNvSpPr>
          <p:nvPr/>
        </p:nvSpPr>
        <p:spPr>
          <a:xfrm>
            <a:off x="3128999" y="2079877"/>
            <a:ext cx="1897381" cy="196140"/>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1200" b="1" dirty="0"/>
              <a:t>% celkové výroby elektřiny</a:t>
            </a:r>
          </a:p>
        </p:txBody>
      </p:sp>
      <p:sp>
        <p:nvSpPr>
          <p:cNvPr id="13" name="Content Placeholder 1">
            <a:extLst>
              <a:ext uri="{FF2B5EF4-FFF2-40B4-BE49-F238E27FC236}">
                <a16:creationId xmlns:a16="http://schemas.microsoft.com/office/drawing/2014/main" id="{9918769A-FBCB-2026-868F-548F31DA8AD3}"/>
              </a:ext>
            </a:extLst>
          </p:cNvPr>
          <p:cNvSpPr txBox="1">
            <a:spLocks/>
          </p:cNvSpPr>
          <p:nvPr/>
        </p:nvSpPr>
        <p:spPr>
          <a:xfrm>
            <a:off x="2661607" y="2380450"/>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2</a:t>
            </a:r>
          </a:p>
        </p:txBody>
      </p:sp>
      <p:sp>
        <p:nvSpPr>
          <p:cNvPr id="14" name="Content Placeholder 1">
            <a:extLst>
              <a:ext uri="{FF2B5EF4-FFF2-40B4-BE49-F238E27FC236}">
                <a16:creationId xmlns:a16="http://schemas.microsoft.com/office/drawing/2014/main" id="{8F14B2F0-4A17-CAAE-9968-5E76AE9AD622}"/>
              </a:ext>
            </a:extLst>
          </p:cNvPr>
          <p:cNvSpPr txBox="1">
            <a:spLocks/>
          </p:cNvSpPr>
          <p:nvPr/>
        </p:nvSpPr>
        <p:spPr>
          <a:xfrm>
            <a:off x="3128999" y="2437900"/>
            <a:ext cx="1861334" cy="216619"/>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dk2"/>
              </a:buClr>
              <a:buNone/>
            </a:pPr>
            <a:r>
              <a:rPr lang="cs-CZ" sz="1200" b="1" dirty="0"/>
              <a:t>reaktory EPR ve výstavbě</a:t>
            </a:r>
            <a:endParaRPr lang="cs-CZ" sz="1200" dirty="0"/>
          </a:p>
        </p:txBody>
      </p:sp>
      <p:sp>
        <p:nvSpPr>
          <p:cNvPr id="17" name="Content Placeholder 1">
            <a:extLst>
              <a:ext uri="{FF2B5EF4-FFF2-40B4-BE49-F238E27FC236}">
                <a16:creationId xmlns:a16="http://schemas.microsoft.com/office/drawing/2014/main" id="{4186D384-8DF7-3A74-FAD6-D0C087B74263}"/>
              </a:ext>
            </a:extLst>
          </p:cNvPr>
          <p:cNvSpPr txBox="1">
            <a:spLocks/>
          </p:cNvSpPr>
          <p:nvPr/>
        </p:nvSpPr>
        <p:spPr>
          <a:xfrm>
            <a:off x="2670220" y="2721723"/>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3</a:t>
            </a:r>
          </a:p>
        </p:txBody>
      </p:sp>
      <p:sp>
        <p:nvSpPr>
          <p:cNvPr id="18" name="Content Placeholder 1">
            <a:extLst>
              <a:ext uri="{FF2B5EF4-FFF2-40B4-BE49-F238E27FC236}">
                <a16:creationId xmlns:a16="http://schemas.microsoft.com/office/drawing/2014/main" id="{BD130CBB-CBF6-7A45-41BE-961D9CEDD59D}"/>
              </a:ext>
            </a:extLst>
          </p:cNvPr>
          <p:cNvSpPr txBox="1">
            <a:spLocks/>
          </p:cNvSpPr>
          <p:nvPr/>
        </p:nvSpPr>
        <p:spPr>
          <a:xfrm>
            <a:off x="3128999" y="2707482"/>
            <a:ext cx="1710839" cy="360000"/>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dk2"/>
              </a:buClr>
              <a:buNone/>
            </a:pPr>
            <a:r>
              <a:rPr lang="cs-CZ" sz="1200" b="1" dirty="0"/>
              <a:t>lokality s plánovanou výstavbou</a:t>
            </a:r>
          </a:p>
        </p:txBody>
      </p:sp>
      <p:graphicFrame>
        <p:nvGraphicFramePr>
          <p:cNvPr id="19" name="Chart 18">
            <a:extLst>
              <a:ext uri="{FF2B5EF4-FFF2-40B4-BE49-F238E27FC236}">
                <a16:creationId xmlns:a16="http://schemas.microsoft.com/office/drawing/2014/main" id="{280D040E-CC7F-C0EE-24F3-2D50DCD72F89}"/>
              </a:ext>
            </a:extLst>
          </p:cNvPr>
          <p:cNvGraphicFramePr>
            <a:graphicFrameLocks/>
          </p:cNvGraphicFramePr>
          <p:nvPr>
            <p:custDataLst>
              <p:tags r:id="rId1"/>
            </p:custDataLst>
            <p:extLst>
              <p:ext uri="{D42A27DB-BD31-4B8C-83A1-F6EECF244321}">
                <p14:modId xmlns:p14="http://schemas.microsoft.com/office/powerpoint/2010/main" val="264982636"/>
              </p:ext>
            </p:extLst>
          </p:nvPr>
        </p:nvGraphicFramePr>
        <p:xfrm>
          <a:off x="529362" y="4446872"/>
          <a:ext cx="4567377" cy="1811718"/>
        </p:xfrm>
        <a:graphic>
          <a:graphicData uri="http://schemas.openxmlformats.org/drawingml/2006/chart">
            <c:chart xmlns:c="http://schemas.openxmlformats.org/drawingml/2006/chart" xmlns:r="http://schemas.openxmlformats.org/officeDocument/2006/relationships" r:id="rId6"/>
          </a:graphicData>
        </a:graphic>
      </p:graphicFrame>
      <p:grpSp>
        <p:nvGrpSpPr>
          <p:cNvPr id="34" name="Group 33">
            <a:extLst>
              <a:ext uri="{FF2B5EF4-FFF2-40B4-BE49-F238E27FC236}">
                <a16:creationId xmlns:a16="http://schemas.microsoft.com/office/drawing/2014/main" id="{650FFE15-F738-6416-C025-2B61D4AB184D}"/>
              </a:ext>
            </a:extLst>
          </p:cNvPr>
          <p:cNvGrpSpPr/>
          <p:nvPr/>
        </p:nvGrpSpPr>
        <p:grpSpPr>
          <a:xfrm>
            <a:off x="5173477" y="1043948"/>
            <a:ext cx="302400" cy="5248212"/>
            <a:chOff x="5286701" y="1051968"/>
            <a:chExt cx="302400" cy="5248212"/>
          </a:xfrm>
        </p:grpSpPr>
        <p:cxnSp>
          <p:nvCxnSpPr>
            <p:cNvPr id="21" name="Straight Connector 20">
              <a:extLst>
                <a:ext uri="{FF2B5EF4-FFF2-40B4-BE49-F238E27FC236}">
                  <a16:creationId xmlns:a16="http://schemas.microsoft.com/office/drawing/2014/main" id="{A5F23433-ABA0-9651-E160-16A273551625}"/>
                </a:ext>
              </a:extLst>
            </p:cNvPr>
            <p:cNvCxnSpPr>
              <a:cxnSpLocks/>
            </p:cNvCxnSpPr>
            <p:nvPr/>
          </p:nvCxnSpPr>
          <p:spPr>
            <a:xfrm>
              <a:off x="5437901" y="1051968"/>
              <a:ext cx="0" cy="5248212"/>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023F4D19-C731-0E7A-DE18-EEA907805F09}"/>
                </a:ext>
              </a:extLst>
            </p:cNvPr>
            <p:cNvGrpSpPr/>
            <p:nvPr/>
          </p:nvGrpSpPr>
          <p:grpSpPr>
            <a:xfrm>
              <a:off x="5286701" y="3386752"/>
              <a:ext cx="302400" cy="303440"/>
              <a:chOff x="4940230" y="2274306"/>
              <a:chExt cx="302558" cy="291578"/>
            </a:xfrm>
          </p:grpSpPr>
          <p:sp>
            <p:nvSpPr>
              <p:cNvPr id="23" name="Oval 22">
                <a:extLst>
                  <a:ext uri="{FF2B5EF4-FFF2-40B4-BE49-F238E27FC236}">
                    <a16:creationId xmlns:a16="http://schemas.microsoft.com/office/drawing/2014/main" id="{D3C532BD-7742-BF36-AD96-2869B02946A0}"/>
                  </a:ext>
                </a:extLst>
              </p:cNvPr>
              <p:cNvSpPr/>
              <p:nvPr/>
            </p:nvSpPr>
            <p:spPr>
              <a:xfrm>
                <a:off x="4940230" y="2274306"/>
                <a:ext cx="302558" cy="291578"/>
              </a:xfrm>
              <a:prstGeom prst="ellipse">
                <a:avLst/>
              </a:prstGeom>
              <a:solidFill>
                <a:schemeClr val="accent5">
                  <a:lumMod val="60000"/>
                  <a:lumOff val="4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5981" tIns="35981" rIns="35981" bIns="35981" rtlCol="0" anchor="ctr" anchorCtr="0"/>
              <a:lstStyle/>
              <a:p>
                <a:pPr algn="ctr"/>
                <a:endParaRPr lang="en-US" sz="1099" err="1">
                  <a:solidFill>
                    <a:srgbClr val="2E2E38"/>
                  </a:solidFill>
                  <a:latin typeface="Arial" panose="020B0604020202020204"/>
                </a:endParaRPr>
              </a:p>
            </p:txBody>
          </p:sp>
          <p:sp>
            <p:nvSpPr>
              <p:cNvPr id="24" name="Graphic 16">
                <a:extLst>
                  <a:ext uri="{FF2B5EF4-FFF2-40B4-BE49-F238E27FC236}">
                    <a16:creationId xmlns:a16="http://schemas.microsoft.com/office/drawing/2014/main" id="{56EF962D-1EA6-68B7-D238-755332F0972C}"/>
                  </a:ext>
                </a:extLst>
              </p:cNvPr>
              <p:cNvSpPr/>
              <p:nvPr/>
            </p:nvSpPr>
            <p:spPr>
              <a:xfrm rot="5400000" flipV="1">
                <a:off x="5002889" y="2364842"/>
                <a:ext cx="209122" cy="110512"/>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chemeClr val="tx1"/>
              </a:solidFill>
              <a:ln w="9525" cap="flat">
                <a:noFill/>
                <a:prstDash val="solid"/>
                <a:miter/>
              </a:ln>
            </p:spPr>
            <p:txBody>
              <a:bodyPr rtlCol="0" anchor="ctr"/>
              <a:lstStyle/>
              <a:p>
                <a:endParaRPr lang="en-US" sz="1799">
                  <a:solidFill>
                    <a:srgbClr val="FFFFFF"/>
                  </a:solidFill>
                  <a:latin typeface="Arial" panose="020B0604020202020204"/>
                </a:endParaRPr>
              </a:p>
            </p:txBody>
          </p:sp>
        </p:grpSp>
      </p:grpSp>
      <p:sp>
        <p:nvSpPr>
          <p:cNvPr id="41" name="Obdélník 75">
            <a:extLst>
              <a:ext uri="{FF2B5EF4-FFF2-40B4-BE49-F238E27FC236}">
                <a16:creationId xmlns:a16="http://schemas.microsoft.com/office/drawing/2014/main" id="{41D7DC65-C797-2C5E-4145-413C5A877543}"/>
              </a:ext>
            </a:extLst>
          </p:cNvPr>
          <p:cNvSpPr/>
          <p:nvPr/>
        </p:nvSpPr>
        <p:spPr>
          <a:xfrm>
            <a:off x="5911729" y="1020945"/>
            <a:ext cx="5676703" cy="3165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72000" rIns="72000" bIns="72000" rtlCol="0" anchor="ctr" anchorCtr="0"/>
          <a:lstStyle/>
          <a:p>
            <a:r>
              <a:rPr lang="cs-CZ" sz="1400" b="1" dirty="0">
                <a:solidFill>
                  <a:schemeClr val="accent3"/>
                </a:solidFill>
              </a:rPr>
              <a:t>UK má ambice jadernou energetiku rozvíjet</a:t>
            </a:r>
          </a:p>
        </p:txBody>
      </p:sp>
      <p:sp>
        <p:nvSpPr>
          <p:cNvPr id="42" name="Obdélník 75">
            <a:extLst>
              <a:ext uri="{FF2B5EF4-FFF2-40B4-BE49-F238E27FC236}">
                <a16:creationId xmlns:a16="http://schemas.microsoft.com/office/drawing/2014/main" id="{C1EFF882-537B-C8FB-5DBE-3C95E543AB27}"/>
              </a:ext>
            </a:extLst>
          </p:cNvPr>
          <p:cNvSpPr/>
          <p:nvPr/>
        </p:nvSpPr>
        <p:spPr>
          <a:xfrm>
            <a:off x="5911729" y="2376975"/>
            <a:ext cx="5676703" cy="3165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72000" rIns="72000" bIns="72000" rtlCol="0" anchor="ctr" anchorCtr="0"/>
          <a:lstStyle/>
          <a:p>
            <a:r>
              <a:rPr lang="cs-CZ" sz="1400" b="1" dirty="0">
                <a:solidFill>
                  <a:schemeClr val="accent3"/>
                </a:solidFill>
              </a:rPr>
              <a:t>Stav reaktorů a plánovaná výstavba</a:t>
            </a:r>
          </a:p>
        </p:txBody>
      </p:sp>
      <p:sp>
        <p:nvSpPr>
          <p:cNvPr id="44" name="Content Placeholder 1">
            <a:extLst>
              <a:ext uri="{FF2B5EF4-FFF2-40B4-BE49-F238E27FC236}">
                <a16:creationId xmlns:a16="http://schemas.microsoft.com/office/drawing/2014/main" id="{69CB8AD2-3EDF-651B-00F2-B80A6B9C5ED2}"/>
              </a:ext>
            </a:extLst>
          </p:cNvPr>
          <p:cNvSpPr txBox="1">
            <a:spLocks/>
          </p:cNvSpPr>
          <p:nvPr/>
        </p:nvSpPr>
        <p:spPr>
          <a:xfrm>
            <a:off x="5464907" y="2744918"/>
            <a:ext cx="6123525" cy="1537473"/>
          </a:xfrm>
          <a:prstGeom prst="rect">
            <a:avLst/>
          </a:prstGeom>
          <a:ln>
            <a:noFill/>
          </a:ln>
        </p:spPr>
        <p:txBody>
          <a:bodyPr vert="horz" lIns="72000" tIns="72000" rIns="72000" bIns="7200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lgn="just">
              <a:buClr>
                <a:schemeClr val="accent3"/>
              </a:buClr>
            </a:pPr>
            <a:r>
              <a:rPr lang="cs-CZ" sz="1000" dirty="0"/>
              <a:t>Většinu jaderné flotily tvoří </a:t>
            </a:r>
            <a:r>
              <a:rPr lang="cs-CZ" sz="1000" b="1" dirty="0"/>
              <a:t>plynem chlazené reaktory typu AGR</a:t>
            </a:r>
            <a:r>
              <a:rPr lang="cs-CZ" sz="1000" dirty="0"/>
              <a:t> z 80. let. Poslední reaktor byl postaven v roce 1995 (</a:t>
            </a:r>
            <a:r>
              <a:rPr lang="cs-CZ" sz="1000" dirty="0" err="1"/>
              <a:t>Sizewell</a:t>
            </a:r>
            <a:r>
              <a:rPr lang="cs-CZ" sz="1000" dirty="0"/>
              <a:t>-B, </a:t>
            </a:r>
            <a:r>
              <a:rPr lang="cs-CZ" sz="1000" dirty="0" err="1"/>
              <a:t>lehkovodní</a:t>
            </a:r>
            <a:r>
              <a:rPr lang="cs-CZ" sz="1000" dirty="0"/>
              <a:t> typ). </a:t>
            </a:r>
          </a:p>
          <a:p>
            <a:pPr marL="180000" indent="-180000" algn="just">
              <a:buClr>
                <a:schemeClr val="accent3"/>
              </a:buClr>
            </a:pPr>
            <a:r>
              <a:rPr lang="cs-CZ" sz="1000" b="1" dirty="0"/>
              <a:t>Ve výstavbě</a:t>
            </a:r>
            <a:r>
              <a:rPr lang="cs-CZ" sz="1000" dirty="0"/>
              <a:t> </a:t>
            </a:r>
            <a:r>
              <a:rPr lang="cs-CZ" sz="1000" b="1" dirty="0"/>
              <a:t>jsou dva reaktory EPR </a:t>
            </a:r>
            <a:r>
              <a:rPr lang="en-US" sz="1000" b="1" dirty="0"/>
              <a:t>od </a:t>
            </a:r>
            <a:r>
              <a:rPr lang="cs-CZ" sz="1000" b="1" dirty="0"/>
              <a:t>EDF </a:t>
            </a:r>
            <a:r>
              <a:rPr lang="cs-CZ" sz="1000" dirty="0"/>
              <a:t>o celkovém výkonu 3,2 GW v elektrárně </a:t>
            </a:r>
            <a:r>
              <a:rPr lang="cs-CZ" sz="1000" b="1" dirty="0" err="1"/>
              <a:t>Hinkley</a:t>
            </a:r>
            <a:r>
              <a:rPr lang="cs-CZ" sz="1000" b="1" dirty="0"/>
              <a:t> </a:t>
            </a:r>
            <a:br>
              <a:rPr lang="en-US" sz="1000" b="1" dirty="0"/>
            </a:br>
            <a:r>
              <a:rPr lang="cs-CZ" sz="1000" b="1" dirty="0"/>
              <a:t>Point C.</a:t>
            </a:r>
          </a:p>
          <a:p>
            <a:pPr marL="180000" indent="-180000" algn="just">
              <a:buClr>
                <a:schemeClr val="accent3"/>
              </a:buClr>
            </a:pPr>
            <a:r>
              <a:rPr lang="cs-CZ" sz="1000" b="1" dirty="0"/>
              <a:t>Plánovaná výstavba</a:t>
            </a:r>
            <a:r>
              <a:rPr lang="cs-CZ" sz="1000" dirty="0"/>
              <a:t> zahrnuje reaktory v lokalitách </a:t>
            </a:r>
            <a:r>
              <a:rPr lang="cs-CZ" sz="1000" b="1" dirty="0"/>
              <a:t>elektráren </a:t>
            </a:r>
            <a:r>
              <a:rPr lang="cs-CZ" sz="1000" b="1" dirty="0" err="1"/>
              <a:t>Wylfa</a:t>
            </a:r>
            <a:r>
              <a:rPr lang="cs-CZ" sz="1000" b="1" dirty="0"/>
              <a:t> a </a:t>
            </a:r>
            <a:r>
              <a:rPr lang="cs-CZ" sz="1000" b="1" dirty="0" err="1"/>
              <a:t>Oldbury</a:t>
            </a:r>
            <a:r>
              <a:rPr lang="cs-CZ" sz="1000" dirty="0"/>
              <a:t>, kde měla varné reaktory stavět </a:t>
            </a:r>
            <a:r>
              <a:rPr lang="cs-CZ" sz="1000" b="1" dirty="0"/>
              <a:t>firma </a:t>
            </a:r>
            <a:r>
              <a:rPr lang="cs-CZ" sz="1000" b="1" dirty="0" err="1"/>
              <a:t>Hitachi</a:t>
            </a:r>
            <a:r>
              <a:rPr lang="cs-CZ" sz="1000" b="1" dirty="0"/>
              <a:t>, která ale z projektu odstoupila v r. 2020</a:t>
            </a:r>
            <a:r>
              <a:rPr lang="cs-CZ" sz="1000" dirty="0"/>
              <a:t>. Výstavba </a:t>
            </a:r>
            <a:r>
              <a:rPr lang="cs-CZ" sz="1000" b="1" dirty="0"/>
              <a:t>v </a:t>
            </a:r>
            <a:r>
              <a:rPr lang="cs-CZ" sz="1000" b="1" dirty="0" err="1"/>
              <a:t>Bradwellu</a:t>
            </a:r>
            <a:r>
              <a:rPr lang="cs-CZ" sz="1000" dirty="0"/>
              <a:t>, kterou měla zaštitovat čínská CGN, byla </a:t>
            </a:r>
            <a:r>
              <a:rPr lang="cs-CZ" sz="1000" b="1" dirty="0"/>
              <a:t>pozastavena</a:t>
            </a:r>
            <a:r>
              <a:rPr lang="cs-CZ" sz="1000" dirty="0"/>
              <a:t> z bezpečnostních obav. </a:t>
            </a:r>
            <a:r>
              <a:rPr lang="cs-CZ" sz="1000" b="1" dirty="0"/>
              <a:t>V lokalitě elektrárny </a:t>
            </a:r>
            <a:r>
              <a:rPr lang="cs-CZ" sz="1000" b="1" dirty="0" err="1"/>
              <a:t>Sizewell</a:t>
            </a:r>
            <a:r>
              <a:rPr lang="cs-CZ" sz="1000" b="1" dirty="0"/>
              <a:t> by měla stavět EDF</a:t>
            </a:r>
            <a:r>
              <a:rPr lang="cs-CZ" sz="1000" dirty="0"/>
              <a:t>, zatím ovšem není stanoveno datum. </a:t>
            </a:r>
            <a:endParaRPr lang="cs-CZ" sz="1000" b="1" dirty="0"/>
          </a:p>
        </p:txBody>
      </p:sp>
      <p:sp>
        <p:nvSpPr>
          <p:cNvPr id="45" name="Obdélník 75">
            <a:extLst>
              <a:ext uri="{FF2B5EF4-FFF2-40B4-BE49-F238E27FC236}">
                <a16:creationId xmlns:a16="http://schemas.microsoft.com/office/drawing/2014/main" id="{274872D6-3646-1046-5F79-1E8D7EBF27DE}"/>
              </a:ext>
            </a:extLst>
          </p:cNvPr>
          <p:cNvSpPr/>
          <p:nvPr/>
        </p:nvSpPr>
        <p:spPr>
          <a:xfrm>
            <a:off x="5911729" y="4352002"/>
            <a:ext cx="5676703" cy="3165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72000" rIns="72000" bIns="72000" rtlCol="0" anchor="ctr" anchorCtr="0"/>
          <a:lstStyle/>
          <a:p>
            <a:r>
              <a:rPr lang="cs-CZ" sz="1400" b="1" dirty="0">
                <a:solidFill>
                  <a:schemeClr val="accent3"/>
                </a:solidFill>
              </a:rPr>
              <a:t>Malé modulární reaktory</a:t>
            </a:r>
          </a:p>
        </p:txBody>
      </p:sp>
      <p:sp>
        <p:nvSpPr>
          <p:cNvPr id="48" name="Content Placeholder 1">
            <a:extLst>
              <a:ext uri="{FF2B5EF4-FFF2-40B4-BE49-F238E27FC236}">
                <a16:creationId xmlns:a16="http://schemas.microsoft.com/office/drawing/2014/main" id="{FC546D5F-D443-FD00-49C9-947AD9033599}"/>
              </a:ext>
            </a:extLst>
          </p:cNvPr>
          <p:cNvSpPr txBox="1">
            <a:spLocks/>
          </p:cNvSpPr>
          <p:nvPr/>
        </p:nvSpPr>
        <p:spPr>
          <a:xfrm>
            <a:off x="5471012" y="4654640"/>
            <a:ext cx="6117420" cy="1580948"/>
          </a:xfrm>
          <a:prstGeom prst="rect">
            <a:avLst/>
          </a:prstGeom>
          <a:ln>
            <a:noFill/>
          </a:ln>
        </p:spPr>
        <p:txBody>
          <a:bodyPr vert="horz" lIns="72000" tIns="72000" rIns="72000" bIns="7200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lgn="just">
              <a:buClr>
                <a:schemeClr val="accent3"/>
              </a:buClr>
            </a:pPr>
            <a:r>
              <a:rPr lang="cs-CZ" sz="1000" dirty="0"/>
              <a:t>Britská agentura pro likvidaci jaderných zařízení zkoumá možnosti využití svých pozemků k podpoře strategie energetické bezpečnosti britské vlády, včetně potenciálního umístění SMR od Rolls-Royce (RR SMR). </a:t>
            </a:r>
            <a:r>
              <a:rPr lang="cs-CZ" sz="1000" b="1" dirty="0"/>
              <a:t>Technologie RR SMR, zaměřující se na </a:t>
            </a:r>
            <a:r>
              <a:rPr lang="cs-CZ" sz="1000" b="1" dirty="0" err="1"/>
              <a:t>lehkovodní</a:t>
            </a:r>
            <a:r>
              <a:rPr lang="cs-CZ" sz="1000" b="1" dirty="0"/>
              <a:t> reaktory </a:t>
            </a:r>
            <a:r>
              <a:rPr lang="cs-CZ" sz="1000" dirty="0"/>
              <a:t>byla také vybrána jako </a:t>
            </a:r>
            <a:r>
              <a:rPr lang="cs-CZ" sz="1000" b="1" dirty="0"/>
              <a:t>preferovaná společností </a:t>
            </a:r>
            <a:r>
              <a:rPr lang="cs-CZ" sz="1000" b="1" dirty="0" err="1"/>
              <a:t>Solway</a:t>
            </a:r>
            <a:r>
              <a:rPr lang="cs-CZ" sz="1000" b="1" dirty="0"/>
              <a:t> </a:t>
            </a:r>
            <a:r>
              <a:rPr lang="cs-CZ" sz="1000" b="1" dirty="0" err="1"/>
              <a:t>Community</a:t>
            </a:r>
            <a:r>
              <a:rPr lang="cs-CZ" sz="1000" b="1" dirty="0"/>
              <a:t> </a:t>
            </a:r>
            <a:r>
              <a:rPr lang="cs-CZ" sz="1000" b="1" dirty="0" err="1"/>
              <a:t>Power</a:t>
            </a:r>
            <a:r>
              <a:rPr lang="cs-CZ" sz="1000" b="1" dirty="0"/>
              <a:t> </a:t>
            </a:r>
            <a:r>
              <a:rPr lang="cs-CZ" sz="1000" b="1" dirty="0" err="1"/>
              <a:t>Company</a:t>
            </a:r>
            <a:r>
              <a:rPr lang="cs-CZ" sz="1000" dirty="0"/>
              <a:t>, která plánuje nasazení SMR v oblasti </a:t>
            </a:r>
            <a:r>
              <a:rPr lang="cs-CZ" sz="1000" dirty="0" err="1"/>
              <a:t>West</a:t>
            </a:r>
            <a:r>
              <a:rPr lang="cs-CZ" sz="1000" dirty="0"/>
              <a:t> </a:t>
            </a:r>
            <a:r>
              <a:rPr lang="cs-CZ" sz="1000" dirty="0" err="1"/>
              <a:t>Cumbria</a:t>
            </a:r>
            <a:r>
              <a:rPr lang="cs-CZ" sz="1000" dirty="0"/>
              <a:t> ve Spojeném království. </a:t>
            </a:r>
            <a:r>
              <a:rPr lang="cs-CZ" sz="1000" b="1" dirty="0"/>
              <a:t>První </a:t>
            </a:r>
            <a:r>
              <a:rPr lang="en-US" sz="1000" b="1" dirty="0" err="1"/>
              <a:t>instalace</a:t>
            </a:r>
            <a:r>
              <a:rPr lang="cs-CZ" sz="1000" b="1" dirty="0"/>
              <a:t> by měly proběhnout začátkem 30. let.</a:t>
            </a:r>
          </a:p>
          <a:p>
            <a:pPr marL="180000" indent="-180000" algn="just">
              <a:buClr>
                <a:schemeClr val="accent3"/>
              </a:buClr>
            </a:pPr>
            <a:r>
              <a:rPr lang="cs-CZ" sz="1000" b="1" dirty="0">
                <a:solidFill>
                  <a:schemeClr val="bg2"/>
                </a:solidFill>
              </a:rPr>
              <a:t>Rolls-Royce SMR </a:t>
            </a:r>
            <a:r>
              <a:rPr lang="cs-CZ" sz="1000" dirty="0">
                <a:solidFill>
                  <a:schemeClr val="bg2"/>
                </a:solidFill>
              </a:rPr>
              <a:t>rovněž podepsala memorandum o porozumění (</a:t>
            </a:r>
            <a:r>
              <a:rPr lang="cs-CZ" sz="1000" dirty="0" err="1">
                <a:solidFill>
                  <a:schemeClr val="bg2"/>
                </a:solidFill>
              </a:rPr>
              <a:t>MoU</a:t>
            </a:r>
            <a:r>
              <a:rPr lang="cs-CZ" sz="1000" dirty="0">
                <a:solidFill>
                  <a:schemeClr val="bg2"/>
                </a:solidFill>
              </a:rPr>
              <a:t>) s ČEZ o vyhodnocení možnosti nasazení RR SMR v areálu jaderné elektrárny Temelín.</a:t>
            </a:r>
          </a:p>
          <a:p>
            <a:pPr marL="180000" indent="-180000" algn="just">
              <a:buClr>
                <a:schemeClr val="accent3"/>
              </a:buClr>
            </a:pPr>
            <a:r>
              <a:rPr lang="cs-CZ" sz="1000" dirty="0">
                <a:solidFill>
                  <a:schemeClr val="bg2"/>
                </a:solidFill>
              </a:rPr>
              <a:t>Británie rovněž podepsala memoranda například s výrobci SMR </a:t>
            </a:r>
            <a:r>
              <a:rPr lang="cs-CZ" sz="1000" dirty="0" err="1">
                <a:solidFill>
                  <a:schemeClr val="bg2"/>
                </a:solidFill>
              </a:rPr>
              <a:t>Newcleo</a:t>
            </a:r>
            <a:r>
              <a:rPr lang="cs-CZ" sz="1000" dirty="0">
                <a:solidFill>
                  <a:schemeClr val="bg2"/>
                </a:solidFill>
              </a:rPr>
              <a:t>, a dokončila tří stupňový proces se společnosti </a:t>
            </a:r>
            <a:r>
              <a:rPr lang="cs-CZ" sz="1000" dirty="0" err="1">
                <a:solidFill>
                  <a:schemeClr val="bg2"/>
                </a:solidFill>
              </a:rPr>
              <a:t>Blykalla</a:t>
            </a:r>
            <a:r>
              <a:rPr lang="cs-CZ" sz="1000" dirty="0">
                <a:solidFill>
                  <a:schemeClr val="bg2"/>
                </a:solidFill>
              </a:rPr>
              <a:t> </a:t>
            </a:r>
            <a:r>
              <a:rPr lang="cs-CZ" sz="1000" dirty="0"/>
              <a:t>za účelem prozkoumat regulační postupy pro licencování rychlých reaktorů chlazených olovem.</a:t>
            </a:r>
            <a:endParaRPr lang="cs-CZ" sz="1000" b="1" dirty="0"/>
          </a:p>
        </p:txBody>
      </p:sp>
      <p:sp>
        <p:nvSpPr>
          <p:cNvPr id="50" name="Flowchart: Connector 49">
            <a:extLst>
              <a:ext uri="{FF2B5EF4-FFF2-40B4-BE49-F238E27FC236}">
                <a16:creationId xmlns:a16="http://schemas.microsoft.com/office/drawing/2014/main" id="{C4FA874A-3BC6-D676-1DBB-7B196061B39F}"/>
              </a:ext>
            </a:extLst>
          </p:cNvPr>
          <p:cNvSpPr/>
          <p:nvPr/>
        </p:nvSpPr>
        <p:spPr>
          <a:xfrm>
            <a:off x="1716818" y="1605909"/>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51" name="Flowchart: Connector 50">
            <a:extLst>
              <a:ext uri="{FF2B5EF4-FFF2-40B4-BE49-F238E27FC236}">
                <a16:creationId xmlns:a16="http://schemas.microsoft.com/office/drawing/2014/main" id="{B994837D-7E05-0EFF-AB1F-1055EF3CF518}"/>
              </a:ext>
            </a:extLst>
          </p:cNvPr>
          <p:cNvSpPr/>
          <p:nvPr/>
        </p:nvSpPr>
        <p:spPr>
          <a:xfrm>
            <a:off x="1927120" y="1881319"/>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52" name="Flowchart: Connector 51">
            <a:extLst>
              <a:ext uri="{FF2B5EF4-FFF2-40B4-BE49-F238E27FC236}">
                <a16:creationId xmlns:a16="http://schemas.microsoft.com/office/drawing/2014/main" id="{AE315B01-54F9-F6D7-1B23-CD8206A7742C}"/>
              </a:ext>
            </a:extLst>
          </p:cNvPr>
          <p:cNvSpPr/>
          <p:nvPr/>
        </p:nvSpPr>
        <p:spPr>
          <a:xfrm>
            <a:off x="1725625" y="1960923"/>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54" name="Flowchart: Connector 53">
            <a:extLst>
              <a:ext uri="{FF2B5EF4-FFF2-40B4-BE49-F238E27FC236}">
                <a16:creationId xmlns:a16="http://schemas.microsoft.com/office/drawing/2014/main" id="{39675C6F-5B21-BBB0-E2D6-DCB534F16A56}"/>
              </a:ext>
            </a:extLst>
          </p:cNvPr>
          <p:cNvSpPr/>
          <p:nvPr/>
        </p:nvSpPr>
        <p:spPr>
          <a:xfrm>
            <a:off x="1722484" y="2393555"/>
            <a:ext cx="108000" cy="108000"/>
          </a:xfrm>
          <a:prstGeom prst="flowChartConnector">
            <a:avLst/>
          </a:prstGeom>
          <a:solidFill>
            <a:schemeClr val="tx2"/>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55" name="Flowchart: Connector 54">
            <a:extLst>
              <a:ext uri="{FF2B5EF4-FFF2-40B4-BE49-F238E27FC236}">
                <a16:creationId xmlns:a16="http://schemas.microsoft.com/office/drawing/2014/main" id="{6C497758-9018-0F9C-28DB-92FA3D62EC4B}"/>
              </a:ext>
            </a:extLst>
          </p:cNvPr>
          <p:cNvSpPr/>
          <p:nvPr/>
        </p:nvSpPr>
        <p:spPr>
          <a:xfrm>
            <a:off x="2129893" y="2221555"/>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56" name="Flowchart: Connector 55">
            <a:extLst>
              <a:ext uri="{FF2B5EF4-FFF2-40B4-BE49-F238E27FC236}">
                <a16:creationId xmlns:a16="http://schemas.microsoft.com/office/drawing/2014/main" id="{B96CE022-D12B-57FA-BB1F-17B0E1C5B28D}"/>
              </a:ext>
            </a:extLst>
          </p:cNvPr>
          <p:cNvSpPr/>
          <p:nvPr/>
        </p:nvSpPr>
        <p:spPr>
          <a:xfrm>
            <a:off x="2235249" y="2224575"/>
            <a:ext cx="108000" cy="108000"/>
          </a:xfrm>
          <a:prstGeom prst="flowChartConnector">
            <a:avLst/>
          </a:prstGeom>
          <a:solidFill>
            <a:srgbClr val="FFC000"/>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57" name="Flowchart: Connector 56">
            <a:extLst>
              <a:ext uri="{FF2B5EF4-FFF2-40B4-BE49-F238E27FC236}">
                <a16:creationId xmlns:a16="http://schemas.microsoft.com/office/drawing/2014/main" id="{E944807D-4913-F750-5C52-D5A47AE006C3}"/>
              </a:ext>
            </a:extLst>
          </p:cNvPr>
          <p:cNvSpPr/>
          <p:nvPr/>
        </p:nvSpPr>
        <p:spPr>
          <a:xfrm>
            <a:off x="2147321" y="2376975"/>
            <a:ext cx="108000" cy="108000"/>
          </a:xfrm>
          <a:prstGeom prst="flowChartConnector">
            <a:avLst/>
          </a:prstGeom>
          <a:solidFill>
            <a:srgbClr val="FFC000"/>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58" name="Flowchart: Connector 57">
            <a:extLst>
              <a:ext uri="{FF2B5EF4-FFF2-40B4-BE49-F238E27FC236}">
                <a16:creationId xmlns:a16="http://schemas.microsoft.com/office/drawing/2014/main" id="{A779D8B1-3C03-15DD-D194-9AAAEB90CD13}"/>
              </a:ext>
            </a:extLst>
          </p:cNvPr>
          <p:cNvSpPr/>
          <p:nvPr/>
        </p:nvSpPr>
        <p:spPr>
          <a:xfrm>
            <a:off x="1566143" y="2108810"/>
            <a:ext cx="108000" cy="108000"/>
          </a:xfrm>
          <a:prstGeom prst="flowChartConnector">
            <a:avLst/>
          </a:prstGeom>
          <a:solidFill>
            <a:srgbClr val="FFC000"/>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60" name="Flowchart: Connector 59">
            <a:extLst>
              <a:ext uri="{FF2B5EF4-FFF2-40B4-BE49-F238E27FC236}">
                <a16:creationId xmlns:a16="http://schemas.microsoft.com/office/drawing/2014/main" id="{047D829F-C16D-ED56-A6C7-5F6689B330D7}"/>
              </a:ext>
            </a:extLst>
          </p:cNvPr>
          <p:cNvSpPr/>
          <p:nvPr/>
        </p:nvSpPr>
        <p:spPr>
          <a:xfrm>
            <a:off x="822882" y="2788100"/>
            <a:ext cx="108000" cy="108000"/>
          </a:xfrm>
          <a:prstGeom prst="flowChartConnector">
            <a:avLst/>
          </a:prstGeom>
          <a:solidFill>
            <a:schemeClr val="accent1"/>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61" name="Content Placeholder 1">
            <a:extLst>
              <a:ext uri="{FF2B5EF4-FFF2-40B4-BE49-F238E27FC236}">
                <a16:creationId xmlns:a16="http://schemas.microsoft.com/office/drawing/2014/main" id="{91CFE7A3-F34C-293C-6E09-69208988437E}"/>
              </a:ext>
            </a:extLst>
          </p:cNvPr>
          <p:cNvSpPr txBox="1">
            <a:spLocks/>
          </p:cNvSpPr>
          <p:nvPr/>
        </p:nvSpPr>
        <p:spPr>
          <a:xfrm>
            <a:off x="1002471" y="2758164"/>
            <a:ext cx="1424400" cy="184534"/>
          </a:xfrm>
          <a:prstGeom prst="rect">
            <a:avLst/>
          </a:prstGeom>
          <a:ln>
            <a:noFill/>
          </a:ln>
        </p:spPr>
        <p:txBody>
          <a:bodyPr vert="horz" lIns="0" tIns="0" rIns="0" bIns="0" rtlCol="0" anchor="ctr"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900" dirty="0"/>
              <a:t>bez nového reaktoru</a:t>
            </a:r>
          </a:p>
        </p:txBody>
      </p:sp>
      <p:sp>
        <p:nvSpPr>
          <p:cNvPr id="67" name="Flowchart: Connector 66">
            <a:extLst>
              <a:ext uri="{FF2B5EF4-FFF2-40B4-BE49-F238E27FC236}">
                <a16:creationId xmlns:a16="http://schemas.microsoft.com/office/drawing/2014/main" id="{512A9D5D-AC02-541B-0411-295D01DC8613}"/>
              </a:ext>
            </a:extLst>
          </p:cNvPr>
          <p:cNvSpPr/>
          <p:nvPr/>
        </p:nvSpPr>
        <p:spPr>
          <a:xfrm>
            <a:off x="1620491" y="2960575"/>
            <a:ext cx="108000" cy="108000"/>
          </a:xfrm>
          <a:prstGeom prst="flowChartConnector">
            <a:avLst/>
          </a:prstGeom>
          <a:solidFill>
            <a:schemeClr val="tx2"/>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68" name="Content Placeholder 1">
            <a:extLst>
              <a:ext uri="{FF2B5EF4-FFF2-40B4-BE49-F238E27FC236}">
                <a16:creationId xmlns:a16="http://schemas.microsoft.com/office/drawing/2014/main" id="{770F005F-3A8A-D690-7D1B-443520351D5A}"/>
              </a:ext>
            </a:extLst>
          </p:cNvPr>
          <p:cNvSpPr txBox="1">
            <a:spLocks/>
          </p:cNvSpPr>
          <p:nvPr/>
        </p:nvSpPr>
        <p:spPr>
          <a:xfrm>
            <a:off x="1817461" y="2930148"/>
            <a:ext cx="1281712" cy="168855"/>
          </a:xfrm>
          <a:prstGeom prst="rect">
            <a:avLst/>
          </a:prstGeom>
          <a:ln>
            <a:noFill/>
          </a:ln>
        </p:spPr>
        <p:txBody>
          <a:bodyPr vert="horz" lIns="0" tIns="0" rIns="0" bIns="0" rtlCol="0" anchor="ctr"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900" dirty="0"/>
              <a:t>ve výstavbě</a:t>
            </a:r>
          </a:p>
        </p:txBody>
      </p:sp>
      <p:sp>
        <p:nvSpPr>
          <p:cNvPr id="69" name="Flowchart: Connector 68">
            <a:extLst>
              <a:ext uri="{FF2B5EF4-FFF2-40B4-BE49-F238E27FC236}">
                <a16:creationId xmlns:a16="http://schemas.microsoft.com/office/drawing/2014/main" id="{AD13BB80-4BD0-C4DA-9000-A2623FE526E9}"/>
              </a:ext>
            </a:extLst>
          </p:cNvPr>
          <p:cNvSpPr/>
          <p:nvPr/>
        </p:nvSpPr>
        <p:spPr>
          <a:xfrm>
            <a:off x="816203" y="2987766"/>
            <a:ext cx="108000" cy="108000"/>
          </a:xfrm>
          <a:prstGeom prst="flowChartConnector">
            <a:avLst/>
          </a:prstGeom>
          <a:solidFill>
            <a:srgbClr val="FFC000"/>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70" name="Content Placeholder 1">
            <a:extLst>
              <a:ext uri="{FF2B5EF4-FFF2-40B4-BE49-F238E27FC236}">
                <a16:creationId xmlns:a16="http://schemas.microsoft.com/office/drawing/2014/main" id="{F5C3BD97-A823-7710-6C1D-B449B8C56C11}"/>
              </a:ext>
            </a:extLst>
          </p:cNvPr>
          <p:cNvSpPr txBox="1">
            <a:spLocks/>
          </p:cNvSpPr>
          <p:nvPr/>
        </p:nvSpPr>
        <p:spPr>
          <a:xfrm>
            <a:off x="1002528" y="2950897"/>
            <a:ext cx="646004" cy="292834"/>
          </a:xfrm>
          <a:prstGeom prst="rect">
            <a:avLst/>
          </a:prstGeom>
          <a:ln>
            <a:noFill/>
          </a:ln>
        </p:spPr>
        <p:txBody>
          <a:bodyPr vert="horz" lIns="0" tIns="0" rIns="0" bIns="0" rtlCol="0" anchor="ctr"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900" dirty="0"/>
              <a:t>plánovaná výstavba</a:t>
            </a:r>
          </a:p>
        </p:txBody>
      </p:sp>
      <p:sp>
        <p:nvSpPr>
          <p:cNvPr id="38" name="Footer Placeholder 2">
            <a:extLst>
              <a:ext uri="{FF2B5EF4-FFF2-40B4-BE49-F238E27FC236}">
                <a16:creationId xmlns:a16="http://schemas.microsoft.com/office/drawing/2014/main" id="{E8470CD6-4991-502A-C751-C6B10A797BC9}"/>
              </a:ext>
            </a:extLst>
          </p:cNvPr>
          <p:cNvSpPr>
            <a:spLocks noGrp="1"/>
          </p:cNvSpPr>
          <p:nvPr>
            <p:ph type="ftr" sz="quarter" idx="10"/>
          </p:nvPr>
        </p:nvSpPr>
        <p:spPr>
          <a:xfrm>
            <a:off x="2678113" y="6471244"/>
            <a:ext cx="3086100" cy="180000"/>
          </a:xfrm>
        </p:spPr>
        <p:txBody>
          <a:bodyPr/>
          <a:lstStyle/>
          <a:p>
            <a:r>
              <a:rPr lang="en-US" dirty="0"/>
              <a:t>All for Power Conference</a:t>
            </a:r>
            <a:r>
              <a:rPr lang="cs-CZ" dirty="0"/>
              <a:t>; </a:t>
            </a:r>
            <a:r>
              <a:rPr lang="cs-CZ" sz="800" dirty="0"/>
              <a:t>Jaderná energetika - Evropa</a:t>
            </a:r>
            <a:endParaRPr lang="cs-CZ" dirty="0"/>
          </a:p>
        </p:txBody>
      </p:sp>
      <p:sp>
        <p:nvSpPr>
          <p:cNvPr id="71" name="Nuclear_plant" descr="{&quot;Key&quot;:&quot;POWER_USER_SHAPE_ICON&quot;,&quot;Value&quot;:&quot;POWER_USER_SHAPE_ICON_STYLE_1&quot;}">
            <a:extLst>
              <a:ext uri="{FF2B5EF4-FFF2-40B4-BE49-F238E27FC236}">
                <a16:creationId xmlns:a16="http://schemas.microsoft.com/office/drawing/2014/main" id="{EC01FDD5-B2F9-65BD-99B8-D638584D9CE2}"/>
              </a:ext>
            </a:extLst>
          </p:cNvPr>
          <p:cNvSpPr>
            <a:spLocks noChangeAspect="1" noEditPoints="1"/>
          </p:cNvSpPr>
          <p:nvPr>
            <p:custDataLst>
              <p:tags r:id="rId2"/>
            </p:custDataLst>
          </p:nvPr>
        </p:nvSpPr>
        <p:spPr bwMode="auto">
          <a:xfrm>
            <a:off x="5534358" y="2358328"/>
            <a:ext cx="267015" cy="324000"/>
          </a:xfrm>
          <a:custGeom>
            <a:avLst/>
            <a:gdLst>
              <a:gd name="T0" fmla="*/ 154 w 682"/>
              <a:gd name="T1" fmla="*/ 690 h 829"/>
              <a:gd name="T2" fmla="*/ 179 w 682"/>
              <a:gd name="T3" fmla="*/ 324 h 829"/>
              <a:gd name="T4" fmla="*/ 446 w 682"/>
              <a:gd name="T5" fmla="*/ 463 h 829"/>
              <a:gd name="T6" fmla="*/ 145 w 682"/>
              <a:gd name="T7" fmla="*/ 725 h 829"/>
              <a:gd name="T8" fmla="*/ 130 w 682"/>
              <a:gd name="T9" fmla="*/ 781 h 829"/>
              <a:gd name="T10" fmla="*/ 221 w 682"/>
              <a:gd name="T11" fmla="*/ 725 h 829"/>
              <a:gd name="T12" fmla="*/ 196 w 682"/>
              <a:gd name="T13" fmla="*/ 781 h 829"/>
              <a:gd name="T14" fmla="*/ 221 w 682"/>
              <a:gd name="T15" fmla="*/ 725 h 829"/>
              <a:gd name="T16" fmla="*/ 279 w 682"/>
              <a:gd name="T17" fmla="*/ 781 h 829"/>
              <a:gd name="T18" fmla="*/ 257 w 682"/>
              <a:gd name="T19" fmla="*/ 725 h 829"/>
              <a:gd name="T20" fmla="*/ 340 w 682"/>
              <a:gd name="T21" fmla="*/ 725 h 829"/>
              <a:gd name="T22" fmla="*/ 315 w 682"/>
              <a:gd name="T23" fmla="*/ 781 h 829"/>
              <a:gd name="T24" fmla="*/ 340 w 682"/>
              <a:gd name="T25" fmla="*/ 725 h 829"/>
              <a:gd name="T26" fmla="*/ 398 w 682"/>
              <a:gd name="T27" fmla="*/ 781 h 829"/>
              <a:gd name="T28" fmla="*/ 376 w 682"/>
              <a:gd name="T29" fmla="*/ 725 h 829"/>
              <a:gd name="T30" fmla="*/ 459 w 682"/>
              <a:gd name="T31" fmla="*/ 725 h 829"/>
              <a:gd name="T32" fmla="*/ 434 w 682"/>
              <a:gd name="T33" fmla="*/ 781 h 829"/>
              <a:gd name="T34" fmla="*/ 459 w 682"/>
              <a:gd name="T35" fmla="*/ 725 h 829"/>
              <a:gd name="T36" fmla="*/ 580 w 682"/>
              <a:gd name="T37" fmla="*/ 135 h 829"/>
              <a:gd name="T38" fmla="*/ 457 w 682"/>
              <a:gd name="T39" fmla="*/ 125 h 829"/>
              <a:gd name="T40" fmla="*/ 352 w 682"/>
              <a:gd name="T41" fmla="*/ 231 h 829"/>
              <a:gd name="T42" fmla="*/ 399 w 682"/>
              <a:gd name="T43" fmla="*/ 231 h 829"/>
              <a:gd name="T44" fmla="*/ 457 w 682"/>
              <a:gd name="T45" fmla="*/ 172 h 829"/>
              <a:gd name="T46" fmla="*/ 604 w 682"/>
              <a:gd name="T47" fmla="*/ 175 h 829"/>
              <a:gd name="T48" fmla="*/ 628 w 682"/>
              <a:gd name="T49" fmla="*/ 61 h 829"/>
              <a:gd name="T50" fmla="*/ 491 w 682"/>
              <a:gd name="T51" fmla="*/ 277 h 829"/>
              <a:gd name="T52" fmla="*/ 226 w 682"/>
              <a:gd name="T53" fmla="*/ 197 h 829"/>
              <a:gd name="T54" fmla="*/ 254 w 682"/>
              <a:gd name="T55" fmla="*/ 133 h 829"/>
              <a:gd name="T56" fmla="*/ 332 w 682"/>
              <a:gd name="T57" fmla="*/ 181 h 829"/>
              <a:gd name="T58" fmla="*/ 297 w 682"/>
              <a:gd name="T59" fmla="*/ 103 h 829"/>
              <a:gd name="T60" fmla="*/ 389 w 682"/>
              <a:gd name="T61" fmla="*/ 68 h 829"/>
              <a:gd name="T62" fmla="*/ 564 w 682"/>
              <a:gd name="T63" fmla="*/ 39 h 829"/>
              <a:gd name="T64" fmla="*/ 523 w 682"/>
              <a:gd name="T65" fmla="*/ 15 h 829"/>
              <a:gd name="T66" fmla="*/ 418 w 682"/>
              <a:gd name="T67" fmla="*/ 30 h 829"/>
              <a:gd name="T68" fmla="*/ 251 w 682"/>
              <a:gd name="T69" fmla="*/ 86 h 829"/>
              <a:gd name="T70" fmla="*/ 181 w 682"/>
              <a:gd name="T71" fmla="*/ 212 h 829"/>
              <a:gd name="T72" fmla="*/ 126 w 682"/>
              <a:gd name="T73" fmla="*/ 308 h 829"/>
              <a:gd name="T74" fmla="*/ 108 w 682"/>
              <a:gd name="T75" fmla="*/ 679 h 829"/>
              <a:gd name="T76" fmla="*/ 23 w 682"/>
              <a:gd name="T77" fmla="*/ 781 h 829"/>
              <a:gd name="T78" fmla="*/ 23 w 682"/>
              <a:gd name="T79" fmla="*/ 829 h 829"/>
              <a:gd name="T80" fmla="*/ 640 w 682"/>
              <a:gd name="T81" fmla="*/ 805 h 829"/>
              <a:gd name="T82" fmla="*/ 559 w 682"/>
              <a:gd name="T83" fmla="*/ 781 h 829"/>
              <a:gd name="T84" fmla="*/ 494 w 682"/>
              <a:gd name="T85" fmla="*/ 462 h 829"/>
              <a:gd name="T86" fmla="*/ 491 w 682"/>
              <a:gd name="T87" fmla="*/ 277 h 829"/>
              <a:gd name="T88" fmla="*/ 658 w 682"/>
              <a:gd name="T89" fmla="*/ 182 h 829"/>
              <a:gd name="T90" fmla="*/ 647 w 682"/>
              <a:gd name="T91" fmla="*/ 289 h 829"/>
              <a:gd name="T92" fmla="*/ 539 w 682"/>
              <a:gd name="T93" fmla="*/ 300 h 829"/>
              <a:gd name="T94" fmla="*/ 613 w 682"/>
              <a:gd name="T95" fmla="*/ 256 h 829"/>
              <a:gd name="T96" fmla="*/ 511 w 682"/>
              <a:gd name="T97" fmla="*/ 781 h 829"/>
              <a:gd name="T98" fmla="*/ 495 w 682"/>
              <a:gd name="T99" fmla="*/ 725 h 829"/>
              <a:gd name="T100" fmla="*/ 511 w 682"/>
              <a:gd name="T101" fmla="*/ 781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2" h="829">
                <a:moveTo>
                  <a:pt x="486" y="690"/>
                </a:moveTo>
                <a:lnTo>
                  <a:pt x="154" y="690"/>
                </a:lnTo>
                <a:cubicBezTo>
                  <a:pt x="180" y="593"/>
                  <a:pt x="192" y="523"/>
                  <a:pt x="194" y="463"/>
                </a:cubicBezTo>
                <a:cubicBezTo>
                  <a:pt x="195" y="412"/>
                  <a:pt x="190" y="369"/>
                  <a:pt x="179" y="324"/>
                </a:cubicBezTo>
                <a:lnTo>
                  <a:pt x="461" y="324"/>
                </a:lnTo>
                <a:cubicBezTo>
                  <a:pt x="450" y="369"/>
                  <a:pt x="445" y="412"/>
                  <a:pt x="446" y="463"/>
                </a:cubicBezTo>
                <a:cubicBezTo>
                  <a:pt x="448" y="523"/>
                  <a:pt x="460" y="593"/>
                  <a:pt x="486" y="690"/>
                </a:cubicBezTo>
                <a:close/>
                <a:moveTo>
                  <a:pt x="145" y="725"/>
                </a:moveTo>
                <a:lnTo>
                  <a:pt x="160" y="781"/>
                </a:lnTo>
                <a:lnTo>
                  <a:pt x="130" y="781"/>
                </a:lnTo>
                <a:lnTo>
                  <a:pt x="145" y="725"/>
                </a:lnTo>
                <a:close/>
                <a:moveTo>
                  <a:pt x="221" y="725"/>
                </a:moveTo>
                <a:lnTo>
                  <a:pt x="206" y="781"/>
                </a:lnTo>
                <a:lnTo>
                  <a:pt x="196" y="781"/>
                </a:lnTo>
                <a:lnTo>
                  <a:pt x="181" y="725"/>
                </a:lnTo>
                <a:lnTo>
                  <a:pt x="221" y="725"/>
                </a:lnTo>
                <a:close/>
                <a:moveTo>
                  <a:pt x="264" y="725"/>
                </a:moveTo>
                <a:lnTo>
                  <a:pt x="279" y="781"/>
                </a:lnTo>
                <a:lnTo>
                  <a:pt x="242" y="781"/>
                </a:lnTo>
                <a:lnTo>
                  <a:pt x="257" y="725"/>
                </a:lnTo>
                <a:lnTo>
                  <a:pt x="264" y="725"/>
                </a:lnTo>
                <a:close/>
                <a:moveTo>
                  <a:pt x="340" y="725"/>
                </a:moveTo>
                <a:lnTo>
                  <a:pt x="325" y="781"/>
                </a:lnTo>
                <a:lnTo>
                  <a:pt x="315" y="781"/>
                </a:lnTo>
                <a:lnTo>
                  <a:pt x="300" y="725"/>
                </a:lnTo>
                <a:lnTo>
                  <a:pt x="340" y="725"/>
                </a:lnTo>
                <a:close/>
                <a:moveTo>
                  <a:pt x="383" y="725"/>
                </a:moveTo>
                <a:lnTo>
                  <a:pt x="398" y="781"/>
                </a:lnTo>
                <a:lnTo>
                  <a:pt x="361" y="781"/>
                </a:lnTo>
                <a:lnTo>
                  <a:pt x="376" y="725"/>
                </a:lnTo>
                <a:lnTo>
                  <a:pt x="383" y="725"/>
                </a:lnTo>
                <a:close/>
                <a:moveTo>
                  <a:pt x="459" y="725"/>
                </a:moveTo>
                <a:lnTo>
                  <a:pt x="444" y="781"/>
                </a:lnTo>
                <a:lnTo>
                  <a:pt x="434" y="781"/>
                </a:lnTo>
                <a:lnTo>
                  <a:pt x="419" y="725"/>
                </a:lnTo>
                <a:lnTo>
                  <a:pt x="459" y="725"/>
                </a:lnTo>
                <a:close/>
                <a:moveTo>
                  <a:pt x="604" y="85"/>
                </a:moveTo>
                <a:cubicBezTo>
                  <a:pt x="604" y="105"/>
                  <a:pt x="598" y="124"/>
                  <a:pt x="580" y="135"/>
                </a:cubicBezTo>
                <a:cubicBezTo>
                  <a:pt x="559" y="147"/>
                  <a:pt x="532" y="145"/>
                  <a:pt x="511" y="136"/>
                </a:cubicBezTo>
                <a:cubicBezTo>
                  <a:pt x="492" y="129"/>
                  <a:pt x="474" y="125"/>
                  <a:pt x="457" y="125"/>
                </a:cubicBezTo>
                <a:cubicBezTo>
                  <a:pt x="415" y="125"/>
                  <a:pt x="376" y="147"/>
                  <a:pt x="360" y="187"/>
                </a:cubicBezTo>
                <a:cubicBezTo>
                  <a:pt x="355" y="200"/>
                  <a:pt x="352" y="215"/>
                  <a:pt x="352" y="231"/>
                </a:cubicBezTo>
                <a:cubicBezTo>
                  <a:pt x="352" y="244"/>
                  <a:pt x="362" y="255"/>
                  <a:pt x="375" y="255"/>
                </a:cubicBezTo>
                <a:cubicBezTo>
                  <a:pt x="388" y="255"/>
                  <a:pt x="399" y="244"/>
                  <a:pt x="399" y="231"/>
                </a:cubicBezTo>
                <a:cubicBezTo>
                  <a:pt x="399" y="221"/>
                  <a:pt x="401" y="212"/>
                  <a:pt x="404" y="205"/>
                </a:cubicBezTo>
                <a:cubicBezTo>
                  <a:pt x="413" y="182"/>
                  <a:pt x="434" y="172"/>
                  <a:pt x="457" y="172"/>
                </a:cubicBezTo>
                <a:cubicBezTo>
                  <a:pt x="469" y="172"/>
                  <a:pt x="481" y="175"/>
                  <a:pt x="493" y="180"/>
                </a:cubicBezTo>
                <a:cubicBezTo>
                  <a:pt x="529" y="194"/>
                  <a:pt x="570" y="196"/>
                  <a:pt x="604" y="175"/>
                </a:cubicBezTo>
                <a:cubicBezTo>
                  <a:pt x="636" y="156"/>
                  <a:pt x="652" y="122"/>
                  <a:pt x="652" y="85"/>
                </a:cubicBezTo>
                <a:cubicBezTo>
                  <a:pt x="652" y="72"/>
                  <a:pt x="641" y="61"/>
                  <a:pt x="628" y="61"/>
                </a:cubicBezTo>
                <a:cubicBezTo>
                  <a:pt x="615" y="61"/>
                  <a:pt x="604" y="72"/>
                  <a:pt x="604" y="85"/>
                </a:cubicBezTo>
                <a:close/>
                <a:moveTo>
                  <a:pt x="491" y="277"/>
                </a:moveTo>
                <a:lnTo>
                  <a:pt x="226" y="277"/>
                </a:lnTo>
                <a:cubicBezTo>
                  <a:pt x="242" y="245"/>
                  <a:pt x="234" y="221"/>
                  <a:pt x="226" y="197"/>
                </a:cubicBezTo>
                <a:cubicBezTo>
                  <a:pt x="221" y="182"/>
                  <a:pt x="216" y="167"/>
                  <a:pt x="225" y="151"/>
                </a:cubicBezTo>
                <a:cubicBezTo>
                  <a:pt x="231" y="140"/>
                  <a:pt x="241" y="134"/>
                  <a:pt x="254" y="133"/>
                </a:cubicBezTo>
                <a:cubicBezTo>
                  <a:pt x="261" y="157"/>
                  <a:pt x="278" y="177"/>
                  <a:pt x="300" y="190"/>
                </a:cubicBezTo>
                <a:cubicBezTo>
                  <a:pt x="311" y="196"/>
                  <a:pt x="325" y="193"/>
                  <a:pt x="332" y="181"/>
                </a:cubicBezTo>
                <a:cubicBezTo>
                  <a:pt x="338" y="170"/>
                  <a:pt x="334" y="156"/>
                  <a:pt x="323" y="149"/>
                </a:cubicBezTo>
                <a:cubicBezTo>
                  <a:pt x="307" y="140"/>
                  <a:pt x="297" y="122"/>
                  <a:pt x="297" y="103"/>
                </a:cubicBezTo>
                <a:cubicBezTo>
                  <a:pt x="297" y="74"/>
                  <a:pt x="320" y="51"/>
                  <a:pt x="350" y="51"/>
                </a:cubicBezTo>
                <a:cubicBezTo>
                  <a:pt x="367" y="51"/>
                  <a:pt x="378" y="59"/>
                  <a:pt x="389" y="68"/>
                </a:cubicBezTo>
                <a:cubicBezTo>
                  <a:pt x="408" y="82"/>
                  <a:pt x="427" y="96"/>
                  <a:pt x="464" y="96"/>
                </a:cubicBezTo>
                <a:cubicBezTo>
                  <a:pt x="505" y="96"/>
                  <a:pt x="544" y="74"/>
                  <a:pt x="564" y="39"/>
                </a:cubicBezTo>
                <a:cubicBezTo>
                  <a:pt x="571" y="27"/>
                  <a:pt x="567" y="13"/>
                  <a:pt x="556" y="6"/>
                </a:cubicBezTo>
                <a:cubicBezTo>
                  <a:pt x="544" y="0"/>
                  <a:pt x="530" y="4"/>
                  <a:pt x="523" y="15"/>
                </a:cubicBezTo>
                <a:cubicBezTo>
                  <a:pt x="511" y="36"/>
                  <a:pt x="489" y="49"/>
                  <a:pt x="464" y="49"/>
                </a:cubicBezTo>
                <a:cubicBezTo>
                  <a:pt x="443" y="49"/>
                  <a:pt x="430" y="39"/>
                  <a:pt x="418" y="30"/>
                </a:cubicBezTo>
                <a:cubicBezTo>
                  <a:pt x="400" y="17"/>
                  <a:pt x="382" y="3"/>
                  <a:pt x="350" y="3"/>
                </a:cubicBezTo>
                <a:cubicBezTo>
                  <a:pt x="301" y="3"/>
                  <a:pt x="260" y="38"/>
                  <a:pt x="251" y="86"/>
                </a:cubicBezTo>
                <a:cubicBezTo>
                  <a:pt x="222" y="88"/>
                  <a:pt x="197" y="103"/>
                  <a:pt x="183" y="129"/>
                </a:cubicBezTo>
                <a:cubicBezTo>
                  <a:pt x="165" y="163"/>
                  <a:pt x="173" y="187"/>
                  <a:pt x="181" y="212"/>
                </a:cubicBezTo>
                <a:cubicBezTo>
                  <a:pt x="192" y="242"/>
                  <a:pt x="189" y="277"/>
                  <a:pt x="149" y="277"/>
                </a:cubicBezTo>
                <a:cubicBezTo>
                  <a:pt x="133" y="277"/>
                  <a:pt x="122" y="291"/>
                  <a:pt x="126" y="308"/>
                </a:cubicBezTo>
                <a:cubicBezTo>
                  <a:pt x="140" y="360"/>
                  <a:pt x="148" y="406"/>
                  <a:pt x="147" y="462"/>
                </a:cubicBezTo>
                <a:cubicBezTo>
                  <a:pt x="145" y="518"/>
                  <a:pt x="133" y="586"/>
                  <a:pt x="108" y="679"/>
                </a:cubicBezTo>
                <a:lnTo>
                  <a:pt x="81" y="781"/>
                </a:lnTo>
                <a:lnTo>
                  <a:pt x="23" y="781"/>
                </a:lnTo>
                <a:cubicBezTo>
                  <a:pt x="10" y="781"/>
                  <a:pt x="0" y="792"/>
                  <a:pt x="0" y="805"/>
                </a:cubicBezTo>
                <a:cubicBezTo>
                  <a:pt x="0" y="818"/>
                  <a:pt x="10" y="829"/>
                  <a:pt x="23" y="829"/>
                </a:cubicBezTo>
                <a:lnTo>
                  <a:pt x="617" y="829"/>
                </a:lnTo>
                <a:cubicBezTo>
                  <a:pt x="630" y="829"/>
                  <a:pt x="640" y="818"/>
                  <a:pt x="640" y="805"/>
                </a:cubicBezTo>
                <a:cubicBezTo>
                  <a:pt x="640" y="792"/>
                  <a:pt x="630" y="781"/>
                  <a:pt x="617" y="781"/>
                </a:cubicBezTo>
                <a:lnTo>
                  <a:pt x="559" y="781"/>
                </a:lnTo>
                <a:lnTo>
                  <a:pt x="532" y="679"/>
                </a:lnTo>
                <a:cubicBezTo>
                  <a:pt x="507" y="586"/>
                  <a:pt x="495" y="518"/>
                  <a:pt x="494" y="462"/>
                </a:cubicBezTo>
                <a:cubicBezTo>
                  <a:pt x="492" y="406"/>
                  <a:pt x="500" y="360"/>
                  <a:pt x="514" y="308"/>
                </a:cubicBezTo>
                <a:cubicBezTo>
                  <a:pt x="518" y="291"/>
                  <a:pt x="507" y="277"/>
                  <a:pt x="491" y="277"/>
                </a:cubicBezTo>
                <a:close/>
                <a:moveTo>
                  <a:pt x="634" y="205"/>
                </a:moveTo>
                <a:cubicBezTo>
                  <a:pt x="634" y="192"/>
                  <a:pt x="645" y="182"/>
                  <a:pt x="658" y="182"/>
                </a:cubicBezTo>
                <a:cubicBezTo>
                  <a:pt x="671" y="182"/>
                  <a:pt x="682" y="192"/>
                  <a:pt x="682" y="205"/>
                </a:cubicBezTo>
                <a:cubicBezTo>
                  <a:pt x="682" y="238"/>
                  <a:pt x="668" y="268"/>
                  <a:pt x="647" y="289"/>
                </a:cubicBezTo>
                <a:cubicBezTo>
                  <a:pt x="625" y="311"/>
                  <a:pt x="596" y="324"/>
                  <a:pt x="563" y="324"/>
                </a:cubicBezTo>
                <a:cubicBezTo>
                  <a:pt x="550" y="324"/>
                  <a:pt x="539" y="313"/>
                  <a:pt x="539" y="300"/>
                </a:cubicBezTo>
                <a:cubicBezTo>
                  <a:pt x="539" y="287"/>
                  <a:pt x="550" y="277"/>
                  <a:pt x="563" y="277"/>
                </a:cubicBezTo>
                <a:cubicBezTo>
                  <a:pt x="583" y="277"/>
                  <a:pt x="601" y="269"/>
                  <a:pt x="613" y="256"/>
                </a:cubicBezTo>
                <a:cubicBezTo>
                  <a:pt x="626" y="243"/>
                  <a:pt x="634" y="225"/>
                  <a:pt x="634" y="205"/>
                </a:cubicBezTo>
                <a:close/>
                <a:moveTo>
                  <a:pt x="511" y="781"/>
                </a:moveTo>
                <a:lnTo>
                  <a:pt x="480" y="781"/>
                </a:lnTo>
                <a:lnTo>
                  <a:pt x="495" y="725"/>
                </a:lnTo>
                <a:lnTo>
                  <a:pt x="511" y="781"/>
                </a:lnTo>
                <a:lnTo>
                  <a:pt x="511" y="781"/>
                </a:lnTo>
                <a:close/>
              </a:path>
            </a:pathLst>
          </a:custGeom>
          <a:solidFill>
            <a:srgbClr val="FFB3AF"/>
          </a:solidFill>
          <a:ln>
            <a:noFill/>
          </a:ln>
        </p:spPr>
        <p:txBody>
          <a:bodyPr vert="horz" wrap="square" lIns="91440" tIns="45720" rIns="91440" bIns="45720" numCol="1" anchor="t" anchorCtr="0" compatLnSpc="1">
            <a:prstTxWarp prst="textNoShape">
              <a:avLst/>
            </a:prstTxWarp>
          </a:bodyPr>
          <a:lstStyle/>
          <a:p>
            <a:endParaRPr lang="fr-FR"/>
          </a:p>
        </p:txBody>
      </p:sp>
      <p:sp>
        <p:nvSpPr>
          <p:cNvPr id="72" name="Power_Plant" descr="{&quot;Key&quot;:&quot;POWER_USER_SHAPE_ICON&quot;,&quot;Value&quot;:&quot;POWER_USER_SHAPE_ICON_STYLE_1&quot;}">
            <a:extLst>
              <a:ext uri="{FF2B5EF4-FFF2-40B4-BE49-F238E27FC236}">
                <a16:creationId xmlns:a16="http://schemas.microsoft.com/office/drawing/2014/main" id="{99235C1D-2E27-E5B7-0867-4F61EEF6F7BE}"/>
              </a:ext>
            </a:extLst>
          </p:cNvPr>
          <p:cNvSpPr>
            <a:spLocks noChangeAspect="1" noEditPoints="1"/>
          </p:cNvSpPr>
          <p:nvPr>
            <p:custDataLst>
              <p:tags r:id="rId3"/>
            </p:custDataLst>
          </p:nvPr>
        </p:nvSpPr>
        <p:spPr bwMode="auto">
          <a:xfrm>
            <a:off x="5517579" y="4334246"/>
            <a:ext cx="300573" cy="277180"/>
          </a:xfrm>
          <a:custGeom>
            <a:avLst/>
            <a:gdLst>
              <a:gd name="T0" fmla="*/ 8111 w 9995"/>
              <a:gd name="T1" fmla="*/ 196 h 9212"/>
              <a:gd name="T2" fmla="*/ 8037 w 9995"/>
              <a:gd name="T3" fmla="*/ 1287 h 9212"/>
              <a:gd name="T4" fmla="*/ 7981 w 9995"/>
              <a:gd name="T5" fmla="*/ 2118 h 9212"/>
              <a:gd name="T6" fmla="*/ 7925 w 9995"/>
              <a:gd name="T7" fmla="*/ 2950 h 9212"/>
              <a:gd name="T8" fmla="*/ 7850 w 9995"/>
              <a:gd name="T9" fmla="*/ 4056 h 9212"/>
              <a:gd name="T10" fmla="*/ 7775 w 9995"/>
              <a:gd name="T11" fmla="*/ 5156 h 9212"/>
              <a:gd name="T12" fmla="*/ 7705 w 9995"/>
              <a:gd name="T13" fmla="*/ 6081 h 9212"/>
              <a:gd name="T14" fmla="*/ 6881 w 9995"/>
              <a:gd name="T15" fmla="*/ 6093 h 9212"/>
              <a:gd name="T16" fmla="*/ 6868 w 9995"/>
              <a:gd name="T17" fmla="*/ 2607 h 9212"/>
              <a:gd name="T18" fmla="*/ 10 w 9995"/>
              <a:gd name="T19" fmla="*/ 2616 h 9212"/>
              <a:gd name="T20" fmla="*/ 0 w 9995"/>
              <a:gd name="T21" fmla="*/ 9212 h 9212"/>
              <a:gd name="T22" fmla="*/ 9995 w 9995"/>
              <a:gd name="T23" fmla="*/ 9212 h 9212"/>
              <a:gd name="T24" fmla="*/ 9973 w 9995"/>
              <a:gd name="T25" fmla="*/ 8837 h 9212"/>
              <a:gd name="T26" fmla="*/ 9926 w 9995"/>
              <a:gd name="T27" fmla="*/ 8106 h 9212"/>
              <a:gd name="T28" fmla="*/ 9861 w 9995"/>
              <a:gd name="T29" fmla="*/ 7200 h 9212"/>
              <a:gd name="T30" fmla="*/ 9813 w 9995"/>
              <a:gd name="T31" fmla="*/ 6443 h 9212"/>
              <a:gd name="T32" fmla="*/ 9748 w 9995"/>
              <a:gd name="T33" fmla="*/ 5543 h 9212"/>
              <a:gd name="T34" fmla="*/ 9673 w 9995"/>
              <a:gd name="T35" fmla="*/ 4425 h 9212"/>
              <a:gd name="T36" fmla="*/ 9626 w 9995"/>
              <a:gd name="T37" fmla="*/ 3681 h 9212"/>
              <a:gd name="T38" fmla="*/ 9561 w 9995"/>
              <a:gd name="T39" fmla="*/ 2775 h 9212"/>
              <a:gd name="T40" fmla="*/ 9481 w 9995"/>
              <a:gd name="T41" fmla="*/ 1593 h 9212"/>
              <a:gd name="T42" fmla="*/ 9443 w 9995"/>
              <a:gd name="T43" fmla="*/ 993 h 9212"/>
              <a:gd name="T44" fmla="*/ 9362 w 9995"/>
              <a:gd name="T45" fmla="*/ 12 h 9212"/>
              <a:gd name="T46" fmla="*/ 8137 w 9995"/>
              <a:gd name="T47" fmla="*/ 12 h 9212"/>
              <a:gd name="T48" fmla="*/ 4858 w 9995"/>
              <a:gd name="T49" fmla="*/ 4332 h 9212"/>
              <a:gd name="T50" fmla="*/ 4792 w 9995"/>
              <a:gd name="T51" fmla="*/ 4445 h 9212"/>
              <a:gd name="T52" fmla="*/ 4397 w 9995"/>
              <a:gd name="T53" fmla="*/ 5097 h 9212"/>
              <a:gd name="T54" fmla="*/ 4287 w 9995"/>
              <a:gd name="T55" fmla="*/ 5275 h 9212"/>
              <a:gd name="T56" fmla="*/ 4177 w 9995"/>
              <a:gd name="T57" fmla="*/ 5452 h 9212"/>
              <a:gd name="T58" fmla="*/ 4022 w 9995"/>
              <a:gd name="T59" fmla="*/ 5697 h 9212"/>
              <a:gd name="T60" fmla="*/ 3912 w 9995"/>
              <a:gd name="T61" fmla="*/ 5875 h 9212"/>
              <a:gd name="T62" fmla="*/ 3802 w 9995"/>
              <a:gd name="T63" fmla="*/ 6052 h 9212"/>
              <a:gd name="T64" fmla="*/ 4265 w 9995"/>
              <a:gd name="T65" fmla="*/ 6225 h 9212"/>
              <a:gd name="T66" fmla="*/ 2580 w 9995"/>
              <a:gd name="T67" fmla="*/ 8483 h 9212"/>
              <a:gd name="T68" fmla="*/ 3287 w 9995"/>
              <a:gd name="T69" fmla="*/ 7028 h 9212"/>
              <a:gd name="T70" fmla="*/ 2805 w 9995"/>
              <a:gd name="T71" fmla="*/ 7000 h 9212"/>
              <a:gd name="T72" fmla="*/ 2450 w 9995"/>
              <a:gd name="T73" fmla="*/ 6818 h 9212"/>
              <a:gd name="T74" fmla="*/ 2516 w 9995"/>
              <a:gd name="T75" fmla="*/ 6706 h 9212"/>
              <a:gd name="T76" fmla="*/ 2683 w 9995"/>
              <a:gd name="T77" fmla="*/ 6418 h 9212"/>
              <a:gd name="T78" fmla="*/ 2750 w 9995"/>
              <a:gd name="T79" fmla="*/ 6306 h 9212"/>
              <a:gd name="T80" fmla="*/ 2862 w 9995"/>
              <a:gd name="T81" fmla="*/ 6112 h 9212"/>
              <a:gd name="T82" fmla="*/ 2975 w 9995"/>
              <a:gd name="T83" fmla="*/ 5918 h 9212"/>
              <a:gd name="T84" fmla="*/ 3041 w 9995"/>
              <a:gd name="T85" fmla="*/ 5806 h 9212"/>
              <a:gd name="T86" fmla="*/ 3208 w 9995"/>
              <a:gd name="T87" fmla="*/ 5518 h 9212"/>
              <a:gd name="T88" fmla="*/ 3275 w 9995"/>
              <a:gd name="T89" fmla="*/ 5406 h 9212"/>
              <a:gd name="T90" fmla="*/ 3387 w 9995"/>
              <a:gd name="T91" fmla="*/ 5212 h 9212"/>
              <a:gd name="T92" fmla="*/ 3500 w 9995"/>
              <a:gd name="T93" fmla="*/ 5018 h 9212"/>
              <a:gd name="T94" fmla="*/ 3566 w 9995"/>
              <a:gd name="T95" fmla="*/ 4906 h 9212"/>
              <a:gd name="T96" fmla="*/ 4403 w 9995"/>
              <a:gd name="T97" fmla="*/ 4280 h 9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95" h="9212">
                <a:moveTo>
                  <a:pt x="8137" y="12"/>
                </a:moveTo>
                <a:cubicBezTo>
                  <a:pt x="8123" y="21"/>
                  <a:pt x="8117" y="64"/>
                  <a:pt x="8111" y="196"/>
                </a:cubicBezTo>
                <a:cubicBezTo>
                  <a:pt x="8102" y="364"/>
                  <a:pt x="8087" y="584"/>
                  <a:pt x="8061" y="925"/>
                </a:cubicBezTo>
                <a:cubicBezTo>
                  <a:pt x="8053" y="1017"/>
                  <a:pt x="8043" y="1181"/>
                  <a:pt x="8037" y="1287"/>
                </a:cubicBezTo>
                <a:cubicBezTo>
                  <a:pt x="8031" y="1393"/>
                  <a:pt x="8021" y="1564"/>
                  <a:pt x="8013" y="1668"/>
                </a:cubicBezTo>
                <a:cubicBezTo>
                  <a:pt x="8005" y="1771"/>
                  <a:pt x="7991" y="1973"/>
                  <a:pt x="7981" y="2118"/>
                </a:cubicBezTo>
                <a:cubicBezTo>
                  <a:pt x="7971" y="2262"/>
                  <a:pt x="7957" y="2464"/>
                  <a:pt x="7948" y="2568"/>
                </a:cubicBezTo>
                <a:cubicBezTo>
                  <a:pt x="7941" y="2671"/>
                  <a:pt x="7930" y="2843"/>
                  <a:pt x="7925" y="2950"/>
                </a:cubicBezTo>
                <a:cubicBezTo>
                  <a:pt x="7915" y="3150"/>
                  <a:pt x="7901" y="3343"/>
                  <a:pt x="7868" y="3756"/>
                </a:cubicBezTo>
                <a:cubicBezTo>
                  <a:pt x="7857" y="3886"/>
                  <a:pt x="7850" y="4021"/>
                  <a:pt x="7850" y="4056"/>
                </a:cubicBezTo>
                <a:cubicBezTo>
                  <a:pt x="7850" y="4090"/>
                  <a:pt x="7842" y="4225"/>
                  <a:pt x="7831" y="4356"/>
                </a:cubicBezTo>
                <a:cubicBezTo>
                  <a:pt x="7800" y="4751"/>
                  <a:pt x="7786" y="4959"/>
                  <a:pt x="7775" y="5156"/>
                </a:cubicBezTo>
                <a:cubicBezTo>
                  <a:pt x="7766" y="5332"/>
                  <a:pt x="7753" y="5505"/>
                  <a:pt x="7725" y="5896"/>
                </a:cubicBezTo>
                <a:cubicBezTo>
                  <a:pt x="7717" y="5987"/>
                  <a:pt x="7708" y="6070"/>
                  <a:pt x="7705" y="6081"/>
                </a:cubicBezTo>
                <a:cubicBezTo>
                  <a:pt x="7697" y="6097"/>
                  <a:pt x="7648" y="6100"/>
                  <a:pt x="7288" y="6097"/>
                </a:cubicBezTo>
                <a:lnTo>
                  <a:pt x="6881" y="6093"/>
                </a:lnTo>
                <a:lnTo>
                  <a:pt x="6875" y="5006"/>
                </a:lnTo>
                <a:lnTo>
                  <a:pt x="6868" y="2607"/>
                </a:lnTo>
                <a:lnTo>
                  <a:pt x="3445" y="2604"/>
                </a:lnTo>
                <a:cubicBezTo>
                  <a:pt x="713" y="2601"/>
                  <a:pt x="18" y="2604"/>
                  <a:pt x="10" y="2616"/>
                </a:cubicBezTo>
                <a:cubicBezTo>
                  <a:pt x="5" y="2625"/>
                  <a:pt x="0" y="5128"/>
                  <a:pt x="0" y="6577"/>
                </a:cubicBezTo>
                <a:lnTo>
                  <a:pt x="0" y="9212"/>
                </a:lnTo>
                <a:lnTo>
                  <a:pt x="4997" y="9212"/>
                </a:lnTo>
                <a:lnTo>
                  <a:pt x="9995" y="9212"/>
                </a:lnTo>
                <a:lnTo>
                  <a:pt x="9991" y="9096"/>
                </a:lnTo>
                <a:cubicBezTo>
                  <a:pt x="9988" y="9033"/>
                  <a:pt x="9981" y="8916"/>
                  <a:pt x="9973" y="8837"/>
                </a:cubicBezTo>
                <a:cubicBezTo>
                  <a:pt x="9966" y="8758"/>
                  <a:pt x="9956" y="8603"/>
                  <a:pt x="9950" y="8493"/>
                </a:cubicBezTo>
                <a:cubicBezTo>
                  <a:pt x="9945" y="8383"/>
                  <a:pt x="9933" y="8208"/>
                  <a:pt x="9926" y="8106"/>
                </a:cubicBezTo>
                <a:cubicBezTo>
                  <a:pt x="9917" y="8002"/>
                  <a:pt x="9903" y="7800"/>
                  <a:pt x="9893" y="7656"/>
                </a:cubicBezTo>
                <a:cubicBezTo>
                  <a:pt x="9883" y="7511"/>
                  <a:pt x="9868" y="7306"/>
                  <a:pt x="9861" y="7200"/>
                </a:cubicBezTo>
                <a:cubicBezTo>
                  <a:pt x="9853" y="7093"/>
                  <a:pt x="9842" y="6921"/>
                  <a:pt x="9837" y="6818"/>
                </a:cubicBezTo>
                <a:cubicBezTo>
                  <a:pt x="9831" y="6715"/>
                  <a:pt x="9821" y="6546"/>
                  <a:pt x="9813" y="6443"/>
                </a:cubicBezTo>
                <a:cubicBezTo>
                  <a:pt x="9805" y="6340"/>
                  <a:pt x="9791" y="6137"/>
                  <a:pt x="9781" y="5993"/>
                </a:cubicBezTo>
                <a:cubicBezTo>
                  <a:pt x="9771" y="5848"/>
                  <a:pt x="9757" y="5646"/>
                  <a:pt x="9748" y="5543"/>
                </a:cubicBezTo>
                <a:cubicBezTo>
                  <a:pt x="9741" y="5440"/>
                  <a:pt x="9731" y="5271"/>
                  <a:pt x="9725" y="5168"/>
                </a:cubicBezTo>
                <a:cubicBezTo>
                  <a:pt x="9715" y="4981"/>
                  <a:pt x="9698" y="4741"/>
                  <a:pt x="9673" y="4425"/>
                </a:cubicBezTo>
                <a:cubicBezTo>
                  <a:pt x="9666" y="4332"/>
                  <a:pt x="9656" y="4168"/>
                  <a:pt x="9650" y="4062"/>
                </a:cubicBezTo>
                <a:cubicBezTo>
                  <a:pt x="9643" y="3956"/>
                  <a:pt x="9633" y="3783"/>
                  <a:pt x="9626" y="3681"/>
                </a:cubicBezTo>
                <a:cubicBezTo>
                  <a:pt x="9617" y="3577"/>
                  <a:pt x="9603" y="3375"/>
                  <a:pt x="9593" y="3231"/>
                </a:cubicBezTo>
                <a:cubicBezTo>
                  <a:pt x="9583" y="3086"/>
                  <a:pt x="9568" y="2881"/>
                  <a:pt x="9561" y="2775"/>
                </a:cubicBezTo>
                <a:cubicBezTo>
                  <a:pt x="9553" y="2668"/>
                  <a:pt x="9542" y="2496"/>
                  <a:pt x="9537" y="2393"/>
                </a:cubicBezTo>
                <a:cubicBezTo>
                  <a:pt x="9526" y="2197"/>
                  <a:pt x="9512" y="1992"/>
                  <a:pt x="9481" y="1593"/>
                </a:cubicBezTo>
                <a:cubicBezTo>
                  <a:pt x="9470" y="1462"/>
                  <a:pt x="9462" y="1327"/>
                  <a:pt x="9462" y="1293"/>
                </a:cubicBezTo>
                <a:cubicBezTo>
                  <a:pt x="9462" y="1258"/>
                  <a:pt x="9455" y="1123"/>
                  <a:pt x="9443" y="993"/>
                </a:cubicBezTo>
                <a:cubicBezTo>
                  <a:pt x="9412" y="596"/>
                  <a:pt x="9397" y="377"/>
                  <a:pt x="9388" y="196"/>
                </a:cubicBezTo>
                <a:cubicBezTo>
                  <a:pt x="9382" y="64"/>
                  <a:pt x="9376" y="21"/>
                  <a:pt x="9362" y="12"/>
                </a:cubicBezTo>
                <a:cubicBezTo>
                  <a:pt x="9351" y="4"/>
                  <a:pt x="9096" y="0"/>
                  <a:pt x="8750" y="0"/>
                </a:cubicBezTo>
                <a:cubicBezTo>
                  <a:pt x="8403" y="0"/>
                  <a:pt x="8148" y="4"/>
                  <a:pt x="8137" y="12"/>
                </a:cubicBezTo>
                <a:close/>
                <a:moveTo>
                  <a:pt x="4869" y="4290"/>
                </a:moveTo>
                <a:cubicBezTo>
                  <a:pt x="4873" y="4295"/>
                  <a:pt x="4867" y="4314"/>
                  <a:pt x="4858" y="4332"/>
                </a:cubicBezTo>
                <a:cubicBezTo>
                  <a:pt x="4848" y="4348"/>
                  <a:pt x="4834" y="4373"/>
                  <a:pt x="4827" y="4387"/>
                </a:cubicBezTo>
                <a:cubicBezTo>
                  <a:pt x="4819" y="4400"/>
                  <a:pt x="4804" y="4427"/>
                  <a:pt x="4792" y="4445"/>
                </a:cubicBezTo>
                <a:cubicBezTo>
                  <a:pt x="4781" y="4464"/>
                  <a:pt x="4506" y="4926"/>
                  <a:pt x="4475" y="4975"/>
                </a:cubicBezTo>
                <a:cubicBezTo>
                  <a:pt x="4443" y="5023"/>
                  <a:pt x="4408" y="5078"/>
                  <a:pt x="4397" y="5097"/>
                </a:cubicBezTo>
                <a:cubicBezTo>
                  <a:pt x="4385" y="5116"/>
                  <a:pt x="4370" y="5142"/>
                  <a:pt x="4362" y="5156"/>
                </a:cubicBezTo>
                <a:cubicBezTo>
                  <a:pt x="4356" y="5169"/>
                  <a:pt x="4321" y="5223"/>
                  <a:pt x="4287" y="5275"/>
                </a:cubicBezTo>
                <a:cubicBezTo>
                  <a:pt x="4253" y="5326"/>
                  <a:pt x="4218" y="5380"/>
                  <a:pt x="4212" y="5393"/>
                </a:cubicBezTo>
                <a:cubicBezTo>
                  <a:pt x="4205" y="5407"/>
                  <a:pt x="4190" y="5433"/>
                  <a:pt x="4177" y="5452"/>
                </a:cubicBezTo>
                <a:cubicBezTo>
                  <a:pt x="4166" y="5471"/>
                  <a:pt x="4131" y="5526"/>
                  <a:pt x="4100" y="5575"/>
                </a:cubicBezTo>
                <a:cubicBezTo>
                  <a:pt x="4068" y="5623"/>
                  <a:pt x="4033" y="5678"/>
                  <a:pt x="4022" y="5697"/>
                </a:cubicBezTo>
                <a:cubicBezTo>
                  <a:pt x="4010" y="5716"/>
                  <a:pt x="3995" y="5742"/>
                  <a:pt x="3987" y="5756"/>
                </a:cubicBezTo>
                <a:cubicBezTo>
                  <a:pt x="3981" y="5769"/>
                  <a:pt x="3946" y="5823"/>
                  <a:pt x="3912" y="5875"/>
                </a:cubicBezTo>
                <a:cubicBezTo>
                  <a:pt x="3878" y="5926"/>
                  <a:pt x="3843" y="5980"/>
                  <a:pt x="3837" y="5993"/>
                </a:cubicBezTo>
                <a:cubicBezTo>
                  <a:pt x="3830" y="6007"/>
                  <a:pt x="3815" y="6033"/>
                  <a:pt x="3802" y="6052"/>
                </a:cubicBezTo>
                <a:cubicBezTo>
                  <a:pt x="3716" y="6187"/>
                  <a:pt x="3702" y="6211"/>
                  <a:pt x="3710" y="6217"/>
                </a:cubicBezTo>
                <a:cubicBezTo>
                  <a:pt x="3713" y="6221"/>
                  <a:pt x="3963" y="6225"/>
                  <a:pt x="4265" y="6225"/>
                </a:cubicBezTo>
                <a:cubicBezTo>
                  <a:pt x="4777" y="6225"/>
                  <a:pt x="4812" y="6226"/>
                  <a:pt x="4812" y="6246"/>
                </a:cubicBezTo>
                <a:cubicBezTo>
                  <a:pt x="4812" y="6272"/>
                  <a:pt x="2592" y="8496"/>
                  <a:pt x="2580" y="8483"/>
                </a:cubicBezTo>
                <a:cubicBezTo>
                  <a:pt x="2571" y="8476"/>
                  <a:pt x="2582" y="8443"/>
                  <a:pt x="2612" y="8387"/>
                </a:cubicBezTo>
                <a:cubicBezTo>
                  <a:pt x="2681" y="8260"/>
                  <a:pt x="3287" y="7037"/>
                  <a:pt x="3287" y="7028"/>
                </a:cubicBezTo>
                <a:cubicBezTo>
                  <a:pt x="3287" y="7021"/>
                  <a:pt x="3278" y="7011"/>
                  <a:pt x="3267" y="7007"/>
                </a:cubicBezTo>
                <a:cubicBezTo>
                  <a:pt x="3256" y="7003"/>
                  <a:pt x="3048" y="7000"/>
                  <a:pt x="2805" y="7000"/>
                </a:cubicBezTo>
                <a:cubicBezTo>
                  <a:pt x="2561" y="7000"/>
                  <a:pt x="2362" y="6996"/>
                  <a:pt x="2362" y="6991"/>
                </a:cubicBezTo>
                <a:cubicBezTo>
                  <a:pt x="2362" y="6980"/>
                  <a:pt x="2422" y="6861"/>
                  <a:pt x="2450" y="6818"/>
                </a:cubicBezTo>
                <a:cubicBezTo>
                  <a:pt x="2463" y="6797"/>
                  <a:pt x="2480" y="6770"/>
                  <a:pt x="2487" y="6756"/>
                </a:cubicBezTo>
                <a:cubicBezTo>
                  <a:pt x="2495" y="6742"/>
                  <a:pt x="2507" y="6720"/>
                  <a:pt x="2516" y="6706"/>
                </a:cubicBezTo>
                <a:cubicBezTo>
                  <a:pt x="2525" y="6692"/>
                  <a:pt x="2562" y="6627"/>
                  <a:pt x="2600" y="6562"/>
                </a:cubicBezTo>
                <a:cubicBezTo>
                  <a:pt x="2637" y="6497"/>
                  <a:pt x="2675" y="6432"/>
                  <a:pt x="2683" y="6418"/>
                </a:cubicBezTo>
                <a:cubicBezTo>
                  <a:pt x="2692" y="6405"/>
                  <a:pt x="2705" y="6382"/>
                  <a:pt x="2712" y="6368"/>
                </a:cubicBezTo>
                <a:cubicBezTo>
                  <a:pt x="2720" y="6355"/>
                  <a:pt x="2736" y="6326"/>
                  <a:pt x="2750" y="6306"/>
                </a:cubicBezTo>
                <a:cubicBezTo>
                  <a:pt x="2763" y="6285"/>
                  <a:pt x="2778" y="6260"/>
                  <a:pt x="2783" y="6250"/>
                </a:cubicBezTo>
                <a:cubicBezTo>
                  <a:pt x="2788" y="6240"/>
                  <a:pt x="2823" y="6177"/>
                  <a:pt x="2862" y="6112"/>
                </a:cubicBezTo>
                <a:cubicBezTo>
                  <a:pt x="2901" y="6047"/>
                  <a:pt x="2936" y="5984"/>
                  <a:pt x="2941" y="5975"/>
                </a:cubicBezTo>
                <a:cubicBezTo>
                  <a:pt x="2946" y="5965"/>
                  <a:pt x="2961" y="5938"/>
                  <a:pt x="2975" y="5918"/>
                </a:cubicBezTo>
                <a:cubicBezTo>
                  <a:pt x="2988" y="5897"/>
                  <a:pt x="3005" y="5869"/>
                  <a:pt x="3012" y="5856"/>
                </a:cubicBezTo>
                <a:cubicBezTo>
                  <a:pt x="3020" y="5842"/>
                  <a:pt x="3032" y="5819"/>
                  <a:pt x="3041" y="5806"/>
                </a:cubicBezTo>
                <a:cubicBezTo>
                  <a:pt x="3050" y="5792"/>
                  <a:pt x="3087" y="5727"/>
                  <a:pt x="3125" y="5662"/>
                </a:cubicBezTo>
                <a:cubicBezTo>
                  <a:pt x="3162" y="5597"/>
                  <a:pt x="3200" y="5532"/>
                  <a:pt x="3208" y="5518"/>
                </a:cubicBezTo>
                <a:cubicBezTo>
                  <a:pt x="3217" y="5505"/>
                  <a:pt x="3230" y="5482"/>
                  <a:pt x="3237" y="5468"/>
                </a:cubicBezTo>
                <a:cubicBezTo>
                  <a:pt x="3245" y="5455"/>
                  <a:pt x="3261" y="5426"/>
                  <a:pt x="3275" y="5406"/>
                </a:cubicBezTo>
                <a:cubicBezTo>
                  <a:pt x="3288" y="5384"/>
                  <a:pt x="3303" y="5359"/>
                  <a:pt x="3308" y="5350"/>
                </a:cubicBezTo>
                <a:cubicBezTo>
                  <a:pt x="3313" y="5340"/>
                  <a:pt x="3348" y="5277"/>
                  <a:pt x="3387" y="5212"/>
                </a:cubicBezTo>
                <a:cubicBezTo>
                  <a:pt x="3426" y="5147"/>
                  <a:pt x="3461" y="5084"/>
                  <a:pt x="3466" y="5075"/>
                </a:cubicBezTo>
                <a:cubicBezTo>
                  <a:pt x="3471" y="5065"/>
                  <a:pt x="3486" y="5038"/>
                  <a:pt x="3500" y="5018"/>
                </a:cubicBezTo>
                <a:cubicBezTo>
                  <a:pt x="3513" y="4997"/>
                  <a:pt x="3530" y="4969"/>
                  <a:pt x="3537" y="4956"/>
                </a:cubicBezTo>
                <a:cubicBezTo>
                  <a:pt x="3545" y="4942"/>
                  <a:pt x="3557" y="4919"/>
                  <a:pt x="3566" y="4906"/>
                </a:cubicBezTo>
                <a:cubicBezTo>
                  <a:pt x="3575" y="4892"/>
                  <a:pt x="3839" y="4440"/>
                  <a:pt x="3863" y="4399"/>
                </a:cubicBezTo>
                <a:cubicBezTo>
                  <a:pt x="3938" y="4268"/>
                  <a:pt x="3881" y="4280"/>
                  <a:pt x="4403" y="4280"/>
                </a:cubicBezTo>
                <a:cubicBezTo>
                  <a:pt x="4656" y="4280"/>
                  <a:pt x="4866" y="4285"/>
                  <a:pt x="4869" y="4290"/>
                </a:cubicBezTo>
                <a:close/>
              </a:path>
            </a:pathLst>
          </a:custGeom>
          <a:solidFill>
            <a:srgbClr val="FFB3AF"/>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73" name="Graphic 72" descr="Signature with solid fill">
            <a:extLst>
              <a:ext uri="{FF2B5EF4-FFF2-40B4-BE49-F238E27FC236}">
                <a16:creationId xmlns:a16="http://schemas.microsoft.com/office/drawing/2014/main" id="{18588E20-3D2B-455D-049C-CE36A3E5947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05932" y="1059631"/>
            <a:ext cx="323866" cy="323866"/>
          </a:xfrm>
          <a:prstGeom prst="rect">
            <a:avLst/>
          </a:prstGeom>
        </p:spPr>
      </p:pic>
      <p:sp>
        <p:nvSpPr>
          <p:cNvPr id="74" name="TextBox 73">
            <a:extLst>
              <a:ext uri="{FF2B5EF4-FFF2-40B4-BE49-F238E27FC236}">
                <a16:creationId xmlns:a16="http://schemas.microsoft.com/office/drawing/2014/main" id="{23C2D2D9-6E78-3640-D9F1-1B3D3AAED074}"/>
              </a:ext>
            </a:extLst>
          </p:cNvPr>
          <p:cNvSpPr txBox="1"/>
          <p:nvPr/>
        </p:nvSpPr>
        <p:spPr>
          <a:xfrm>
            <a:off x="816203" y="4359155"/>
            <a:ext cx="4210176" cy="175433"/>
          </a:xfrm>
          <a:prstGeom prst="rect">
            <a:avLst/>
          </a:prstGeom>
          <a:noFill/>
        </p:spPr>
        <p:txBody>
          <a:bodyPr wrap="square" lIns="0" tIns="36576" rIns="0" bIns="0" rtlCol="0">
            <a:spAutoFit/>
          </a:bodyPr>
          <a:lstStyle/>
          <a:p>
            <a:pPr algn="ctr">
              <a:spcAft>
                <a:spcPts val="600"/>
              </a:spcAft>
              <a:buClr>
                <a:schemeClr val="tx2"/>
              </a:buClr>
              <a:buSzPct val="80000"/>
            </a:pPr>
            <a:r>
              <a:rPr lang="cs-CZ" sz="900" b="1" dirty="0">
                <a:solidFill>
                  <a:schemeClr val="accent3"/>
                </a:solidFill>
              </a:rPr>
              <a:t>Podíl jaderné energie na celkové výrobě elektřiny v UK</a:t>
            </a:r>
          </a:p>
        </p:txBody>
      </p:sp>
      <p:sp>
        <p:nvSpPr>
          <p:cNvPr id="80" name="Text Placeholder 2">
            <a:extLst>
              <a:ext uri="{FF2B5EF4-FFF2-40B4-BE49-F238E27FC236}">
                <a16:creationId xmlns:a16="http://schemas.microsoft.com/office/drawing/2014/main" id="{8B978856-28E2-8F54-F7C8-88E75A5C9149}"/>
              </a:ext>
            </a:extLst>
          </p:cNvPr>
          <p:cNvSpPr>
            <a:spLocks noGrp="1"/>
          </p:cNvSpPr>
          <p:nvPr>
            <p:custDataLst>
              <p:tags r:id="rId4"/>
            </p:custDataLst>
          </p:nvPr>
        </p:nvSpPr>
        <p:spPr bwMode="auto">
          <a:xfrm rot="16200000">
            <a:off x="516384" y="5215690"/>
            <a:ext cx="32385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lgn="ctr">
              <a:spcBef>
                <a:spcPct val="0"/>
              </a:spcBef>
              <a:spcAft>
                <a:spcPct val="0"/>
              </a:spcAft>
              <a:buClr>
                <a:srgbClr val="1A9AFA"/>
              </a:buClr>
              <a:buFont typeface="Wingdings 3" panose="05040102010807070707" pitchFamily="18" charset="2"/>
              <a:buNone/>
            </a:pPr>
            <a:r>
              <a:rPr lang="cs-CZ" altLang="en-US" dirty="0">
                <a:solidFill>
                  <a:srgbClr val="2E2E38"/>
                </a:solidFill>
                <a:latin typeface="+mn-lt"/>
              </a:rPr>
              <a:t>GW</a:t>
            </a:r>
            <a:endParaRPr lang="en-US" dirty="0">
              <a:solidFill>
                <a:srgbClr val="2E2E38"/>
              </a:solidFill>
              <a:latin typeface="+mn-lt"/>
            </a:endParaRPr>
          </a:p>
        </p:txBody>
      </p:sp>
      <p:sp>
        <p:nvSpPr>
          <p:cNvPr id="81" name="Rectangle 80">
            <a:extLst>
              <a:ext uri="{FF2B5EF4-FFF2-40B4-BE49-F238E27FC236}">
                <a16:creationId xmlns:a16="http://schemas.microsoft.com/office/drawing/2014/main" id="{6692A0A8-C4FC-7F54-6793-8C87607D11AB}"/>
              </a:ext>
            </a:extLst>
          </p:cNvPr>
          <p:cNvSpPr/>
          <p:nvPr/>
        </p:nvSpPr>
        <p:spPr>
          <a:xfrm>
            <a:off x="1483510" y="6108340"/>
            <a:ext cx="90000" cy="90000"/>
          </a:xfrm>
          <a:prstGeom prst="rect">
            <a:avLst/>
          </a:prstGeom>
          <a:solidFill>
            <a:srgbClr val="FF8D8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sz="1200" dirty="0" err="1">
              <a:solidFill>
                <a:schemeClr val="bg1"/>
              </a:solidFill>
            </a:endParaRPr>
          </a:p>
        </p:txBody>
      </p:sp>
      <p:sp>
        <p:nvSpPr>
          <p:cNvPr id="82" name="Rectangle 81">
            <a:extLst>
              <a:ext uri="{FF2B5EF4-FFF2-40B4-BE49-F238E27FC236}">
                <a16:creationId xmlns:a16="http://schemas.microsoft.com/office/drawing/2014/main" id="{D671AAFE-0970-6466-5593-203AFAC7338B}"/>
              </a:ext>
            </a:extLst>
          </p:cNvPr>
          <p:cNvSpPr/>
          <p:nvPr/>
        </p:nvSpPr>
        <p:spPr>
          <a:xfrm>
            <a:off x="2836357" y="6108340"/>
            <a:ext cx="90000" cy="90000"/>
          </a:xfrm>
          <a:prstGeom prst="rect">
            <a:avLst/>
          </a:prstGeom>
          <a:solidFill>
            <a:srgbClr val="188C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sz="1200" dirty="0" err="1">
              <a:solidFill>
                <a:schemeClr val="bg1"/>
              </a:solidFill>
            </a:endParaRPr>
          </a:p>
        </p:txBody>
      </p:sp>
      <p:sp>
        <p:nvSpPr>
          <p:cNvPr id="83" name="TextBox 82">
            <a:extLst>
              <a:ext uri="{FF2B5EF4-FFF2-40B4-BE49-F238E27FC236}">
                <a16:creationId xmlns:a16="http://schemas.microsoft.com/office/drawing/2014/main" id="{197AA8D6-B0D9-E018-E2C0-12FC6D5894C4}"/>
              </a:ext>
            </a:extLst>
          </p:cNvPr>
          <p:cNvSpPr txBox="1"/>
          <p:nvPr/>
        </p:nvSpPr>
        <p:spPr>
          <a:xfrm>
            <a:off x="1607513" y="6084117"/>
            <a:ext cx="360000" cy="129266"/>
          </a:xfrm>
          <a:prstGeom prst="rect">
            <a:avLst/>
          </a:prstGeom>
          <a:noFill/>
        </p:spPr>
        <p:txBody>
          <a:bodyPr wrap="none" lIns="0" tIns="0" rIns="0" bIns="0" rtlCol="0" anchor="ctr">
            <a:noAutofit/>
          </a:bodyPr>
          <a:lstStyle/>
          <a:p>
            <a:pPr>
              <a:spcAft>
                <a:spcPts val="600"/>
              </a:spcAft>
              <a:buClr>
                <a:schemeClr val="tx2"/>
              </a:buClr>
              <a:buSzPct val="80000"/>
            </a:pPr>
            <a:r>
              <a:rPr lang="cs-CZ" sz="900" dirty="0">
                <a:solidFill>
                  <a:schemeClr val="bg1"/>
                </a:solidFill>
              </a:rPr>
              <a:t>Instalovaný výkon JE</a:t>
            </a:r>
          </a:p>
        </p:txBody>
      </p:sp>
      <p:sp>
        <p:nvSpPr>
          <p:cNvPr id="84" name="TextBox 83">
            <a:extLst>
              <a:ext uri="{FF2B5EF4-FFF2-40B4-BE49-F238E27FC236}">
                <a16:creationId xmlns:a16="http://schemas.microsoft.com/office/drawing/2014/main" id="{85E86B4B-534C-0E3D-6841-F583AC7E73A2}"/>
              </a:ext>
            </a:extLst>
          </p:cNvPr>
          <p:cNvSpPr txBox="1"/>
          <p:nvPr/>
        </p:nvSpPr>
        <p:spPr>
          <a:xfrm>
            <a:off x="2973674" y="6084117"/>
            <a:ext cx="684000" cy="129266"/>
          </a:xfrm>
          <a:prstGeom prst="rect">
            <a:avLst/>
          </a:prstGeom>
          <a:noFill/>
        </p:spPr>
        <p:txBody>
          <a:bodyPr wrap="none" lIns="0" tIns="0" rIns="0" bIns="0" rtlCol="0" anchor="ctr">
            <a:noAutofit/>
          </a:bodyPr>
          <a:lstStyle/>
          <a:p>
            <a:pPr>
              <a:spcAft>
                <a:spcPts val="600"/>
              </a:spcAft>
              <a:buClr>
                <a:schemeClr val="tx2"/>
              </a:buClr>
              <a:buSzPct val="80000"/>
            </a:pPr>
            <a:r>
              <a:rPr lang="cs-CZ" sz="900" dirty="0">
                <a:solidFill>
                  <a:schemeClr val="bg1"/>
                </a:solidFill>
              </a:rPr>
              <a:t>Podíl JE na celkové výrobě</a:t>
            </a:r>
          </a:p>
        </p:txBody>
      </p:sp>
      <p:sp>
        <p:nvSpPr>
          <p:cNvPr id="152" name="TextBox 151">
            <a:extLst>
              <a:ext uri="{FF2B5EF4-FFF2-40B4-BE49-F238E27FC236}">
                <a16:creationId xmlns:a16="http://schemas.microsoft.com/office/drawing/2014/main" id="{161D1EBD-FD13-7F29-F0F9-7B1E35E36AFF}"/>
              </a:ext>
            </a:extLst>
          </p:cNvPr>
          <p:cNvSpPr txBox="1"/>
          <p:nvPr/>
        </p:nvSpPr>
        <p:spPr>
          <a:xfrm>
            <a:off x="608214" y="6269979"/>
            <a:ext cx="1783308" cy="160044"/>
          </a:xfrm>
          <a:prstGeom prst="rect">
            <a:avLst/>
          </a:prstGeom>
          <a:noFill/>
        </p:spPr>
        <p:txBody>
          <a:bodyPr wrap="square" lIns="0" tIns="36576" rIns="0" bIns="0" rtlCol="0">
            <a:spAutoFit/>
          </a:bodyPr>
          <a:lstStyle/>
          <a:p>
            <a:pPr algn="l">
              <a:spcAft>
                <a:spcPts val="600"/>
              </a:spcAft>
              <a:buClr>
                <a:schemeClr val="tx2"/>
              </a:buClr>
              <a:buSzPct val="80000"/>
            </a:pPr>
            <a:r>
              <a:rPr lang="cs-CZ" sz="800" dirty="0">
                <a:solidFill>
                  <a:schemeClr val="bg2"/>
                </a:solidFill>
              </a:rPr>
              <a:t>Zdroje: </a:t>
            </a:r>
            <a:r>
              <a:rPr lang="cs-CZ" sz="800" dirty="0">
                <a:solidFill>
                  <a:schemeClr val="bg2"/>
                </a:solidFill>
                <a:hlinkClick r:id="rId9">
                  <a:extLst>
                    <a:ext uri="{A12FA001-AC4F-418D-AE19-62706E023703}">
                      <ahyp:hlinkClr xmlns:ahyp="http://schemas.microsoft.com/office/drawing/2018/hyperlinkcolor" val="tx"/>
                    </a:ext>
                  </a:extLst>
                </a:hlinkClick>
              </a:rPr>
              <a:t>NEA</a:t>
            </a:r>
            <a:r>
              <a:rPr lang="cs-CZ" sz="800" dirty="0">
                <a:solidFill>
                  <a:schemeClr val="bg2"/>
                </a:solidFill>
              </a:rPr>
              <a:t>; </a:t>
            </a:r>
            <a:r>
              <a:rPr lang="cs-CZ" sz="800" dirty="0">
                <a:solidFill>
                  <a:schemeClr val="bg2"/>
                </a:solidFill>
                <a:hlinkClick r:id="rId10">
                  <a:extLst>
                    <a:ext uri="{A12FA001-AC4F-418D-AE19-62706E023703}">
                      <ahyp:hlinkClr xmlns:ahyp="http://schemas.microsoft.com/office/drawing/2018/hyperlinkcolor" val="tx"/>
                    </a:ext>
                  </a:extLst>
                </a:hlinkClick>
              </a:rPr>
              <a:t>WNA</a:t>
            </a:r>
            <a:r>
              <a:rPr lang="cs-CZ" sz="800" dirty="0">
                <a:solidFill>
                  <a:schemeClr val="bg2"/>
                </a:solidFill>
              </a:rPr>
              <a:t>; </a:t>
            </a:r>
            <a:r>
              <a:rPr lang="cs-CZ" sz="800" dirty="0">
                <a:solidFill>
                  <a:schemeClr val="bg2"/>
                </a:solidFill>
                <a:hlinkClick r:id="rId11">
                  <a:extLst>
                    <a:ext uri="{A12FA001-AC4F-418D-AE19-62706E023703}">
                      <ahyp:hlinkClr xmlns:ahyp="http://schemas.microsoft.com/office/drawing/2018/hyperlinkcolor" val="tx"/>
                    </a:ext>
                  </a:extLst>
                </a:hlinkClick>
              </a:rPr>
              <a:t>IAEA</a:t>
            </a:r>
            <a:endParaRPr lang="cs-CZ" sz="800" dirty="0">
              <a:solidFill>
                <a:schemeClr val="bg2"/>
              </a:solidFill>
            </a:endParaRPr>
          </a:p>
        </p:txBody>
      </p:sp>
    </p:spTree>
    <p:extLst>
      <p:ext uri="{BB962C8B-B14F-4D97-AF65-F5344CB8AC3E}">
        <p14:creationId xmlns:p14="http://schemas.microsoft.com/office/powerpoint/2010/main" val="23052759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D830C4-31D1-D764-4391-041A5F5C85B8}"/>
              </a:ext>
            </a:extLst>
          </p:cNvPr>
          <p:cNvSpPr>
            <a:spLocks noGrp="1"/>
          </p:cNvSpPr>
          <p:nvPr>
            <p:ph type="title"/>
          </p:nvPr>
        </p:nvSpPr>
        <p:spPr/>
        <p:txBody>
          <a:bodyPr/>
          <a:lstStyle/>
          <a:p>
            <a:r>
              <a:rPr lang="cs-CZ" dirty="0"/>
              <a:t>Přístup a vývoj jaderné energetiky </a:t>
            </a:r>
            <a:r>
              <a:rPr lang="cs-CZ" b="0" i="0" dirty="0">
                <a:solidFill>
                  <a:srgbClr val="4D5156"/>
                </a:solidFill>
                <a:effectLst/>
                <a:highlight>
                  <a:srgbClr val="FFFFFF"/>
                </a:highlight>
                <a:latin typeface="Arial" panose="020B0604020202020204"/>
              </a:rPr>
              <a:t>–</a:t>
            </a:r>
            <a:r>
              <a:rPr lang="cs-CZ" dirty="0"/>
              <a:t> Rumunsko</a:t>
            </a:r>
            <a:endParaRPr lang="en-US" dirty="0"/>
          </a:p>
        </p:txBody>
      </p:sp>
      <p:grpSp>
        <p:nvGrpSpPr>
          <p:cNvPr id="119" name="POWER_USER_DATA_MAP" descr="{&quot;IsGrandientColor&quot;:true,&quot;GradientColor&quot;:&quot;#27ACAA&quot;,&quot;IsRangesColor&quot;:false,&quot;RangesSettings&quot;:null,&quot;RangeName&quot;:&quot;POWER_USER_EXCEL_MAP_CAD322D1_6FB7_4738_BE6D_BA0BDF5530E1&quot;,&quot;Version&quot;:&quot;1.7.4.60&quot;}">
            <a:extLst>
              <a:ext uri="{FF2B5EF4-FFF2-40B4-BE49-F238E27FC236}">
                <a16:creationId xmlns:a16="http://schemas.microsoft.com/office/drawing/2014/main" id="{CE20BFBA-BC19-AFAD-7FAC-0AB3613DE8D7}"/>
              </a:ext>
            </a:extLst>
          </p:cNvPr>
          <p:cNvGrpSpPr>
            <a:grpSpLocks noChangeAspect="1"/>
          </p:cNvGrpSpPr>
          <p:nvPr/>
        </p:nvGrpSpPr>
        <p:grpSpPr>
          <a:xfrm>
            <a:off x="385056" y="1150283"/>
            <a:ext cx="2507391" cy="1641023"/>
            <a:chOff x="2203621" y="1944261"/>
            <a:chExt cx="8004427" cy="5238695"/>
          </a:xfrm>
        </p:grpSpPr>
        <p:grpSp>
          <p:nvGrpSpPr>
            <p:cNvPr id="4" name="Romania">
              <a:extLst>
                <a:ext uri="{FF2B5EF4-FFF2-40B4-BE49-F238E27FC236}">
                  <a16:creationId xmlns:a16="http://schemas.microsoft.com/office/drawing/2014/main" id="{6B5A0C5D-E46C-046C-5D79-5BAD0E4313B9}"/>
                </a:ext>
              </a:extLst>
            </p:cNvPr>
            <p:cNvGrpSpPr>
              <a:grpSpLocks noChangeAspect="1"/>
            </p:cNvGrpSpPr>
            <p:nvPr/>
          </p:nvGrpSpPr>
          <p:grpSpPr>
            <a:xfrm>
              <a:off x="2203621" y="1944261"/>
              <a:ext cx="8004427" cy="5238695"/>
              <a:chOff x="2203621" y="1309261"/>
              <a:chExt cx="8004427" cy="5238695"/>
            </a:xfrm>
          </p:grpSpPr>
          <p:grpSp>
            <p:nvGrpSpPr>
              <p:cNvPr id="5" name="Romania">
                <a:extLst>
                  <a:ext uri="{FF2B5EF4-FFF2-40B4-BE49-F238E27FC236}">
                    <a16:creationId xmlns:a16="http://schemas.microsoft.com/office/drawing/2014/main" id="{5E25063D-913B-82C0-A173-4CCFA4EDF336}"/>
                  </a:ext>
                </a:extLst>
              </p:cNvPr>
              <p:cNvGrpSpPr>
                <a:grpSpLocks noChangeAspect="1"/>
              </p:cNvGrpSpPr>
              <p:nvPr/>
            </p:nvGrpSpPr>
            <p:grpSpPr>
              <a:xfrm>
                <a:off x="2839023" y="1309261"/>
                <a:ext cx="7369025" cy="5208932"/>
                <a:chOff x="3114675" y="1323976"/>
                <a:chExt cx="5962651" cy="4214813"/>
              </a:xfrm>
            </p:grpSpPr>
            <p:sp>
              <p:nvSpPr>
                <p:cNvPr id="75" name="Alba" descr="{&quot;Key&quot;:&quot;alba&quot;,&quot;Name&quot;:&quot;Alba&quot;,&quot;Value&quot;:1.0,&quot;Formula&quot;:&quot;&quot;,&quot;Text&quot;:&quot;1&quot;,&quot;OfficeApplication&quot;:0,&quot;HasValue&quot;:true}">
                  <a:extLst>
                    <a:ext uri="{FF2B5EF4-FFF2-40B4-BE49-F238E27FC236}">
                      <a16:creationId xmlns:a16="http://schemas.microsoft.com/office/drawing/2014/main" id="{99B05599-89CC-BDFE-FDA2-8F8ACF22FD84}"/>
                    </a:ext>
                  </a:extLst>
                </p:cNvPr>
                <p:cNvSpPr>
                  <a:spLocks/>
                </p:cNvSpPr>
                <p:nvPr/>
              </p:nvSpPr>
              <p:spPr bwMode="auto">
                <a:xfrm>
                  <a:off x="4633913" y="2882901"/>
                  <a:ext cx="998538" cy="1022350"/>
                </a:xfrm>
                <a:custGeom>
                  <a:avLst/>
                  <a:gdLst>
                    <a:gd name="T0" fmla="*/ 91 w 629"/>
                    <a:gd name="T1" fmla="*/ 32 h 644"/>
                    <a:gd name="T2" fmla="*/ 128 w 629"/>
                    <a:gd name="T3" fmla="*/ 23 h 644"/>
                    <a:gd name="T4" fmla="*/ 151 w 629"/>
                    <a:gd name="T5" fmla="*/ 72 h 644"/>
                    <a:gd name="T6" fmla="*/ 181 w 629"/>
                    <a:gd name="T7" fmla="*/ 59 h 644"/>
                    <a:gd name="T8" fmla="*/ 226 w 629"/>
                    <a:gd name="T9" fmla="*/ 61 h 644"/>
                    <a:gd name="T10" fmla="*/ 264 w 629"/>
                    <a:gd name="T11" fmla="*/ 39 h 644"/>
                    <a:gd name="T12" fmla="*/ 309 w 629"/>
                    <a:gd name="T13" fmla="*/ 44 h 644"/>
                    <a:gd name="T14" fmla="*/ 343 w 629"/>
                    <a:gd name="T15" fmla="*/ 64 h 644"/>
                    <a:gd name="T16" fmla="*/ 373 w 629"/>
                    <a:gd name="T17" fmla="*/ 76 h 644"/>
                    <a:gd name="T18" fmla="*/ 373 w 629"/>
                    <a:gd name="T19" fmla="*/ 104 h 644"/>
                    <a:gd name="T20" fmla="*/ 396 w 629"/>
                    <a:gd name="T21" fmla="*/ 106 h 644"/>
                    <a:gd name="T22" fmla="*/ 409 w 629"/>
                    <a:gd name="T23" fmla="*/ 79 h 644"/>
                    <a:gd name="T24" fmla="*/ 461 w 629"/>
                    <a:gd name="T25" fmla="*/ 75 h 644"/>
                    <a:gd name="T26" fmla="*/ 507 w 629"/>
                    <a:gd name="T27" fmla="*/ 81 h 644"/>
                    <a:gd name="T28" fmla="*/ 537 w 629"/>
                    <a:gd name="T29" fmla="*/ 83 h 644"/>
                    <a:gd name="T30" fmla="*/ 537 w 629"/>
                    <a:gd name="T31" fmla="*/ 98 h 644"/>
                    <a:gd name="T32" fmla="*/ 534 w 629"/>
                    <a:gd name="T33" fmla="*/ 130 h 644"/>
                    <a:gd name="T34" fmla="*/ 579 w 629"/>
                    <a:gd name="T35" fmla="*/ 149 h 644"/>
                    <a:gd name="T36" fmla="*/ 603 w 629"/>
                    <a:gd name="T37" fmla="*/ 179 h 644"/>
                    <a:gd name="T38" fmla="*/ 628 w 629"/>
                    <a:gd name="T39" fmla="*/ 199 h 644"/>
                    <a:gd name="T40" fmla="*/ 605 w 629"/>
                    <a:gd name="T41" fmla="*/ 226 h 644"/>
                    <a:gd name="T42" fmla="*/ 605 w 629"/>
                    <a:gd name="T43" fmla="*/ 253 h 644"/>
                    <a:gd name="T44" fmla="*/ 559 w 629"/>
                    <a:gd name="T45" fmla="*/ 284 h 644"/>
                    <a:gd name="T46" fmla="*/ 542 w 629"/>
                    <a:gd name="T47" fmla="*/ 318 h 644"/>
                    <a:gd name="T48" fmla="*/ 525 w 629"/>
                    <a:gd name="T49" fmla="*/ 329 h 644"/>
                    <a:gd name="T50" fmla="*/ 491 w 629"/>
                    <a:gd name="T51" fmla="*/ 318 h 644"/>
                    <a:gd name="T52" fmla="*/ 478 w 629"/>
                    <a:gd name="T53" fmla="*/ 339 h 644"/>
                    <a:gd name="T54" fmla="*/ 456 w 629"/>
                    <a:gd name="T55" fmla="*/ 383 h 644"/>
                    <a:gd name="T56" fmla="*/ 427 w 629"/>
                    <a:gd name="T57" fmla="*/ 390 h 644"/>
                    <a:gd name="T58" fmla="*/ 422 w 629"/>
                    <a:gd name="T59" fmla="*/ 429 h 644"/>
                    <a:gd name="T60" fmla="*/ 392 w 629"/>
                    <a:gd name="T61" fmla="*/ 447 h 644"/>
                    <a:gd name="T62" fmla="*/ 396 w 629"/>
                    <a:gd name="T63" fmla="*/ 472 h 644"/>
                    <a:gd name="T64" fmla="*/ 376 w 629"/>
                    <a:gd name="T65" fmla="*/ 493 h 644"/>
                    <a:gd name="T66" fmla="*/ 389 w 629"/>
                    <a:gd name="T67" fmla="*/ 547 h 644"/>
                    <a:gd name="T68" fmla="*/ 386 w 629"/>
                    <a:gd name="T69" fmla="*/ 573 h 644"/>
                    <a:gd name="T70" fmla="*/ 390 w 629"/>
                    <a:gd name="T71" fmla="*/ 626 h 644"/>
                    <a:gd name="T72" fmla="*/ 372 w 629"/>
                    <a:gd name="T73" fmla="*/ 644 h 644"/>
                    <a:gd name="T74" fmla="*/ 352 w 629"/>
                    <a:gd name="T75" fmla="*/ 607 h 644"/>
                    <a:gd name="T76" fmla="*/ 330 w 629"/>
                    <a:gd name="T77" fmla="*/ 581 h 644"/>
                    <a:gd name="T78" fmla="*/ 298 w 629"/>
                    <a:gd name="T79" fmla="*/ 569 h 644"/>
                    <a:gd name="T80" fmla="*/ 298 w 629"/>
                    <a:gd name="T81" fmla="*/ 527 h 644"/>
                    <a:gd name="T82" fmla="*/ 280 w 629"/>
                    <a:gd name="T83" fmla="*/ 473 h 644"/>
                    <a:gd name="T84" fmla="*/ 260 w 629"/>
                    <a:gd name="T85" fmla="*/ 424 h 644"/>
                    <a:gd name="T86" fmla="*/ 237 w 629"/>
                    <a:gd name="T87" fmla="*/ 378 h 644"/>
                    <a:gd name="T88" fmla="*/ 218 w 629"/>
                    <a:gd name="T89" fmla="*/ 321 h 644"/>
                    <a:gd name="T90" fmla="*/ 195 w 629"/>
                    <a:gd name="T91" fmla="*/ 321 h 644"/>
                    <a:gd name="T92" fmla="*/ 171 w 629"/>
                    <a:gd name="T93" fmla="*/ 313 h 644"/>
                    <a:gd name="T94" fmla="*/ 166 w 629"/>
                    <a:gd name="T95" fmla="*/ 284 h 644"/>
                    <a:gd name="T96" fmla="*/ 169 w 629"/>
                    <a:gd name="T97" fmla="*/ 259 h 644"/>
                    <a:gd name="T98" fmla="*/ 160 w 629"/>
                    <a:gd name="T99" fmla="*/ 229 h 644"/>
                    <a:gd name="T100" fmla="*/ 142 w 629"/>
                    <a:gd name="T101" fmla="*/ 219 h 644"/>
                    <a:gd name="T102" fmla="*/ 112 w 629"/>
                    <a:gd name="T103" fmla="*/ 192 h 644"/>
                    <a:gd name="T104" fmla="*/ 105 w 629"/>
                    <a:gd name="T105" fmla="*/ 153 h 644"/>
                    <a:gd name="T106" fmla="*/ 51 w 629"/>
                    <a:gd name="T107" fmla="*/ 147 h 644"/>
                    <a:gd name="T108" fmla="*/ 23 w 629"/>
                    <a:gd name="T109" fmla="*/ 133 h 644"/>
                    <a:gd name="T110" fmla="*/ 0 w 629"/>
                    <a:gd name="T111" fmla="*/ 93 h 644"/>
                    <a:gd name="T112" fmla="*/ 2 w 629"/>
                    <a:gd name="T113" fmla="*/ 52 h 644"/>
                    <a:gd name="T114" fmla="*/ 17 w 629"/>
                    <a:gd name="T115" fmla="*/ 24 h 644"/>
                    <a:gd name="T116" fmla="*/ 30 w 629"/>
                    <a:gd name="T117"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9" h="644">
                      <a:moveTo>
                        <a:pt x="54" y="16"/>
                      </a:moveTo>
                      <a:lnTo>
                        <a:pt x="56" y="20"/>
                      </a:lnTo>
                      <a:lnTo>
                        <a:pt x="63" y="27"/>
                      </a:lnTo>
                      <a:lnTo>
                        <a:pt x="69" y="27"/>
                      </a:lnTo>
                      <a:lnTo>
                        <a:pt x="83" y="33"/>
                      </a:lnTo>
                      <a:lnTo>
                        <a:pt x="91" y="32"/>
                      </a:lnTo>
                      <a:lnTo>
                        <a:pt x="102" y="23"/>
                      </a:lnTo>
                      <a:lnTo>
                        <a:pt x="106" y="23"/>
                      </a:lnTo>
                      <a:lnTo>
                        <a:pt x="114" y="23"/>
                      </a:lnTo>
                      <a:lnTo>
                        <a:pt x="117" y="26"/>
                      </a:lnTo>
                      <a:lnTo>
                        <a:pt x="123" y="26"/>
                      </a:lnTo>
                      <a:lnTo>
                        <a:pt x="128" y="23"/>
                      </a:lnTo>
                      <a:lnTo>
                        <a:pt x="135" y="24"/>
                      </a:lnTo>
                      <a:lnTo>
                        <a:pt x="143" y="35"/>
                      </a:lnTo>
                      <a:lnTo>
                        <a:pt x="146" y="53"/>
                      </a:lnTo>
                      <a:lnTo>
                        <a:pt x="154" y="58"/>
                      </a:lnTo>
                      <a:lnTo>
                        <a:pt x="149" y="70"/>
                      </a:lnTo>
                      <a:lnTo>
                        <a:pt x="151" y="72"/>
                      </a:lnTo>
                      <a:lnTo>
                        <a:pt x="155" y="70"/>
                      </a:lnTo>
                      <a:lnTo>
                        <a:pt x="168" y="73"/>
                      </a:lnTo>
                      <a:lnTo>
                        <a:pt x="171" y="70"/>
                      </a:lnTo>
                      <a:lnTo>
                        <a:pt x="171" y="63"/>
                      </a:lnTo>
                      <a:lnTo>
                        <a:pt x="174" y="59"/>
                      </a:lnTo>
                      <a:lnTo>
                        <a:pt x="181" y="59"/>
                      </a:lnTo>
                      <a:lnTo>
                        <a:pt x="188" y="53"/>
                      </a:lnTo>
                      <a:lnTo>
                        <a:pt x="195" y="50"/>
                      </a:lnTo>
                      <a:lnTo>
                        <a:pt x="198" y="50"/>
                      </a:lnTo>
                      <a:lnTo>
                        <a:pt x="204" y="49"/>
                      </a:lnTo>
                      <a:lnTo>
                        <a:pt x="206" y="56"/>
                      </a:lnTo>
                      <a:lnTo>
                        <a:pt x="226" y="61"/>
                      </a:lnTo>
                      <a:lnTo>
                        <a:pt x="229" y="56"/>
                      </a:lnTo>
                      <a:lnTo>
                        <a:pt x="237" y="56"/>
                      </a:lnTo>
                      <a:lnTo>
                        <a:pt x="240" y="50"/>
                      </a:lnTo>
                      <a:lnTo>
                        <a:pt x="247" y="44"/>
                      </a:lnTo>
                      <a:lnTo>
                        <a:pt x="254" y="44"/>
                      </a:lnTo>
                      <a:lnTo>
                        <a:pt x="264" y="39"/>
                      </a:lnTo>
                      <a:lnTo>
                        <a:pt x="274" y="27"/>
                      </a:lnTo>
                      <a:lnTo>
                        <a:pt x="280" y="26"/>
                      </a:lnTo>
                      <a:lnTo>
                        <a:pt x="284" y="26"/>
                      </a:lnTo>
                      <a:lnTo>
                        <a:pt x="289" y="30"/>
                      </a:lnTo>
                      <a:lnTo>
                        <a:pt x="300" y="33"/>
                      </a:lnTo>
                      <a:lnTo>
                        <a:pt x="309" y="44"/>
                      </a:lnTo>
                      <a:lnTo>
                        <a:pt x="313" y="44"/>
                      </a:lnTo>
                      <a:lnTo>
                        <a:pt x="315" y="50"/>
                      </a:lnTo>
                      <a:lnTo>
                        <a:pt x="320" y="50"/>
                      </a:lnTo>
                      <a:lnTo>
                        <a:pt x="324" y="59"/>
                      </a:lnTo>
                      <a:lnTo>
                        <a:pt x="330" y="56"/>
                      </a:lnTo>
                      <a:lnTo>
                        <a:pt x="343" y="64"/>
                      </a:lnTo>
                      <a:lnTo>
                        <a:pt x="350" y="64"/>
                      </a:lnTo>
                      <a:lnTo>
                        <a:pt x="359" y="56"/>
                      </a:lnTo>
                      <a:lnTo>
                        <a:pt x="366" y="58"/>
                      </a:lnTo>
                      <a:lnTo>
                        <a:pt x="375" y="66"/>
                      </a:lnTo>
                      <a:lnTo>
                        <a:pt x="375" y="70"/>
                      </a:lnTo>
                      <a:lnTo>
                        <a:pt x="373" y="76"/>
                      </a:lnTo>
                      <a:lnTo>
                        <a:pt x="367" y="79"/>
                      </a:lnTo>
                      <a:lnTo>
                        <a:pt x="364" y="86"/>
                      </a:lnTo>
                      <a:lnTo>
                        <a:pt x="364" y="93"/>
                      </a:lnTo>
                      <a:lnTo>
                        <a:pt x="361" y="101"/>
                      </a:lnTo>
                      <a:lnTo>
                        <a:pt x="366" y="106"/>
                      </a:lnTo>
                      <a:lnTo>
                        <a:pt x="373" y="104"/>
                      </a:lnTo>
                      <a:lnTo>
                        <a:pt x="384" y="112"/>
                      </a:lnTo>
                      <a:lnTo>
                        <a:pt x="387" y="110"/>
                      </a:lnTo>
                      <a:lnTo>
                        <a:pt x="393" y="112"/>
                      </a:lnTo>
                      <a:lnTo>
                        <a:pt x="399" y="107"/>
                      </a:lnTo>
                      <a:lnTo>
                        <a:pt x="399" y="103"/>
                      </a:lnTo>
                      <a:lnTo>
                        <a:pt x="396" y="106"/>
                      </a:lnTo>
                      <a:lnTo>
                        <a:pt x="392" y="104"/>
                      </a:lnTo>
                      <a:lnTo>
                        <a:pt x="390" y="96"/>
                      </a:lnTo>
                      <a:lnTo>
                        <a:pt x="399" y="96"/>
                      </a:lnTo>
                      <a:lnTo>
                        <a:pt x="396" y="89"/>
                      </a:lnTo>
                      <a:lnTo>
                        <a:pt x="401" y="83"/>
                      </a:lnTo>
                      <a:lnTo>
                        <a:pt x="409" y="79"/>
                      </a:lnTo>
                      <a:lnTo>
                        <a:pt x="419" y="83"/>
                      </a:lnTo>
                      <a:lnTo>
                        <a:pt x="430" y="79"/>
                      </a:lnTo>
                      <a:lnTo>
                        <a:pt x="435" y="75"/>
                      </a:lnTo>
                      <a:lnTo>
                        <a:pt x="442" y="78"/>
                      </a:lnTo>
                      <a:lnTo>
                        <a:pt x="453" y="73"/>
                      </a:lnTo>
                      <a:lnTo>
                        <a:pt x="461" y="75"/>
                      </a:lnTo>
                      <a:lnTo>
                        <a:pt x="462" y="84"/>
                      </a:lnTo>
                      <a:lnTo>
                        <a:pt x="473" y="86"/>
                      </a:lnTo>
                      <a:lnTo>
                        <a:pt x="482" y="83"/>
                      </a:lnTo>
                      <a:lnTo>
                        <a:pt x="488" y="84"/>
                      </a:lnTo>
                      <a:lnTo>
                        <a:pt x="496" y="81"/>
                      </a:lnTo>
                      <a:lnTo>
                        <a:pt x="507" y="81"/>
                      </a:lnTo>
                      <a:lnTo>
                        <a:pt x="514" y="78"/>
                      </a:lnTo>
                      <a:lnTo>
                        <a:pt x="514" y="78"/>
                      </a:lnTo>
                      <a:lnTo>
                        <a:pt x="517" y="92"/>
                      </a:lnTo>
                      <a:lnTo>
                        <a:pt x="528" y="92"/>
                      </a:lnTo>
                      <a:lnTo>
                        <a:pt x="531" y="92"/>
                      </a:lnTo>
                      <a:lnTo>
                        <a:pt x="537" y="83"/>
                      </a:lnTo>
                      <a:lnTo>
                        <a:pt x="536" y="78"/>
                      </a:lnTo>
                      <a:lnTo>
                        <a:pt x="539" y="76"/>
                      </a:lnTo>
                      <a:lnTo>
                        <a:pt x="544" y="78"/>
                      </a:lnTo>
                      <a:lnTo>
                        <a:pt x="542" y="93"/>
                      </a:lnTo>
                      <a:lnTo>
                        <a:pt x="539" y="95"/>
                      </a:lnTo>
                      <a:lnTo>
                        <a:pt x="537" y="98"/>
                      </a:lnTo>
                      <a:lnTo>
                        <a:pt x="537" y="109"/>
                      </a:lnTo>
                      <a:lnTo>
                        <a:pt x="528" y="119"/>
                      </a:lnTo>
                      <a:lnTo>
                        <a:pt x="528" y="123"/>
                      </a:lnTo>
                      <a:lnTo>
                        <a:pt x="533" y="126"/>
                      </a:lnTo>
                      <a:lnTo>
                        <a:pt x="533" y="129"/>
                      </a:lnTo>
                      <a:lnTo>
                        <a:pt x="534" y="130"/>
                      </a:lnTo>
                      <a:lnTo>
                        <a:pt x="536" y="135"/>
                      </a:lnTo>
                      <a:lnTo>
                        <a:pt x="548" y="143"/>
                      </a:lnTo>
                      <a:lnTo>
                        <a:pt x="560" y="149"/>
                      </a:lnTo>
                      <a:lnTo>
                        <a:pt x="568" y="147"/>
                      </a:lnTo>
                      <a:lnTo>
                        <a:pt x="571" y="150"/>
                      </a:lnTo>
                      <a:lnTo>
                        <a:pt x="579" y="149"/>
                      </a:lnTo>
                      <a:lnTo>
                        <a:pt x="582" y="149"/>
                      </a:lnTo>
                      <a:lnTo>
                        <a:pt x="587" y="161"/>
                      </a:lnTo>
                      <a:lnTo>
                        <a:pt x="585" y="167"/>
                      </a:lnTo>
                      <a:lnTo>
                        <a:pt x="587" y="170"/>
                      </a:lnTo>
                      <a:lnTo>
                        <a:pt x="597" y="179"/>
                      </a:lnTo>
                      <a:lnTo>
                        <a:pt x="603" y="179"/>
                      </a:lnTo>
                      <a:lnTo>
                        <a:pt x="608" y="181"/>
                      </a:lnTo>
                      <a:lnTo>
                        <a:pt x="610" y="186"/>
                      </a:lnTo>
                      <a:lnTo>
                        <a:pt x="608" y="190"/>
                      </a:lnTo>
                      <a:lnTo>
                        <a:pt x="616" y="190"/>
                      </a:lnTo>
                      <a:lnTo>
                        <a:pt x="625" y="198"/>
                      </a:lnTo>
                      <a:lnTo>
                        <a:pt x="628" y="199"/>
                      </a:lnTo>
                      <a:lnTo>
                        <a:pt x="629" y="201"/>
                      </a:lnTo>
                      <a:lnTo>
                        <a:pt x="629" y="201"/>
                      </a:lnTo>
                      <a:lnTo>
                        <a:pt x="626" y="204"/>
                      </a:lnTo>
                      <a:lnTo>
                        <a:pt x="606" y="215"/>
                      </a:lnTo>
                      <a:lnTo>
                        <a:pt x="610" y="219"/>
                      </a:lnTo>
                      <a:lnTo>
                        <a:pt x="605" y="226"/>
                      </a:lnTo>
                      <a:lnTo>
                        <a:pt x="603" y="236"/>
                      </a:lnTo>
                      <a:lnTo>
                        <a:pt x="605" y="238"/>
                      </a:lnTo>
                      <a:lnTo>
                        <a:pt x="611" y="241"/>
                      </a:lnTo>
                      <a:lnTo>
                        <a:pt x="614" y="246"/>
                      </a:lnTo>
                      <a:lnTo>
                        <a:pt x="613" y="250"/>
                      </a:lnTo>
                      <a:lnTo>
                        <a:pt x="605" y="253"/>
                      </a:lnTo>
                      <a:lnTo>
                        <a:pt x="588" y="263"/>
                      </a:lnTo>
                      <a:lnTo>
                        <a:pt x="579" y="261"/>
                      </a:lnTo>
                      <a:lnTo>
                        <a:pt x="574" y="264"/>
                      </a:lnTo>
                      <a:lnTo>
                        <a:pt x="565" y="275"/>
                      </a:lnTo>
                      <a:lnTo>
                        <a:pt x="564" y="283"/>
                      </a:lnTo>
                      <a:lnTo>
                        <a:pt x="559" y="284"/>
                      </a:lnTo>
                      <a:lnTo>
                        <a:pt x="551" y="290"/>
                      </a:lnTo>
                      <a:lnTo>
                        <a:pt x="554" y="295"/>
                      </a:lnTo>
                      <a:lnTo>
                        <a:pt x="548" y="301"/>
                      </a:lnTo>
                      <a:lnTo>
                        <a:pt x="544" y="310"/>
                      </a:lnTo>
                      <a:lnTo>
                        <a:pt x="545" y="315"/>
                      </a:lnTo>
                      <a:lnTo>
                        <a:pt x="542" y="318"/>
                      </a:lnTo>
                      <a:lnTo>
                        <a:pt x="547" y="321"/>
                      </a:lnTo>
                      <a:lnTo>
                        <a:pt x="530" y="332"/>
                      </a:lnTo>
                      <a:lnTo>
                        <a:pt x="531" y="336"/>
                      </a:lnTo>
                      <a:lnTo>
                        <a:pt x="530" y="341"/>
                      </a:lnTo>
                      <a:lnTo>
                        <a:pt x="525" y="332"/>
                      </a:lnTo>
                      <a:lnTo>
                        <a:pt x="525" y="329"/>
                      </a:lnTo>
                      <a:lnTo>
                        <a:pt x="519" y="323"/>
                      </a:lnTo>
                      <a:lnTo>
                        <a:pt x="514" y="319"/>
                      </a:lnTo>
                      <a:lnTo>
                        <a:pt x="514" y="315"/>
                      </a:lnTo>
                      <a:lnTo>
                        <a:pt x="507" y="316"/>
                      </a:lnTo>
                      <a:lnTo>
                        <a:pt x="494" y="315"/>
                      </a:lnTo>
                      <a:lnTo>
                        <a:pt x="491" y="318"/>
                      </a:lnTo>
                      <a:lnTo>
                        <a:pt x="485" y="315"/>
                      </a:lnTo>
                      <a:lnTo>
                        <a:pt x="482" y="321"/>
                      </a:lnTo>
                      <a:lnTo>
                        <a:pt x="479" y="321"/>
                      </a:lnTo>
                      <a:lnTo>
                        <a:pt x="468" y="333"/>
                      </a:lnTo>
                      <a:lnTo>
                        <a:pt x="473" y="338"/>
                      </a:lnTo>
                      <a:lnTo>
                        <a:pt x="478" y="339"/>
                      </a:lnTo>
                      <a:lnTo>
                        <a:pt x="475" y="341"/>
                      </a:lnTo>
                      <a:lnTo>
                        <a:pt x="476" y="347"/>
                      </a:lnTo>
                      <a:lnTo>
                        <a:pt x="473" y="350"/>
                      </a:lnTo>
                      <a:lnTo>
                        <a:pt x="476" y="363"/>
                      </a:lnTo>
                      <a:lnTo>
                        <a:pt x="464" y="369"/>
                      </a:lnTo>
                      <a:lnTo>
                        <a:pt x="456" y="383"/>
                      </a:lnTo>
                      <a:lnTo>
                        <a:pt x="452" y="381"/>
                      </a:lnTo>
                      <a:lnTo>
                        <a:pt x="448" y="383"/>
                      </a:lnTo>
                      <a:lnTo>
                        <a:pt x="445" y="381"/>
                      </a:lnTo>
                      <a:lnTo>
                        <a:pt x="438" y="386"/>
                      </a:lnTo>
                      <a:lnTo>
                        <a:pt x="422" y="387"/>
                      </a:lnTo>
                      <a:lnTo>
                        <a:pt x="427" y="390"/>
                      </a:lnTo>
                      <a:lnTo>
                        <a:pt x="422" y="399"/>
                      </a:lnTo>
                      <a:lnTo>
                        <a:pt x="428" y="404"/>
                      </a:lnTo>
                      <a:lnTo>
                        <a:pt x="428" y="406"/>
                      </a:lnTo>
                      <a:lnTo>
                        <a:pt x="425" y="413"/>
                      </a:lnTo>
                      <a:lnTo>
                        <a:pt x="425" y="418"/>
                      </a:lnTo>
                      <a:lnTo>
                        <a:pt x="422" y="429"/>
                      </a:lnTo>
                      <a:lnTo>
                        <a:pt x="424" y="433"/>
                      </a:lnTo>
                      <a:lnTo>
                        <a:pt x="421" y="443"/>
                      </a:lnTo>
                      <a:lnTo>
                        <a:pt x="410" y="439"/>
                      </a:lnTo>
                      <a:lnTo>
                        <a:pt x="401" y="443"/>
                      </a:lnTo>
                      <a:lnTo>
                        <a:pt x="398" y="447"/>
                      </a:lnTo>
                      <a:lnTo>
                        <a:pt x="392" y="447"/>
                      </a:lnTo>
                      <a:lnTo>
                        <a:pt x="387" y="453"/>
                      </a:lnTo>
                      <a:lnTo>
                        <a:pt x="382" y="463"/>
                      </a:lnTo>
                      <a:lnTo>
                        <a:pt x="386" y="467"/>
                      </a:lnTo>
                      <a:lnTo>
                        <a:pt x="390" y="467"/>
                      </a:lnTo>
                      <a:lnTo>
                        <a:pt x="393" y="472"/>
                      </a:lnTo>
                      <a:lnTo>
                        <a:pt x="396" y="472"/>
                      </a:lnTo>
                      <a:lnTo>
                        <a:pt x="396" y="476"/>
                      </a:lnTo>
                      <a:lnTo>
                        <a:pt x="399" y="478"/>
                      </a:lnTo>
                      <a:lnTo>
                        <a:pt x="390" y="481"/>
                      </a:lnTo>
                      <a:lnTo>
                        <a:pt x="386" y="492"/>
                      </a:lnTo>
                      <a:lnTo>
                        <a:pt x="381" y="493"/>
                      </a:lnTo>
                      <a:lnTo>
                        <a:pt x="376" y="493"/>
                      </a:lnTo>
                      <a:lnTo>
                        <a:pt x="369" y="498"/>
                      </a:lnTo>
                      <a:lnTo>
                        <a:pt x="370" y="502"/>
                      </a:lnTo>
                      <a:lnTo>
                        <a:pt x="366" y="512"/>
                      </a:lnTo>
                      <a:lnTo>
                        <a:pt x="366" y="527"/>
                      </a:lnTo>
                      <a:lnTo>
                        <a:pt x="381" y="536"/>
                      </a:lnTo>
                      <a:lnTo>
                        <a:pt x="389" y="547"/>
                      </a:lnTo>
                      <a:lnTo>
                        <a:pt x="389" y="553"/>
                      </a:lnTo>
                      <a:lnTo>
                        <a:pt x="386" y="555"/>
                      </a:lnTo>
                      <a:lnTo>
                        <a:pt x="384" y="561"/>
                      </a:lnTo>
                      <a:lnTo>
                        <a:pt x="389" y="564"/>
                      </a:lnTo>
                      <a:lnTo>
                        <a:pt x="390" y="569"/>
                      </a:lnTo>
                      <a:lnTo>
                        <a:pt x="386" y="573"/>
                      </a:lnTo>
                      <a:lnTo>
                        <a:pt x="379" y="576"/>
                      </a:lnTo>
                      <a:lnTo>
                        <a:pt x="376" y="587"/>
                      </a:lnTo>
                      <a:lnTo>
                        <a:pt x="375" y="589"/>
                      </a:lnTo>
                      <a:lnTo>
                        <a:pt x="386" y="598"/>
                      </a:lnTo>
                      <a:lnTo>
                        <a:pt x="390" y="615"/>
                      </a:lnTo>
                      <a:lnTo>
                        <a:pt x="390" y="626"/>
                      </a:lnTo>
                      <a:lnTo>
                        <a:pt x="393" y="641"/>
                      </a:lnTo>
                      <a:lnTo>
                        <a:pt x="390" y="644"/>
                      </a:lnTo>
                      <a:lnTo>
                        <a:pt x="382" y="644"/>
                      </a:lnTo>
                      <a:lnTo>
                        <a:pt x="382" y="644"/>
                      </a:lnTo>
                      <a:lnTo>
                        <a:pt x="375" y="642"/>
                      </a:lnTo>
                      <a:lnTo>
                        <a:pt x="372" y="644"/>
                      </a:lnTo>
                      <a:lnTo>
                        <a:pt x="369" y="642"/>
                      </a:lnTo>
                      <a:lnTo>
                        <a:pt x="369" y="642"/>
                      </a:lnTo>
                      <a:lnTo>
                        <a:pt x="367" y="630"/>
                      </a:lnTo>
                      <a:lnTo>
                        <a:pt x="361" y="621"/>
                      </a:lnTo>
                      <a:lnTo>
                        <a:pt x="358" y="612"/>
                      </a:lnTo>
                      <a:lnTo>
                        <a:pt x="352" y="607"/>
                      </a:lnTo>
                      <a:lnTo>
                        <a:pt x="343" y="596"/>
                      </a:lnTo>
                      <a:lnTo>
                        <a:pt x="335" y="596"/>
                      </a:lnTo>
                      <a:lnTo>
                        <a:pt x="335" y="593"/>
                      </a:lnTo>
                      <a:lnTo>
                        <a:pt x="332" y="590"/>
                      </a:lnTo>
                      <a:lnTo>
                        <a:pt x="332" y="584"/>
                      </a:lnTo>
                      <a:lnTo>
                        <a:pt x="330" y="581"/>
                      </a:lnTo>
                      <a:lnTo>
                        <a:pt x="323" y="582"/>
                      </a:lnTo>
                      <a:lnTo>
                        <a:pt x="318" y="579"/>
                      </a:lnTo>
                      <a:lnTo>
                        <a:pt x="312" y="581"/>
                      </a:lnTo>
                      <a:lnTo>
                        <a:pt x="309" y="576"/>
                      </a:lnTo>
                      <a:lnTo>
                        <a:pt x="300" y="575"/>
                      </a:lnTo>
                      <a:lnTo>
                        <a:pt x="298" y="569"/>
                      </a:lnTo>
                      <a:lnTo>
                        <a:pt x="300" y="564"/>
                      </a:lnTo>
                      <a:lnTo>
                        <a:pt x="298" y="559"/>
                      </a:lnTo>
                      <a:lnTo>
                        <a:pt x="301" y="553"/>
                      </a:lnTo>
                      <a:lnTo>
                        <a:pt x="289" y="552"/>
                      </a:lnTo>
                      <a:lnTo>
                        <a:pt x="284" y="546"/>
                      </a:lnTo>
                      <a:lnTo>
                        <a:pt x="298" y="527"/>
                      </a:lnTo>
                      <a:lnTo>
                        <a:pt x="292" y="519"/>
                      </a:lnTo>
                      <a:lnTo>
                        <a:pt x="278" y="510"/>
                      </a:lnTo>
                      <a:lnTo>
                        <a:pt x="275" y="506"/>
                      </a:lnTo>
                      <a:lnTo>
                        <a:pt x="278" y="490"/>
                      </a:lnTo>
                      <a:lnTo>
                        <a:pt x="283" y="481"/>
                      </a:lnTo>
                      <a:lnTo>
                        <a:pt x="280" y="473"/>
                      </a:lnTo>
                      <a:lnTo>
                        <a:pt x="270" y="467"/>
                      </a:lnTo>
                      <a:lnTo>
                        <a:pt x="269" y="463"/>
                      </a:lnTo>
                      <a:lnTo>
                        <a:pt x="269" y="456"/>
                      </a:lnTo>
                      <a:lnTo>
                        <a:pt x="266" y="443"/>
                      </a:lnTo>
                      <a:lnTo>
                        <a:pt x="263" y="439"/>
                      </a:lnTo>
                      <a:lnTo>
                        <a:pt x="260" y="424"/>
                      </a:lnTo>
                      <a:lnTo>
                        <a:pt x="263" y="415"/>
                      </a:lnTo>
                      <a:lnTo>
                        <a:pt x="263" y="406"/>
                      </a:lnTo>
                      <a:lnTo>
                        <a:pt x="254" y="387"/>
                      </a:lnTo>
                      <a:lnTo>
                        <a:pt x="249" y="386"/>
                      </a:lnTo>
                      <a:lnTo>
                        <a:pt x="246" y="386"/>
                      </a:lnTo>
                      <a:lnTo>
                        <a:pt x="237" y="378"/>
                      </a:lnTo>
                      <a:lnTo>
                        <a:pt x="231" y="355"/>
                      </a:lnTo>
                      <a:lnTo>
                        <a:pt x="226" y="349"/>
                      </a:lnTo>
                      <a:lnTo>
                        <a:pt x="223" y="341"/>
                      </a:lnTo>
                      <a:lnTo>
                        <a:pt x="215" y="332"/>
                      </a:lnTo>
                      <a:lnTo>
                        <a:pt x="217" y="323"/>
                      </a:lnTo>
                      <a:lnTo>
                        <a:pt x="218" y="321"/>
                      </a:lnTo>
                      <a:lnTo>
                        <a:pt x="211" y="319"/>
                      </a:lnTo>
                      <a:lnTo>
                        <a:pt x="206" y="324"/>
                      </a:lnTo>
                      <a:lnTo>
                        <a:pt x="200" y="324"/>
                      </a:lnTo>
                      <a:lnTo>
                        <a:pt x="200" y="324"/>
                      </a:lnTo>
                      <a:lnTo>
                        <a:pt x="200" y="321"/>
                      </a:lnTo>
                      <a:lnTo>
                        <a:pt x="195" y="321"/>
                      </a:lnTo>
                      <a:lnTo>
                        <a:pt x="194" y="316"/>
                      </a:lnTo>
                      <a:lnTo>
                        <a:pt x="189" y="316"/>
                      </a:lnTo>
                      <a:lnTo>
                        <a:pt x="188" y="313"/>
                      </a:lnTo>
                      <a:lnTo>
                        <a:pt x="178" y="315"/>
                      </a:lnTo>
                      <a:lnTo>
                        <a:pt x="174" y="313"/>
                      </a:lnTo>
                      <a:lnTo>
                        <a:pt x="171" y="313"/>
                      </a:lnTo>
                      <a:lnTo>
                        <a:pt x="171" y="309"/>
                      </a:lnTo>
                      <a:lnTo>
                        <a:pt x="166" y="309"/>
                      </a:lnTo>
                      <a:lnTo>
                        <a:pt x="166" y="295"/>
                      </a:lnTo>
                      <a:lnTo>
                        <a:pt x="162" y="292"/>
                      </a:lnTo>
                      <a:lnTo>
                        <a:pt x="165" y="292"/>
                      </a:lnTo>
                      <a:lnTo>
                        <a:pt x="166" y="284"/>
                      </a:lnTo>
                      <a:lnTo>
                        <a:pt x="160" y="275"/>
                      </a:lnTo>
                      <a:lnTo>
                        <a:pt x="160" y="264"/>
                      </a:lnTo>
                      <a:lnTo>
                        <a:pt x="154" y="259"/>
                      </a:lnTo>
                      <a:lnTo>
                        <a:pt x="160" y="256"/>
                      </a:lnTo>
                      <a:lnTo>
                        <a:pt x="162" y="255"/>
                      </a:lnTo>
                      <a:lnTo>
                        <a:pt x="169" y="259"/>
                      </a:lnTo>
                      <a:lnTo>
                        <a:pt x="171" y="258"/>
                      </a:lnTo>
                      <a:lnTo>
                        <a:pt x="168" y="244"/>
                      </a:lnTo>
                      <a:lnTo>
                        <a:pt x="168" y="235"/>
                      </a:lnTo>
                      <a:lnTo>
                        <a:pt x="162" y="230"/>
                      </a:lnTo>
                      <a:lnTo>
                        <a:pt x="160" y="232"/>
                      </a:lnTo>
                      <a:lnTo>
                        <a:pt x="160" y="229"/>
                      </a:lnTo>
                      <a:lnTo>
                        <a:pt x="158" y="227"/>
                      </a:lnTo>
                      <a:lnTo>
                        <a:pt x="152" y="219"/>
                      </a:lnTo>
                      <a:lnTo>
                        <a:pt x="149" y="219"/>
                      </a:lnTo>
                      <a:lnTo>
                        <a:pt x="145" y="224"/>
                      </a:lnTo>
                      <a:lnTo>
                        <a:pt x="143" y="223"/>
                      </a:lnTo>
                      <a:lnTo>
                        <a:pt x="142" y="219"/>
                      </a:lnTo>
                      <a:lnTo>
                        <a:pt x="135" y="218"/>
                      </a:lnTo>
                      <a:lnTo>
                        <a:pt x="131" y="219"/>
                      </a:lnTo>
                      <a:lnTo>
                        <a:pt x="125" y="213"/>
                      </a:lnTo>
                      <a:lnTo>
                        <a:pt x="119" y="201"/>
                      </a:lnTo>
                      <a:lnTo>
                        <a:pt x="112" y="196"/>
                      </a:lnTo>
                      <a:lnTo>
                        <a:pt x="112" y="192"/>
                      </a:lnTo>
                      <a:lnTo>
                        <a:pt x="109" y="189"/>
                      </a:lnTo>
                      <a:lnTo>
                        <a:pt x="115" y="179"/>
                      </a:lnTo>
                      <a:lnTo>
                        <a:pt x="115" y="176"/>
                      </a:lnTo>
                      <a:lnTo>
                        <a:pt x="108" y="167"/>
                      </a:lnTo>
                      <a:lnTo>
                        <a:pt x="105" y="161"/>
                      </a:lnTo>
                      <a:lnTo>
                        <a:pt x="105" y="153"/>
                      </a:lnTo>
                      <a:lnTo>
                        <a:pt x="97" y="150"/>
                      </a:lnTo>
                      <a:lnTo>
                        <a:pt x="83" y="152"/>
                      </a:lnTo>
                      <a:lnTo>
                        <a:pt x="79" y="155"/>
                      </a:lnTo>
                      <a:lnTo>
                        <a:pt x="73" y="152"/>
                      </a:lnTo>
                      <a:lnTo>
                        <a:pt x="56" y="155"/>
                      </a:lnTo>
                      <a:lnTo>
                        <a:pt x="51" y="147"/>
                      </a:lnTo>
                      <a:lnTo>
                        <a:pt x="45" y="144"/>
                      </a:lnTo>
                      <a:lnTo>
                        <a:pt x="43" y="139"/>
                      </a:lnTo>
                      <a:lnTo>
                        <a:pt x="33" y="139"/>
                      </a:lnTo>
                      <a:lnTo>
                        <a:pt x="33" y="139"/>
                      </a:lnTo>
                      <a:lnTo>
                        <a:pt x="31" y="139"/>
                      </a:lnTo>
                      <a:lnTo>
                        <a:pt x="23" y="133"/>
                      </a:lnTo>
                      <a:lnTo>
                        <a:pt x="13" y="133"/>
                      </a:lnTo>
                      <a:lnTo>
                        <a:pt x="11" y="124"/>
                      </a:lnTo>
                      <a:lnTo>
                        <a:pt x="7" y="121"/>
                      </a:lnTo>
                      <a:lnTo>
                        <a:pt x="7" y="121"/>
                      </a:lnTo>
                      <a:lnTo>
                        <a:pt x="3" y="112"/>
                      </a:lnTo>
                      <a:lnTo>
                        <a:pt x="0" y="93"/>
                      </a:lnTo>
                      <a:lnTo>
                        <a:pt x="7" y="86"/>
                      </a:lnTo>
                      <a:lnTo>
                        <a:pt x="10" y="81"/>
                      </a:lnTo>
                      <a:lnTo>
                        <a:pt x="0" y="63"/>
                      </a:lnTo>
                      <a:lnTo>
                        <a:pt x="2" y="59"/>
                      </a:lnTo>
                      <a:lnTo>
                        <a:pt x="3" y="56"/>
                      </a:lnTo>
                      <a:lnTo>
                        <a:pt x="2" y="52"/>
                      </a:lnTo>
                      <a:lnTo>
                        <a:pt x="2" y="41"/>
                      </a:lnTo>
                      <a:lnTo>
                        <a:pt x="16" y="29"/>
                      </a:lnTo>
                      <a:lnTo>
                        <a:pt x="17" y="29"/>
                      </a:lnTo>
                      <a:lnTo>
                        <a:pt x="20" y="32"/>
                      </a:lnTo>
                      <a:lnTo>
                        <a:pt x="20" y="27"/>
                      </a:lnTo>
                      <a:lnTo>
                        <a:pt x="17" y="24"/>
                      </a:lnTo>
                      <a:lnTo>
                        <a:pt x="14" y="24"/>
                      </a:lnTo>
                      <a:lnTo>
                        <a:pt x="10" y="21"/>
                      </a:lnTo>
                      <a:lnTo>
                        <a:pt x="10" y="13"/>
                      </a:lnTo>
                      <a:lnTo>
                        <a:pt x="17" y="7"/>
                      </a:lnTo>
                      <a:lnTo>
                        <a:pt x="22" y="3"/>
                      </a:lnTo>
                      <a:lnTo>
                        <a:pt x="30" y="0"/>
                      </a:lnTo>
                      <a:lnTo>
                        <a:pt x="31" y="4"/>
                      </a:lnTo>
                      <a:lnTo>
                        <a:pt x="37" y="9"/>
                      </a:lnTo>
                      <a:lnTo>
                        <a:pt x="51" y="13"/>
                      </a:lnTo>
                      <a:lnTo>
                        <a:pt x="54" y="16"/>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76" name="Arges" descr="{&quot;Key&quot;:&quot;arges&quot;,&quot;Name&quot;:&quot;Arges&quot;,&quot;Value&quot;:1.0,&quot;Formula&quot;:&quot;&quot;,&quot;Text&quot;:&quot;1&quot;,&quot;OfficeApplication&quot;:0,&quot;HasValue&quot;:true}">
                  <a:extLst>
                    <a:ext uri="{FF2B5EF4-FFF2-40B4-BE49-F238E27FC236}">
                      <a16:creationId xmlns:a16="http://schemas.microsoft.com/office/drawing/2014/main" id="{487FDCBD-6C37-5C8B-799B-412F695FECC0}"/>
                    </a:ext>
                  </a:extLst>
                </p:cNvPr>
                <p:cNvSpPr>
                  <a:spLocks/>
                </p:cNvSpPr>
                <p:nvPr/>
              </p:nvSpPr>
              <p:spPr bwMode="auto">
                <a:xfrm>
                  <a:off x="5743575" y="3775076"/>
                  <a:ext cx="566738" cy="1101725"/>
                </a:xfrm>
                <a:custGeom>
                  <a:avLst/>
                  <a:gdLst>
                    <a:gd name="T0" fmla="*/ 141 w 357"/>
                    <a:gd name="T1" fmla="*/ 2 h 694"/>
                    <a:gd name="T2" fmla="*/ 164 w 357"/>
                    <a:gd name="T3" fmla="*/ 11 h 694"/>
                    <a:gd name="T4" fmla="*/ 211 w 357"/>
                    <a:gd name="T5" fmla="*/ 10 h 694"/>
                    <a:gd name="T6" fmla="*/ 254 w 357"/>
                    <a:gd name="T7" fmla="*/ 14 h 694"/>
                    <a:gd name="T8" fmla="*/ 279 w 357"/>
                    <a:gd name="T9" fmla="*/ 27 h 694"/>
                    <a:gd name="T10" fmla="*/ 303 w 357"/>
                    <a:gd name="T11" fmla="*/ 50 h 694"/>
                    <a:gd name="T12" fmla="*/ 325 w 357"/>
                    <a:gd name="T13" fmla="*/ 79 h 694"/>
                    <a:gd name="T14" fmla="*/ 328 w 357"/>
                    <a:gd name="T15" fmla="*/ 107 h 694"/>
                    <a:gd name="T16" fmla="*/ 351 w 357"/>
                    <a:gd name="T17" fmla="*/ 120 h 694"/>
                    <a:gd name="T18" fmla="*/ 357 w 357"/>
                    <a:gd name="T19" fmla="*/ 145 h 694"/>
                    <a:gd name="T20" fmla="*/ 348 w 357"/>
                    <a:gd name="T21" fmla="*/ 180 h 694"/>
                    <a:gd name="T22" fmla="*/ 328 w 357"/>
                    <a:gd name="T23" fmla="*/ 224 h 694"/>
                    <a:gd name="T24" fmla="*/ 306 w 357"/>
                    <a:gd name="T25" fmla="*/ 242 h 694"/>
                    <a:gd name="T26" fmla="*/ 288 w 357"/>
                    <a:gd name="T27" fmla="*/ 234 h 694"/>
                    <a:gd name="T28" fmla="*/ 291 w 357"/>
                    <a:gd name="T29" fmla="*/ 267 h 694"/>
                    <a:gd name="T30" fmla="*/ 297 w 357"/>
                    <a:gd name="T31" fmla="*/ 287 h 694"/>
                    <a:gd name="T32" fmla="*/ 277 w 357"/>
                    <a:gd name="T33" fmla="*/ 310 h 694"/>
                    <a:gd name="T34" fmla="*/ 306 w 357"/>
                    <a:gd name="T35" fmla="*/ 342 h 694"/>
                    <a:gd name="T36" fmla="*/ 294 w 357"/>
                    <a:gd name="T37" fmla="*/ 387 h 694"/>
                    <a:gd name="T38" fmla="*/ 303 w 357"/>
                    <a:gd name="T39" fmla="*/ 447 h 694"/>
                    <a:gd name="T40" fmla="*/ 299 w 357"/>
                    <a:gd name="T41" fmla="*/ 503 h 694"/>
                    <a:gd name="T42" fmla="*/ 297 w 357"/>
                    <a:gd name="T43" fmla="*/ 533 h 694"/>
                    <a:gd name="T44" fmla="*/ 313 w 357"/>
                    <a:gd name="T45" fmla="*/ 567 h 694"/>
                    <a:gd name="T46" fmla="*/ 336 w 357"/>
                    <a:gd name="T47" fmla="*/ 607 h 694"/>
                    <a:gd name="T48" fmla="*/ 337 w 357"/>
                    <a:gd name="T49" fmla="*/ 639 h 694"/>
                    <a:gd name="T50" fmla="*/ 311 w 357"/>
                    <a:gd name="T51" fmla="*/ 654 h 694"/>
                    <a:gd name="T52" fmla="*/ 259 w 357"/>
                    <a:gd name="T53" fmla="*/ 676 h 694"/>
                    <a:gd name="T54" fmla="*/ 231 w 357"/>
                    <a:gd name="T55" fmla="*/ 680 h 694"/>
                    <a:gd name="T56" fmla="*/ 182 w 357"/>
                    <a:gd name="T57" fmla="*/ 690 h 694"/>
                    <a:gd name="T58" fmla="*/ 151 w 357"/>
                    <a:gd name="T59" fmla="*/ 691 h 694"/>
                    <a:gd name="T60" fmla="*/ 127 w 357"/>
                    <a:gd name="T61" fmla="*/ 683 h 694"/>
                    <a:gd name="T62" fmla="*/ 122 w 357"/>
                    <a:gd name="T63" fmla="*/ 645 h 694"/>
                    <a:gd name="T64" fmla="*/ 121 w 357"/>
                    <a:gd name="T65" fmla="*/ 616 h 694"/>
                    <a:gd name="T66" fmla="*/ 119 w 357"/>
                    <a:gd name="T67" fmla="*/ 591 h 694"/>
                    <a:gd name="T68" fmla="*/ 119 w 357"/>
                    <a:gd name="T69" fmla="*/ 565 h 694"/>
                    <a:gd name="T70" fmla="*/ 110 w 357"/>
                    <a:gd name="T71" fmla="*/ 534 h 694"/>
                    <a:gd name="T72" fmla="*/ 108 w 357"/>
                    <a:gd name="T73" fmla="*/ 497 h 694"/>
                    <a:gd name="T74" fmla="*/ 62 w 357"/>
                    <a:gd name="T75" fmla="*/ 457 h 694"/>
                    <a:gd name="T76" fmla="*/ 46 w 357"/>
                    <a:gd name="T77" fmla="*/ 425 h 694"/>
                    <a:gd name="T78" fmla="*/ 33 w 357"/>
                    <a:gd name="T79" fmla="*/ 419 h 694"/>
                    <a:gd name="T80" fmla="*/ 26 w 357"/>
                    <a:gd name="T81" fmla="*/ 443 h 694"/>
                    <a:gd name="T82" fmla="*/ 4 w 357"/>
                    <a:gd name="T83" fmla="*/ 434 h 694"/>
                    <a:gd name="T84" fmla="*/ 15 w 357"/>
                    <a:gd name="T85" fmla="*/ 394 h 694"/>
                    <a:gd name="T86" fmla="*/ 30 w 357"/>
                    <a:gd name="T87" fmla="*/ 347 h 694"/>
                    <a:gd name="T88" fmla="*/ 24 w 357"/>
                    <a:gd name="T89" fmla="*/ 310 h 694"/>
                    <a:gd name="T90" fmla="*/ 23 w 357"/>
                    <a:gd name="T91" fmla="*/ 291 h 694"/>
                    <a:gd name="T92" fmla="*/ 36 w 357"/>
                    <a:gd name="T93" fmla="*/ 270 h 694"/>
                    <a:gd name="T94" fmla="*/ 35 w 357"/>
                    <a:gd name="T95" fmla="*/ 240 h 694"/>
                    <a:gd name="T96" fmla="*/ 15 w 357"/>
                    <a:gd name="T97" fmla="*/ 216 h 694"/>
                    <a:gd name="T98" fmla="*/ 27 w 357"/>
                    <a:gd name="T99" fmla="*/ 185 h 694"/>
                    <a:gd name="T100" fmla="*/ 24 w 357"/>
                    <a:gd name="T101" fmla="*/ 160 h 694"/>
                    <a:gd name="T102" fmla="*/ 26 w 357"/>
                    <a:gd name="T103" fmla="*/ 136 h 694"/>
                    <a:gd name="T104" fmla="*/ 7 w 357"/>
                    <a:gd name="T105" fmla="*/ 102 h 694"/>
                    <a:gd name="T106" fmla="*/ 10 w 357"/>
                    <a:gd name="T107" fmla="*/ 76 h 694"/>
                    <a:gd name="T108" fmla="*/ 27 w 357"/>
                    <a:gd name="T109" fmla="*/ 34 h 694"/>
                    <a:gd name="T110" fmla="*/ 49 w 357"/>
                    <a:gd name="T111" fmla="*/ 14 h 694"/>
                    <a:gd name="T112" fmla="*/ 75 w 357"/>
                    <a:gd name="T113" fmla="*/ 7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7" h="694">
                      <a:moveTo>
                        <a:pt x="102" y="5"/>
                      </a:moveTo>
                      <a:lnTo>
                        <a:pt x="115" y="4"/>
                      </a:lnTo>
                      <a:lnTo>
                        <a:pt x="130" y="4"/>
                      </a:lnTo>
                      <a:lnTo>
                        <a:pt x="131" y="0"/>
                      </a:lnTo>
                      <a:lnTo>
                        <a:pt x="141" y="2"/>
                      </a:lnTo>
                      <a:lnTo>
                        <a:pt x="145" y="4"/>
                      </a:lnTo>
                      <a:lnTo>
                        <a:pt x="156" y="2"/>
                      </a:lnTo>
                      <a:lnTo>
                        <a:pt x="159" y="2"/>
                      </a:lnTo>
                      <a:lnTo>
                        <a:pt x="161" y="10"/>
                      </a:lnTo>
                      <a:lnTo>
                        <a:pt x="164" y="11"/>
                      </a:lnTo>
                      <a:lnTo>
                        <a:pt x="182" y="10"/>
                      </a:lnTo>
                      <a:lnTo>
                        <a:pt x="185" y="8"/>
                      </a:lnTo>
                      <a:lnTo>
                        <a:pt x="194" y="10"/>
                      </a:lnTo>
                      <a:lnTo>
                        <a:pt x="202" y="14"/>
                      </a:lnTo>
                      <a:lnTo>
                        <a:pt x="211" y="10"/>
                      </a:lnTo>
                      <a:lnTo>
                        <a:pt x="230" y="14"/>
                      </a:lnTo>
                      <a:lnTo>
                        <a:pt x="236" y="13"/>
                      </a:lnTo>
                      <a:lnTo>
                        <a:pt x="240" y="10"/>
                      </a:lnTo>
                      <a:lnTo>
                        <a:pt x="250" y="14"/>
                      </a:lnTo>
                      <a:lnTo>
                        <a:pt x="254" y="14"/>
                      </a:lnTo>
                      <a:lnTo>
                        <a:pt x="259" y="17"/>
                      </a:lnTo>
                      <a:lnTo>
                        <a:pt x="268" y="17"/>
                      </a:lnTo>
                      <a:lnTo>
                        <a:pt x="273" y="22"/>
                      </a:lnTo>
                      <a:lnTo>
                        <a:pt x="277" y="22"/>
                      </a:lnTo>
                      <a:lnTo>
                        <a:pt x="279" y="27"/>
                      </a:lnTo>
                      <a:lnTo>
                        <a:pt x="285" y="31"/>
                      </a:lnTo>
                      <a:lnTo>
                        <a:pt x="290" y="39"/>
                      </a:lnTo>
                      <a:lnTo>
                        <a:pt x="297" y="44"/>
                      </a:lnTo>
                      <a:lnTo>
                        <a:pt x="299" y="47"/>
                      </a:lnTo>
                      <a:lnTo>
                        <a:pt x="303" y="50"/>
                      </a:lnTo>
                      <a:lnTo>
                        <a:pt x="308" y="47"/>
                      </a:lnTo>
                      <a:lnTo>
                        <a:pt x="320" y="54"/>
                      </a:lnTo>
                      <a:lnTo>
                        <a:pt x="323" y="62"/>
                      </a:lnTo>
                      <a:lnTo>
                        <a:pt x="322" y="76"/>
                      </a:lnTo>
                      <a:lnTo>
                        <a:pt x="325" y="79"/>
                      </a:lnTo>
                      <a:lnTo>
                        <a:pt x="326" y="82"/>
                      </a:lnTo>
                      <a:lnTo>
                        <a:pt x="329" y="88"/>
                      </a:lnTo>
                      <a:lnTo>
                        <a:pt x="331" y="100"/>
                      </a:lnTo>
                      <a:lnTo>
                        <a:pt x="328" y="104"/>
                      </a:lnTo>
                      <a:lnTo>
                        <a:pt x="328" y="107"/>
                      </a:lnTo>
                      <a:lnTo>
                        <a:pt x="334" y="105"/>
                      </a:lnTo>
                      <a:lnTo>
                        <a:pt x="342" y="110"/>
                      </a:lnTo>
                      <a:lnTo>
                        <a:pt x="346" y="105"/>
                      </a:lnTo>
                      <a:lnTo>
                        <a:pt x="348" y="107"/>
                      </a:lnTo>
                      <a:lnTo>
                        <a:pt x="351" y="120"/>
                      </a:lnTo>
                      <a:lnTo>
                        <a:pt x="349" y="125"/>
                      </a:lnTo>
                      <a:lnTo>
                        <a:pt x="354" y="130"/>
                      </a:lnTo>
                      <a:lnTo>
                        <a:pt x="354" y="130"/>
                      </a:lnTo>
                      <a:lnTo>
                        <a:pt x="352" y="136"/>
                      </a:lnTo>
                      <a:lnTo>
                        <a:pt x="357" y="145"/>
                      </a:lnTo>
                      <a:lnTo>
                        <a:pt x="354" y="151"/>
                      </a:lnTo>
                      <a:lnTo>
                        <a:pt x="351" y="156"/>
                      </a:lnTo>
                      <a:lnTo>
                        <a:pt x="352" y="164"/>
                      </a:lnTo>
                      <a:lnTo>
                        <a:pt x="348" y="174"/>
                      </a:lnTo>
                      <a:lnTo>
                        <a:pt x="348" y="180"/>
                      </a:lnTo>
                      <a:lnTo>
                        <a:pt x="339" y="193"/>
                      </a:lnTo>
                      <a:lnTo>
                        <a:pt x="343" y="213"/>
                      </a:lnTo>
                      <a:lnTo>
                        <a:pt x="343" y="219"/>
                      </a:lnTo>
                      <a:lnTo>
                        <a:pt x="337" y="222"/>
                      </a:lnTo>
                      <a:lnTo>
                        <a:pt x="328" y="224"/>
                      </a:lnTo>
                      <a:lnTo>
                        <a:pt x="325" y="225"/>
                      </a:lnTo>
                      <a:lnTo>
                        <a:pt x="326" y="231"/>
                      </a:lnTo>
                      <a:lnTo>
                        <a:pt x="326" y="244"/>
                      </a:lnTo>
                      <a:lnTo>
                        <a:pt x="316" y="248"/>
                      </a:lnTo>
                      <a:lnTo>
                        <a:pt x="306" y="242"/>
                      </a:lnTo>
                      <a:lnTo>
                        <a:pt x="300" y="230"/>
                      </a:lnTo>
                      <a:lnTo>
                        <a:pt x="288" y="214"/>
                      </a:lnTo>
                      <a:lnTo>
                        <a:pt x="280" y="222"/>
                      </a:lnTo>
                      <a:lnTo>
                        <a:pt x="280" y="234"/>
                      </a:lnTo>
                      <a:lnTo>
                        <a:pt x="288" y="234"/>
                      </a:lnTo>
                      <a:lnTo>
                        <a:pt x="290" y="236"/>
                      </a:lnTo>
                      <a:lnTo>
                        <a:pt x="288" y="250"/>
                      </a:lnTo>
                      <a:lnTo>
                        <a:pt x="285" y="257"/>
                      </a:lnTo>
                      <a:lnTo>
                        <a:pt x="285" y="264"/>
                      </a:lnTo>
                      <a:lnTo>
                        <a:pt x="291" y="267"/>
                      </a:lnTo>
                      <a:lnTo>
                        <a:pt x="288" y="273"/>
                      </a:lnTo>
                      <a:lnTo>
                        <a:pt x="291" y="274"/>
                      </a:lnTo>
                      <a:lnTo>
                        <a:pt x="291" y="277"/>
                      </a:lnTo>
                      <a:lnTo>
                        <a:pt x="293" y="284"/>
                      </a:lnTo>
                      <a:lnTo>
                        <a:pt x="297" y="287"/>
                      </a:lnTo>
                      <a:lnTo>
                        <a:pt x="296" y="294"/>
                      </a:lnTo>
                      <a:lnTo>
                        <a:pt x="291" y="302"/>
                      </a:lnTo>
                      <a:lnTo>
                        <a:pt x="282" y="297"/>
                      </a:lnTo>
                      <a:lnTo>
                        <a:pt x="277" y="302"/>
                      </a:lnTo>
                      <a:lnTo>
                        <a:pt x="277" y="310"/>
                      </a:lnTo>
                      <a:lnTo>
                        <a:pt x="285" y="322"/>
                      </a:lnTo>
                      <a:lnTo>
                        <a:pt x="293" y="320"/>
                      </a:lnTo>
                      <a:lnTo>
                        <a:pt x="296" y="328"/>
                      </a:lnTo>
                      <a:lnTo>
                        <a:pt x="302" y="328"/>
                      </a:lnTo>
                      <a:lnTo>
                        <a:pt x="306" y="342"/>
                      </a:lnTo>
                      <a:lnTo>
                        <a:pt x="303" y="348"/>
                      </a:lnTo>
                      <a:lnTo>
                        <a:pt x="297" y="353"/>
                      </a:lnTo>
                      <a:lnTo>
                        <a:pt x="293" y="374"/>
                      </a:lnTo>
                      <a:lnTo>
                        <a:pt x="294" y="380"/>
                      </a:lnTo>
                      <a:lnTo>
                        <a:pt x="294" y="387"/>
                      </a:lnTo>
                      <a:lnTo>
                        <a:pt x="296" y="390"/>
                      </a:lnTo>
                      <a:lnTo>
                        <a:pt x="305" y="423"/>
                      </a:lnTo>
                      <a:lnTo>
                        <a:pt x="303" y="434"/>
                      </a:lnTo>
                      <a:lnTo>
                        <a:pt x="305" y="442"/>
                      </a:lnTo>
                      <a:lnTo>
                        <a:pt x="303" y="447"/>
                      </a:lnTo>
                      <a:lnTo>
                        <a:pt x="306" y="451"/>
                      </a:lnTo>
                      <a:lnTo>
                        <a:pt x="306" y="457"/>
                      </a:lnTo>
                      <a:lnTo>
                        <a:pt x="303" y="493"/>
                      </a:lnTo>
                      <a:lnTo>
                        <a:pt x="300" y="496"/>
                      </a:lnTo>
                      <a:lnTo>
                        <a:pt x="299" y="503"/>
                      </a:lnTo>
                      <a:lnTo>
                        <a:pt x="317" y="513"/>
                      </a:lnTo>
                      <a:lnTo>
                        <a:pt x="316" y="520"/>
                      </a:lnTo>
                      <a:lnTo>
                        <a:pt x="303" y="533"/>
                      </a:lnTo>
                      <a:lnTo>
                        <a:pt x="302" y="534"/>
                      </a:lnTo>
                      <a:lnTo>
                        <a:pt x="297" y="533"/>
                      </a:lnTo>
                      <a:lnTo>
                        <a:pt x="293" y="534"/>
                      </a:lnTo>
                      <a:lnTo>
                        <a:pt x="308" y="550"/>
                      </a:lnTo>
                      <a:lnTo>
                        <a:pt x="305" y="560"/>
                      </a:lnTo>
                      <a:lnTo>
                        <a:pt x="309" y="568"/>
                      </a:lnTo>
                      <a:lnTo>
                        <a:pt x="313" y="567"/>
                      </a:lnTo>
                      <a:lnTo>
                        <a:pt x="317" y="571"/>
                      </a:lnTo>
                      <a:lnTo>
                        <a:pt x="326" y="588"/>
                      </a:lnTo>
                      <a:lnTo>
                        <a:pt x="332" y="593"/>
                      </a:lnTo>
                      <a:lnTo>
                        <a:pt x="334" y="593"/>
                      </a:lnTo>
                      <a:lnTo>
                        <a:pt x="336" y="607"/>
                      </a:lnTo>
                      <a:lnTo>
                        <a:pt x="334" y="610"/>
                      </a:lnTo>
                      <a:lnTo>
                        <a:pt x="336" y="611"/>
                      </a:lnTo>
                      <a:lnTo>
                        <a:pt x="329" y="617"/>
                      </a:lnTo>
                      <a:lnTo>
                        <a:pt x="337" y="636"/>
                      </a:lnTo>
                      <a:lnTo>
                        <a:pt x="337" y="639"/>
                      </a:lnTo>
                      <a:lnTo>
                        <a:pt x="332" y="642"/>
                      </a:lnTo>
                      <a:lnTo>
                        <a:pt x="336" y="648"/>
                      </a:lnTo>
                      <a:lnTo>
                        <a:pt x="334" y="654"/>
                      </a:lnTo>
                      <a:lnTo>
                        <a:pt x="329" y="657"/>
                      </a:lnTo>
                      <a:lnTo>
                        <a:pt x="311" y="654"/>
                      </a:lnTo>
                      <a:lnTo>
                        <a:pt x="311" y="654"/>
                      </a:lnTo>
                      <a:lnTo>
                        <a:pt x="303" y="662"/>
                      </a:lnTo>
                      <a:lnTo>
                        <a:pt x="302" y="657"/>
                      </a:lnTo>
                      <a:lnTo>
                        <a:pt x="259" y="676"/>
                      </a:lnTo>
                      <a:lnTo>
                        <a:pt x="259" y="676"/>
                      </a:lnTo>
                      <a:lnTo>
                        <a:pt x="256" y="680"/>
                      </a:lnTo>
                      <a:lnTo>
                        <a:pt x="248" y="677"/>
                      </a:lnTo>
                      <a:lnTo>
                        <a:pt x="245" y="680"/>
                      </a:lnTo>
                      <a:lnTo>
                        <a:pt x="234" y="676"/>
                      </a:lnTo>
                      <a:lnTo>
                        <a:pt x="231" y="680"/>
                      </a:lnTo>
                      <a:lnTo>
                        <a:pt x="228" y="677"/>
                      </a:lnTo>
                      <a:lnTo>
                        <a:pt x="227" y="680"/>
                      </a:lnTo>
                      <a:lnTo>
                        <a:pt x="225" y="677"/>
                      </a:lnTo>
                      <a:lnTo>
                        <a:pt x="211" y="691"/>
                      </a:lnTo>
                      <a:lnTo>
                        <a:pt x="182" y="690"/>
                      </a:lnTo>
                      <a:lnTo>
                        <a:pt x="182" y="693"/>
                      </a:lnTo>
                      <a:lnTo>
                        <a:pt x="170" y="694"/>
                      </a:lnTo>
                      <a:lnTo>
                        <a:pt x="162" y="688"/>
                      </a:lnTo>
                      <a:lnTo>
                        <a:pt x="151" y="691"/>
                      </a:lnTo>
                      <a:lnTo>
                        <a:pt x="151" y="691"/>
                      </a:lnTo>
                      <a:lnTo>
                        <a:pt x="148" y="687"/>
                      </a:lnTo>
                      <a:lnTo>
                        <a:pt x="142" y="685"/>
                      </a:lnTo>
                      <a:lnTo>
                        <a:pt x="128" y="687"/>
                      </a:lnTo>
                      <a:lnTo>
                        <a:pt x="130" y="683"/>
                      </a:lnTo>
                      <a:lnTo>
                        <a:pt x="127" y="683"/>
                      </a:lnTo>
                      <a:lnTo>
                        <a:pt x="122" y="676"/>
                      </a:lnTo>
                      <a:lnTo>
                        <a:pt x="121" y="674"/>
                      </a:lnTo>
                      <a:lnTo>
                        <a:pt x="124" y="670"/>
                      </a:lnTo>
                      <a:lnTo>
                        <a:pt x="119" y="657"/>
                      </a:lnTo>
                      <a:lnTo>
                        <a:pt x="122" y="645"/>
                      </a:lnTo>
                      <a:lnTo>
                        <a:pt x="119" y="645"/>
                      </a:lnTo>
                      <a:lnTo>
                        <a:pt x="121" y="634"/>
                      </a:lnTo>
                      <a:lnTo>
                        <a:pt x="116" y="627"/>
                      </a:lnTo>
                      <a:lnTo>
                        <a:pt x="116" y="623"/>
                      </a:lnTo>
                      <a:lnTo>
                        <a:pt x="121" y="616"/>
                      </a:lnTo>
                      <a:lnTo>
                        <a:pt x="121" y="608"/>
                      </a:lnTo>
                      <a:lnTo>
                        <a:pt x="118" y="600"/>
                      </a:lnTo>
                      <a:lnTo>
                        <a:pt x="119" y="596"/>
                      </a:lnTo>
                      <a:lnTo>
                        <a:pt x="118" y="593"/>
                      </a:lnTo>
                      <a:lnTo>
                        <a:pt x="119" y="591"/>
                      </a:lnTo>
                      <a:lnTo>
                        <a:pt x="119" y="585"/>
                      </a:lnTo>
                      <a:lnTo>
                        <a:pt x="115" y="579"/>
                      </a:lnTo>
                      <a:lnTo>
                        <a:pt x="115" y="576"/>
                      </a:lnTo>
                      <a:lnTo>
                        <a:pt x="115" y="571"/>
                      </a:lnTo>
                      <a:lnTo>
                        <a:pt x="119" y="565"/>
                      </a:lnTo>
                      <a:lnTo>
                        <a:pt x="116" y="556"/>
                      </a:lnTo>
                      <a:lnTo>
                        <a:pt x="115" y="554"/>
                      </a:lnTo>
                      <a:lnTo>
                        <a:pt x="113" y="547"/>
                      </a:lnTo>
                      <a:lnTo>
                        <a:pt x="108" y="539"/>
                      </a:lnTo>
                      <a:lnTo>
                        <a:pt x="110" y="534"/>
                      </a:lnTo>
                      <a:lnTo>
                        <a:pt x="108" y="528"/>
                      </a:lnTo>
                      <a:lnTo>
                        <a:pt x="102" y="516"/>
                      </a:lnTo>
                      <a:lnTo>
                        <a:pt x="104" y="511"/>
                      </a:lnTo>
                      <a:lnTo>
                        <a:pt x="110" y="507"/>
                      </a:lnTo>
                      <a:lnTo>
                        <a:pt x="108" y="497"/>
                      </a:lnTo>
                      <a:lnTo>
                        <a:pt x="110" y="494"/>
                      </a:lnTo>
                      <a:lnTo>
                        <a:pt x="96" y="493"/>
                      </a:lnTo>
                      <a:lnTo>
                        <a:pt x="78" y="496"/>
                      </a:lnTo>
                      <a:lnTo>
                        <a:pt x="66" y="482"/>
                      </a:lnTo>
                      <a:lnTo>
                        <a:pt x="62" y="457"/>
                      </a:lnTo>
                      <a:lnTo>
                        <a:pt x="58" y="456"/>
                      </a:lnTo>
                      <a:lnTo>
                        <a:pt x="56" y="448"/>
                      </a:lnTo>
                      <a:lnTo>
                        <a:pt x="49" y="437"/>
                      </a:lnTo>
                      <a:lnTo>
                        <a:pt x="49" y="427"/>
                      </a:lnTo>
                      <a:lnTo>
                        <a:pt x="46" y="425"/>
                      </a:lnTo>
                      <a:lnTo>
                        <a:pt x="46" y="405"/>
                      </a:lnTo>
                      <a:lnTo>
                        <a:pt x="41" y="407"/>
                      </a:lnTo>
                      <a:lnTo>
                        <a:pt x="38" y="403"/>
                      </a:lnTo>
                      <a:lnTo>
                        <a:pt x="33" y="414"/>
                      </a:lnTo>
                      <a:lnTo>
                        <a:pt x="33" y="419"/>
                      </a:lnTo>
                      <a:lnTo>
                        <a:pt x="30" y="420"/>
                      </a:lnTo>
                      <a:lnTo>
                        <a:pt x="30" y="425"/>
                      </a:lnTo>
                      <a:lnTo>
                        <a:pt x="24" y="428"/>
                      </a:lnTo>
                      <a:lnTo>
                        <a:pt x="26" y="436"/>
                      </a:lnTo>
                      <a:lnTo>
                        <a:pt x="26" y="443"/>
                      </a:lnTo>
                      <a:lnTo>
                        <a:pt x="21" y="442"/>
                      </a:lnTo>
                      <a:lnTo>
                        <a:pt x="18" y="447"/>
                      </a:lnTo>
                      <a:lnTo>
                        <a:pt x="0" y="445"/>
                      </a:lnTo>
                      <a:lnTo>
                        <a:pt x="0" y="442"/>
                      </a:lnTo>
                      <a:lnTo>
                        <a:pt x="4" y="434"/>
                      </a:lnTo>
                      <a:lnTo>
                        <a:pt x="0" y="430"/>
                      </a:lnTo>
                      <a:lnTo>
                        <a:pt x="0" y="430"/>
                      </a:lnTo>
                      <a:lnTo>
                        <a:pt x="18" y="402"/>
                      </a:lnTo>
                      <a:lnTo>
                        <a:pt x="15" y="399"/>
                      </a:lnTo>
                      <a:lnTo>
                        <a:pt x="15" y="394"/>
                      </a:lnTo>
                      <a:lnTo>
                        <a:pt x="23" y="373"/>
                      </a:lnTo>
                      <a:lnTo>
                        <a:pt x="18" y="371"/>
                      </a:lnTo>
                      <a:lnTo>
                        <a:pt x="15" y="374"/>
                      </a:lnTo>
                      <a:lnTo>
                        <a:pt x="21" y="357"/>
                      </a:lnTo>
                      <a:lnTo>
                        <a:pt x="30" y="347"/>
                      </a:lnTo>
                      <a:lnTo>
                        <a:pt x="26" y="340"/>
                      </a:lnTo>
                      <a:lnTo>
                        <a:pt x="29" y="333"/>
                      </a:lnTo>
                      <a:lnTo>
                        <a:pt x="30" y="325"/>
                      </a:lnTo>
                      <a:lnTo>
                        <a:pt x="33" y="317"/>
                      </a:lnTo>
                      <a:lnTo>
                        <a:pt x="24" y="310"/>
                      </a:lnTo>
                      <a:lnTo>
                        <a:pt x="23" y="307"/>
                      </a:lnTo>
                      <a:lnTo>
                        <a:pt x="24" y="302"/>
                      </a:lnTo>
                      <a:lnTo>
                        <a:pt x="32" y="297"/>
                      </a:lnTo>
                      <a:lnTo>
                        <a:pt x="29" y="291"/>
                      </a:lnTo>
                      <a:lnTo>
                        <a:pt x="23" y="291"/>
                      </a:lnTo>
                      <a:lnTo>
                        <a:pt x="24" y="282"/>
                      </a:lnTo>
                      <a:lnTo>
                        <a:pt x="27" y="280"/>
                      </a:lnTo>
                      <a:lnTo>
                        <a:pt x="32" y="284"/>
                      </a:lnTo>
                      <a:lnTo>
                        <a:pt x="33" y="284"/>
                      </a:lnTo>
                      <a:lnTo>
                        <a:pt x="36" y="270"/>
                      </a:lnTo>
                      <a:lnTo>
                        <a:pt x="29" y="257"/>
                      </a:lnTo>
                      <a:lnTo>
                        <a:pt x="30" y="254"/>
                      </a:lnTo>
                      <a:lnTo>
                        <a:pt x="35" y="253"/>
                      </a:lnTo>
                      <a:lnTo>
                        <a:pt x="36" y="242"/>
                      </a:lnTo>
                      <a:lnTo>
                        <a:pt x="35" y="240"/>
                      </a:lnTo>
                      <a:lnTo>
                        <a:pt x="32" y="240"/>
                      </a:lnTo>
                      <a:lnTo>
                        <a:pt x="27" y="236"/>
                      </a:lnTo>
                      <a:lnTo>
                        <a:pt x="29" y="233"/>
                      </a:lnTo>
                      <a:lnTo>
                        <a:pt x="21" y="224"/>
                      </a:lnTo>
                      <a:lnTo>
                        <a:pt x="15" y="216"/>
                      </a:lnTo>
                      <a:lnTo>
                        <a:pt x="19" y="205"/>
                      </a:lnTo>
                      <a:lnTo>
                        <a:pt x="18" y="200"/>
                      </a:lnTo>
                      <a:lnTo>
                        <a:pt x="21" y="199"/>
                      </a:lnTo>
                      <a:lnTo>
                        <a:pt x="19" y="194"/>
                      </a:lnTo>
                      <a:lnTo>
                        <a:pt x="27" y="185"/>
                      </a:lnTo>
                      <a:lnTo>
                        <a:pt x="24" y="180"/>
                      </a:lnTo>
                      <a:lnTo>
                        <a:pt x="27" y="177"/>
                      </a:lnTo>
                      <a:lnTo>
                        <a:pt x="26" y="176"/>
                      </a:lnTo>
                      <a:lnTo>
                        <a:pt x="24" y="164"/>
                      </a:lnTo>
                      <a:lnTo>
                        <a:pt x="24" y="160"/>
                      </a:lnTo>
                      <a:lnTo>
                        <a:pt x="16" y="159"/>
                      </a:lnTo>
                      <a:lnTo>
                        <a:pt x="24" y="154"/>
                      </a:lnTo>
                      <a:lnTo>
                        <a:pt x="21" y="142"/>
                      </a:lnTo>
                      <a:lnTo>
                        <a:pt x="26" y="139"/>
                      </a:lnTo>
                      <a:lnTo>
                        <a:pt x="26" y="136"/>
                      </a:lnTo>
                      <a:lnTo>
                        <a:pt x="15" y="131"/>
                      </a:lnTo>
                      <a:lnTo>
                        <a:pt x="13" y="119"/>
                      </a:lnTo>
                      <a:lnTo>
                        <a:pt x="9" y="113"/>
                      </a:lnTo>
                      <a:lnTo>
                        <a:pt x="10" y="105"/>
                      </a:lnTo>
                      <a:lnTo>
                        <a:pt x="7" y="102"/>
                      </a:lnTo>
                      <a:lnTo>
                        <a:pt x="9" y="94"/>
                      </a:lnTo>
                      <a:lnTo>
                        <a:pt x="7" y="88"/>
                      </a:lnTo>
                      <a:lnTo>
                        <a:pt x="3" y="80"/>
                      </a:lnTo>
                      <a:lnTo>
                        <a:pt x="4" y="77"/>
                      </a:lnTo>
                      <a:lnTo>
                        <a:pt x="10" y="76"/>
                      </a:lnTo>
                      <a:lnTo>
                        <a:pt x="16" y="54"/>
                      </a:lnTo>
                      <a:lnTo>
                        <a:pt x="23" y="48"/>
                      </a:lnTo>
                      <a:lnTo>
                        <a:pt x="26" y="45"/>
                      </a:lnTo>
                      <a:lnTo>
                        <a:pt x="24" y="40"/>
                      </a:lnTo>
                      <a:lnTo>
                        <a:pt x="27" y="34"/>
                      </a:lnTo>
                      <a:lnTo>
                        <a:pt x="24" y="22"/>
                      </a:lnTo>
                      <a:lnTo>
                        <a:pt x="24" y="22"/>
                      </a:lnTo>
                      <a:lnTo>
                        <a:pt x="30" y="14"/>
                      </a:lnTo>
                      <a:lnTo>
                        <a:pt x="38" y="17"/>
                      </a:lnTo>
                      <a:lnTo>
                        <a:pt x="49" y="14"/>
                      </a:lnTo>
                      <a:lnTo>
                        <a:pt x="55" y="17"/>
                      </a:lnTo>
                      <a:lnTo>
                        <a:pt x="62" y="14"/>
                      </a:lnTo>
                      <a:lnTo>
                        <a:pt x="66" y="10"/>
                      </a:lnTo>
                      <a:lnTo>
                        <a:pt x="69" y="10"/>
                      </a:lnTo>
                      <a:lnTo>
                        <a:pt x="75" y="7"/>
                      </a:lnTo>
                      <a:lnTo>
                        <a:pt x="84" y="5"/>
                      </a:lnTo>
                      <a:lnTo>
                        <a:pt x="96" y="10"/>
                      </a:lnTo>
                      <a:lnTo>
                        <a:pt x="102" y="5"/>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77" name="Arad" descr="{&quot;Key&quot;:&quot;arad&quot;,&quot;Name&quot;:&quot;Arad&quot;,&quot;Value&quot;:1.0,&quot;Formula&quot;:&quot;&quot;,&quot;Text&quot;:&quot;1&quot;,&quot;OfficeApplication&quot;:0,&quot;HasValue&quot;:true}">
                  <a:extLst>
                    <a:ext uri="{FF2B5EF4-FFF2-40B4-BE49-F238E27FC236}">
                      <a16:creationId xmlns:a16="http://schemas.microsoft.com/office/drawing/2014/main" id="{8FBFF3CC-74E3-82F1-FB0E-391BB54364DB}"/>
                    </a:ext>
                  </a:extLst>
                </p:cNvPr>
                <p:cNvSpPr>
                  <a:spLocks/>
                </p:cNvSpPr>
                <p:nvPr/>
              </p:nvSpPr>
              <p:spPr bwMode="auto">
                <a:xfrm>
                  <a:off x="3387725" y="2801938"/>
                  <a:ext cx="1298575" cy="704850"/>
                </a:xfrm>
                <a:custGeom>
                  <a:avLst/>
                  <a:gdLst>
                    <a:gd name="T0" fmla="*/ 327 w 818"/>
                    <a:gd name="T1" fmla="*/ 26 h 444"/>
                    <a:gd name="T2" fmla="*/ 345 w 818"/>
                    <a:gd name="T3" fmla="*/ 29 h 444"/>
                    <a:gd name="T4" fmla="*/ 377 w 818"/>
                    <a:gd name="T5" fmla="*/ 9 h 444"/>
                    <a:gd name="T6" fmla="*/ 422 w 818"/>
                    <a:gd name="T7" fmla="*/ 9 h 444"/>
                    <a:gd name="T8" fmla="*/ 469 w 818"/>
                    <a:gd name="T9" fmla="*/ 0 h 444"/>
                    <a:gd name="T10" fmla="*/ 500 w 818"/>
                    <a:gd name="T11" fmla="*/ 37 h 444"/>
                    <a:gd name="T12" fmla="*/ 537 w 818"/>
                    <a:gd name="T13" fmla="*/ 24 h 444"/>
                    <a:gd name="T14" fmla="*/ 564 w 818"/>
                    <a:gd name="T15" fmla="*/ 44 h 444"/>
                    <a:gd name="T16" fmla="*/ 587 w 818"/>
                    <a:gd name="T17" fmla="*/ 47 h 444"/>
                    <a:gd name="T18" fmla="*/ 598 w 818"/>
                    <a:gd name="T19" fmla="*/ 95 h 444"/>
                    <a:gd name="T20" fmla="*/ 623 w 818"/>
                    <a:gd name="T21" fmla="*/ 114 h 444"/>
                    <a:gd name="T22" fmla="*/ 675 w 818"/>
                    <a:gd name="T23" fmla="*/ 150 h 444"/>
                    <a:gd name="T24" fmla="*/ 712 w 818"/>
                    <a:gd name="T25" fmla="*/ 175 h 444"/>
                    <a:gd name="T26" fmla="*/ 724 w 818"/>
                    <a:gd name="T27" fmla="*/ 161 h 444"/>
                    <a:gd name="T28" fmla="*/ 782 w 818"/>
                    <a:gd name="T29" fmla="*/ 174 h 444"/>
                    <a:gd name="T30" fmla="*/ 808 w 818"/>
                    <a:gd name="T31" fmla="*/ 184 h 444"/>
                    <a:gd name="T32" fmla="*/ 788 w 818"/>
                    <a:gd name="T33" fmla="*/ 207 h 444"/>
                    <a:gd name="T34" fmla="*/ 781 w 818"/>
                    <a:gd name="T35" fmla="*/ 238 h 444"/>
                    <a:gd name="T36" fmla="*/ 756 w 818"/>
                    <a:gd name="T37" fmla="*/ 263 h 444"/>
                    <a:gd name="T38" fmla="*/ 729 w 818"/>
                    <a:gd name="T39" fmla="*/ 264 h 444"/>
                    <a:gd name="T40" fmla="*/ 704 w 818"/>
                    <a:gd name="T41" fmla="*/ 261 h 444"/>
                    <a:gd name="T42" fmla="*/ 703 w 818"/>
                    <a:gd name="T43" fmla="*/ 295 h 444"/>
                    <a:gd name="T44" fmla="*/ 701 w 818"/>
                    <a:gd name="T45" fmla="*/ 318 h 444"/>
                    <a:gd name="T46" fmla="*/ 687 w 818"/>
                    <a:gd name="T47" fmla="*/ 346 h 444"/>
                    <a:gd name="T48" fmla="*/ 690 w 818"/>
                    <a:gd name="T49" fmla="*/ 386 h 444"/>
                    <a:gd name="T50" fmla="*/ 672 w 818"/>
                    <a:gd name="T51" fmla="*/ 389 h 444"/>
                    <a:gd name="T52" fmla="*/ 660 w 818"/>
                    <a:gd name="T53" fmla="*/ 409 h 444"/>
                    <a:gd name="T54" fmla="*/ 681 w 818"/>
                    <a:gd name="T55" fmla="*/ 438 h 444"/>
                    <a:gd name="T56" fmla="*/ 653 w 818"/>
                    <a:gd name="T57" fmla="*/ 406 h 444"/>
                    <a:gd name="T58" fmla="*/ 618 w 818"/>
                    <a:gd name="T59" fmla="*/ 423 h 444"/>
                    <a:gd name="T60" fmla="*/ 591 w 818"/>
                    <a:gd name="T61" fmla="*/ 435 h 444"/>
                    <a:gd name="T62" fmla="*/ 569 w 818"/>
                    <a:gd name="T63" fmla="*/ 434 h 444"/>
                    <a:gd name="T64" fmla="*/ 522 w 818"/>
                    <a:gd name="T65" fmla="*/ 398 h 444"/>
                    <a:gd name="T66" fmla="*/ 491 w 818"/>
                    <a:gd name="T67" fmla="*/ 398 h 444"/>
                    <a:gd name="T68" fmla="*/ 460 w 818"/>
                    <a:gd name="T69" fmla="*/ 420 h 444"/>
                    <a:gd name="T70" fmla="*/ 437 w 818"/>
                    <a:gd name="T71" fmla="*/ 430 h 444"/>
                    <a:gd name="T72" fmla="*/ 410 w 818"/>
                    <a:gd name="T73" fmla="*/ 409 h 444"/>
                    <a:gd name="T74" fmla="*/ 385 w 818"/>
                    <a:gd name="T75" fmla="*/ 441 h 444"/>
                    <a:gd name="T76" fmla="*/ 371 w 818"/>
                    <a:gd name="T77" fmla="*/ 412 h 444"/>
                    <a:gd name="T78" fmla="*/ 356 w 818"/>
                    <a:gd name="T79" fmla="*/ 397 h 444"/>
                    <a:gd name="T80" fmla="*/ 331 w 818"/>
                    <a:gd name="T81" fmla="*/ 367 h 444"/>
                    <a:gd name="T82" fmla="*/ 293 w 818"/>
                    <a:gd name="T83" fmla="*/ 378 h 444"/>
                    <a:gd name="T84" fmla="*/ 259 w 818"/>
                    <a:gd name="T85" fmla="*/ 404 h 444"/>
                    <a:gd name="T86" fmla="*/ 225 w 818"/>
                    <a:gd name="T87" fmla="*/ 390 h 444"/>
                    <a:gd name="T88" fmla="*/ 179 w 818"/>
                    <a:gd name="T89" fmla="*/ 384 h 444"/>
                    <a:gd name="T90" fmla="*/ 150 w 818"/>
                    <a:gd name="T91" fmla="*/ 383 h 444"/>
                    <a:gd name="T92" fmla="*/ 113 w 818"/>
                    <a:gd name="T93" fmla="*/ 366 h 444"/>
                    <a:gd name="T94" fmla="*/ 75 w 818"/>
                    <a:gd name="T95" fmla="*/ 343 h 444"/>
                    <a:gd name="T96" fmla="*/ 34 w 818"/>
                    <a:gd name="T97" fmla="*/ 320 h 444"/>
                    <a:gd name="T98" fmla="*/ 0 w 818"/>
                    <a:gd name="T99" fmla="*/ 300 h 444"/>
                    <a:gd name="T100" fmla="*/ 21 w 818"/>
                    <a:gd name="T101" fmla="*/ 249 h 444"/>
                    <a:gd name="T102" fmla="*/ 90 w 818"/>
                    <a:gd name="T103" fmla="*/ 240 h 444"/>
                    <a:gd name="T104" fmla="*/ 135 w 818"/>
                    <a:gd name="T105" fmla="*/ 247 h 444"/>
                    <a:gd name="T106" fmla="*/ 166 w 818"/>
                    <a:gd name="T107" fmla="*/ 218 h 444"/>
                    <a:gd name="T108" fmla="*/ 192 w 818"/>
                    <a:gd name="T109" fmla="*/ 206 h 444"/>
                    <a:gd name="T110" fmla="*/ 207 w 818"/>
                    <a:gd name="T111" fmla="*/ 160 h 444"/>
                    <a:gd name="T112" fmla="*/ 247 w 818"/>
                    <a:gd name="T113" fmla="*/ 130 h 444"/>
                    <a:gd name="T114" fmla="*/ 236 w 818"/>
                    <a:gd name="T115" fmla="*/ 77 h 444"/>
                    <a:gd name="T116" fmla="*/ 241 w 818"/>
                    <a:gd name="T117" fmla="*/ 51 h 444"/>
                    <a:gd name="T118" fmla="*/ 284 w 818"/>
                    <a:gd name="T119" fmla="*/ 3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8" h="444">
                      <a:moveTo>
                        <a:pt x="298" y="15"/>
                      </a:moveTo>
                      <a:lnTo>
                        <a:pt x="311" y="17"/>
                      </a:lnTo>
                      <a:lnTo>
                        <a:pt x="317" y="14"/>
                      </a:lnTo>
                      <a:lnTo>
                        <a:pt x="324" y="14"/>
                      </a:lnTo>
                      <a:lnTo>
                        <a:pt x="325" y="26"/>
                      </a:lnTo>
                      <a:lnTo>
                        <a:pt x="327" y="26"/>
                      </a:lnTo>
                      <a:lnTo>
                        <a:pt x="331" y="23"/>
                      </a:lnTo>
                      <a:lnTo>
                        <a:pt x="331" y="27"/>
                      </a:lnTo>
                      <a:lnTo>
                        <a:pt x="336" y="31"/>
                      </a:lnTo>
                      <a:lnTo>
                        <a:pt x="340" y="26"/>
                      </a:lnTo>
                      <a:lnTo>
                        <a:pt x="345" y="31"/>
                      </a:lnTo>
                      <a:lnTo>
                        <a:pt x="345" y="29"/>
                      </a:lnTo>
                      <a:lnTo>
                        <a:pt x="345" y="24"/>
                      </a:lnTo>
                      <a:lnTo>
                        <a:pt x="348" y="18"/>
                      </a:lnTo>
                      <a:lnTo>
                        <a:pt x="363" y="21"/>
                      </a:lnTo>
                      <a:lnTo>
                        <a:pt x="368" y="20"/>
                      </a:lnTo>
                      <a:lnTo>
                        <a:pt x="371" y="18"/>
                      </a:lnTo>
                      <a:lnTo>
                        <a:pt x="377" y="9"/>
                      </a:lnTo>
                      <a:lnTo>
                        <a:pt x="394" y="9"/>
                      </a:lnTo>
                      <a:lnTo>
                        <a:pt x="399" y="12"/>
                      </a:lnTo>
                      <a:lnTo>
                        <a:pt x="403" y="12"/>
                      </a:lnTo>
                      <a:lnTo>
                        <a:pt x="406" y="15"/>
                      </a:lnTo>
                      <a:lnTo>
                        <a:pt x="410" y="12"/>
                      </a:lnTo>
                      <a:lnTo>
                        <a:pt x="422" y="9"/>
                      </a:lnTo>
                      <a:lnTo>
                        <a:pt x="431" y="14"/>
                      </a:lnTo>
                      <a:lnTo>
                        <a:pt x="437" y="14"/>
                      </a:lnTo>
                      <a:lnTo>
                        <a:pt x="448" y="11"/>
                      </a:lnTo>
                      <a:lnTo>
                        <a:pt x="462" y="7"/>
                      </a:lnTo>
                      <a:lnTo>
                        <a:pt x="466" y="0"/>
                      </a:lnTo>
                      <a:lnTo>
                        <a:pt x="469" y="0"/>
                      </a:lnTo>
                      <a:lnTo>
                        <a:pt x="479" y="6"/>
                      </a:lnTo>
                      <a:lnTo>
                        <a:pt x="483" y="11"/>
                      </a:lnTo>
                      <a:lnTo>
                        <a:pt x="472" y="27"/>
                      </a:lnTo>
                      <a:lnTo>
                        <a:pt x="480" y="29"/>
                      </a:lnTo>
                      <a:lnTo>
                        <a:pt x="485" y="32"/>
                      </a:lnTo>
                      <a:lnTo>
                        <a:pt x="500" y="37"/>
                      </a:lnTo>
                      <a:lnTo>
                        <a:pt x="505" y="34"/>
                      </a:lnTo>
                      <a:lnTo>
                        <a:pt x="518" y="32"/>
                      </a:lnTo>
                      <a:lnTo>
                        <a:pt x="528" y="15"/>
                      </a:lnTo>
                      <a:lnTo>
                        <a:pt x="534" y="23"/>
                      </a:lnTo>
                      <a:lnTo>
                        <a:pt x="535" y="23"/>
                      </a:lnTo>
                      <a:lnTo>
                        <a:pt x="537" y="24"/>
                      </a:lnTo>
                      <a:lnTo>
                        <a:pt x="540" y="24"/>
                      </a:lnTo>
                      <a:lnTo>
                        <a:pt x="540" y="31"/>
                      </a:lnTo>
                      <a:lnTo>
                        <a:pt x="554" y="32"/>
                      </a:lnTo>
                      <a:lnTo>
                        <a:pt x="557" y="38"/>
                      </a:lnTo>
                      <a:lnTo>
                        <a:pt x="563" y="37"/>
                      </a:lnTo>
                      <a:lnTo>
                        <a:pt x="564" y="44"/>
                      </a:lnTo>
                      <a:lnTo>
                        <a:pt x="568" y="44"/>
                      </a:lnTo>
                      <a:lnTo>
                        <a:pt x="572" y="43"/>
                      </a:lnTo>
                      <a:lnTo>
                        <a:pt x="575" y="44"/>
                      </a:lnTo>
                      <a:lnTo>
                        <a:pt x="583" y="43"/>
                      </a:lnTo>
                      <a:lnTo>
                        <a:pt x="586" y="44"/>
                      </a:lnTo>
                      <a:lnTo>
                        <a:pt x="587" y="47"/>
                      </a:lnTo>
                      <a:lnTo>
                        <a:pt x="587" y="52"/>
                      </a:lnTo>
                      <a:lnTo>
                        <a:pt x="584" y="57"/>
                      </a:lnTo>
                      <a:lnTo>
                        <a:pt x="584" y="63"/>
                      </a:lnTo>
                      <a:lnTo>
                        <a:pt x="589" y="75"/>
                      </a:lnTo>
                      <a:lnTo>
                        <a:pt x="591" y="86"/>
                      </a:lnTo>
                      <a:lnTo>
                        <a:pt x="598" y="95"/>
                      </a:lnTo>
                      <a:lnTo>
                        <a:pt x="603" y="107"/>
                      </a:lnTo>
                      <a:lnTo>
                        <a:pt x="606" y="112"/>
                      </a:lnTo>
                      <a:lnTo>
                        <a:pt x="607" y="109"/>
                      </a:lnTo>
                      <a:lnTo>
                        <a:pt x="614" y="107"/>
                      </a:lnTo>
                      <a:lnTo>
                        <a:pt x="618" y="109"/>
                      </a:lnTo>
                      <a:lnTo>
                        <a:pt x="623" y="114"/>
                      </a:lnTo>
                      <a:lnTo>
                        <a:pt x="643" y="114"/>
                      </a:lnTo>
                      <a:lnTo>
                        <a:pt x="660" y="115"/>
                      </a:lnTo>
                      <a:lnTo>
                        <a:pt x="664" y="118"/>
                      </a:lnTo>
                      <a:lnTo>
                        <a:pt x="667" y="140"/>
                      </a:lnTo>
                      <a:lnTo>
                        <a:pt x="673" y="147"/>
                      </a:lnTo>
                      <a:lnTo>
                        <a:pt x="675" y="150"/>
                      </a:lnTo>
                      <a:lnTo>
                        <a:pt x="683" y="157"/>
                      </a:lnTo>
                      <a:lnTo>
                        <a:pt x="683" y="160"/>
                      </a:lnTo>
                      <a:lnTo>
                        <a:pt x="690" y="166"/>
                      </a:lnTo>
                      <a:lnTo>
                        <a:pt x="693" y="164"/>
                      </a:lnTo>
                      <a:lnTo>
                        <a:pt x="706" y="166"/>
                      </a:lnTo>
                      <a:lnTo>
                        <a:pt x="712" y="175"/>
                      </a:lnTo>
                      <a:lnTo>
                        <a:pt x="713" y="170"/>
                      </a:lnTo>
                      <a:lnTo>
                        <a:pt x="716" y="172"/>
                      </a:lnTo>
                      <a:lnTo>
                        <a:pt x="718" y="170"/>
                      </a:lnTo>
                      <a:lnTo>
                        <a:pt x="719" y="161"/>
                      </a:lnTo>
                      <a:lnTo>
                        <a:pt x="721" y="158"/>
                      </a:lnTo>
                      <a:lnTo>
                        <a:pt x="724" y="161"/>
                      </a:lnTo>
                      <a:lnTo>
                        <a:pt x="729" y="160"/>
                      </a:lnTo>
                      <a:lnTo>
                        <a:pt x="739" y="166"/>
                      </a:lnTo>
                      <a:lnTo>
                        <a:pt x="744" y="164"/>
                      </a:lnTo>
                      <a:lnTo>
                        <a:pt x="770" y="167"/>
                      </a:lnTo>
                      <a:lnTo>
                        <a:pt x="776" y="167"/>
                      </a:lnTo>
                      <a:lnTo>
                        <a:pt x="782" y="174"/>
                      </a:lnTo>
                      <a:lnTo>
                        <a:pt x="785" y="172"/>
                      </a:lnTo>
                      <a:lnTo>
                        <a:pt x="792" y="172"/>
                      </a:lnTo>
                      <a:lnTo>
                        <a:pt x="792" y="172"/>
                      </a:lnTo>
                      <a:lnTo>
                        <a:pt x="796" y="175"/>
                      </a:lnTo>
                      <a:lnTo>
                        <a:pt x="798" y="184"/>
                      </a:lnTo>
                      <a:lnTo>
                        <a:pt x="808" y="184"/>
                      </a:lnTo>
                      <a:lnTo>
                        <a:pt x="816" y="190"/>
                      </a:lnTo>
                      <a:lnTo>
                        <a:pt x="818" y="190"/>
                      </a:lnTo>
                      <a:lnTo>
                        <a:pt x="818" y="190"/>
                      </a:lnTo>
                      <a:lnTo>
                        <a:pt x="805" y="203"/>
                      </a:lnTo>
                      <a:lnTo>
                        <a:pt x="796" y="206"/>
                      </a:lnTo>
                      <a:lnTo>
                        <a:pt x="788" y="207"/>
                      </a:lnTo>
                      <a:lnTo>
                        <a:pt x="787" y="210"/>
                      </a:lnTo>
                      <a:lnTo>
                        <a:pt x="788" y="214"/>
                      </a:lnTo>
                      <a:lnTo>
                        <a:pt x="788" y="220"/>
                      </a:lnTo>
                      <a:lnTo>
                        <a:pt x="785" y="226"/>
                      </a:lnTo>
                      <a:lnTo>
                        <a:pt x="787" y="229"/>
                      </a:lnTo>
                      <a:lnTo>
                        <a:pt x="781" y="238"/>
                      </a:lnTo>
                      <a:lnTo>
                        <a:pt x="782" y="249"/>
                      </a:lnTo>
                      <a:lnTo>
                        <a:pt x="781" y="257"/>
                      </a:lnTo>
                      <a:lnTo>
                        <a:pt x="779" y="260"/>
                      </a:lnTo>
                      <a:lnTo>
                        <a:pt x="772" y="263"/>
                      </a:lnTo>
                      <a:lnTo>
                        <a:pt x="762" y="260"/>
                      </a:lnTo>
                      <a:lnTo>
                        <a:pt x="756" y="263"/>
                      </a:lnTo>
                      <a:lnTo>
                        <a:pt x="747" y="260"/>
                      </a:lnTo>
                      <a:lnTo>
                        <a:pt x="742" y="260"/>
                      </a:lnTo>
                      <a:lnTo>
                        <a:pt x="741" y="260"/>
                      </a:lnTo>
                      <a:lnTo>
                        <a:pt x="739" y="264"/>
                      </a:lnTo>
                      <a:lnTo>
                        <a:pt x="735" y="266"/>
                      </a:lnTo>
                      <a:lnTo>
                        <a:pt x="729" y="264"/>
                      </a:lnTo>
                      <a:lnTo>
                        <a:pt x="724" y="267"/>
                      </a:lnTo>
                      <a:lnTo>
                        <a:pt x="721" y="266"/>
                      </a:lnTo>
                      <a:lnTo>
                        <a:pt x="718" y="258"/>
                      </a:lnTo>
                      <a:lnTo>
                        <a:pt x="715" y="254"/>
                      </a:lnTo>
                      <a:lnTo>
                        <a:pt x="712" y="257"/>
                      </a:lnTo>
                      <a:lnTo>
                        <a:pt x="704" y="261"/>
                      </a:lnTo>
                      <a:lnTo>
                        <a:pt x="699" y="266"/>
                      </a:lnTo>
                      <a:lnTo>
                        <a:pt x="696" y="267"/>
                      </a:lnTo>
                      <a:lnTo>
                        <a:pt x="695" y="270"/>
                      </a:lnTo>
                      <a:lnTo>
                        <a:pt x="693" y="270"/>
                      </a:lnTo>
                      <a:lnTo>
                        <a:pt x="699" y="290"/>
                      </a:lnTo>
                      <a:lnTo>
                        <a:pt x="703" y="295"/>
                      </a:lnTo>
                      <a:lnTo>
                        <a:pt x="713" y="300"/>
                      </a:lnTo>
                      <a:lnTo>
                        <a:pt x="715" y="303"/>
                      </a:lnTo>
                      <a:lnTo>
                        <a:pt x="715" y="306"/>
                      </a:lnTo>
                      <a:lnTo>
                        <a:pt x="710" y="309"/>
                      </a:lnTo>
                      <a:lnTo>
                        <a:pt x="701" y="309"/>
                      </a:lnTo>
                      <a:lnTo>
                        <a:pt x="701" y="318"/>
                      </a:lnTo>
                      <a:lnTo>
                        <a:pt x="692" y="323"/>
                      </a:lnTo>
                      <a:lnTo>
                        <a:pt x="690" y="330"/>
                      </a:lnTo>
                      <a:lnTo>
                        <a:pt x="684" y="330"/>
                      </a:lnTo>
                      <a:lnTo>
                        <a:pt x="681" y="335"/>
                      </a:lnTo>
                      <a:lnTo>
                        <a:pt x="689" y="341"/>
                      </a:lnTo>
                      <a:lnTo>
                        <a:pt x="687" y="346"/>
                      </a:lnTo>
                      <a:lnTo>
                        <a:pt x="689" y="347"/>
                      </a:lnTo>
                      <a:lnTo>
                        <a:pt x="689" y="354"/>
                      </a:lnTo>
                      <a:lnTo>
                        <a:pt x="690" y="361"/>
                      </a:lnTo>
                      <a:lnTo>
                        <a:pt x="689" y="372"/>
                      </a:lnTo>
                      <a:lnTo>
                        <a:pt x="693" y="375"/>
                      </a:lnTo>
                      <a:lnTo>
                        <a:pt x="690" y="386"/>
                      </a:lnTo>
                      <a:lnTo>
                        <a:pt x="689" y="384"/>
                      </a:lnTo>
                      <a:lnTo>
                        <a:pt x="683" y="386"/>
                      </a:lnTo>
                      <a:lnTo>
                        <a:pt x="684" y="387"/>
                      </a:lnTo>
                      <a:lnTo>
                        <a:pt x="680" y="389"/>
                      </a:lnTo>
                      <a:lnTo>
                        <a:pt x="675" y="386"/>
                      </a:lnTo>
                      <a:lnTo>
                        <a:pt x="672" y="389"/>
                      </a:lnTo>
                      <a:lnTo>
                        <a:pt x="672" y="394"/>
                      </a:lnTo>
                      <a:lnTo>
                        <a:pt x="657" y="392"/>
                      </a:lnTo>
                      <a:lnTo>
                        <a:pt x="655" y="394"/>
                      </a:lnTo>
                      <a:lnTo>
                        <a:pt x="653" y="398"/>
                      </a:lnTo>
                      <a:lnTo>
                        <a:pt x="653" y="403"/>
                      </a:lnTo>
                      <a:lnTo>
                        <a:pt x="660" y="409"/>
                      </a:lnTo>
                      <a:lnTo>
                        <a:pt x="664" y="415"/>
                      </a:lnTo>
                      <a:lnTo>
                        <a:pt x="676" y="418"/>
                      </a:lnTo>
                      <a:lnTo>
                        <a:pt x="681" y="415"/>
                      </a:lnTo>
                      <a:lnTo>
                        <a:pt x="687" y="418"/>
                      </a:lnTo>
                      <a:lnTo>
                        <a:pt x="690" y="423"/>
                      </a:lnTo>
                      <a:lnTo>
                        <a:pt x="681" y="438"/>
                      </a:lnTo>
                      <a:lnTo>
                        <a:pt x="681" y="438"/>
                      </a:lnTo>
                      <a:lnTo>
                        <a:pt x="664" y="427"/>
                      </a:lnTo>
                      <a:lnTo>
                        <a:pt x="661" y="424"/>
                      </a:lnTo>
                      <a:lnTo>
                        <a:pt x="657" y="423"/>
                      </a:lnTo>
                      <a:lnTo>
                        <a:pt x="655" y="407"/>
                      </a:lnTo>
                      <a:lnTo>
                        <a:pt x="653" y="406"/>
                      </a:lnTo>
                      <a:lnTo>
                        <a:pt x="646" y="407"/>
                      </a:lnTo>
                      <a:lnTo>
                        <a:pt x="644" y="417"/>
                      </a:lnTo>
                      <a:lnTo>
                        <a:pt x="638" y="429"/>
                      </a:lnTo>
                      <a:lnTo>
                        <a:pt x="627" y="426"/>
                      </a:lnTo>
                      <a:lnTo>
                        <a:pt x="624" y="423"/>
                      </a:lnTo>
                      <a:lnTo>
                        <a:pt x="618" y="423"/>
                      </a:lnTo>
                      <a:lnTo>
                        <a:pt x="614" y="420"/>
                      </a:lnTo>
                      <a:lnTo>
                        <a:pt x="611" y="421"/>
                      </a:lnTo>
                      <a:lnTo>
                        <a:pt x="612" y="427"/>
                      </a:lnTo>
                      <a:lnTo>
                        <a:pt x="604" y="440"/>
                      </a:lnTo>
                      <a:lnTo>
                        <a:pt x="600" y="435"/>
                      </a:lnTo>
                      <a:lnTo>
                        <a:pt x="591" y="435"/>
                      </a:lnTo>
                      <a:lnTo>
                        <a:pt x="587" y="432"/>
                      </a:lnTo>
                      <a:lnTo>
                        <a:pt x="584" y="432"/>
                      </a:lnTo>
                      <a:lnTo>
                        <a:pt x="578" y="437"/>
                      </a:lnTo>
                      <a:lnTo>
                        <a:pt x="575" y="434"/>
                      </a:lnTo>
                      <a:lnTo>
                        <a:pt x="571" y="438"/>
                      </a:lnTo>
                      <a:lnTo>
                        <a:pt x="569" y="434"/>
                      </a:lnTo>
                      <a:lnTo>
                        <a:pt x="569" y="427"/>
                      </a:lnTo>
                      <a:lnTo>
                        <a:pt x="555" y="423"/>
                      </a:lnTo>
                      <a:lnTo>
                        <a:pt x="546" y="415"/>
                      </a:lnTo>
                      <a:lnTo>
                        <a:pt x="520" y="406"/>
                      </a:lnTo>
                      <a:lnTo>
                        <a:pt x="518" y="403"/>
                      </a:lnTo>
                      <a:lnTo>
                        <a:pt x="522" y="398"/>
                      </a:lnTo>
                      <a:lnTo>
                        <a:pt x="520" y="392"/>
                      </a:lnTo>
                      <a:lnTo>
                        <a:pt x="518" y="392"/>
                      </a:lnTo>
                      <a:lnTo>
                        <a:pt x="514" y="397"/>
                      </a:lnTo>
                      <a:lnTo>
                        <a:pt x="505" y="394"/>
                      </a:lnTo>
                      <a:lnTo>
                        <a:pt x="500" y="398"/>
                      </a:lnTo>
                      <a:lnTo>
                        <a:pt x="491" y="398"/>
                      </a:lnTo>
                      <a:lnTo>
                        <a:pt x="488" y="403"/>
                      </a:lnTo>
                      <a:lnTo>
                        <a:pt x="486" y="410"/>
                      </a:lnTo>
                      <a:lnTo>
                        <a:pt x="475" y="418"/>
                      </a:lnTo>
                      <a:lnTo>
                        <a:pt x="472" y="418"/>
                      </a:lnTo>
                      <a:lnTo>
                        <a:pt x="466" y="412"/>
                      </a:lnTo>
                      <a:lnTo>
                        <a:pt x="460" y="420"/>
                      </a:lnTo>
                      <a:lnTo>
                        <a:pt x="457" y="421"/>
                      </a:lnTo>
                      <a:lnTo>
                        <a:pt x="454" y="415"/>
                      </a:lnTo>
                      <a:lnTo>
                        <a:pt x="449" y="414"/>
                      </a:lnTo>
                      <a:lnTo>
                        <a:pt x="443" y="420"/>
                      </a:lnTo>
                      <a:lnTo>
                        <a:pt x="442" y="429"/>
                      </a:lnTo>
                      <a:lnTo>
                        <a:pt x="437" y="430"/>
                      </a:lnTo>
                      <a:lnTo>
                        <a:pt x="428" y="429"/>
                      </a:lnTo>
                      <a:lnTo>
                        <a:pt x="428" y="427"/>
                      </a:lnTo>
                      <a:lnTo>
                        <a:pt x="428" y="423"/>
                      </a:lnTo>
                      <a:lnTo>
                        <a:pt x="420" y="420"/>
                      </a:lnTo>
                      <a:lnTo>
                        <a:pt x="414" y="421"/>
                      </a:lnTo>
                      <a:lnTo>
                        <a:pt x="410" y="409"/>
                      </a:lnTo>
                      <a:lnTo>
                        <a:pt x="405" y="414"/>
                      </a:lnTo>
                      <a:lnTo>
                        <a:pt x="405" y="417"/>
                      </a:lnTo>
                      <a:lnTo>
                        <a:pt x="397" y="427"/>
                      </a:lnTo>
                      <a:lnTo>
                        <a:pt x="396" y="440"/>
                      </a:lnTo>
                      <a:lnTo>
                        <a:pt x="386" y="444"/>
                      </a:lnTo>
                      <a:lnTo>
                        <a:pt x="385" y="441"/>
                      </a:lnTo>
                      <a:lnTo>
                        <a:pt x="386" y="434"/>
                      </a:lnTo>
                      <a:lnTo>
                        <a:pt x="383" y="427"/>
                      </a:lnTo>
                      <a:lnTo>
                        <a:pt x="379" y="423"/>
                      </a:lnTo>
                      <a:lnTo>
                        <a:pt x="373" y="421"/>
                      </a:lnTo>
                      <a:lnTo>
                        <a:pt x="374" y="415"/>
                      </a:lnTo>
                      <a:lnTo>
                        <a:pt x="371" y="412"/>
                      </a:lnTo>
                      <a:lnTo>
                        <a:pt x="374" y="409"/>
                      </a:lnTo>
                      <a:lnTo>
                        <a:pt x="373" y="406"/>
                      </a:lnTo>
                      <a:lnTo>
                        <a:pt x="370" y="407"/>
                      </a:lnTo>
                      <a:lnTo>
                        <a:pt x="367" y="404"/>
                      </a:lnTo>
                      <a:lnTo>
                        <a:pt x="367" y="401"/>
                      </a:lnTo>
                      <a:lnTo>
                        <a:pt x="356" y="397"/>
                      </a:lnTo>
                      <a:lnTo>
                        <a:pt x="356" y="395"/>
                      </a:lnTo>
                      <a:lnTo>
                        <a:pt x="345" y="390"/>
                      </a:lnTo>
                      <a:lnTo>
                        <a:pt x="340" y="392"/>
                      </a:lnTo>
                      <a:lnTo>
                        <a:pt x="339" y="387"/>
                      </a:lnTo>
                      <a:lnTo>
                        <a:pt x="328" y="384"/>
                      </a:lnTo>
                      <a:lnTo>
                        <a:pt x="331" y="367"/>
                      </a:lnTo>
                      <a:lnTo>
                        <a:pt x="325" y="354"/>
                      </a:lnTo>
                      <a:lnTo>
                        <a:pt x="321" y="352"/>
                      </a:lnTo>
                      <a:lnTo>
                        <a:pt x="314" y="354"/>
                      </a:lnTo>
                      <a:lnTo>
                        <a:pt x="313" y="357"/>
                      </a:lnTo>
                      <a:lnTo>
                        <a:pt x="301" y="367"/>
                      </a:lnTo>
                      <a:lnTo>
                        <a:pt x="293" y="378"/>
                      </a:lnTo>
                      <a:lnTo>
                        <a:pt x="278" y="389"/>
                      </a:lnTo>
                      <a:lnTo>
                        <a:pt x="273" y="387"/>
                      </a:lnTo>
                      <a:lnTo>
                        <a:pt x="270" y="389"/>
                      </a:lnTo>
                      <a:lnTo>
                        <a:pt x="265" y="395"/>
                      </a:lnTo>
                      <a:lnTo>
                        <a:pt x="264" y="404"/>
                      </a:lnTo>
                      <a:lnTo>
                        <a:pt x="259" y="404"/>
                      </a:lnTo>
                      <a:lnTo>
                        <a:pt x="253" y="390"/>
                      </a:lnTo>
                      <a:lnTo>
                        <a:pt x="236" y="380"/>
                      </a:lnTo>
                      <a:lnTo>
                        <a:pt x="239" y="387"/>
                      </a:lnTo>
                      <a:lnTo>
                        <a:pt x="233" y="387"/>
                      </a:lnTo>
                      <a:lnTo>
                        <a:pt x="230" y="390"/>
                      </a:lnTo>
                      <a:lnTo>
                        <a:pt x="225" y="390"/>
                      </a:lnTo>
                      <a:lnTo>
                        <a:pt x="222" y="403"/>
                      </a:lnTo>
                      <a:lnTo>
                        <a:pt x="219" y="409"/>
                      </a:lnTo>
                      <a:lnTo>
                        <a:pt x="196" y="398"/>
                      </a:lnTo>
                      <a:lnTo>
                        <a:pt x="185" y="389"/>
                      </a:lnTo>
                      <a:lnTo>
                        <a:pt x="185" y="383"/>
                      </a:lnTo>
                      <a:lnTo>
                        <a:pt x="179" y="384"/>
                      </a:lnTo>
                      <a:lnTo>
                        <a:pt x="176" y="394"/>
                      </a:lnTo>
                      <a:lnTo>
                        <a:pt x="175" y="394"/>
                      </a:lnTo>
                      <a:lnTo>
                        <a:pt x="164" y="403"/>
                      </a:lnTo>
                      <a:lnTo>
                        <a:pt x="155" y="392"/>
                      </a:lnTo>
                      <a:lnTo>
                        <a:pt x="153" y="384"/>
                      </a:lnTo>
                      <a:lnTo>
                        <a:pt x="150" y="383"/>
                      </a:lnTo>
                      <a:lnTo>
                        <a:pt x="149" y="369"/>
                      </a:lnTo>
                      <a:lnTo>
                        <a:pt x="139" y="367"/>
                      </a:lnTo>
                      <a:lnTo>
                        <a:pt x="132" y="374"/>
                      </a:lnTo>
                      <a:lnTo>
                        <a:pt x="127" y="370"/>
                      </a:lnTo>
                      <a:lnTo>
                        <a:pt x="127" y="374"/>
                      </a:lnTo>
                      <a:lnTo>
                        <a:pt x="113" y="366"/>
                      </a:lnTo>
                      <a:lnTo>
                        <a:pt x="112" y="369"/>
                      </a:lnTo>
                      <a:lnTo>
                        <a:pt x="98" y="369"/>
                      </a:lnTo>
                      <a:lnTo>
                        <a:pt x="89" y="357"/>
                      </a:lnTo>
                      <a:lnTo>
                        <a:pt x="87" y="349"/>
                      </a:lnTo>
                      <a:lnTo>
                        <a:pt x="84" y="350"/>
                      </a:lnTo>
                      <a:lnTo>
                        <a:pt x="75" y="343"/>
                      </a:lnTo>
                      <a:lnTo>
                        <a:pt x="69" y="344"/>
                      </a:lnTo>
                      <a:lnTo>
                        <a:pt x="64" y="341"/>
                      </a:lnTo>
                      <a:lnTo>
                        <a:pt x="55" y="340"/>
                      </a:lnTo>
                      <a:lnTo>
                        <a:pt x="43" y="332"/>
                      </a:lnTo>
                      <a:lnTo>
                        <a:pt x="41" y="324"/>
                      </a:lnTo>
                      <a:lnTo>
                        <a:pt x="34" y="320"/>
                      </a:lnTo>
                      <a:lnTo>
                        <a:pt x="31" y="309"/>
                      </a:lnTo>
                      <a:lnTo>
                        <a:pt x="23" y="307"/>
                      </a:lnTo>
                      <a:lnTo>
                        <a:pt x="12" y="309"/>
                      </a:lnTo>
                      <a:lnTo>
                        <a:pt x="9" y="307"/>
                      </a:lnTo>
                      <a:lnTo>
                        <a:pt x="8" y="301"/>
                      </a:lnTo>
                      <a:lnTo>
                        <a:pt x="0" y="300"/>
                      </a:lnTo>
                      <a:lnTo>
                        <a:pt x="0" y="300"/>
                      </a:lnTo>
                      <a:lnTo>
                        <a:pt x="4" y="300"/>
                      </a:lnTo>
                      <a:lnTo>
                        <a:pt x="8" y="297"/>
                      </a:lnTo>
                      <a:lnTo>
                        <a:pt x="14" y="272"/>
                      </a:lnTo>
                      <a:lnTo>
                        <a:pt x="26" y="274"/>
                      </a:lnTo>
                      <a:lnTo>
                        <a:pt x="21" y="249"/>
                      </a:lnTo>
                      <a:lnTo>
                        <a:pt x="32" y="232"/>
                      </a:lnTo>
                      <a:lnTo>
                        <a:pt x="38" y="235"/>
                      </a:lnTo>
                      <a:lnTo>
                        <a:pt x="70" y="226"/>
                      </a:lnTo>
                      <a:lnTo>
                        <a:pt x="77" y="235"/>
                      </a:lnTo>
                      <a:lnTo>
                        <a:pt x="87" y="240"/>
                      </a:lnTo>
                      <a:lnTo>
                        <a:pt x="90" y="240"/>
                      </a:lnTo>
                      <a:lnTo>
                        <a:pt x="90" y="232"/>
                      </a:lnTo>
                      <a:lnTo>
                        <a:pt x="98" y="232"/>
                      </a:lnTo>
                      <a:lnTo>
                        <a:pt x="101" y="240"/>
                      </a:lnTo>
                      <a:lnTo>
                        <a:pt x="118" y="243"/>
                      </a:lnTo>
                      <a:lnTo>
                        <a:pt x="130" y="238"/>
                      </a:lnTo>
                      <a:lnTo>
                        <a:pt x="135" y="247"/>
                      </a:lnTo>
                      <a:lnTo>
                        <a:pt x="146" y="250"/>
                      </a:lnTo>
                      <a:lnTo>
                        <a:pt x="149" y="246"/>
                      </a:lnTo>
                      <a:lnTo>
                        <a:pt x="152" y="246"/>
                      </a:lnTo>
                      <a:lnTo>
                        <a:pt x="153" y="243"/>
                      </a:lnTo>
                      <a:lnTo>
                        <a:pt x="161" y="240"/>
                      </a:lnTo>
                      <a:lnTo>
                        <a:pt x="166" y="218"/>
                      </a:lnTo>
                      <a:lnTo>
                        <a:pt x="178" y="215"/>
                      </a:lnTo>
                      <a:lnTo>
                        <a:pt x="179" y="220"/>
                      </a:lnTo>
                      <a:lnTo>
                        <a:pt x="190" y="220"/>
                      </a:lnTo>
                      <a:lnTo>
                        <a:pt x="193" y="217"/>
                      </a:lnTo>
                      <a:lnTo>
                        <a:pt x="189" y="207"/>
                      </a:lnTo>
                      <a:lnTo>
                        <a:pt x="192" y="206"/>
                      </a:lnTo>
                      <a:lnTo>
                        <a:pt x="192" y="198"/>
                      </a:lnTo>
                      <a:lnTo>
                        <a:pt x="196" y="197"/>
                      </a:lnTo>
                      <a:lnTo>
                        <a:pt x="201" y="190"/>
                      </a:lnTo>
                      <a:lnTo>
                        <a:pt x="199" y="175"/>
                      </a:lnTo>
                      <a:lnTo>
                        <a:pt x="202" y="160"/>
                      </a:lnTo>
                      <a:lnTo>
                        <a:pt x="207" y="160"/>
                      </a:lnTo>
                      <a:lnTo>
                        <a:pt x="210" y="154"/>
                      </a:lnTo>
                      <a:lnTo>
                        <a:pt x="235" y="158"/>
                      </a:lnTo>
                      <a:lnTo>
                        <a:pt x="238" y="157"/>
                      </a:lnTo>
                      <a:lnTo>
                        <a:pt x="236" y="152"/>
                      </a:lnTo>
                      <a:lnTo>
                        <a:pt x="245" y="137"/>
                      </a:lnTo>
                      <a:lnTo>
                        <a:pt x="247" y="130"/>
                      </a:lnTo>
                      <a:lnTo>
                        <a:pt x="239" y="118"/>
                      </a:lnTo>
                      <a:lnTo>
                        <a:pt x="230" y="117"/>
                      </a:lnTo>
                      <a:lnTo>
                        <a:pt x="224" y="103"/>
                      </a:lnTo>
                      <a:lnTo>
                        <a:pt x="230" y="84"/>
                      </a:lnTo>
                      <a:lnTo>
                        <a:pt x="230" y="80"/>
                      </a:lnTo>
                      <a:lnTo>
                        <a:pt x="236" y="77"/>
                      </a:lnTo>
                      <a:lnTo>
                        <a:pt x="238" y="74"/>
                      </a:lnTo>
                      <a:lnTo>
                        <a:pt x="241" y="71"/>
                      </a:lnTo>
                      <a:lnTo>
                        <a:pt x="242" y="66"/>
                      </a:lnTo>
                      <a:lnTo>
                        <a:pt x="248" y="57"/>
                      </a:lnTo>
                      <a:lnTo>
                        <a:pt x="242" y="54"/>
                      </a:lnTo>
                      <a:lnTo>
                        <a:pt x="241" y="51"/>
                      </a:lnTo>
                      <a:lnTo>
                        <a:pt x="245" y="35"/>
                      </a:lnTo>
                      <a:lnTo>
                        <a:pt x="251" y="29"/>
                      </a:lnTo>
                      <a:lnTo>
                        <a:pt x="261" y="29"/>
                      </a:lnTo>
                      <a:lnTo>
                        <a:pt x="267" y="24"/>
                      </a:lnTo>
                      <a:lnTo>
                        <a:pt x="274" y="31"/>
                      </a:lnTo>
                      <a:lnTo>
                        <a:pt x="284" y="32"/>
                      </a:lnTo>
                      <a:lnTo>
                        <a:pt x="288" y="20"/>
                      </a:lnTo>
                      <a:lnTo>
                        <a:pt x="298" y="15"/>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78" name="Bacau" descr="{&quot;Key&quot;:&quot;bacau&quot;,&quot;Name&quot;:&quot;Bacau&quot;,&quot;Value&quot;:1.0,&quot;Formula&quot;:&quot;&quot;,&quot;Text&quot;:&quot;1&quot;,&quot;OfficeApplication&quot;:0,&quot;HasValue&quot;:true}">
                  <a:extLst>
                    <a:ext uri="{FF2B5EF4-FFF2-40B4-BE49-F238E27FC236}">
                      <a16:creationId xmlns:a16="http://schemas.microsoft.com/office/drawing/2014/main" id="{CA0DEAC3-5B08-CD33-A48D-59EF325B16BF}"/>
                    </a:ext>
                  </a:extLst>
                </p:cNvPr>
                <p:cNvSpPr>
                  <a:spLocks/>
                </p:cNvSpPr>
                <p:nvPr/>
              </p:nvSpPr>
              <p:spPr bwMode="auto">
                <a:xfrm>
                  <a:off x="6721475" y="2662238"/>
                  <a:ext cx="962025" cy="739775"/>
                </a:xfrm>
                <a:custGeom>
                  <a:avLst/>
                  <a:gdLst>
                    <a:gd name="T0" fmla="*/ 36 w 606"/>
                    <a:gd name="T1" fmla="*/ 74 h 466"/>
                    <a:gd name="T2" fmla="*/ 48 w 606"/>
                    <a:gd name="T3" fmla="*/ 106 h 466"/>
                    <a:gd name="T4" fmla="*/ 85 w 606"/>
                    <a:gd name="T5" fmla="*/ 103 h 466"/>
                    <a:gd name="T6" fmla="*/ 112 w 606"/>
                    <a:gd name="T7" fmla="*/ 80 h 466"/>
                    <a:gd name="T8" fmla="*/ 146 w 606"/>
                    <a:gd name="T9" fmla="*/ 109 h 466"/>
                    <a:gd name="T10" fmla="*/ 203 w 606"/>
                    <a:gd name="T11" fmla="*/ 88 h 466"/>
                    <a:gd name="T12" fmla="*/ 240 w 606"/>
                    <a:gd name="T13" fmla="*/ 85 h 466"/>
                    <a:gd name="T14" fmla="*/ 278 w 606"/>
                    <a:gd name="T15" fmla="*/ 51 h 466"/>
                    <a:gd name="T16" fmla="*/ 303 w 606"/>
                    <a:gd name="T17" fmla="*/ 29 h 466"/>
                    <a:gd name="T18" fmla="*/ 335 w 606"/>
                    <a:gd name="T19" fmla="*/ 51 h 466"/>
                    <a:gd name="T20" fmla="*/ 347 w 606"/>
                    <a:gd name="T21" fmla="*/ 17 h 466"/>
                    <a:gd name="T22" fmla="*/ 372 w 606"/>
                    <a:gd name="T23" fmla="*/ 6 h 466"/>
                    <a:gd name="T24" fmla="*/ 364 w 606"/>
                    <a:gd name="T25" fmla="*/ 20 h 466"/>
                    <a:gd name="T26" fmla="*/ 375 w 606"/>
                    <a:gd name="T27" fmla="*/ 32 h 466"/>
                    <a:gd name="T28" fmla="*/ 384 w 606"/>
                    <a:gd name="T29" fmla="*/ 37 h 466"/>
                    <a:gd name="T30" fmla="*/ 422 w 606"/>
                    <a:gd name="T31" fmla="*/ 35 h 466"/>
                    <a:gd name="T32" fmla="*/ 442 w 606"/>
                    <a:gd name="T33" fmla="*/ 34 h 466"/>
                    <a:gd name="T34" fmla="*/ 462 w 606"/>
                    <a:gd name="T35" fmla="*/ 54 h 466"/>
                    <a:gd name="T36" fmla="*/ 484 w 606"/>
                    <a:gd name="T37" fmla="*/ 42 h 466"/>
                    <a:gd name="T38" fmla="*/ 524 w 606"/>
                    <a:gd name="T39" fmla="*/ 92 h 466"/>
                    <a:gd name="T40" fmla="*/ 527 w 606"/>
                    <a:gd name="T41" fmla="*/ 132 h 466"/>
                    <a:gd name="T42" fmla="*/ 553 w 606"/>
                    <a:gd name="T43" fmla="*/ 182 h 466"/>
                    <a:gd name="T44" fmla="*/ 573 w 606"/>
                    <a:gd name="T45" fmla="*/ 235 h 466"/>
                    <a:gd name="T46" fmla="*/ 593 w 606"/>
                    <a:gd name="T47" fmla="*/ 292 h 466"/>
                    <a:gd name="T48" fmla="*/ 589 w 606"/>
                    <a:gd name="T49" fmla="*/ 312 h 466"/>
                    <a:gd name="T50" fmla="*/ 599 w 606"/>
                    <a:gd name="T51" fmla="*/ 365 h 466"/>
                    <a:gd name="T52" fmla="*/ 600 w 606"/>
                    <a:gd name="T53" fmla="*/ 386 h 466"/>
                    <a:gd name="T54" fmla="*/ 588 w 606"/>
                    <a:gd name="T55" fmla="*/ 388 h 466"/>
                    <a:gd name="T56" fmla="*/ 560 w 606"/>
                    <a:gd name="T57" fmla="*/ 374 h 466"/>
                    <a:gd name="T58" fmla="*/ 547 w 606"/>
                    <a:gd name="T59" fmla="*/ 388 h 466"/>
                    <a:gd name="T60" fmla="*/ 536 w 606"/>
                    <a:gd name="T61" fmla="*/ 372 h 466"/>
                    <a:gd name="T62" fmla="*/ 513 w 606"/>
                    <a:gd name="T63" fmla="*/ 374 h 466"/>
                    <a:gd name="T64" fmla="*/ 487 w 606"/>
                    <a:gd name="T65" fmla="*/ 375 h 466"/>
                    <a:gd name="T66" fmla="*/ 474 w 606"/>
                    <a:gd name="T67" fmla="*/ 375 h 466"/>
                    <a:gd name="T68" fmla="*/ 464 w 606"/>
                    <a:gd name="T69" fmla="*/ 403 h 466"/>
                    <a:gd name="T70" fmla="*/ 459 w 606"/>
                    <a:gd name="T71" fmla="*/ 420 h 466"/>
                    <a:gd name="T72" fmla="*/ 427 w 606"/>
                    <a:gd name="T73" fmla="*/ 425 h 466"/>
                    <a:gd name="T74" fmla="*/ 382 w 606"/>
                    <a:gd name="T75" fmla="*/ 434 h 466"/>
                    <a:gd name="T76" fmla="*/ 362 w 606"/>
                    <a:gd name="T77" fmla="*/ 435 h 466"/>
                    <a:gd name="T78" fmla="*/ 315 w 606"/>
                    <a:gd name="T79" fmla="*/ 428 h 466"/>
                    <a:gd name="T80" fmla="*/ 289 w 606"/>
                    <a:gd name="T81" fmla="*/ 426 h 466"/>
                    <a:gd name="T82" fmla="*/ 260 w 606"/>
                    <a:gd name="T83" fmla="*/ 446 h 466"/>
                    <a:gd name="T84" fmla="*/ 212 w 606"/>
                    <a:gd name="T85" fmla="*/ 465 h 466"/>
                    <a:gd name="T86" fmla="*/ 181 w 606"/>
                    <a:gd name="T87" fmla="*/ 448 h 466"/>
                    <a:gd name="T88" fmla="*/ 160 w 606"/>
                    <a:gd name="T89" fmla="*/ 425 h 466"/>
                    <a:gd name="T90" fmla="*/ 143 w 606"/>
                    <a:gd name="T91" fmla="*/ 363 h 466"/>
                    <a:gd name="T92" fmla="*/ 111 w 606"/>
                    <a:gd name="T93" fmla="*/ 335 h 466"/>
                    <a:gd name="T94" fmla="*/ 123 w 606"/>
                    <a:gd name="T95" fmla="*/ 291 h 466"/>
                    <a:gd name="T96" fmla="*/ 100 w 606"/>
                    <a:gd name="T97" fmla="*/ 294 h 466"/>
                    <a:gd name="T98" fmla="*/ 72 w 606"/>
                    <a:gd name="T99" fmla="*/ 285 h 466"/>
                    <a:gd name="T100" fmla="*/ 76 w 606"/>
                    <a:gd name="T101" fmla="*/ 257 h 466"/>
                    <a:gd name="T102" fmla="*/ 3 w 606"/>
                    <a:gd name="T103" fmla="*/ 228 h 466"/>
                    <a:gd name="T104" fmla="*/ 19 w 606"/>
                    <a:gd name="T105" fmla="*/ 203 h 466"/>
                    <a:gd name="T106" fmla="*/ 33 w 606"/>
                    <a:gd name="T107" fmla="*/ 172 h 466"/>
                    <a:gd name="T108" fmla="*/ 6 w 606"/>
                    <a:gd name="T109" fmla="*/ 114 h 466"/>
                    <a:gd name="T110" fmla="*/ 8 w 606"/>
                    <a:gd name="T111" fmla="*/ 94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6" h="466">
                      <a:moveTo>
                        <a:pt x="0" y="82"/>
                      </a:moveTo>
                      <a:lnTo>
                        <a:pt x="8" y="74"/>
                      </a:lnTo>
                      <a:lnTo>
                        <a:pt x="14" y="77"/>
                      </a:lnTo>
                      <a:lnTo>
                        <a:pt x="29" y="77"/>
                      </a:lnTo>
                      <a:lnTo>
                        <a:pt x="36" y="74"/>
                      </a:lnTo>
                      <a:lnTo>
                        <a:pt x="39" y="79"/>
                      </a:lnTo>
                      <a:lnTo>
                        <a:pt x="37" y="83"/>
                      </a:lnTo>
                      <a:lnTo>
                        <a:pt x="40" y="91"/>
                      </a:lnTo>
                      <a:lnTo>
                        <a:pt x="39" y="100"/>
                      </a:lnTo>
                      <a:lnTo>
                        <a:pt x="48" y="106"/>
                      </a:lnTo>
                      <a:lnTo>
                        <a:pt x="56" y="100"/>
                      </a:lnTo>
                      <a:lnTo>
                        <a:pt x="63" y="100"/>
                      </a:lnTo>
                      <a:lnTo>
                        <a:pt x="68" y="108"/>
                      </a:lnTo>
                      <a:lnTo>
                        <a:pt x="71" y="109"/>
                      </a:lnTo>
                      <a:lnTo>
                        <a:pt x="85" y="103"/>
                      </a:lnTo>
                      <a:lnTo>
                        <a:pt x="92" y="103"/>
                      </a:lnTo>
                      <a:lnTo>
                        <a:pt x="94" y="94"/>
                      </a:lnTo>
                      <a:lnTo>
                        <a:pt x="102" y="82"/>
                      </a:lnTo>
                      <a:lnTo>
                        <a:pt x="114" y="74"/>
                      </a:lnTo>
                      <a:lnTo>
                        <a:pt x="112" y="80"/>
                      </a:lnTo>
                      <a:lnTo>
                        <a:pt x="120" y="86"/>
                      </a:lnTo>
                      <a:lnTo>
                        <a:pt x="126" y="102"/>
                      </a:lnTo>
                      <a:lnTo>
                        <a:pt x="135" y="106"/>
                      </a:lnTo>
                      <a:lnTo>
                        <a:pt x="141" y="106"/>
                      </a:lnTo>
                      <a:lnTo>
                        <a:pt x="146" y="109"/>
                      </a:lnTo>
                      <a:lnTo>
                        <a:pt x="151" y="109"/>
                      </a:lnTo>
                      <a:lnTo>
                        <a:pt x="160" y="105"/>
                      </a:lnTo>
                      <a:lnTo>
                        <a:pt x="181" y="88"/>
                      </a:lnTo>
                      <a:lnTo>
                        <a:pt x="195" y="89"/>
                      </a:lnTo>
                      <a:lnTo>
                        <a:pt x="203" y="88"/>
                      </a:lnTo>
                      <a:lnTo>
                        <a:pt x="209" y="79"/>
                      </a:lnTo>
                      <a:lnTo>
                        <a:pt x="218" y="80"/>
                      </a:lnTo>
                      <a:lnTo>
                        <a:pt x="230" y="94"/>
                      </a:lnTo>
                      <a:lnTo>
                        <a:pt x="237" y="88"/>
                      </a:lnTo>
                      <a:lnTo>
                        <a:pt x="240" y="85"/>
                      </a:lnTo>
                      <a:lnTo>
                        <a:pt x="247" y="74"/>
                      </a:lnTo>
                      <a:lnTo>
                        <a:pt x="257" y="68"/>
                      </a:lnTo>
                      <a:lnTo>
                        <a:pt x="263" y="66"/>
                      </a:lnTo>
                      <a:lnTo>
                        <a:pt x="275" y="57"/>
                      </a:lnTo>
                      <a:lnTo>
                        <a:pt x="278" y="51"/>
                      </a:lnTo>
                      <a:lnTo>
                        <a:pt x="276" y="40"/>
                      </a:lnTo>
                      <a:lnTo>
                        <a:pt x="280" y="37"/>
                      </a:lnTo>
                      <a:lnTo>
                        <a:pt x="300" y="39"/>
                      </a:lnTo>
                      <a:lnTo>
                        <a:pt x="300" y="31"/>
                      </a:lnTo>
                      <a:lnTo>
                        <a:pt x="303" y="29"/>
                      </a:lnTo>
                      <a:lnTo>
                        <a:pt x="312" y="45"/>
                      </a:lnTo>
                      <a:lnTo>
                        <a:pt x="318" y="60"/>
                      </a:lnTo>
                      <a:lnTo>
                        <a:pt x="323" y="59"/>
                      </a:lnTo>
                      <a:lnTo>
                        <a:pt x="330" y="55"/>
                      </a:lnTo>
                      <a:lnTo>
                        <a:pt x="335" y="51"/>
                      </a:lnTo>
                      <a:lnTo>
                        <a:pt x="332" y="46"/>
                      </a:lnTo>
                      <a:lnTo>
                        <a:pt x="336" y="43"/>
                      </a:lnTo>
                      <a:lnTo>
                        <a:pt x="333" y="39"/>
                      </a:lnTo>
                      <a:lnTo>
                        <a:pt x="346" y="31"/>
                      </a:lnTo>
                      <a:lnTo>
                        <a:pt x="347" y="17"/>
                      </a:lnTo>
                      <a:lnTo>
                        <a:pt x="353" y="12"/>
                      </a:lnTo>
                      <a:lnTo>
                        <a:pt x="355" y="0"/>
                      </a:lnTo>
                      <a:lnTo>
                        <a:pt x="369" y="2"/>
                      </a:lnTo>
                      <a:lnTo>
                        <a:pt x="367" y="6"/>
                      </a:lnTo>
                      <a:lnTo>
                        <a:pt x="372" y="6"/>
                      </a:lnTo>
                      <a:lnTo>
                        <a:pt x="372" y="14"/>
                      </a:lnTo>
                      <a:lnTo>
                        <a:pt x="369" y="15"/>
                      </a:lnTo>
                      <a:lnTo>
                        <a:pt x="370" y="19"/>
                      </a:lnTo>
                      <a:lnTo>
                        <a:pt x="364" y="19"/>
                      </a:lnTo>
                      <a:lnTo>
                        <a:pt x="364" y="20"/>
                      </a:lnTo>
                      <a:lnTo>
                        <a:pt x="372" y="22"/>
                      </a:lnTo>
                      <a:lnTo>
                        <a:pt x="372" y="25"/>
                      </a:lnTo>
                      <a:lnTo>
                        <a:pt x="370" y="26"/>
                      </a:lnTo>
                      <a:lnTo>
                        <a:pt x="376" y="28"/>
                      </a:lnTo>
                      <a:lnTo>
                        <a:pt x="375" y="32"/>
                      </a:lnTo>
                      <a:lnTo>
                        <a:pt x="376" y="32"/>
                      </a:lnTo>
                      <a:lnTo>
                        <a:pt x="378" y="28"/>
                      </a:lnTo>
                      <a:lnTo>
                        <a:pt x="381" y="26"/>
                      </a:lnTo>
                      <a:lnTo>
                        <a:pt x="384" y="34"/>
                      </a:lnTo>
                      <a:lnTo>
                        <a:pt x="384" y="37"/>
                      </a:lnTo>
                      <a:lnTo>
                        <a:pt x="384" y="43"/>
                      </a:lnTo>
                      <a:lnTo>
                        <a:pt x="392" y="45"/>
                      </a:lnTo>
                      <a:lnTo>
                        <a:pt x="398" y="40"/>
                      </a:lnTo>
                      <a:lnTo>
                        <a:pt x="416" y="35"/>
                      </a:lnTo>
                      <a:lnTo>
                        <a:pt x="422" y="35"/>
                      </a:lnTo>
                      <a:lnTo>
                        <a:pt x="424" y="34"/>
                      </a:lnTo>
                      <a:lnTo>
                        <a:pt x="427" y="42"/>
                      </a:lnTo>
                      <a:lnTo>
                        <a:pt x="430" y="42"/>
                      </a:lnTo>
                      <a:lnTo>
                        <a:pt x="439" y="34"/>
                      </a:lnTo>
                      <a:lnTo>
                        <a:pt x="442" y="34"/>
                      </a:lnTo>
                      <a:lnTo>
                        <a:pt x="445" y="35"/>
                      </a:lnTo>
                      <a:lnTo>
                        <a:pt x="451" y="48"/>
                      </a:lnTo>
                      <a:lnTo>
                        <a:pt x="458" y="48"/>
                      </a:lnTo>
                      <a:lnTo>
                        <a:pt x="464" y="46"/>
                      </a:lnTo>
                      <a:lnTo>
                        <a:pt x="462" y="54"/>
                      </a:lnTo>
                      <a:lnTo>
                        <a:pt x="465" y="55"/>
                      </a:lnTo>
                      <a:lnTo>
                        <a:pt x="470" y="54"/>
                      </a:lnTo>
                      <a:lnTo>
                        <a:pt x="474" y="43"/>
                      </a:lnTo>
                      <a:lnTo>
                        <a:pt x="484" y="42"/>
                      </a:lnTo>
                      <a:lnTo>
                        <a:pt x="484" y="42"/>
                      </a:lnTo>
                      <a:lnTo>
                        <a:pt x="494" y="52"/>
                      </a:lnTo>
                      <a:lnTo>
                        <a:pt x="525" y="71"/>
                      </a:lnTo>
                      <a:lnTo>
                        <a:pt x="530" y="79"/>
                      </a:lnTo>
                      <a:lnTo>
                        <a:pt x="530" y="85"/>
                      </a:lnTo>
                      <a:lnTo>
                        <a:pt x="524" y="92"/>
                      </a:lnTo>
                      <a:lnTo>
                        <a:pt x="530" y="99"/>
                      </a:lnTo>
                      <a:lnTo>
                        <a:pt x="531" y="103"/>
                      </a:lnTo>
                      <a:lnTo>
                        <a:pt x="520" y="112"/>
                      </a:lnTo>
                      <a:lnTo>
                        <a:pt x="516" y="120"/>
                      </a:lnTo>
                      <a:lnTo>
                        <a:pt x="527" y="132"/>
                      </a:lnTo>
                      <a:lnTo>
                        <a:pt x="531" y="142"/>
                      </a:lnTo>
                      <a:lnTo>
                        <a:pt x="536" y="143"/>
                      </a:lnTo>
                      <a:lnTo>
                        <a:pt x="540" y="159"/>
                      </a:lnTo>
                      <a:lnTo>
                        <a:pt x="551" y="174"/>
                      </a:lnTo>
                      <a:lnTo>
                        <a:pt x="553" y="182"/>
                      </a:lnTo>
                      <a:lnTo>
                        <a:pt x="557" y="185"/>
                      </a:lnTo>
                      <a:lnTo>
                        <a:pt x="559" y="197"/>
                      </a:lnTo>
                      <a:lnTo>
                        <a:pt x="566" y="214"/>
                      </a:lnTo>
                      <a:lnTo>
                        <a:pt x="570" y="220"/>
                      </a:lnTo>
                      <a:lnTo>
                        <a:pt x="573" y="235"/>
                      </a:lnTo>
                      <a:lnTo>
                        <a:pt x="577" y="243"/>
                      </a:lnTo>
                      <a:lnTo>
                        <a:pt x="583" y="249"/>
                      </a:lnTo>
                      <a:lnTo>
                        <a:pt x="585" y="266"/>
                      </a:lnTo>
                      <a:lnTo>
                        <a:pt x="596" y="291"/>
                      </a:lnTo>
                      <a:lnTo>
                        <a:pt x="593" y="292"/>
                      </a:lnTo>
                      <a:lnTo>
                        <a:pt x="591" y="295"/>
                      </a:lnTo>
                      <a:lnTo>
                        <a:pt x="588" y="297"/>
                      </a:lnTo>
                      <a:lnTo>
                        <a:pt x="588" y="303"/>
                      </a:lnTo>
                      <a:lnTo>
                        <a:pt x="591" y="306"/>
                      </a:lnTo>
                      <a:lnTo>
                        <a:pt x="589" y="312"/>
                      </a:lnTo>
                      <a:lnTo>
                        <a:pt x="594" y="335"/>
                      </a:lnTo>
                      <a:lnTo>
                        <a:pt x="593" y="338"/>
                      </a:lnTo>
                      <a:lnTo>
                        <a:pt x="596" y="343"/>
                      </a:lnTo>
                      <a:lnTo>
                        <a:pt x="596" y="349"/>
                      </a:lnTo>
                      <a:lnTo>
                        <a:pt x="599" y="365"/>
                      </a:lnTo>
                      <a:lnTo>
                        <a:pt x="600" y="369"/>
                      </a:lnTo>
                      <a:lnTo>
                        <a:pt x="606" y="369"/>
                      </a:lnTo>
                      <a:lnTo>
                        <a:pt x="606" y="371"/>
                      </a:lnTo>
                      <a:lnTo>
                        <a:pt x="605" y="380"/>
                      </a:lnTo>
                      <a:lnTo>
                        <a:pt x="600" y="386"/>
                      </a:lnTo>
                      <a:lnTo>
                        <a:pt x="599" y="394"/>
                      </a:lnTo>
                      <a:lnTo>
                        <a:pt x="597" y="395"/>
                      </a:lnTo>
                      <a:lnTo>
                        <a:pt x="597" y="395"/>
                      </a:lnTo>
                      <a:lnTo>
                        <a:pt x="593" y="391"/>
                      </a:lnTo>
                      <a:lnTo>
                        <a:pt x="588" y="388"/>
                      </a:lnTo>
                      <a:lnTo>
                        <a:pt x="583" y="372"/>
                      </a:lnTo>
                      <a:lnTo>
                        <a:pt x="579" y="374"/>
                      </a:lnTo>
                      <a:lnTo>
                        <a:pt x="576" y="369"/>
                      </a:lnTo>
                      <a:lnTo>
                        <a:pt x="560" y="369"/>
                      </a:lnTo>
                      <a:lnTo>
                        <a:pt x="560" y="374"/>
                      </a:lnTo>
                      <a:lnTo>
                        <a:pt x="557" y="372"/>
                      </a:lnTo>
                      <a:lnTo>
                        <a:pt x="556" y="375"/>
                      </a:lnTo>
                      <a:lnTo>
                        <a:pt x="556" y="388"/>
                      </a:lnTo>
                      <a:lnTo>
                        <a:pt x="553" y="388"/>
                      </a:lnTo>
                      <a:lnTo>
                        <a:pt x="547" y="388"/>
                      </a:lnTo>
                      <a:lnTo>
                        <a:pt x="543" y="382"/>
                      </a:lnTo>
                      <a:lnTo>
                        <a:pt x="534" y="380"/>
                      </a:lnTo>
                      <a:lnTo>
                        <a:pt x="533" y="377"/>
                      </a:lnTo>
                      <a:lnTo>
                        <a:pt x="536" y="375"/>
                      </a:lnTo>
                      <a:lnTo>
                        <a:pt x="536" y="372"/>
                      </a:lnTo>
                      <a:lnTo>
                        <a:pt x="531" y="363"/>
                      </a:lnTo>
                      <a:lnTo>
                        <a:pt x="524" y="366"/>
                      </a:lnTo>
                      <a:lnTo>
                        <a:pt x="516" y="366"/>
                      </a:lnTo>
                      <a:lnTo>
                        <a:pt x="510" y="363"/>
                      </a:lnTo>
                      <a:lnTo>
                        <a:pt x="513" y="374"/>
                      </a:lnTo>
                      <a:lnTo>
                        <a:pt x="505" y="378"/>
                      </a:lnTo>
                      <a:lnTo>
                        <a:pt x="502" y="378"/>
                      </a:lnTo>
                      <a:lnTo>
                        <a:pt x="490" y="371"/>
                      </a:lnTo>
                      <a:lnTo>
                        <a:pt x="488" y="372"/>
                      </a:lnTo>
                      <a:lnTo>
                        <a:pt x="487" y="375"/>
                      </a:lnTo>
                      <a:lnTo>
                        <a:pt x="485" y="375"/>
                      </a:lnTo>
                      <a:lnTo>
                        <a:pt x="484" y="382"/>
                      </a:lnTo>
                      <a:lnTo>
                        <a:pt x="479" y="380"/>
                      </a:lnTo>
                      <a:lnTo>
                        <a:pt x="476" y="375"/>
                      </a:lnTo>
                      <a:lnTo>
                        <a:pt x="474" y="375"/>
                      </a:lnTo>
                      <a:lnTo>
                        <a:pt x="473" y="382"/>
                      </a:lnTo>
                      <a:lnTo>
                        <a:pt x="465" y="389"/>
                      </a:lnTo>
                      <a:lnTo>
                        <a:pt x="454" y="395"/>
                      </a:lnTo>
                      <a:lnTo>
                        <a:pt x="454" y="402"/>
                      </a:lnTo>
                      <a:lnTo>
                        <a:pt x="464" y="403"/>
                      </a:lnTo>
                      <a:lnTo>
                        <a:pt x="461" y="412"/>
                      </a:lnTo>
                      <a:lnTo>
                        <a:pt x="465" y="414"/>
                      </a:lnTo>
                      <a:lnTo>
                        <a:pt x="464" y="415"/>
                      </a:lnTo>
                      <a:lnTo>
                        <a:pt x="462" y="415"/>
                      </a:lnTo>
                      <a:lnTo>
                        <a:pt x="459" y="420"/>
                      </a:lnTo>
                      <a:lnTo>
                        <a:pt x="441" y="412"/>
                      </a:lnTo>
                      <a:lnTo>
                        <a:pt x="438" y="417"/>
                      </a:lnTo>
                      <a:lnTo>
                        <a:pt x="441" y="425"/>
                      </a:lnTo>
                      <a:lnTo>
                        <a:pt x="438" y="429"/>
                      </a:lnTo>
                      <a:lnTo>
                        <a:pt x="427" y="425"/>
                      </a:lnTo>
                      <a:lnTo>
                        <a:pt x="424" y="425"/>
                      </a:lnTo>
                      <a:lnTo>
                        <a:pt x="416" y="420"/>
                      </a:lnTo>
                      <a:lnTo>
                        <a:pt x="415" y="422"/>
                      </a:lnTo>
                      <a:lnTo>
                        <a:pt x="402" y="414"/>
                      </a:lnTo>
                      <a:lnTo>
                        <a:pt x="382" y="434"/>
                      </a:lnTo>
                      <a:lnTo>
                        <a:pt x="381" y="438"/>
                      </a:lnTo>
                      <a:lnTo>
                        <a:pt x="379" y="442"/>
                      </a:lnTo>
                      <a:lnTo>
                        <a:pt x="375" y="442"/>
                      </a:lnTo>
                      <a:lnTo>
                        <a:pt x="365" y="434"/>
                      </a:lnTo>
                      <a:lnTo>
                        <a:pt x="362" y="435"/>
                      </a:lnTo>
                      <a:lnTo>
                        <a:pt x="355" y="431"/>
                      </a:lnTo>
                      <a:lnTo>
                        <a:pt x="344" y="438"/>
                      </a:lnTo>
                      <a:lnTo>
                        <a:pt x="333" y="438"/>
                      </a:lnTo>
                      <a:lnTo>
                        <a:pt x="315" y="432"/>
                      </a:lnTo>
                      <a:lnTo>
                        <a:pt x="315" y="428"/>
                      </a:lnTo>
                      <a:lnTo>
                        <a:pt x="312" y="429"/>
                      </a:lnTo>
                      <a:lnTo>
                        <a:pt x="304" y="429"/>
                      </a:lnTo>
                      <a:lnTo>
                        <a:pt x="300" y="425"/>
                      </a:lnTo>
                      <a:lnTo>
                        <a:pt x="295" y="429"/>
                      </a:lnTo>
                      <a:lnTo>
                        <a:pt x="289" y="426"/>
                      </a:lnTo>
                      <a:lnTo>
                        <a:pt x="286" y="428"/>
                      </a:lnTo>
                      <a:lnTo>
                        <a:pt x="278" y="434"/>
                      </a:lnTo>
                      <a:lnTo>
                        <a:pt x="269" y="434"/>
                      </a:lnTo>
                      <a:lnTo>
                        <a:pt x="263" y="438"/>
                      </a:lnTo>
                      <a:lnTo>
                        <a:pt x="260" y="446"/>
                      </a:lnTo>
                      <a:lnTo>
                        <a:pt x="250" y="452"/>
                      </a:lnTo>
                      <a:lnTo>
                        <a:pt x="241" y="457"/>
                      </a:lnTo>
                      <a:lnTo>
                        <a:pt x="235" y="465"/>
                      </a:lnTo>
                      <a:lnTo>
                        <a:pt x="234" y="466"/>
                      </a:lnTo>
                      <a:lnTo>
                        <a:pt x="212" y="465"/>
                      </a:lnTo>
                      <a:lnTo>
                        <a:pt x="204" y="455"/>
                      </a:lnTo>
                      <a:lnTo>
                        <a:pt x="191" y="458"/>
                      </a:lnTo>
                      <a:lnTo>
                        <a:pt x="183" y="454"/>
                      </a:lnTo>
                      <a:lnTo>
                        <a:pt x="183" y="454"/>
                      </a:lnTo>
                      <a:lnTo>
                        <a:pt x="181" y="448"/>
                      </a:lnTo>
                      <a:lnTo>
                        <a:pt x="177" y="440"/>
                      </a:lnTo>
                      <a:lnTo>
                        <a:pt x="177" y="437"/>
                      </a:lnTo>
                      <a:lnTo>
                        <a:pt x="183" y="434"/>
                      </a:lnTo>
                      <a:lnTo>
                        <a:pt x="177" y="423"/>
                      </a:lnTo>
                      <a:lnTo>
                        <a:pt x="160" y="425"/>
                      </a:lnTo>
                      <a:lnTo>
                        <a:pt x="146" y="415"/>
                      </a:lnTo>
                      <a:lnTo>
                        <a:pt x="143" y="409"/>
                      </a:lnTo>
                      <a:lnTo>
                        <a:pt x="146" y="389"/>
                      </a:lnTo>
                      <a:lnTo>
                        <a:pt x="140" y="377"/>
                      </a:lnTo>
                      <a:lnTo>
                        <a:pt x="143" y="363"/>
                      </a:lnTo>
                      <a:lnTo>
                        <a:pt x="135" y="345"/>
                      </a:lnTo>
                      <a:lnTo>
                        <a:pt x="122" y="338"/>
                      </a:lnTo>
                      <a:lnTo>
                        <a:pt x="112" y="337"/>
                      </a:lnTo>
                      <a:lnTo>
                        <a:pt x="112" y="337"/>
                      </a:lnTo>
                      <a:lnTo>
                        <a:pt x="111" y="335"/>
                      </a:lnTo>
                      <a:lnTo>
                        <a:pt x="112" y="332"/>
                      </a:lnTo>
                      <a:lnTo>
                        <a:pt x="109" y="329"/>
                      </a:lnTo>
                      <a:lnTo>
                        <a:pt x="109" y="323"/>
                      </a:lnTo>
                      <a:lnTo>
                        <a:pt x="120" y="308"/>
                      </a:lnTo>
                      <a:lnTo>
                        <a:pt x="123" y="291"/>
                      </a:lnTo>
                      <a:lnTo>
                        <a:pt x="122" y="288"/>
                      </a:lnTo>
                      <a:lnTo>
                        <a:pt x="115" y="283"/>
                      </a:lnTo>
                      <a:lnTo>
                        <a:pt x="111" y="283"/>
                      </a:lnTo>
                      <a:lnTo>
                        <a:pt x="105" y="288"/>
                      </a:lnTo>
                      <a:lnTo>
                        <a:pt x="100" y="294"/>
                      </a:lnTo>
                      <a:lnTo>
                        <a:pt x="91" y="300"/>
                      </a:lnTo>
                      <a:lnTo>
                        <a:pt x="82" y="302"/>
                      </a:lnTo>
                      <a:lnTo>
                        <a:pt x="69" y="300"/>
                      </a:lnTo>
                      <a:lnTo>
                        <a:pt x="68" y="297"/>
                      </a:lnTo>
                      <a:lnTo>
                        <a:pt x="72" y="285"/>
                      </a:lnTo>
                      <a:lnTo>
                        <a:pt x="74" y="268"/>
                      </a:lnTo>
                      <a:lnTo>
                        <a:pt x="77" y="266"/>
                      </a:lnTo>
                      <a:lnTo>
                        <a:pt x="80" y="260"/>
                      </a:lnTo>
                      <a:lnTo>
                        <a:pt x="80" y="258"/>
                      </a:lnTo>
                      <a:lnTo>
                        <a:pt x="76" y="257"/>
                      </a:lnTo>
                      <a:lnTo>
                        <a:pt x="82" y="248"/>
                      </a:lnTo>
                      <a:lnTo>
                        <a:pt x="33" y="246"/>
                      </a:lnTo>
                      <a:lnTo>
                        <a:pt x="31" y="242"/>
                      </a:lnTo>
                      <a:lnTo>
                        <a:pt x="11" y="237"/>
                      </a:lnTo>
                      <a:lnTo>
                        <a:pt x="3" y="228"/>
                      </a:lnTo>
                      <a:lnTo>
                        <a:pt x="10" y="225"/>
                      </a:lnTo>
                      <a:lnTo>
                        <a:pt x="13" y="215"/>
                      </a:lnTo>
                      <a:lnTo>
                        <a:pt x="17" y="215"/>
                      </a:lnTo>
                      <a:lnTo>
                        <a:pt x="14" y="211"/>
                      </a:lnTo>
                      <a:lnTo>
                        <a:pt x="19" y="203"/>
                      </a:lnTo>
                      <a:lnTo>
                        <a:pt x="25" y="197"/>
                      </a:lnTo>
                      <a:lnTo>
                        <a:pt x="34" y="195"/>
                      </a:lnTo>
                      <a:lnTo>
                        <a:pt x="37" y="188"/>
                      </a:lnTo>
                      <a:lnTo>
                        <a:pt x="34" y="183"/>
                      </a:lnTo>
                      <a:lnTo>
                        <a:pt x="33" y="172"/>
                      </a:lnTo>
                      <a:lnTo>
                        <a:pt x="22" y="155"/>
                      </a:lnTo>
                      <a:lnTo>
                        <a:pt x="14" y="142"/>
                      </a:lnTo>
                      <a:lnTo>
                        <a:pt x="6" y="132"/>
                      </a:lnTo>
                      <a:lnTo>
                        <a:pt x="5" y="123"/>
                      </a:lnTo>
                      <a:lnTo>
                        <a:pt x="6" y="114"/>
                      </a:lnTo>
                      <a:lnTo>
                        <a:pt x="11" y="111"/>
                      </a:lnTo>
                      <a:lnTo>
                        <a:pt x="13" y="108"/>
                      </a:lnTo>
                      <a:lnTo>
                        <a:pt x="10" y="103"/>
                      </a:lnTo>
                      <a:lnTo>
                        <a:pt x="11" y="99"/>
                      </a:lnTo>
                      <a:lnTo>
                        <a:pt x="8" y="94"/>
                      </a:lnTo>
                      <a:lnTo>
                        <a:pt x="0" y="82"/>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79" name="Bihor" descr="{&quot;Key&quot;:&quot;bihor&quot;,&quot;Name&quot;:&quot;Bihor&quot;,&quot;Value&quot;:1.0,&quot;Formula&quot;:&quot;&quot;,&quot;Text&quot;:&quot;1&quot;,&quot;OfficeApplication&quot;:0,&quot;HasValue&quot;:true}">
                  <a:extLst>
                    <a:ext uri="{FF2B5EF4-FFF2-40B4-BE49-F238E27FC236}">
                      <a16:creationId xmlns:a16="http://schemas.microsoft.com/office/drawing/2014/main" id="{807E89BC-0A08-1317-1C15-52283749229C}"/>
                    </a:ext>
                  </a:extLst>
                </p:cNvPr>
                <p:cNvSpPr>
                  <a:spLocks/>
                </p:cNvSpPr>
                <p:nvPr/>
              </p:nvSpPr>
              <p:spPr bwMode="auto">
                <a:xfrm>
                  <a:off x="3849688" y="1939926"/>
                  <a:ext cx="877888" cy="1139825"/>
                </a:xfrm>
                <a:custGeom>
                  <a:avLst/>
                  <a:gdLst>
                    <a:gd name="T0" fmla="*/ 323 w 553"/>
                    <a:gd name="T1" fmla="*/ 23 h 718"/>
                    <a:gd name="T2" fmla="*/ 338 w 553"/>
                    <a:gd name="T3" fmla="*/ 40 h 718"/>
                    <a:gd name="T4" fmla="*/ 367 w 553"/>
                    <a:gd name="T5" fmla="*/ 71 h 718"/>
                    <a:gd name="T6" fmla="*/ 370 w 553"/>
                    <a:gd name="T7" fmla="*/ 107 h 718"/>
                    <a:gd name="T8" fmla="*/ 390 w 553"/>
                    <a:gd name="T9" fmla="*/ 106 h 718"/>
                    <a:gd name="T10" fmla="*/ 419 w 553"/>
                    <a:gd name="T11" fmla="*/ 103 h 718"/>
                    <a:gd name="T12" fmla="*/ 439 w 553"/>
                    <a:gd name="T13" fmla="*/ 124 h 718"/>
                    <a:gd name="T14" fmla="*/ 468 w 553"/>
                    <a:gd name="T15" fmla="*/ 154 h 718"/>
                    <a:gd name="T16" fmla="*/ 445 w 553"/>
                    <a:gd name="T17" fmla="*/ 206 h 718"/>
                    <a:gd name="T18" fmla="*/ 424 w 553"/>
                    <a:gd name="T19" fmla="*/ 250 h 718"/>
                    <a:gd name="T20" fmla="*/ 451 w 553"/>
                    <a:gd name="T21" fmla="*/ 287 h 718"/>
                    <a:gd name="T22" fmla="*/ 471 w 553"/>
                    <a:gd name="T23" fmla="*/ 318 h 718"/>
                    <a:gd name="T24" fmla="*/ 514 w 553"/>
                    <a:gd name="T25" fmla="*/ 332 h 718"/>
                    <a:gd name="T26" fmla="*/ 497 w 553"/>
                    <a:gd name="T27" fmla="*/ 375 h 718"/>
                    <a:gd name="T28" fmla="*/ 516 w 553"/>
                    <a:gd name="T29" fmla="*/ 464 h 718"/>
                    <a:gd name="T30" fmla="*/ 511 w 553"/>
                    <a:gd name="T31" fmla="*/ 498 h 718"/>
                    <a:gd name="T32" fmla="*/ 497 w 553"/>
                    <a:gd name="T33" fmla="*/ 549 h 718"/>
                    <a:gd name="T34" fmla="*/ 502 w 553"/>
                    <a:gd name="T35" fmla="*/ 561 h 718"/>
                    <a:gd name="T36" fmla="*/ 540 w 553"/>
                    <a:gd name="T37" fmla="*/ 575 h 718"/>
                    <a:gd name="T38" fmla="*/ 531 w 553"/>
                    <a:gd name="T39" fmla="*/ 603 h 718"/>
                    <a:gd name="T40" fmla="*/ 504 w 553"/>
                    <a:gd name="T41" fmla="*/ 615 h 718"/>
                    <a:gd name="T42" fmla="*/ 510 w 553"/>
                    <a:gd name="T43" fmla="*/ 623 h 718"/>
                    <a:gd name="T44" fmla="*/ 504 w 553"/>
                    <a:gd name="T45" fmla="*/ 675 h 718"/>
                    <a:gd name="T46" fmla="*/ 494 w 553"/>
                    <a:gd name="T47" fmla="*/ 715 h 718"/>
                    <a:gd name="T48" fmla="*/ 438 w 553"/>
                    <a:gd name="T49" fmla="*/ 703 h 718"/>
                    <a:gd name="T50" fmla="*/ 422 w 553"/>
                    <a:gd name="T51" fmla="*/ 713 h 718"/>
                    <a:gd name="T52" fmla="*/ 392 w 553"/>
                    <a:gd name="T53" fmla="*/ 700 h 718"/>
                    <a:gd name="T54" fmla="*/ 352 w 553"/>
                    <a:gd name="T55" fmla="*/ 657 h 718"/>
                    <a:gd name="T56" fmla="*/ 312 w 553"/>
                    <a:gd name="T57" fmla="*/ 650 h 718"/>
                    <a:gd name="T58" fmla="*/ 296 w 553"/>
                    <a:gd name="T59" fmla="*/ 595 h 718"/>
                    <a:gd name="T60" fmla="*/ 277 w 553"/>
                    <a:gd name="T61" fmla="*/ 587 h 718"/>
                    <a:gd name="T62" fmla="*/ 249 w 553"/>
                    <a:gd name="T63" fmla="*/ 567 h 718"/>
                    <a:gd name="T64" fmla="*/ 214 w 553"/>
                    <a:gd name="T65" fmla="*/ 577 h 718"/>
                    <a:gd name="T66" fmla="*/ 188 w 553"/>
                    <a:gd name="T67" fmla="*/ 549 h 718"/>
                    <a:gd name="T68" fmla="*/ 140 w 553"/>
                    <a:gd name="T69" fmla="*/ 557 h 718"/>
                    <a:gd name="T70" fmla="*/ 103 w 553"/>
                    <a:gd name="T71" fmla="*/ 552 h 718"/>
                    <a:gd name="T72" fmla="*/ 54 w 553"/>
                    <a:gd name="T73" fmla="*/ 567 h 718"/>
                    <a:gd name="T74" fmla="*/ 40 w 553"/>
                    <a:gd name="T75" fmla="*/ 566 h 718"/>
                    <a:gd name="T76" fmla="*/ 7 w 553"/>
                    <a:gd name="T77" fmla="*/ 558 h 718"/>
                    <a:gd name="T78" fmla="*/ 0 w 553"/>
                    <a:gd name="T79" fmla="*/ 538 h 718"/>
                    <a:gd name="T80" fmla="*/ 34 w 553"/>
                    <a:gd name="T81" fmla="*/ 524 h 718"/>
                    <a:gd name="T82" fmla="*/ 25 w 553"/>
                    <a:gd name="T83" fmla="*/ 487 h 718"/>
                    <a:gd name="T84" fmla="*/ 43 w 553"/>
                    <a:gd name="T85" fmla="*/ 446 h 718"/>
                    <a:gd name="T86" fmla="*/ 71 w 553"/>
                    <a:gd name="T87" fmla="*/ 412 h 718"/>
                    <a:gd name="T88" fmla="*/ 97 w 553"/>
                    <a:gd name="T89" fmla="*/ 384 h 718"/>
                    <a:gd name="T90" fmla="*/ 103 w 553"/>
                    <a:gd name="T91" fmla="*/ 357 h 718"/>
                    <a:gd name="T92" fmla="*/ 103 w 553"/>
                    <a:gd name="T93" fmla="*/ 324 h 718"/>
                    <a:gd name="T94" fmla="*/ 134 w 553"/>
                    <a:gd name="T95" fmla="*/ 294 h 718"/>
                    <a:gd name="T96" fmla="*/ 160 w 553"/>
                    <a:gd name="T97" fmla="*/ 252 h 718"/>
                    <a:gd name="T98" fmla="*/ 175 w 553"/>
                    <a:gd name="T99" fmla="*/ 203 h 718"/>
                    <a:gd name="T100" fmla="*/ 195 w 553"/>
                    <a:gd name="T101" fmla="*/ 158 h 718"/>
                    <a:gd name="T102" fmla="*/ 220 w 553"/>
                    <a:gd name="T103" fmla="*/ 135 h 718"/>
                    <a:gd name="T104" fmla="*/ 237 w 553"/>
                    <a:gd name="T105" fmla="*/ 98 h 718"/>
                    <a:gd name="T106" fmla="*/ 246 w 553"/>
                    <a:gd name="T107" fmla="*/ 41 h 718"/>
                    <a:gd name="T108" fmla="*/ 263 w 553"/>
                    <a:gd name="T109" fmla="*/ 31 h 718"/>
                    <a:gd name="T110" fmla="*/ 301 w 553"/>
                    <a:gd name="T111"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3" h="718">
                      <a:moveTo>
                        <a:pt x="301" y="0"/>
                      </a:moveTo>
                      <a:lnTo>
                        <a:pt x="306" y="3"/>
                      </a:lnTo>
                      <a:lnTo>
                        <a:pt x="316" y="6"/>
                      </a:lnTo>
                      <a:lnTo>
                        <a:pt x="320" y="20"/>
                      </a:lnTo>
                      <a:lnTo>
                        <a:pt x="324" y="20"/>
                      </a:lnTo>
                      <a:lnTo>
                        <a:pt x="323" y="23"/>
                      </a:lnTo>
                      <a:lnTo>
                        <a:pt x="327" y="26"/>
                      </a:lnTo>
                      <a:lnTo>
                        <a:pt x="332" y="26"/>
                      </a:lnTo>
                      <a:lnTo>
                        <a:pt x="330" y="31"/>
                      </a:lnTo>
                      <a:lnTo>
                        <a:pt x="332" y="34"/>
                      </a:lnTo>
                      <a:lnTo>
                        <a:pt x="329" y="41"/>
                      </a:lnTo>
                      <a:lnTo>
                        <a:pt x="338" y="40"/>
                      </a:lnTo>
                      <a:lnTo>
                        <a:pt x="343" y="41"/>
                      </a:lnTo>
                      <a:lnTo>
                        <a:pt x="346" y="52"/>
                      </a:lnTo>
                      <a:lnTo>
                        <a:pt x="343" y="55"/>
                      </a:lnTo>
                      <a:lnTo>
                        <a:pt x="343" y="60"/>
                      </a:lnTo>
                      <a:lnTo>
                        <a:pt x="358" y="64"/>
                      </a:lnTo>
                      <a:lnTo>
                        <a:pt x="367" y="71"/>
                      </a:lnTo>
                      <a:lnTo>
                        <a:pt x="361" y="77"/>
                      </a:lnTo>
                      <a:lnTo>
                        <a:pt x="362" y="78"/>
                      </a:lnTo>
                      <a:lnTo>
                        <a:pt x="364" y="91"/>
                      </a:lnTo>
                      <a:lnTo>
                        <a:pt x="367" y="101"/>
                      </a:lnTo>
                      <a:lnTo>
                        <a:pt x="369" y="100"/>
                      </a:lnTo>
                      <a:lnTo>
                        <a:pt x="370" y="107"/>
                      </a:lnTo>
                      <a:lnTo>
                        <a:pt x="376" y="104"/>
                      </a:lnTo>
                      <a:lnTo>
                        <a:pt x="378" y="106"/>
                      </a:lnTo>
                      <a:lnTo>
                        <a:pt x="381" y="104"/>
                      </a:lnTo>
                      <a:lnTo>
                        <a:pt x="384" y="106"/>
                      </a:lnTo>
                      <a:lnTo>
                        <a:pt x="390" y="103"/>
                      </a:lnTo>
                      <a:lnTo>
                        <a:pt x="390" y="106"/>
                      </a:lnTo>
                      <a:lnTo>
                        <a:pt x="393" y="106"/>
                      </a:lnTo>
                      <a:lnTo>
                        <a:pt x="399" y="111"/>
                      </a:lnTo>
                      <a:lnTo>
                        <a:pt x="404" y="107"/>
                      </a:lnTo>
                      <a:lnTo>
                        <a:pt x="408" y="106"/>
                      </a:lnTo>
                      <a:lnTo>
                        <a:pt x="416" y="101"/>
                      </a:lnTo>
                      <a:lnTo>
                        <a:pt x="419" y="103"/>
                      </a:lnTo>
                      <a:lnTo>
                        <a:pt x="433" y="109"/>
                      </a:lnTo>
                      <a:lnTo>
                        <a:pt x="433" y="114"/>
                      </a:lnTo>
                      <a:lnTo>
                        <a:pt x="435" y="115"/>
                      </a:lnTo>
                      <a:lnTo>
                        <a:pt x="435" y="120"/>
                      </a:lnTo>
                      <a:lnTo>
                        <a:pt x="436" y="120"/>
                      </a:lnTo>
                      <a:lnTo>
                        <a:pt x="439" y="124"/>
                      </a:lnTo>
                      <a:lnTo>
                        <a:pt x="447" y="123"/>
                      </a:lnTo>
                      <a:lnTo>
                        <a:pt x="450" y="126"/>
                      </a:lnTo>
                      <a:lnTo>
                        <a:pt x="455" y="140"/>
                      </a:lnTo>
                      <a:lnTo>
                        <a:pt x="465" y="154"/>
                      </a:lnTo>
                      <a:lnTo>
                        <a:pt x="468" y="154"/>
                      </a:lnTo>
                      <a:lnTo>
                        <a:pt x="468" y="154"/>
                      </a:lnTo>
                      <a:lnTo>
                        <a:pt x="470" y="161"/>
                      </a:lnTo>
                      <a:lnTo>
                        <a:pt x="468" y="164"/>
                      </a:lnTo>
                      <a:lnTo>
                        <a:pt x="459" y="171"/>
                      </a:lnTo>
                      <a:lnTo>
                        <a:pt x="447" y="174"/>
                      </a:lnTo>
                      <a:lnTo>
                        <a:pt x="444" y="184"/>
                      </a:lnTo>
                      <a:lnTo>
                        <a:pt x="445" y="206"/>
                      </a:lnTo>
                      <a:lnTo>
                        <a:pt x="444" y="218"/>
                      </a:lnTo>
                      <a:lnTo>
                        <a:pt x="442" y="220"/>
                      </a:lnTo>
                      <a:lnTo>
                        <a:pt x="435" y="224"/>
                      </a:lnTo>
                      <a:lnTo>
                        <a:pt x="430" y="232"/>
                      </a:lnTo>
                      <a:lnTo>
                        <a:pt x="432" y="244"/>
                      </a:lnTo>
                      <a:lnTo>
                        <a:pt x="424" y="250"/>
                      </a:lnTo>
                      <a:lnTo>
                        <a:pt x="428" y="257"/>
                      </a:lnTo>
                      <a:lnTo>
                        <a:pt x="438" y="258"/>
                      </a:lnTo>
                      <a:lnTo>
                        <a:pt x="441" y="266"/>
                      </a:lnTo>
                      <a:lnTo>
                        <a:pt x="441" y="274"/>
                      </a:lnTo>
                      <a:lnTo>
                        <a:pt x="451" y="284"/>
                      </a:lnTo>
                      <a:lnTo>
                        <a:pt x="451" y="287"/>
                      </a:lnTo>
                      <a:lnTo>
                        <a:pt x="447" y="292"/>
                      </a:lnTo>
                      <a:lnTo>
                        <a:pt x="451" y="301"/>
                      </a:lnTo>
                      <a:lnTo>
                        <a:pt x="451" y="306"/>
                      </a:lnTo>
                      <a:lnTo>
                        <a:pt x="456" y="312"/>
                      </a:lnTo>
                      <a:lnTo>
                        <a:pt x="468" y="309"/>
                      </a:lnTo>
                      <a:lnTo>
                        <a:pt x="471" y="318"/>
                      </a:lnTo>
                      <a:lnTo>
                        <a:pt x="479" y="326"/>
                      </a:lnTo>
                      <a:lnTo>
                        <a:pt x="499" y="327"/>
                      </a:lnTo>
                      <a:lnTo>
                        <a:pt x="502" y="330"/>
                      </a:lnTo>
                      <a:lnTo>
                        <a:pt x="504" y="335"/>
                      </a:lnTo>
                      <a:lnTo>
                        <a:pt x="511" y="332"/>
                      </a:lnTo>
                      <a:lnTo>
                        <a:pt x="514" y="332"/>
                      </a:lnTo>
                      <a:lnTo>
                        <a:pt x="514" y="354"/>
                      </a:lnTo>
                      <a:lnTo>
                        <a:pt x="514" y="354"/>
                      </a:lnTo>
                      <a:lnTo>
                        <a:pt x="513" y="360"/>
                      </a:lnTo>
                      <a:lnTo>
                        <a:pt x="507" y="364"/>
                      </a:lnTo>
                      <a:lnTo>
                        <a:pt x="505" y="370"/>
                      </a:lnTo>
                      <a:lnTo>
                        <a:pt x="497" y="375"/>
                      </a:lnTo>
                      <a:lnTo>
                        <a:pt x="497" y="392"/>
                      </a:lnTo>
                      <a:lnTo>
                        <a:pt x="505" y="394"/>
                      </a:lnTo>
                      <a:lnTo>
                        <a:pt x="516" y="404"/>
                      </a:lnTo>
                      <a:lnTo>
                        <a:pt x="537" y="418"/>
                      </a:lnTo>
                      <a:lnTo>
                        <a:pt x="517" y="455"/>
                      </a:lnTo>
                      <a:lnTo>
                        <a:pt x="516" y="464"/>
                      </a:lnTo>
                      <a:lnTo>
                        <a:pt x="493" y="474"/>
                      </a:lnTo>
                      <a:lnTo>
                        <a:pt x="491" y="478"/>
                      </a:lnTo>
                      <a:lnTo>
                        <a:pt x="488" y="487"/>
                      </a:lnTo>
                      <a:lnTo>
                        <a:pt x="494" y="494"/>
                      </a:lnTo>
                      <a:lnTo>
                        <a:pt x="504" y="494"/>
                      </a:lnTo>
                      <a:lnTo>
                        <a:pt x="511" y="498"/>
                      </a:lnTo>
                      <a:lnTo>
                        <a:pt x="508" y="509"/>
                      </a:lnTo>
                      <a:lnTo>
                        <a:pt x="519" y="520"/>
                      </a:lnTo>
                      <a:lnTo>
                        <a:pt x="525" y="537"/>
                      </a:lnTo>
                      <a:lnTo>
                        <a:pt x="513" y="549"/>
                      </a:lnTo>
                      <a:lnTo>
                        <a:pt x="499" y="544"/>
                      </a:lnTo>
                      <a:lnTo>
                        <a:pt x="497" y="549"/>
                      </a:lnTo>
                      <a:lnTo>
                        <a:pt x="485" y="550"/>
                      </a:lnTo>
                      <a:lnTo>
                        <a:pt x="485" y="552"/>
                      </a:lnTo>
                      <a:lnTo>
                        <a:pt x="490" y="555"/>
                      </a:lnTo>
                      <a:lnTo>
                        <a:pt x="491" y="561"/>
                      </a:lnTo>
                      <a:lnTo>
                        <a:pt x="497" y="563"/>
                      </a:lnTo>
                      <a:lnTo>
                        <a:pt x="502" y="561"/>
                      </a:lnTo>
                      <a:lnTo>
                        <a:pt x="511" y="554"/>
                      </a:lnTo>
                      <a:lnTo>
                        <a:pt x="514" y="554"/>
                      </a:lnTo>
                      <a:lnTo>
                        <a:pt x="519" y="557"/>
                      </a:lnTo>
                      <a:lnTo>
                        <a:pt x="524" y="555"/>
                      </a:lnTo>
                      <a:lnTo>
                        <a:pt x="539" y="566"/>
                      </a:lnTo>
                      <a:lnTo>
                        <a:pt x="540" y="575"/>
                      </a:lnTo>
                      <a:lnTo>
                        <a:pt x="548" y="572"/>
                      </a:lnTo>
                      <a:lnTo>
                        <a:pt x="553" y="589"/>
                      </a:lnTo>
                      <a:lnTo>
                        <a:pt x="548" y="610"/>
                      </a:lnTo>
                      <a:lnTo>
                        <a:pt x="548" y="610"/>
                      </a:lnTo>
                      <a:lnTo>
                        <a:pt x="545" y="607"/>
                      </a:lnTo>
                      <a:lnTo>
                        <a:pt x="531" y="603"/>
                      </a:lnTo>
                      <a:lnTo>
                        <a:pt x="525" y="598"/>
                      </a:lnTo>
                      <a:lnTo>
                        <a:pt x="524" y="594"/>
                      </a:lnTo>
                      <a:lnTo>
                        <a:pt x="516" y="597"/>
                      </a:lnTo>
                      <a:lnTo>
                        <a:pt x="511" y="601"/>
                      </a:lnTo>
                      <a:lnTo>
                        <a:pt x="504" y="607"/>
                      </a:lnTo>
                      <a:lnTo>
                        <a:pt x="504" y="615"/>
                      </a:lnTo>
                      <a:lnTo>
                        <a:pt x="508" y="618"/>
                      </a:lnTo>
                      <a:lnTo>
                        <a:pt x="511" y="618"/>
                      </a:lnTo>
                      <a:lnTo>
                        <a:pt x="514" y="621"/>
                      </a:lnTo>
                      <a:lnTo>
                        <a:pt x="514" y="626"/>
                      </a:lnTo>
                      <a:lnTo>
                        <a:pt x="511" y="623"/>
                      </a:lnTo>
                      <a:lnTo>
                        <a:pt x="510" y="623"/>
                      </a:lnTo>
                      <a:lnTo>
                        <a:pt x="496" y="635"/>
                      </a:lnTo>
                      <a:lnTo>
                        <a:pt x="496" y="646"/>
                      </a:lnTo>
                      <a:lnTo>
                        <a:pt x="497" y="650"/>
                      </a:lnTo>
                      <a:lnTo>
                        <a:pt x="496" y="653"/>
                      </a:lnTo>
                      <a:lnTo>
                        <a:pt x="494" y="657"/>
                      </a:lnTo>
                      <a:lnTo>
                        <a:pt x="504" y="675"/>
                      </a:lnTo>
                      <a:lnTo>
                        <a:pt x="501" y="680"/>
                      </a:lnTo>
                      <a:lnTo>
                        <a:pt x="494" y="687"/>
                      </a:lnTo>
                      <a:lnTo>
                        <a:pt x="497" y="706"/>
                      </a:lnTo>
                      <a:lnTo>
                        <a:pt x="501" y="715"/>
                      </a:lnTo>
                      <a:lnTo>
                        <a:pt x="501" y="715"/>
                      </a:lnTo>
                      <a:lnTo>
                        <a:pt x="494" y="715"/>
                      </a:lnTo>
                      <a:lnTo>
                        <a:pt x="491" y="717"/>
                      </a:lnTo>
                      <a:lnTo>
                        <a:pt x="485" y="710"/>
                      </a:lnTo>
                      <a:lnTo>
                        <a:pt x="479" y="710"/>
                      </a:lnTo>
                      <a:lnTo>
                        <a:pt x="453" y="707"/>
                      </a:lnTo>
                      <a:lnTo>
                        <a:pt x="448" y="709"/>
                      </a:lnTo>
                      <a:lnTo>
                        <a:pt x="438" y="703"/>
                      </a:lnTo>
                      <a:lnTo>
                        <a:pt x="433" y="704"/>
                      </a:lnTo>
                      <a:lnTo>
                        <a:pt x="430" y="701"/>
                      </a:lnTo>
                      <a:lnTo>
                        <a:pt x="428" y="704"/>
                      </a:lnTo>
                      <a:lnTo>
                        <a:pt x="427" y="713"/>
                      </a:lnTo>
                      <a:lnTo>
                        <a:pt x="425" y="715"/>
                      </a:lnTo>
                      <a:lnTo>
                        <a:pt x="422" y="713"/>
                      </a:lnTo>
                      <a:lnTo>
                        <a:pt x="421" y="718"/>
                      </a:lnTo>
                      <a:lnTo>
                        <a:pt x="415" y="709"/>
                      </a:lnTo>
                      <a:lnTo>
                        <a:pt x="402" y="707"/>
                      </a:lnTo>
                      <a:lnTo>
                        <a:pt x="399" y="709"/>
                      </a:lnTo>
                      <a:lnTo>
                        <a:pt x="392" y="703"/>
                      </a:lnTo>
                      <a:lnTo>
                        <a:pt x="392" y="700"/>
                      </a:lnTo>
                      <a:lnTo>
                        <a:pt x="384" y="693"/>
                      </a:lnTo>
                      <a:lnTo>
                        <a:pt x="382" y="690"/>
                      </a:lnTo>
                      <a:lnTo>
                        <a:pt x="376" y="683"/>
                      </a:lnTo>
                      <a:lnTo>
                        <a:pt x="373" y="661"/>
                      </a:lnTo>
                      <a:lnTo>
                        <a:pt x="369" y="658"/>
                      </a:lnTo>
                      <a:lnTo>
                        <a:pt x="352" y="657"/>
                      </a:lnTo>
                      <a:lnTo>
                        <a:pt x="332" y="657"/>
                      </a:lnTo>
                      <a:lnTo>
                        <a:pt x="327" y="652"/>
                      </a:lnTo>
                      <a:lnTo>
                        <a:pt x="323" y="650"/>
                      </a:lnTo>
                      <a:lnTo>
                        <a:pt x="316" y="652"/>
                      </a:lnTo>
                      <a:lnTo>
                        <a:pt x="315" y="655"/>
                      </a:lnTo>
                      <a:lnTo>
                        <a:pt x="312" y="650"/>
                      </a:lnTo>
                      <a:lnTo>
                        <a:pt x="307" y="638"/>
                      </a:lnTo>
                      <a:lnTo>
                        <a:pt x="300" y="629"/>
                      </a:lnTo>
                      <a:lnTo>
                        <a:pt x="298" y="618"/>
                      </a:lnTo>
                      <a:lnTo>
                        <a:pt x="293" y="606"/>
                      </a:lnTo>
                      <a:lnTo>
                        <a:pt x="293" y="600"/>
                      </a:lnTo>
                      <a:lnTo>
                        <a:pt x="296" y="595"/>
                      </a:lnTo>
                      <a:lnTo>
                        <a:pt x="296" y="590"/>
                      </a:lnTo>
                      <a:lnTo>
                        <a:pt x="295" y="587"/>
                      </a:lnTo>
                      <a:lnTo>
                        <a:pt x="292" y="586"/>
                      </a:lnTo>
                      <a:lnTo>
                        <a:pt x="284" y="587"/>
                      </a:lnTo>
                      <a:lnTo>
                        <a:pt x="281" y="586"/>
                      </a:lnTo>
                      <a:lnTo>
                        <a:pt x="277" y="587"/>
                      </a:lnTo>
                      <a:lnTo>
                        <a:pt x="273" y="587"/>
                      </a:lnTo>
                      <a:lnTo>
                        <a:pt x="272" y="580"/>
                      </a:lnTo>
                      <a:lnTo>
                        <a:pt x="266" y="581"/>
                      </a:lnTo>
                      <a:lnTo>
                        <a:pt x="263" y="575"/>
                      </a:lnTo>
                      <a:lnTo>
                        <a:pt x="249" y="574"/>
                      </a:lnTo>
                      <a:lnTo>
                        <a:pt x="249" y="567"/>
                      </a:lnTo>
                      <a:lnTo>
                        <a:pt x="246" y="567"/>
                      </a:lnTo>
                      <a:lnTo>
                        <a:pt x="244" y="566"/>
                      </a:lnTo>
                      <a:lnTo>
                        <a:pt x="243" y="566"/>
                      </a:lnTo>
                      <a:lnTo>
                        <a:pt x="237" y="558"/>
                      </a:lnTo>
                      <a:lnTo>
                        <a:pt x="227" y="575"/>
                      </a:lnTo>
                      <a:lnTo>
                        <a:pt x="214" y="577"/>
                      </a:lnTo>
                      <a:lnTo>
                        <a:pt x="209" y="580"/>
                      </a:lnTo>
                      <a:lnTo>
                        <a:pt x="194" y="575"/>
                      </a:lnTo>
                      <a:lnTo>
                        <a:pt x="189" y="572"/>
                      </a:lnTo>
                      <a:lnTo>
                        <a:pt x="181" y="570"/>
                      </a:lnTo>
                      <a:lnTo>
                        <a:pt x="192" y="554"/>
                      </a:lnTo>
                      <a:lnTo>
                        <a:pt x="188" y="549"/>
                      </a:lnTo>
                      <a:lnTo>
                        <a:pt x="178" y="543"/>
                      </a:lnTo>
                      <a:lnTo>
                        <a:pt x="175" y="543"/>
                      </a:lnTo>
                      <a:lnTo>
                        <a:pt x="171" y="550"/>
                      </a:lnTo>
                      <a:lnTo>
                        <a:pt x="157" y="554"/>
                      </a:lnTo>
                      <a:lnTo>
                        <a:pt x="146" y="557"/>
                      </a:lnTo>
                      <a:lnTo>
                        <a:pt x="140" y="557"/>
                      </a:lnTo>
                      <a:lnTo>
                        <a:pt x="131" y="552"/>
                      </a:lnTo>
                      <a:lnTo>
                        <a:pt x="119" y="555"/>
                      </a:lnTo>
                      <a:lnTo>
                        <a:pt x="115" y="558"/>
                      </a:lnTo>
                      <a:lnTo>
                        <a:pt x="112" y="555"/>
                      </a:lnTo>
                      <a:lnTo>
                        <a:pt x="108" y="555"/>
                      </a:lnTo>
                      <a:lnTo>
                        <a:pt x="103" y="552"/>
                      </a:lnTo>
                      <a:lnTo>
                        <a:pt x="86" y="552"/>
                      </a:lnTo>
                      <a:lnTo>
                        <a:pt x="80" y="561"/>
                      </a:lnTo>
                      <a:lnTo>
                        <a:pt x="77" y="563"/>
                      </a:lnTo>
                      <a:lnTo>
                        <a:pt x="72" y="564"/>
                      </a:lnTo>
                      <a:lnTo>
                        <a:pt x="57" y="561"/>
                      </a:lnTo>
                      <a:lnTo>
                        <a:pt x="54" y="567"/>
                      </a:lnTo>
                      <a:lnTo>
                        <a:pt x="54" y="572"/>
                      </a:lnTo>
                      <a:lnTo>
                        <a:pt x="54" y="574"/>
                      </a:lnTo>
                      <a:lnTo>
                        <a:pt x="49" y="569"/>
                      </a:lnTo>
                      <a:lnTo>
                        <a:pt x="45" y="574"/>
                      </a:lnTo>
                      <a:lnTo>
                        <a:pt x="40" y="570"/>
                      </a:lnTo>
                      <a:lnTo>
                        <a:pt x="40" y="566"/>
                      </a:lnTo>
                      <a:lnTo>
                        <a:pt x="36" y="569"/>
                      </a:lnTo>
                      <a:lnTo>
                        <a:pt x="34" y="569"/>
                      </a:lnTo>
                      <a:lnTo>
                        <a:pt x="33" y="557"/>
                      </a:lnTo>
                      <a:lnTo>
                        <a:pt x="26" y="557"/>
                      </a:lnTo>
                      <a:lnTo>
                        <a:pt x="20" y="560"/>
                      </a:lnTo>
                      <a:lnTo>
                        <a:pt x="7" y="558"/>
                      </a:lnTo>
                      <a:lnTo>
                        <a:pt x="7" y="558"/>
                      </a:lnTo>
                      <a:lnTo>
                        <a:pt x="10" y="555"/>
                      </a:lnTo>
                      <a:lnTo>
                        <a:pt x="11" y="550"/>
                      </a:lnTo>
                      <a:lnTo>
                        <a:pt x="7" y="549"/>
                      </a:lnTo>
                      <a:lnTo>
                        <a:pt x="5" y="547"/>
                      </a:lnTo>
                      <a:lnTo>
                        <a:pt x="0" y="538"/>
                      </a:lnTo>
                      <a:lnTo>
                        <a:pt x="2" y="535"/>
                      </a:lnTo>
                      <a:lnTo>
                        <a:pt x="10" y="538"/>
                      </a:lnTo>
                      <a:lnTo>
                        <a:pt x="17" y="534"/>
                      </a:lnTo>
                      <a:lnTo>
                        <a:pt x="26" y="540"/>
                      </a:lnTo>
                      <a:lnTo>
                        <a:pt x="31" y="532"/>
                      </a:lnTo>
                      <a:lnTo>
                        <a:pt x="34" y="524"/>
                      </a:lnTo>
                      <a:lnTo>
                        <a:pt x="40" y="520"/>
                      </a:lnTo>
                      <a:lnTo>
                        <a:pt x="39" y="509"/>
                      </a:lnTo>
                      <a:lnTo>
                        <a:pt x="25" y="497"/>
                      </a:lnTo>
                      <a:lnTo>
                        <a:pt x="23" y="497"/>
                      </a:lnTo>
                      <a:lnTo>
                        <a:pt x="22" y="492"/>
                      </a:lnTo>
                      <a:lnTo>
                        <a:pt x="25" y="487"/>
                      </a:lnTo>
                      <a:lnTo>
                        <a:pt x="33" y="483"/>
                      </a:lnTo>
                      <a:lnTo>
                        <a:pt x="37" y="472"/>
                      </a:lnTo>
                      <a:lnTo>
                        <a:pt x="37" y="467"/>
                      </a:lnTo>
                      <a:lnTo>
                        <a:pt x="37" y="452"/>
                      </a:lnTo>
                      <a:lnTo>
                        <a:pt x="42" y="449"/>
                      </a:lnTo>
                      <a:lnTo>
                        <a:pt x="43" y="446"/>
                      </a:lnTo>
                      <a:lnTo>
                        <a:pt x="51" y="443"/>
                      </a:lnTo>
                      <a:lnTo>
                        <a:pt x="66" y="438"/>
                      </a:lnTo>
                      <a:lnTo>
                        <a:pt x="69" y="435"/>
                      </a:lnTo>
                      <a:lnTo>
                        <a:pt x="69" y="424"/>
                      </a:lnTo>
                      <a:lnTo>
                        <a:pt x="74" y="423"/>
                      </a:lnTo>
                      <a:lnTo>
                        <a:pt x="71" y="412"/>
                      </a:lnTo>
                      <a:lnTo>
                        <a:pt x="68" y="409"/>
                      </a:lnTo>
                      <a:lnTo>
                        <a:pt x="68" y="398"/>
                      </a:lnTo>
                      <a:lnTo>
                        <a:pt x="71" y="397"/>
                      </a:lnTo>
                      <a:lnTo>
                        <a:pt x="83" y="395"/>
                      </a:lnTo>
                      <a:lnTo>
                        <a:pt x="91" y="383"/>
                      </a:lnTo>
                      <a:lnTo>
                        <a:pt x="97" y="384"/>
                      </a:lnTo>
                      <a:lnTo>
                        <a:pt x="100" y="378"/>
                      </a:lnTo>
                      <a:lnTo>
                        <a:pt x="100" y="375"/>
                      </a:lnTo>
                      <a:lnTo>
                        <a:pt x="95" y="374"/>
                      </a:lnTo>
                      <a:lnTo>
                        <a:pt x="99" y="364"/>
                      </a:lnTo>
                      <a:lnTo>
                        <a:pt x="99" y="358"/>
                      </a:lnTo>
                      <a:lnTo>
                        <a:pt x="103" y="357"/>
                      </a:lnTo>
                      <a:lnTo>
                        <a:pt x="100" y="352"/>
                      </a:lnTo>
                      <a:lnTo>
                        <a:pt x="99" y="346"/>
                      </a:lnTo>
                      <a:lnTo>
                        <a:pt x="92" y="344"/>
                      </a:lnTo>
                      <a:lnTo>
                        <a:pt x="88" y="334"/>
                      </a:lnTo>
                      <a:lnTo>
                        <a:pt x="100" y="330"/>
                      </a:lnTo>
                      <a:lnTo>
                        <a:pt x="103" y="324"/>
                      </a:lnTo>
                      <a:lnTo>
                        <a:pt x="109" y="320"/>
                      </a:lnTo>
                      <a:lnTo>
                        <a:pt x="109" y="317"/>
                      </a:lnTo>
                      <a:lnTo>
                        <a:pt x="114" y="314"/>
                      </a:lnTo>
                      <a:lnTo>
                        <a:pt x="114" y="306"/>
                      </a:lnTo>
                      <a:lnTo>
                        <a:pt x="119" y="300"/>
                      </a:lnTo>
                      <a:lnTo>
                        <a:pt x="134" y="294"/>
                      </a:lnTo>
                      <a:lnTo>
                        <a:pt x="145" y="294"/>
                      </a:lnTo>
                      <a:lnTo>
                        <a:pt x="143" y="292"/>
                      </a:lnTo>
                      <a:lnTo>
                        <a:pt x="145" y="284"/>
                      </a:lnTo>
                      <a:lnTo>
                        <a:pt x="148" y="281"/>
                      </a:lnTo>
                      <a:lnTo>
                        <a:pt x="154" y="257"/>
                      </a:lnTo>
                      <a:lnTo>
                        <a:pt x="160" y="252"/>
                      </a:lnTo>
                      <a:lnTo>
                        <a:pt x="163" y="252"/>
                      </a:lnTo>
                      <a:lnTo>
                        <a:pt x="171" y="247"/>
                      </a:lnTo>
                      <a:lnTo>
                        <a:pt x="171" y="229"/>
                      </a:lnTo>
                      <a:lnTo>
                        <a:pt x="166" y="226"/>
                      </a:lnTo>
                      <a:lnTo>
                        <a:pt x="168" y="218"/>
                      </a:lnTo>
                      <a:lnTo>
                        <a:pt x="175" y="203"/>
                      </a:lnTo>
                      <a:lnTo>
                        <a:pt x="180" y="201"/>
                      </a:lnTo>
                      <a:lnTo>
                        <a:pt x="183" y="197"/>
                      </a:lnTo>
                      <a:lnTo>
                        <a:pt x="178" y="189"/>
                      </a:lnTo>
                      <a:lnTo>
                        <a:pt x="181" y="187"/>
                      </a:lnTo>
                      <a:lnTo>
                        <a:pt x="186" y="172"/>
                      </a:lnTo>
                      <a:lnTo>
                        <a:pt x="195" y="158"/>
                      </a:lnTo>
                      <a:lnTo>
                        <a:pt x="197" y="151"/>
                      </a:lnTo>
                      <a:lnTo>
                        <a:pt x="201" y="144"/>
                      </a:lnTo>
                      <a:lnTo>
                        <a:pt x="203" y="138"/>
                      </a:lnTo>
                      <a:lnTo>
                        <a:pt x="209" y="138"/>
                      </a:lnTo>
                      <a:lnTo>
                        <a:pt x="212" y="135"/>
                      </a:lnTo>
                      <a:lnTo>
                        <a:pt x="220" y="135"/>
                      </a:lnTo>
                      <a:lnTo>
                        <a:pt x="224" y="134"/>
                      </a:lnTo>
                      <a:lnTo>
                        <a:pt x="231" y="137"/>
                      </a:lnTo>
                      <a:lnTo>
                        <a:pt x="240" y="117"/>
                      </a:lnTo>
                      <a:lnTo>
                        <a:pt x="240" y="111"/>
                      </a:lnTo>
                      <a:lnTo>
                        <a:pt x="241" y="106"/>
                      </a:lnTo>
                      <a:lnTo>
                        <a:pt x="237" y="98"/>
                      </a:lnTo>
                      <a:lnTo>
                        <a:pt x="240" y="92"/>
                      </a:lnTo>
                      <a:lnTo>
                        <a:pt x="235" y="91"/>
                      </a:lnTo>
                      <a:lnTo>
                        <a:pt x="231" y="78"/>
                      </a:lnTo>
                      <a:lnTo>
                        <a:pt x="232" y="64"/>
                      </a:lnTo>
                      <a:lnTo>
                        <a:pt x="235" y="54"/>
                      </a:lnTo>
                      <a:lnTo>
                        <a:pt x="246" y="41"/>
                      </a:lnTo>
                      <a:lnTo>
                        <a:pt x="252" y="47"/>
                      </a:lnTo>
                      <a:lnTo>
                        <a:pt x="255" y="43"/>
                      </a:lnTo>
                      <a:lnTo>
                        <a:pt x="249" y="37"/>
                      </a:lnTo>
                      <a:lnTo>
                        <a:pt x="249" y="35"/>
                      </a:lnTo>
                      <a:lnTo>
                        <a:pt x="258" y="27"/>
                      </a:lnTo>
                      <a:lnTo>
                        <a:pt x="263" y="31"/>
                      </a:lnTo>
                      <a:lnTo>
                        <a:pt x="266" y="29"/>
                      </a:lnTo>
                      <a:lnTo>
                        <a:pt x="269" y="21"/>
                      </a:lnTo>
                      <a:lnTo>
                        <a:pt x="278" y="12"/>
                      </a:lnTo>
                      <a:lnTo>
                        <a:pt x="278" y="6"/>
                      </a:lnTo>
                      <a:lnTo>
                        <a:pt x="295" y="11"/>
                      </a:lnTo>
                      <a:lnTo>
                        <a:pt x="301" y="0"/>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80" name="Bistrita-Nasaud" descr="{&quot;Key&quot;:&quot;bistrita-nasaud&quot;,&quot;Name&quot;:&quot;Bistrita-Nasaud&quot;,&quot;Value&quot;:1.0,&quot;Formula&quot;:&quot;&quot;,&quot;Text&quot;:&quot;1&quot;,&quot;OfficeApplication&quot;:0,&quot;HasValue&quot;:true}">
                  <a:extLst>
                    <a:ext uri="{FF2B5EF4-FFF2-40B4-BE49-F238E27FC236}">
                      <a16:creationId xmlns:a16="http://schemas.microsoft.com/office/drawing/2014/main" id="{1194D285-82F4-2D59-3DF1-0312D0BB6CDD}"/>
                    </a:ext>
                  </a:extLst>
                </p:cNvPr>
                <p:cNvSpPr>
                  <a:spLocks/>
                </p:cNvSpPr>
                <p:nvPr/>
              </p:nvSpPr>
              <p:spPr bwMode="auto">
                <a:xfrm>
                  <a:off x="5426075" y="1944688"/>
                  <a:ext cx="735013" cy="790575"/>
                </a:xfrm>
                <a:custGeom>
                  <a:avLst/>
                  <a:gdLst>
                    <a:gd name="T0" fmla="*/ 58 w 463"/>
                    <a:gd name="T1" fmla="*/ 120 h 498"/>
                    <a:gd name="T2" fmla="*/ 74 w 463"/>
                    <a:gd name="T3" fmla="*/ 80 h 498"/>
                    <a:gd name="T4" fmla="*/ 104 w 463"/>
                    <a:gd name="T5" fmla="*/ 60 h 498"/>
                    <a:gd name="T6" fmla="*/ 129 w 463"/>
                    <a:gd name="T7" fmla="*/ 52 h 498"/>
                    <a:gd name="T8" fmla="*/ 140 w 463"/>
                    <a:gd name="T9" fmla="*/ 37 h 498"/>
                    <a:gd name="T10" fmla="*/ 183 w 463"/>
                    <a:gd name="T11" fmla="*/ 0 h 498"/>
                    <a:gd name="T12" fmla="*/ 218 w 463"/>
                    <a:gd name="T13" fmla="*/ 11 h 498"/>
                    <a:gd name="T14" fmla="*/ 250 w 463"/>
                    <a:gd name="T15" fmla="*/ 24 h 498"/>
                    <a:gd name="T16" fmla="*/ 279 w 463"/>
                    <a:gd name="T17" fmla="*/ 20 h 498"/>
                    <a:gd name="T18" fmla="*/ 316 w 463"/>
                    <a:gd name="T19" fmla="*/ 18 h 498"/>
                    <a:gd name="T20" fmla="*/ 350 w 463"/>
                    <a:gd name="T21" fmla="*/ 20 h 498"/>
                    <a:gd name="T22" fmla="*/ 367 w 463"/>
                    <a:gd name="T23" fmla="*/ 0 h 498"/>
                    <a:gd name="T24" fmla="*/ 407 w 463"/>
                    <a:gd name="T25" fmla="*/ 6 h 498"/>
                    <a:gd name="T26" fmla="*/ 430 w 463"/>
                    <a:gd name="T27" fmla="*/ 21 h 498"/>
                    <a:gd name="T28" fmla="*/ 443 w 463"/>
                    <a:gd name="T29" fmla="*/ 52 h 498"/>
                    <a:gd name="T30" fmla="*/ 456 w 463"/>
                    <a:gd name="T31" fmla="*/ 75 h 498"/>
                    <a:gd name="T32" fmla="*/ 451 w 463"/>
                    <a:gd name="T33" fmla="*/ 101 h 498"/>
                    <a:gd name="T34" fmla="*/ 430 w 463"/>
                    <a:gd name="T35" fmla="*/ 106 h 498"/>
                    <a:gd name="T36" fmla="*/ 451 w 463"/>
                    <a:gd name="T37" fmla="*/ 132 h 498"/>
                    <a:gd name="T38" fmla="*/ 457 w 463"/>
                    <a:gd name="T39" fmla="*/ 171 h 498"/>
                    <a:gd name="T40" fmla="*/ 450 w 463"/>
                    <a:gd name="T41" fmla="*/ 221 h 498"/>
                    <a:gd name="T42" fmla="*/ 450 w 463"/>
                    <a:gd name="T43" fmla="*/ 241 h 498"/>
                    <a:gd name="T44" fmla="*/ 454 w 463"/>
                    <a:gd name="T45" fmla="*/ 271 h 498"/>
                    <a:gd name="T46" fmla="*/ 436 w 463"/>
                    <a:gd name="T47" fmla="*/ 287 h 498"/>
                    <a:gd name="T48" fmla="*/ 394 w 463"/>
                    <a:gd name="T49" fmla="*/ 295 h 498"/>
                    <a:gd name="T50" fmla="*/ 342 w 463"/>
                    <a:gd name="T51" fmla="*/ 329 h 498"/>
                    <a:gd name="T52" fmla="*/ 324 w 463"/>
                    <a:gd name="T53" fmla="*/ 374 h 498"/>
                    <a:gd name="T54" fmla="*/ 319 w 463"/>
                    <a:gd name="T55" fmla="*/ 401 h 498"/>
                    <a:gd name="T56" fmla="*/ 295 w 463"/>
                    <a:gd name="T57" fmla="*/ 407 h 498"/>
                    <a:gd name="T58" fmla="*/ 285 w 463"/>
                    <a:gd name="T59" fmla="*/ 392 h 498"/>
                    <a:gd name="T60" fmla="*/ 276 w 463"/>
                    <a:gd name="T61" fmla="*/ 381 h 498"/>
                    <a:gd name="T62" fmla="*/ 261 w 463"/>
                    <a:gd name="T63" fmla="*/ 404 h 498"/>
                    <a:gd name="T64" fmla="*/ 241 w 463"/>
                    <a:gd name="T65" fmla="*/ 409 h 498"/>
                    <a:gd name="T66" fmla="*/ 238 w 463"/>
                    <a:gd name="T67" fmla="*/ 440 h 498"/>
                    <a:gd name="T68" fmla="*/ 218 w 463"/>
                    <a:gd name="T69" fmla="*/ 461 h 498"/>
                    <a:gd name="T70" fmla="*/ 203 w 463"/>
                    <a:gd name="T71" fmla="*/ 484 h 498"/>
                    <a:gd name="T72" fmla="*/ 183 w 463"/>
                    <a:gd name="T73" fmla="*/ 494 h 498"/>
                    <a:gd name="T74" fmla="*/ 163 w 463"/>
                    <a:gd name="T75" fmla="*/ 495 h 498"/>
                    <a:gd name="T76" fmla="*/ 140 w 463"/>
                    <a:gd name="T77" fmla="*/ 489 h 498"/>
                    <a:gd name="T78" fmla="*/ 101 w 463"/>
                    <a:gd name="T79" fmla="*/ 469 h 498"/>
                    <a:gd name="T80" fmla="*/ 112 w 463"/>
                    <a:gd name="T81" fmla="*/ 449 h 498"/>
                    <a:gd name="T82" fmla="*/ 124 w 463"/>
                    <a:gd name="T83" fmla="*/ 418 h 498"/>
                    <a:gd name="T84" fmla="*/ 106 w 463"/>
                    <a:gd name="T85" fmla="*/ 403 h 498"/>
                    <a:gd name="T86" fmla="*/ 89 w 463"/>
                    <a:gd name="T87" fmla="*/ 378 h 498"/>
                    <a:gd name="T88" fmla="*/ 74 w 463"/>
                    <a:gd name="T89" fmla="*/ 351 h 498"/>
                    <a:gd name="T90" fmla="*/ 83 w 463"/>
                    <a:gd name="T91" fmla="*/ 311 h 498"/>
                    <a:gd name="T92" fmla="*/ 68 w 463"/>
                    <a:gd name="T93" fmla="*/ 278 h 498"/>
                    <a:gd name="T94" fmla="*/ 37 w 463"/>
                    <a:gd name="T95" fmla="*/ 251 h 498"/>
                    <a:gd name="T96" fmla="*/ 12 w 463"/>
                    <a:gd name="T97" fmla="*/ 249 h 498"/>
                    <a:gd name="T98" fmla="*/ 2 w 463"/>
                    <a:gd name="T99" fmla="*/ 224 h 498"/>
                    <a:gd name="T100" fmla="*/ 22 w 463"/>
                    <a:gd name="T101" fmla="*/ 180 h 498"/>
                    <a:gd name="T102" fmla="*/ 37 w 463"/>
                    <a:gd name="T103" fmla="*/ 151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3" h="498">
                      <a:moveTo>
                        <a:pt x="38" y="143"/>
                      </a:moveTo>
                      <a:lnTo>
                        <a:pt x="40" y="141"/>
                      </a:lnTo>
                      <a:lnTo>
                        <a:pt x="43" y="135"/>
                      </a:lnTo>
                      <a:lnTo>
                        <a:pt x="52" y="132"/>
                      </a:lnTo>
                      <a:lnTo>
                        <a:pt x="58" y="120"/>
                      </a:lnTo>
                      <a:lnTo>
                        <a:pt x="58" y="114"/>
                      </a:lnTo>
                      <a:lnTo>
                        <a:pt x="63" y="114"/>
                      </a:lnTo>
                      <a:lnTo>
                        <a:pt x="72" y="104"/>
                      </a:lnTo>
                      <a:lnTo>
                        <a:pt x="78" y="88"/>
                      </a:lnTo>
                      <a:lnTo>
                        <a:pt x="74" y="80"/>
                      </a:lnTo>
                      <a:lnTo>
                        <a:pt x="75" y="68"/>
                      </a:lnTo>
                      <a:lnTo>
                        <a:pt x="80" y="61"/>
                      </a:lnTo>
                      <a:lnTo>
                        <a:pt x="88" y="61"/>
                      </a:lnTo>
                      <a:lnTo>
                        <a:pt x="95" y="58"/>
                      </a:lnTo>
                      <a:lnTo>
                        <a:pt x="104" y="60"/>
                      </a:lnTo>
                      <a:lnTo>
                        <a:pt x="107" y="57"/>
                      </a:lnTo>
                      <a:lnTo>
                        <a:pt x="111" y="60"/>
                      </a:lnTo>
                      <a:lnTo>
                        <a:pt x="112" y="58"/>
                      </a:lnTo>
                      <a:lnTo>
                        <a:pt x="126" y="61"/>
                      </a:lnTo>
                      <a:lnTo>
                        <a:pt x="129" y="52"/>
                      </a:lnTo>
                      <a:lnTo>
                        <a:pt x="132" y="51"/>
                      </a:lnTo>
                      <a:lnTo>
                        <a:pt x="135" y="52"/>
                      </a:lnTo>
                      <a:lnTo>
                        <a:pt x="137" y="48"/>
                      </a:lnTo>
                      <a:lnTo>
                        <a:pt x="140" y="46"/>
                      </a:lnTo>
                      <a:lnTo>
                        <a:pt x="140" y="37"/>
                      </a:lnTo>
                      <a:lnTo>
                        <a:pt x="149" y="28"/>
                      </a:lnTo>
                      <a:lnTo>
                        <a:pt x="149" y="17"/>
                      </a:lnTo>
                      <a:lnTo>
                        <a:pt x="164" y="23"/>
                      </a:lnTo>
                      <a:lnTo>
                        <a:pt x="170" y="20"/>
                      </a:lnTo>
                      <a:lnTo>
                        <a:pt x="183" y="0"/>
                      </a:lnTo>
                      <a:lnTo>
                        <a:pt x="190" y="1"/>
                      </a:lnTo>
                      <a:lnTo>
                        <a:pt x="195" y="4"/>
                      </a:lnTo>
                      <a:lnTo>
                        <a:pt x="203" y="8"/>
                      </a:lnTo>
                      <a:lnTo>
                        <a:pt x="210" y="6"/>
                      </a:lnTo>
                      <a:lnTo>
                        <a:pt x="218" y="11"/>
                      </a:lnTo>
                      <a:lnTo>
                        <a:pt x="223" y="11"/>
                      </a:lnTo>
                      <a:lnTo>
                        <a:pt x="236" y="17"/>
                      </a:lnTo>
                      <a:lnTo>
                        <a:pt x="241" y="17"/>
                      </a:lnTo>
                      <a:lnTo>
                        <a:pt x="246" y="23"/>
                      </a:lnTo>
                      <a:lnTo>
                        <a:pt x="250" y="24"/>
                      </a:lnTo>
                      <a:lnTo>
                        <a:pt x="256" y="24"/>
                      </a:lnTo>
                      <a:lnTo>
                        <a:pt x="261" y="20"/>
                      </a:lnTo>
                      <a:lnTo>
                        <a:pt x="267" y="21"/>
                      </a:lnTo>
                      <a:lnTo>
                        <a:pt x="270" y="23"/>
                      </a:lnTo>
                      <a:lnTo>
                        <a:pt x="279" y="20"/>
                      </a:lnTo>
                      <a:lnTo>
                        <a:pt x="287" y="21"/>
                      </a:lnTo>
                      <a:lnTo>
                        <a:pt x="289" y="26"/>
                      </a:lnTo>
                      <a:lnTo>
                        <a:pt x="298" y="29"/>
                      </a:lnTo>
                      <a:lnTo>
                        <a:pt x="304" y="28"/>
                      </a:lnTo>
                      <a:lnTo>
                        <a:pt x="316" y="18"/>
                      </a:lnTo>
                      <a:lnTo>
                        <a:pt x="328" y="20"/>
                      </a:lnTo>
                      <a:lnTo>
                        <a:pt x="339" y="20"/>
                      </a:lnTo>
                      <a:lnTo>
                        <a:pt x="342" y="18"/>
                      </a:lnTo>
                      <a:lnTo>
                        <a:pt x="347" y="20"/>
                      </a:lnTo>
                      <a:lnTo>
                        <a:pt x="350" y="20"/>
                      </a:lnTo>
                      <a:lnTo>
                        <a:pt x="351" y="15"/>
                      </a:lnTo>
                      <a:lnTo>
                        <a:pt x="350" y="11"/>
                      </a:lnTo>
                      <a:lnTo>
                        <a:pt x="353" y="6"/>
                      </a:lnTo>
                      <a:lnTo>
                        <a:pt x="358" y="3"/>
                      </a:lnTo>
                      <a:lnTo>
                        <a:pt x="367" y="0"/>
                      </a:lnTo>
                      <a:lnTo>
                        <a:pt x="370" y="0"/>
                      </a:lnTo>
                      <a:lnTo>
                        <a:pt x="373" y="8"/>
                      </a:lnTo>
                      <a:lnTo>
                        <a:pt x="378" y="6"/>
                      </a:lnTo>
                      <a:lnTo>
                        <a:pt x="385" y="1"/>
                      </a:lnTo>
                      <a:lnTo>
                        <a:pt x="407" y="6"/>
                      </a:lnTo>
                      <a:lnTo>
                        <a:pt x="407" y="6"/>
                      </a:lnTo>
                      <a:lnTo>
                        <a:pt x="414" y="6"/>
                      </a:lnTo>
                      <a:lnTo>
                        <a:pt x="422" y="12"/>
                      </a:lnTo>
                      <a:lnTo>
                        <a:pt x="424" y="14"/>
                      </a:lnTo>
                      <a:lnTo>
                        <a:pt x="430" y="21"/>
                      </a:lnTo>
                      <a:lnTo>
                        <a:pt x="437" y="24"/>
                      </a:lnTo>
                      <a:lnTo>
                        <a:pt x="437" y="29"/>
                      </a:lnTo>
                      <a:lnTo>
                        <a:pt x="433" y="34"/>
                      </a:lnTo>
                      <a:lnTo>
                        <a:pt x="439" y="37"/>
                      </a:lnTo>
                      <a:lnTo>
                        <a:pt x="443" y="52"/>
                      </a:lnTo>
                      <a:lnTo>
                        <a:pt x="450" y="60"/>
                      </a:lnTo>
                      <a:lnTo>
                        <a:pt x="460" y="60"/>
                      </a:lnTo>
                      <a:lnTo>
                        <a:pt x="463" y="64"/>
                      </a:lnTo>
                      <a:lnTo>
                        <a:pt x="463" y="66"/>
                      </a:lnTo>
                      <a:lnTo>
                        <a:pt x="456" y="75"/>
                      </a:lnTo>
                      <a:lnTo>
                        <a:pt x="445" y="80"/>
                      </a:lnTo>
                      <a:lnTo>
                        <a:pt x="454" y="88"/>
                      </a:lnTo>
                      <a:lnTo>
                        <a:pt x="453" y="92"/>
                      </a:lnTo>
                      <a:lnTo>
                        <a:pt x="451" y="94"/>
                      </a:lnTo>
                      <a:lnTo>
                        <a:pt x="451" y="101"/>
                      </a:lnTo>
                      <a:lnTo>
                        <a:pt x="445" y="104"/>
                      </a:lnTo>
                      <a:lnTo>
                        <a:pt x="440" y="104"/>
                      </a:lnTo>
                      <a:lnTo>
                        <a:pt x="437" y="100"/>
                      </a:lnTo>
                      <a:lnTo>
                        <a:pt x="434" y="98"/>
                      </a:lnTo>
                      <a:lnTo>
                        <a:pt x="430" y="106"/>
                      </a:lnTo>
                      <a:lnTo>
                        <a:pt x="430" y="115"/>
                      </a:lnTo>
                      <a:lnTo>
                        <a:pt x="440" y="126"/>
                      </a:lnTo>
                      <a:lnTo>
                        <a:pt x="443" y="132"/>
                      </a:lnTo>
                      <a:lnTo>
                        <a:pt x="447" y="134"/>
                      </a:lnTo>
                      <a:lnTo>
                        <a:pt x="451" y="132"/>
                      </a:lnTo>
                      <a:lnTo>
                        <a:pt x="454" y="137"/>
                      </a:lnTo>
                      <a:lnTo>
                        <a:pt x="451" y="146"/>
                      </a:lnTo>
                      <a:lnTo>
                        <a:pt x="456" y="157"/>
                      </a:lnTo>
                      <a:lnTo>
                        <a:pt x="454" y="160"/>
                      </a:lnTo>
                      <a:lnTo>
                        <a:pt x="457" y="171"/>
                      </a:lnTo>
                      <a:lnTo>
                        <a:pt x="451" y="174"/>
                      </a:lnTo>
                      <a:lnTo>
                        <a:pt x="440" y="184"/>
                      </a:lnTo>
                      <a:lnTo>
                        <a:pt x="443" y="191"/>
                      </a:lnTo>
                      <a:lnTo>
                        <a:pt x="451" y="200"/>
                      </a:lnTo>
                      <a:lnTo>
                        <a:pt x="450" y="221"/>
                      </a:lnTo>
                      <a:lnTo>
                        <a:pt x="445" y="224"/>
                      </a:lnTo>
                      <a:lnTo>
                        <a:pt x="442" y="232"/>
                      </a:lnTo>
                      <a:lnTo>
                        <a:pt x="445" y="237"/>
                      </a:lnTo>
                      <a:lnTo>
                        <a:pt x="450" y="238"/>
                      </a:lnTo>
                      <a:lnTo>
                        <a:pt x="450" y="241"/>
                      </a:lnTo>
                      <a:lnTo>
                        <a:pt x="454" y="257"/>
                      </a:lnTo>
                      <a:lnTo>
                        <a:pt x="451" y="258"/>
                      </a:lnTo>
                      <a:lnTo>
                        <a:pt x="453" y="261"/>
                      </a:lnTo>
                      <a:lnTo>
                        <a:pt x="450" y="266"/>
                      </a:lnTo>
                      <a:lnTo>
                        <a:pt x="454" y="271"/>
                      </a:lnTo>
                      <a:lnTo>
                        <a:pt x="454" y="274"/>
                      </a:lnTo>
                      <a:lnTo>
                        <a:pt x="454" y="274"/>
                      </a:lnTo>
                      <a:lnTo>
                        <a:pt x="443" y="278"/>
                      </a:lnTo>
                      <a:lnTo>
                        <a:pt x="439" y="286"/>
                      </a:lnTo>
                      <a:lnTo>
                        <a:pt x="436" y="287"/>
                      </a:lnTo>
                      <a:lnTo>
                        <a:pt x="427" y="289"/>
                      </a:lnTo>
                      <a:lnTo>
                        <a:pt x="422" y="286"/>
                      </a:lnTo>
                      <a:lnTo>
                        <a:pt x="408" y="286"/>
                      </a:lnTo>
                      <a:lnTo>
                        <a:pt x="401" y="294"/>
                      </a:lnTo>
                      <a:lnTo>
                        <a:pt x="394" y="295"/>
                      </a:lnTo>
                      <a:lnTo>
                        <a:pt x="387" y="292"/>
                      </a:lnTo>
                      <a:lnTo>
                        <a:pt x="381" y="294"/>
                      </a:lnTo>
                      <a:lnTo>
                        <a:pt x="356" y="312"/>
                      </a:lnTo>
                      <a:lnTo>
                        <a:pt x="350" y="321"/>
                      </a:lnTo>
                      <a:lnTo>
                        <a:pt x="342" y="329"/>
                      </a:lnTo>
                      <a:lnTo>
                        <a:pt x="341" y="346"/>
                      </a:lnTo>
                      <a:lnTo>
                        <a:pt x="335" y="357"/>
                      </a:lnTo>
                      <a:lnTo>
                        <a:pt x="328" y="358"/>
                      </a:lnTo>
                      <a:lnTo>
                        <a:pt x="322" y="367"/>
                      </a:lnTo>
                      <a:lnTo>
                        <a:pt x="324" y="374"/>
                      </a:lnTo>
                      <a:lnTo>
                        <a:pt x="322" y="375"/>
                      </a:lnTo>
                      <a:lnTo>
                        <a:pt x="321" y="384"/>
                      </a:lnTo>
                      <a:lnTo>
                        <a:pt x="316" y="394"/>
                      </a:lnTo>
                      <a:lnTo>
                        <a:pt x="325" y="401"/>
                      </a:lnTo>
                      <a:lnTo>
                        <a:pt x="319" y="401"/>
                      </a:lnTo>
                      <a:lnTo>
                        <a:pt x="318" y="406"/>
                      </a:lnTo>
                      <a:lnTo>
                        <a:pt x="318" y="411"/>
                      </a:lnTo>
                      <a:lnTo>
                        <a:pt x="308" y="412"/>
                      </a:lnTo>
                      <a:lnTo>
                        <a:pt x="305" y="407"/>
                      </a:lnTo>
                      <a:lnTo>
                        <a:pt x="295" y="407"/>
                      </a:lnTo>
                      <a:lnTo>
                        <a:pt x="289" y="404"/>
                      </a:lnTo>
                      <a:lnTo>
                        <a:pt x="287" y="401"/>
                      </a:lnTo>
                      <a:lnTo>
                        <a:pt x="289" y="398"/>
                      </a:lnTo>
                      <a:lnTo>
                        <a:pt x="285" y="395"/>
                      </a:lnTo>
                      <a:lnTo>
                        <a:pt x="285" y="392"/>
                      </a:lnTo>
                      <a:lnTo>
                        <a:pt x="284" y="391"/>
                      </a:lnTo>
                      <a:lnTo>
                        <a:pt x="282" y="387"/>
                      </a:lnTo>
                      <a:lnTo>
                        <a:pt x="281" y="387"/>
                      </a:lnTo>
                      <a:lnTo>
                        <a:pt x="281" y="384"/>
                      </a:lnTo>
                      <a:lnTo>
                        <a:pt x="276" y="381"/>
                      </a:lnTo>
                      <a:lnTo>
                        <a:pt x="275" y="389"/>
                      </a:lnTo>
                      <a:lnTo>
                        <a:pt x="269" y="386"/>
                      </a:lnTo>
                      <a:lnTo>
                        <a:pt x="266" y="389"/>
                      </a:lnTo>
                      <a:lnTo>
                        <a:pt x="261" y="398"/>
                      </a:lnTo>
                      <a:lnTo>
                        <a:pt x="261" y="404"/>
                      </a:lnTo>
                      <a:lnTo>
                        <a:pt x="255" y="406"/>
                      </a:lnTo>
                      <a:lnTo>
                        <a:pt x="252" y="404"/>
                      </a:lnTo>
                      <a:lnTo>
                        <a:pt x="249" y="404"/>
                      </a:lnTo>
                      <a:lnTo>
                        <a:pt x="252" y="411"/>
                      </a:lnTo>
                      <a:lnTo>
                        <a:pt x="241" y="409"/>
                      </a:lnTo>
                      <a:lnTo>
                        <a:pt x="241" y="414"/>
                      </a:lnTo>
                      <a:lnTo>
                        <a:pt x="238" y="415"/>
                      </a:lnTo>
                      <a:lnTo>
                        <a:pt x="238" y="421"/>
                      </a:lnTo>
                      <a:lnTo>
                        <a:pt x="242" y="427"/>
                      </a:lnTo>
                      <a:lnTo>
                        <a:pt x="238" y="440"/>
                      </a:lnTo>
                      <a:lnTo>
                        <a:pt x="233" y="441"/>
                      </a:lnTo>
                      <a:lnTo>
                        <a:pt x="229" y="440"/>
                      </a:lnTo>
                      <a:lnTo>
                        <a:pt x="230" y="447"/>
                      </a:lnTo>
                      <a:lnTo>
                        <a:pt x="216" y="454"/>
                      </a:lnTo>
                      <a:lnTo>
                        <a:pt x="218" y="461"/>
                      </a:lnTo>
                      <a:lnTo>
                        <a:pt x="212" y="474"/>
                      </a:lnTo>
                      <a:lnTo>
                        <a:pt x="215" y="480"/>
                      </a:lnTo>
                      <a:lnTo>
                        <a:pt x="209" y="491"/>
                      </a:lnTo>
                      <a:lnTo>
                        <a:pt x="204" y="487"/>
                      </a:lnTo>
                      <a:lnTo>
                        <a:pt x="203" y="484"/>
                      </a:lnTo>
                      <a:lnTo>
                        <a:pt x="198" y="484"/>
                      </a:lnTo>
                      <a:lnTo>
                        <a:pt x="196" y="487"/>
                      </a:lnTo>
                      <a:lnTo>
                        <a:pt x="193" y="487"/>
                      </a:lnTo>
                      <a:lnTo>
                        <a:pt x="189" y="492"/>
                      </a:lnTo>
                      <a:lnTo>
                        <a:pt x="183" y="494"/>
                      </a:lnTo>
                      <a:lnTo>
                        <a:pt x="177" y="498"/>
                      </a:lnTo>
                      <a:lnTo>
                        <a:pt x="172" y="497"/>
                      </a:lnTo>
                      <a:lnTo>
                        <a:pt x="170" y="494"/>
                      </a:lnTo>
                      <a:lnTo>
                        <a:pt x="167" y="497"/>
                      </a:lnTo>
                      <a:lnTo>
                        <a:pt x="163" y="495"/>
                      </a:lnTo>
                      <a:lnTo>
                        <a:pt x="158" y="498"/>
                      </a:lnTo>
                      <a:lnTo>
                        <a:pt x="152" y="495"/>
                      </a:lnTo>
                      <a:lnTo>
                        <a:pt x="147" y="498"/>
                      </a:lnTo>
                      <a:lnTo>
                        <a:pt x="140" y="494"/>
                      </a:lnTo>
                      <a:lnTo>
                        <a:pt x="140" y="489"/>
                      </a:lnTo>
                      <a:lnTo>
                        <a:pt x="126" y="486"/>
                      </a:lnTo>
                      <a:lnTo>
                        <a:pt x="123" y="480"/>
                      </a:lnTo>
                      <a:lnTo>
                        <a:pt x="117" y="477"/>
                      </a:lnTo>
                      <a:lnTo>
                        <a:pt x="106" y="469"/>
                      </a:lnTo>
                      <a:lnTo>
                        <a:pt x="101" y="469"/>
                      </a:lnTo>
                      <a:lnTo>
                        <a:pt x="101" y="469"/>
                      </a:lnTo>
                      <a:lnTo>
                        <a:pt x="101" y="464"/>
                      </a:lnTo>
                      <a:lnTo>
                        <a:pt x="106" y="461"/>
                      </a:lnTo>
                      <a:lnTo>
                        <a:pt x="104" y="454"/>
                      </a:lnTo>
                      <a:lnTo>
                        <a:pt x="112" y="449"/>
                      </a:lnTo>
                      <a:lnTo>
                        <a:pt x="111" y="441"/>
                      </a:lnTo>
                      <a:lnTo>
                        <a:pt x="117" y="427"/>
                      </a:lnTo>
                      <a:lnTo>
                        <a:pt x="114" y="421"/>
                      </a:lnTo>
                      <a:lnTo>
                        <a:pt x="123" y="421"/>
                      </a:lnTo>
                      <a:lnTo>
                        <a:pt x="124" y="418"/>
                      </a:lnTo>
                      <a:lnTo>
                        <a:pt x="118" y="415"/>
                      </a:lnTo>
                      <a:lnTo>
                        <a:pt x="118" y="414"/>
                      </a:lnTo>
                      <a:lnTo>
                        <a:pt x="115" y="412"/>
                      </a:lnTo>
                      <a:lnTo>
                        <a:pt x="115" y="407"/>
                      </a:lnTo>
                      <a:lnTo>
                        <a:pt x="106" y="403"/>
                      </a:lnTo>
                      <a:lnTo>
                        <a:pt x="106" y="394"/>
                      </a:lnTo>
                      <a:lnTo>
                        <a:pt x="101" y="392"/>
                      </a:lnTo>
                      <a:lnTo>
                        <a:pt x="94" y="395"/>
                      </a:lnTo>
                      <a:lnTo>
                        <a:pt x="92" y="383"/>
                      </a:lnTo>
                      <a:lnTo>
                        <a:pt x="89" y="378"/>
                      </a:lnTo>
                      <a:lnTo>
                        <a:pt x="74" y="377"/>
                      </a:lnTo>
                      <a:lnTo>
                        <a:pt x="77" y="371"/>
                      </a:lnTo>
                      <a:lnTo>
                        <a:pt x="72" y="364"/>
                      </a:lnTo>
                      <a:lnTo>
                        <a:pt x="71" y="354"/>
                      </a:lnTo>
                      <a:lnTo>
                        <a:pt x="74" y="351"/>
                      </a:lnTo>
                      <a:lnTo>
                        <a:pt x="75" y="343"/>
                      </a:lnTo>
                      <a:lnTo>
                        <a:pt x="69" y="338"/>
                      </a:lnTo>
                      <a:lnTo>
                        <a:pt x="75" y="332"/>
                      </a:lnTo>
                      <a:lnTo>
                        <a:pt x="74" y="326"/>
                      </a:lnTo>
                      <a:lnTo>
                        <a:pt x="83" y="311"/>
                      </a:lnTo>
                      <a:lnTo>
                        <a:pt x="83" y="306"/>
                      </a:lnTo>
                      <a:lnTo>
                        <a:pt x="77" y="294"/>
                      </a:lnTo>
                      <a:lnTo>
                        <a:pt x="74" y="289"/>
                      </a:lnTo>
                      <a:lnTo>
                        <a:pt x="72" y="281"/>
                      </a:lnTo>
                      <a:lnTo>
                        <a:pt x="68" y="278"/>
                      </a:lnTo>
                      <a:lnTo>
                        <a:pt x="51" y="281"/>
                      </a:lnTo>
                      <a:lnTo>
                        <a:pt x="41" y="274"/>
                      </a:lnTo>
                      <a:lnTo>
                        <a:pt x="41" y="266"/>
                      </a:lnTo>
                      <a:lnTo>
                        <a:pt x="43" y="263"/>
                      </a:lnTo>
                      <a:lnTo>
                        <a:pt x="37" y="251"/>
                      </a:lnTo>
                      <a:lnTo>
                        <a:pt x="31" y="252"/>
                      </a:lnTo>
                      <a:lnTo>
                        <a:pt x="32" y="257"/>
                      </a:lnTo>
                      <a:lnTo>
                        <a:pt x="31" y="258"/>
                      </a:lnTo>
                      <a:lnTo>
                        <a:pt x="25" y="249"/>
                      </a:lnTo>
                      <a:lnTo>
                        <a:pt x="12" y="249"/>
                      </a:lnTo>
                      <a:lnTo>
                        <a:pt x="9" y="247"/>
                      </a:lnTo>
                      <a:lnTo>
                        <a:pt x="5" y="244"/>
                      </a:lnTo>
                      <a:lnTo>
                        <a:pt x="3" y="238"/>
                      </a:lnTo>
                      <a:lnTo>
                        <a:pt x="5" y="231"/>
                      </a:lnTo>
                      <a:lnTo>
                        <a:pt x="2" y="224"/>
                      </a:lnTo>
                      <a:lnTo>
                        <a:pt x="0" y="212"/>
                      </a:lnTo>
                      <a:lnTo>
                        <a:pt x="0" y="180"/>
                      </a:lnTo>
                      <a:lnTo>
                        <a:pt x="6" y="172"/>
                      </a:lnTo>
                      <a:lnTo>
                        <a:pt x="9" y="172"/>
                      </a:lnTo>
                      <a:lnTo>
                        <a:pt x="22" y="180"/>
                      </a:lnTo>
                      <a:lnTo>
                        <a:pt x="28" y="174"/>
                      </a:lnTo>
                      <a:lnTo>
                        <a:pt x="40" y="166"/>
                      </a:lnTo>
                      <a:lnTo>
                        <a:pt x="37" y="160"/>
                      </a:lnTo>
                      <a:lnTo>
                        <a:pt x="40" y="158"/>
                      </a:lnTo>
                      <a:lnTo>
                        <a:pt x="37" y="151"/>
                      </a:lnTo>
                      <a:lnTo>
                        <a:pt x="38" y="143"/>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81" name="Braila" descr="{&quot;Key&quot;:&quot;braila&quot;,&quot;Name&quot;:&quot;Braila&quot;,&quot;Value&quot;:1.0,&quot;Formula&quot;:&quot;&quot;,&quot;Text&quot;:&quot;1&quot;,&quot;OfficeApplication&quot;:0,&quot;HasValue&quot;:true}">
                  <a:extLst>
                    <a:ext uri="{FF2B5EF4-FFF2-40B4-BE49-F238E27FC236}">
                      <a16:creationId xmlns:a16="http://schemas.microsoft.com/office/drawing/2014/main" id="{B41B0A60-D066-C097-FB37-426E8CE08D3D}"/>
                    </a:ext>
                  </a:extLst>
                </p:cNvPr>
                <p:cNvSpPr>
                  <a:spLocks/>
                </p:cNvSpPr>
                <p:nvPr/>
              </p:nvSpPr>
              <p:spPr bwMode="auto">
                <a:xfrm>
                  <a:off x="7408863" y="3881438"/>
                  <a:ext cx="711200" cy="668338"/>
                </a:xfrm>
                <a:custGeom>
                  <a:avLst/>
                  <a:gdLst>
                    <a:gd name="T0" fmla="*/ 212 w 448"/>
                    <a:gd name="T1" fmla="*/ 4 h 421"/>
                    <a:gd name="T2" fmla="*/ 222 w 448"/>
                    <a:gd name="T3" fmla="*/ 10 h 421"/>
                    <a:gd name="T4" fmla="*/ 235 w 448"/>
                    <a:gd name="T5" fmla="*/ 12 h 421"/>
                    <a:gd name="T6" fmla="*/ 244 w 448"/>
                    <a:gd name="T7" fmla="*/ 17 h 421"/>
                    <a:gd name="T8" fmla="*/ 256 w 448"/>
                    <a:gd name="T9" fmla="*/ 26 h 421"/>
                    <a:gd name="T10" fmla="*/ 267 w 448"/>
                    <a:gd name="T11" fmla="*/ 41 h 421"/>
                    <a:gd name="T12" fmla="*/ 284 w 448"/>
                    <a:gd name="T13" fmla="*/ 47 h 421"/>
                    <a:gd name="T14" fmla="*/ 316 w 448"/>
                    <a:gd name="T15" fmla="*/ 53 h 421"/>
                    <a:gd name="T16" fmla="*/ 319 w 448"/>
                    <a:gd name="T17" fmla="*/ 43 h 421"/>
                    <a:gd name="T18" fmla="*/ 338 w 448"/>
                    <a:gd name="T19" fmla="*/ 49 h 421"/>
                    <a:gd name="T20" fmla="*/ 367 w 448"/>
                    <a:gd name="T21" fmla="*/ 52 h 421"/>
                    <a:gd name="T22" fmla="*/ 381 w 448"/>
                    <a:gd name="T23" fmla="*/ 75 h 421"/>
                    <a:gd name="T24" fmla="*/ 393 w 448"/>
                    <a:gd name="T25" fmla="*/ 135 h 421"/>
                    <a:gd name="T26" fmla="*/ 417 w 448"/>
                    <a:gd name="T27" fmla="*/ 141 h 421"/>
                    <a:gd name="T28" fmla="*/ 439 w 448"/>
                    <a:gd name="T29" fmla="*/ 195 h 421"/>
                    <a:gd name="T30" fmla="*/ 442 w 448"/>
                    <a:gd name="T31" fmla="*/ 218 h 421"/>
                    <a:gd name="T32" fmla="*/ 423 w 448"/>
                    <a:gd name="T33" fmla="*/ 221 h 421"/>
                    <a:gd name="T34" fmla="*/ 420 w 448"/>
                    <a:gd name="T35" fmla="*/ 270 h 421"/>
                    <a:gd name="T36" fmla="*/ 419 w 448"/>
                    <a:gd name="T37" fmla="*/ 327 h 421"/>
                    <a:gd name="T38" fmla="*/ 423 w 448"/>
                    <a:gd name="T39" fmla="*/ 346 h 421"/>
                    <a:gd name="T40" fmla="*/ 402 w 448"/>
                    <a:gd name="T41" fmla="*/ 375 h 421"/>
                    <a:gd name="T42" fmla="*/ 388 w 448"/>
                    <a:gd name="T43" fmla="*/ 403 h 421"/>
                    <a:gd name="T44" fmla="*/ 370 w 448"/>
                    <a:gd name="T45" fmla="*/ 412 h 421"/>
                    <a:gd name="T46" fmla="*/ 322 w 448"/>
                    <a:gd name="T47" fmla="*/ 412 h 421"/>
                    <a:gd name="T48" fmla="*/ 203 w 448"/>
                    <a:gd name="T49" fmla="*/ 400 h 421"/>
                    <a:gd name="T50" fmla="*/ 169 w 448"/>
                    <a:gd name="T51" fmla="*/ 401 h 421"/>
                    <a:gd name="T52" fmla="*/ 129 w 448"/>
                    <a:gd name="T53" fmla="*/ 404 h 421"/>
                    <a:gd name="T54" fmla="*/ 98 w 448"/>
                    <a:gd name="T55" fmla="*/ 387 h 421"/>
                    <a:gd name="T56" fmla="*/ 60 w 448"/>
                    <a:gd name="T57" fmla="*/ 400 h 421"/>
                    <a:gd name="T58" fmla="*/ 52 w 448"/>
                    <a:gd name="T59" fmla="*/ 389 h 421"/>
                    <a:gd name="T60" fmla="*/ 57 w 448"/>
                    <a:gd name="T61" fmla="*/ 386 h 421"/>
                    <a:gd name="T62" fmla="*/ 55 w 448"/>
                    <a:gd name="T63" fmla="*/ 352 h 421"/>
                    <a:gd name="T64" fmla="*/ 66 w 448"/>
                    <a:gd name="T65" fmla="*/ 315 h 421"/>
                    <a:gd name="T66" fmla="*/ 83 w 448"/>
                    <a:gd name="T67" fmla="*/ 287 h 421"/>
                    <a:gd name="T68" fmla="*/ 68 w 448"/>
                    <a:gd name="T69" fmla="*/ 264 h 421"/>
                    <a:gd name="T70" fmla="*/ 54 w 448"/>
                    <a:gd name="T71" fmla="*/ 230 h 421"/>
                    <a:gd name="T72" fmla="*/ 32 w 448"/>
                    <a:gd name="T73" fmla="*/ 181 h 421"/>
                    <a:gd name="T74" fmla="*/ 6 w 448"/>
                    <a:gd name="T75" fmla="*/ 177 h 421"/>
                    <a:gd name="T76" fmla="*/ 43 w 448"/>
                    <a:gd name="T77" fmla="*/ 147 h 421"/>
                    <a:gd name="T78" fmla="*/ 68 w 448"/>
                    <a:gd name="T79" fmla="*/ 160 h 421"/>
                    <a:gd name="T80" fmla="*/ 95 w 448"/>
                    <a:gd name="T81" fmla="*/ 158 h 421"/>
                    <a:gd name="T82" fmla="*/ 106 w 448"/>
                    <a:gd name="T83" fmla="*/ 144 h 421"/>
                    <a:gd name="T84" fmla="*/ 112 w 448"/>
                    <a:gd name="T85" fmla="*/ 133 h 421"/>
                    <a:gd name="T86" fmla="*/ 120 w 448"/>
                    <a:gd name="T87" fmla="*/ 120 h 421"/>
                    <a:gd name="T88" fmla="*/ 129 w 448"/>
                    <a:gd name="T89" fmla="*/ 90 h 421"/>
                    <a:gd name="T90" fmla="*/ 130 w 448"/>
                    <a:gd name="T91" fmla="*/ 75 h 421"/>
                    <a:gd name="T92" fmla="*/ 146 w 448"/>
                    <a:gd name="T93" fmla="*/ 57 h 421"/>
                    <a:gd name="T94" fmla="*/ 167 w 448"/>
                    <a:gd name="T95" fmla="*/ 38 h 421"/>
                    <a:gd name="T96" fmla="*/ 193 w 448"/>
                    <a:gd name="T97"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8" h="421">
                      <a:moveTo>
                        <a:pt x="193" y="4"/>
                      </a:moveTo>
                      <a:lnTo>
                        <a:pt x="196" y="0"/>
                      </a:lnTo>
                      <a:lnTo>
                        <a:pt x="199" y="3"/>
                      </a:lnTo>
                      <a:lnTo>
                        <a:pt x="212" y="4"/>
                      </a:lnTo>
                      <a:lnTo>
                        <a:pt x="216" y="13"/>
                      </a:lnTo>
                      <a:lnTo>
                        <a:pt x="216" y="17"/>
                      </a:lnTo>
                      <a:lnTo>
                        <a:pt x="224" y="15"/>
                      </a:lnTo>
                      <a:lnTo>
                        <a:pt x="222" y="10"/>
                      </a:lnTo>
                      <a:lnTo>
                        <a:pt x="235" y="1"/>
                      </a:lnTo>
                      <a:lnTo>
                        <a:pt x="236" y="3"/>
                      </a:lnTo>
                      <a:lnTo>
                        <a:pt x="235" y="9"/>
                      </a:lnTo>
                      <a:lnTo>
                        <a:pt x="235" y="12"/>
                      </a:lnTo>
                      <a:lnTo>
                        <a:pt x="247" y="6"/>
                      </a:lnTo>
                      <a:lnTo>
                        <a:pt x="249" y="10"/>
                      </a:lnTo>
                      <a:lnTo>
                        <a:pt x="244" y="15"/>
                      </a:lnTo>
                      <a:lnTo>
                        <a:pt x="244" y="17"/>
                      </a:lnTo>
                      <a:lnTo>
                        <a:pt x="258" y="18"/>
                      </a:lnTo>
                      <a:lnTo>
                        <a:pt x="258" y="21"/>
                      </a:lnTo>
                      <a:lnTo>
                        <a:pt x="255" y="24"/>
                      </a:lnTo>
                      <a:lnTo>
                        <a:pt x="256" y="26"/>
                      </a:lnTo>
                      <a:lnTo>
                        <a:pt x="262" y="23"/>
                      </a:lnTo>
                      <a:lnTo>
                        <a:pt x="264" y="29"/>
                      </a:lnTo>
                      <a:lnTo>
                        <a:pt x="270" y="26"/>
                      </a:lnTo>
                      <a:lnTo>
                        <a:pt x="267" y="41"/>
                      </a:lnTo>
                      <a:lnTo>
                        <a:pt x="267" y="44"/>
                      </a:lnTo>
                      <a:lnTo>
                        <a:pt x="284" y="40"/>
                      </a:lnTo>
                      <a:lnTo>
                        <a:pt x="285" y="44"/>
                      </a:lnTo>
                      <a:lnTo>
                        <a:pt x="284" y="47"/>
                      </a:lnTo>
                      <a:lnTo>
                        <a:pt x="296" y="50"/>
                      </a:lnTo>
                      <a:lnTo>
                        <a:pt x="296" y="55"/>
                      </a:lnTo>
                      <a:lnTo>
                        <a:pt x="308" y="52"/>
                      </a:lnTo>
                      <a:lnTo>
                        <a:pt x="316" y="53"/>
                      </a:lnTo>
                      <a:lnTo>
                        <a:pt x="318" y="52"/>
                      </a:lnTo>
                      <a:lnTo>
                        <a:pt x="313" y="50"/>
                      </a:lnTo>
                      <a:lnTo>
                        <a:pt x="318" y="49"/>
                      </a:lnTo>
                      <a:lnTo>
                        <a:pt x="319" y="43"/>
                      </a:lnTo>
                      <a:lnTo>
                        <a:pt x="324" y="44"/>
                      </a:lnTo>
                      <a:lnTo>
                        <a:pt x="324" y="41"/>
                      </a:lnTo>
                      <a:lnTo>
                        <a:pt x="330" y="43"/>
                      </a:lnTo>
                      <a:lnTo>
                        <a:pt x="338" y="49"/>
                      </a:lnTo>
                      <a:lnTo>
                        <a:pt x="347" y="49"/>
                      </a:lnTo>
                      <a:lnTo>
                        <a:pt x="353" y="50"/>
                      </a:lnTo>
                      <a:lnTo>
                        <a:pt x="364" y="58"/>
                      </a:lnTo>
                      <a:lnTo>
                        <a:pt x="367" y="52"/>
                      </a:lnTo>
                      <a:lnTo>
                        <a:pt x="371" y="53"/>
                      </a:lnTo>
                      <a:lnTo>
                        <a:pt x="382" y="50"/>
                      </a:lnTo>
                      <a:lnTo>
                        <a:pt x="382" y="50"/>
                      </a:lnTo>
                      <a:lnTo>
                        <a:pt x="381" y="75"/>
                      </a:lnTo>
                      <a:lnTo>
                        <a:pt x="368" y="106"/>
                      </a:lnTo>
                      <a:lnTo>
                        <a:pt x="368" y="115"/>
                      </a:lnTo>
                      <a:lnTo>
                        <a:pt x="379" y="127"/>
                      </a:lnTo>
                      <a:lnTo>
                        <a:pt x="393" y="135"/>
                      </a:lnTo>
                      <a:lnTo>
                        <a:pt x="408" y="138"/>
                      </a:lnTo>
                      <a:lnTo>
                        <a:pt x="414" y="132"/>
                      </a:lnTo>
                      <a:lnTo>
                        <a:pt x="416" y="132"/>
                      </a:lnTo>
                      <a:lnTo>
                        <a:pt x="417" y="141"/>
                      </a:lnTo>
                      <a:lnTo>
                        <a:pt x="422" y="146"/>
                      </a:lnTo>
                      <a:lnTo>
                        <a:pt x="407" y="170"/>
                      </a:lnTo>
                      <a:lnTo>
                        <a:pt x="428" y="184"/>
                      </a:lnTo>
                      <a:lnTo>
                        <a:pt x="439" y="195"/>
                      </a:lnTo>
                      <a:lnTo>
                        <a:pt x="446" y="200"/>
                      </a:lnTo>
                      <a:lnTo>
                        <a:pt x="448" y="201"/>
                      </a:lnTo>
                      <a:lnTo>
                        <a:pt x="437" y="209"/>
                      </a:lnTo>
                      <a:lnTo>
                        <a:pt x="442" y="218"/>
                      </a:lnTo>
                      <a:lnTo>
                        <a:pt x="440" y="221"/>
                      </a:lnTo>
                      <a:lnTo>
                        <a:pt x="436" y="223"/>
                      </a:lnTo>
                      <a:lnTo>
                        <a:pt x="425" y="220"/>
                      </a:lnTo>
                      <a:lnTo>
                        <a:pt x="423" y="221"/>
                      </a:lnTo>
                      <a:lnTo>
                        <a:pt x="423" y="233"/>
                      </a:lnTo>
                      <a:lnTo>
                        <a:pt x="431" y="258"/>
                      </a:lnTo>
                      <a:lnTo>
                        <a:pt x="423" y="261"/>
                      </a:lnTo>
                      <a:lnTo>
                        <a:pt x="420" y="270"/>
                      </a:lnTo>
                      <a:lnTo>
                        <a:pt x="427" y="289"/>
                      </a:lnTo>
                      <a:lnTo>
                        <a:pt x="430" y="293"/>
                      </a:lnTo>
                      <a:lnTo>
                        <a:pt x="423" y="306"/>
                      </a:lnTo>
                      <a:lnTo>
                        <a:pt x="419" y="327"/>
                      </a:lnTo>
                      <a:lnTo>
                        <a:pt x="420" y="333"/>
                      </a:lnTo>
                      <a:lnTo>
                        <a:pt x="427" y="338"/>
                      </a:lnTo>
                      <a:lnTo>
                        <a:pt x="427" y="340"/>
                      </a:lnTo>
                      <a:lnTo>
                        <a:pt x="423" y="346"/>
                      </a:lnTo>
                      <a:lnTo>
                        <a:pt x="416" y="349"/>
                      </a:lnTo>
                      <a:lnTo>
                        <a:pt x="410" y="355"/>
                      </a:lnTo>
                      <a:lnTo>
                        <a:pt x="408" y="364"/>
                      </a:lnTo>
                      <a:lnTo>
                        <a:pt x="402" y="375"/>
                      </a:lnTo>
                      <a:lnTo>
                        <a:pt x="399" y="389"/>
                      </a:lnTo>
                      <a:lnTo>
                        <a:pt x="399" y="389"/>
                      </a:lnTo>
                      <a:lnTo>
                        <a:pt x="396" y="398"/>
                      </a:lnTo>
                      <a:lnTo>
                        <a:pt x="388" y="403"/>
                      </a:lnTo>
                      <a:lnTo>
                        <a:pt x="384" y="410"/>
                      </a:lnTo>
                      <a:lnTo>
                        <a:pt x="381" y="409"/>
                      </a:lnTo>
                      <a:lnTo>
                        <a:pt x="376" y="412"/>
                      </a:lnTo>
                      <a:lnTo>
                        <a:pt x="370" y="412"/>
                      </a:lnTo>
                      <a:lnTo>
                        <a:pt x="350" y="401"/>
                      </a:lnTo>
                      <a:lnTo>
                        <a:pt x="328" y="406"/>
                      </a:lnTo>
                      <a:lnTo>
                        <a:pt x="322" y="412"/>
                      </a:lnTo>
                      <a:lnTo>
                        <a:pt x="322" y="412"/>
                      </a:lnTo>
                      <a:lnTo>
                        <a:pt x="321" y="404"/>
                      </a:lnTo>
                      <a:lnTo>
                        <a:pt x="304" y="403"/>
                      </a:lnTo>
                      <a:lnTo>
                        <a:pt x="256" y="410"/>
                      </a:lnTo>
                      <a:lnTo>
                        <a:pt x="203" y="400"/>
                      </a:lnTo>
                      <a:lnTo>
                        <a:pt x="181" y="400"/>
                      </a:lnTo>
                      <a:lnTo>
                        <a:pt x="180" y="406"/>
                      </a:lnTo>
                      <a:lnTo>
                        <a:pt x="172" y="406"/>
                      </a:lnTo>
                      <a:lnTo>
                        <a:pt x="169" y="401"/>
                      </a:lnTo>
                      <a:lnTo>
                        <a:pt x="144" y="401"/>
                      </a:lnTo>
                      <a:lnTo>
                        <a:pt x="143" y="396"/>
                      </a:lnTo>
                      <a:lnTo>
                        <a:pt x="137" y="396"/>
                      </a:lnTo>
                      <a:lnTo>
                        <a:pt x="129" y="404"/>
                      </a:lnTo>
                      <a:lnTo>
                        <a:pt x="114" y="395"/>
                      </a:lnTo>
                      <a:lnTo>
                        <a:pt x="117" y="389"/>
                      </a:lnTo>
                      <a:lnTo>
                        <a:pt x="115" y="389"/>
                      </a:lnTo>
                      <a:lnTo>
                        <a:pt x="98" y="387"/>
                      </a:lnTo>
                      <a:lnTo>
                        <a:pt x="80" y="421"/>
                      </a:lnTo>
                      <a:lnTo>
                        <a:pt x="63" y="407"/>
                      </a:lnTo>
                      <a:lnTo>
                        <a:pt x="58" y="404"/>
                      </a:lnTo>
                      <a:lnTo>
                        <a:pt x="60" y="400"/>
                      </a:lnTo>
                      <a:lnTo>
                        <a:pt x="55" y="393"/>
                      </a:lnTo>
                      <a:lnTo>
                        <a:pt x="55" y="393"/>
                      </a:lnTo>
                      <a:lnTo>
                        <a:pt x="55" y="392"/>
                      </a:lnTo>
                      <a:lnTo>
                        <a:pt x="52" y="389"/>
                      </a:lnTo>
                      <a:lnTo>
                        <a:pt x="52" y="387"/>
                      </a:lnTo>
                      <a:lnTo>
                        <a:pt x="46" y="384"/>
                      </a:lnTo>
                      <a:lnTo>
                        <a:pt x="48" y="383"/>
                      </a:lnTo>
                      <a:lnTo>
                        <a:pt x="57" y="386"/>
                      </a:lnTo>
                      <a:lnTo>
                        <a:pt x="57" y="384"/>
                      </a:lnTo>
                      <a:lnTo>
                        <a:pt x="63" y="358"/>
                      </a:lnTo>
                      <a:lnTo>
                        <a:pt x="63" y="356"/>
                      </a:lnTo>
                      <a:lnTo>
                        <a:pt x="55" y="352"/>
                      </a:lnTo>
                      <a:lnTo>
                        <a:pt x="55" y="349"/>
                      </a:lnTo>
                      <a:lnTo>
                        <a:pt x="66" y="352"/>
                      </a:lnTo>
                      <a:lnTo>
                        <a:pt x="75" y="318"/>
                      </a:lnTo>
                      <a:lnTo>
                        <a:pt x="66" y="315"/>
                      </a:lnTo>
                      <a:lnTo>
                        <a:pt x="69" y="303"/>
                      </a:lnTo>
                      <a:lnTo>
                        <a:pt x="74" y="304"/>
                      </a:lnTo>
                      <a:lnTo>
                        <a:pt x="83" y="303"/>
                      </a:lnTo>
                      <a:lnTo>
                        <a:pt x="83" y="287"/>
                      </a:lnTo>
                      <a:lnTo>
                        <a:pt x="81" y="287"/>
                      </a:lnTo>
                      <a:lnTo>
                        <a:pt x="81" y="281"/>
                      </a:lnTo>
                      <a:lnTo>
                        <a:pt x="69" y="280"/>
                      </a:lnTo>
                      <a:lnTo>
                        <a:pt x="68" y="264"/>
                      </a:lnTo>
                      <a:lnTo>
                        <a:pt x="51" y="263"/>
                      </a:lnTo>
                      <a:lnTo>
                        <a:pt x="52" y="241"/>
                      </a:lnTo>
                      <a:lnTo>
                        <a:pt x="55" y="238"/>
                      </a:lnTo>
                      <a:lnTo>
                        <a:pt x="54" y="230"/>
                      </a:lnTo>
                      <a:lnTo>
                        <a:pt x="55" y="226"/>
                      </a:lnTo>
                      <a:lnTo>
                        <a:pt x="43" y="226"/>
                      </a:lnTo>
                      <a:lnTo>
                        <a:pt x="40" y="221"/>
                      </a:lnTo>
                      <a:lnTo>
                        <a:pt x="32" y="181"/>
                      </a:lnTo>
                      <a:lnTo>
                        <a:pt x="28" y="186"/>
                      </a:lnTo>
                      <a:lnTo>
                        <a:pt x="9" y="195"/>
                      </a:lnTo>
                      <a:lnTo>
                        <a:pt x="0" y="186"/>
                      </a:lnTo>
                      <a:lnTo>
                        <a:pt x="6" y="177"/>
                      </a:lnTo>
                      <a:lnTo>
                        <a:pt x="12" y="172"/>
                      </a:lnTo>
                      <a:lnTo>
                        <a:pt x="20" y="158"/>
                      </a:lnTo>
                      <a:lnTo>
                        <a:pt x="38" y="141"/>
                      </a:lnTo>
                      <a:lnTo>
                        <a:pt x="43" y="147"/>
                      </a:lnTo>
                      <a:lnTo>
                        <a:pt x="46" y="144"/>
                      </a:lnTo>
                      <a:lnTo>
                        <a:pt x="54" y="153"/>
                      </a:lnTo>
                      <a:lnTo>
                        <a:pt x="55" y="152"/>
                      </a:lnTo>
                      <a:lnTo>
                        <a:pt x="68" y="160"/>
                      </a:lnTo>
                      <a:lnTo>
                        <a:pt x="69" y="153"/>
                      </a:lnTo>
                      <a:lnTo>
                        <a:pt x="84" y="166"/>
                      </a:lnTo>
                      <a:lnTo>
                        <a:pt x="89" y="158"/>
                      </a:lnTo>
                      <a:lnTo>
                        <a:pt x="95" y="158"/>
                      </a:lnTo>
                      <a:lnTo>
                        <a:pt x="100" y="152"/>
                      </a:lnTo>
                      <a:lnTo>
                        <a:pt x="106" y="157"/>
                      </a:lnTo>
                      <a:lnTo>
                        <a:pt x="112" y="149"/>
                      </a:lnTo>
                      <a:lnTo>
                        <a:pt x="106" y="144"/>
                      </a:lnTo>
                      <a:lnTo>
                        <a:pt x="110" y="137"/>
                      </a:lnTo>
                      <a:lnTo>
                        <a:pt x="104" y="133"/>
                      </a:lnTo>
                      <a:lnTo>
                        <a:pt x="106" y="130"/>
                      </a:lnTo>
                      <a:lnTo>
                        <a:pt x="112" y="133"/>
                      </a:lnTo>
                      <a:lnTo>
                        <a:pt x="115" y="126"/>
                      </a:lnTo>
                      <a:lnTo>
                        <a:pt x="121" y="127"/>
                      </a:lnTo>
                      <a:lnTo>
                        <a:pt x="123" y="123"/>
                      </a:lnTo>
                      <a:lnTo>
                        <a:pt x="120" y="120"/>
                      </a:lnTo>
                      <a:lnTo>
                        <a:pt x="127" y="117"/>
                      </a:lnTo>
                      <a:lnTo>
                        <a:pt x="127" y="101"/>
                      </a:lnTo>
                      <a:lnTo>
                        <a:pt x="123" y="92"/>
                      </a:lnTo>
                      <a:lnTo>
                        <a:pt x="129" y="90"/>
                      </a:lnTo>
                      <a:lnTo>
                        <a:pt x="129" y="87"/>
                      </a:lnTo>
                      <a:lnTo>
                        <a:pt x="135" y="86"/>
                      </a:lnTo>
                      <a:lnTo>
                        <a:pt x="135" y="80"/>
                      </a:lnTo>
                      <a:lnTo>
                        <a:pt x="130" y="75"/>
                      </a:lnTo>
                      <a:lnTo>
                        <a:pt x="132" y="73"/>
                      </a:lnTo>
                      <a:lnTo>
                        <a:pt x="135" y="73"/>
                      </a:lnTo>
                      <a:lnTo>
                        <a:pt x="147" y="66"/>
                      </a:lnTo>
                      <a:lnTo>
                        <a:pt x="146" y="57"/>
                      </a:lnTo>
                      <a:lnTo>
                        <a:pt x="146" y="57"/>
                      </a:lnTo>
                      <a:lnTo>
                        <a:pt x="143" y="50"/>
                      </a:lnTo>
                      <a:lnTo>
                        <a:pt x="150" y="49"/>
                      </a:lnTo>
                      <a:lnTo>
                        <a:pt x="167" y="38"/>
                      </a:lnTo>
                      <a:lnTo>
                        <a:pt x="166" y="35"/>
                      </a:lnTo>
                      <a:lnTo>
                        <a:pt x="170" y="32"/>
                      </a:lnTo>
                      <a:lnTo>
                        <a:pt x="169" y="27"/>
                      </a:lnTo>
                      <a:lnTo>
                        <a:pt x="193" y="4"/>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82" name="Botosani" descr="{&quot;Key&quot;:&quot;botosani&quot;,&quot;Name&quot;:&quot;Botosani&quot;,&quot;Value&quot;:1.0,&quot;Formula&quot;:&quot;&quot;,&quot;Text&quot;:&quot;1&quot;,&quot;OfficeApplication&quot;:0,&quot;HasValue&quot;:true}">
                  <a:extLst>
                    <a:ext uri="{FF2B5EF4-FFF2-40B4-BE49-F238E27FC236}">
                      <a16:creationId xmlns:a16="http://schemas.microsoft.com/office/drawing/2014/main" id="{8AE4E587-4B53-55B7-1B3D-2D538706BD91}"/>
                    </a:ext>
                  </a:extLst>
                </p:cNvPr>
                <p:cNvSpPr>
                  <a:spLocks/>
                </p:cNvSpPr>
                <p:nvPr/>
              </p:nvSpPr>
              <p:spPr bwMode="auto">
                <a:xfrm>
                  <a:off x="6788150" y="1323976"/>
                  <a:ext cx="822325" cy="774700"/>
                </a:xfrm>
                <a:custGeom>
                  <a:avLst/>
                  <a:gdLst>
                    <a:gd name="T0" fmla="*/ 282 w 518"/>
                    <a:gd name="T1" fmla="*/ 11 h 488"/>
                    <a:gd name="T2" fmla="*/ 305 w 518"/>
                    <a:gd name="T3" fmla="*/ 19 h 488"/>
                    <a:gd name="T4" fmla="*/ 327 w 518"/>
                    <a:gd name="T5" fmla="*/ 49 h 488"/>
                    <a:gd name="T6" fmla="*/ 345 w 518"/>
                    <a:gd name="T7" fmla="*/ 48 h 488"/>
                    <a:gd name="T8" fmla="*/ 360 w 518"/>
                    <a:gd name="T9" fmla="*/ 68 h 488"/>
                    <a:gd name="T10" fmla="*/ 348 w 518"/>
                    <a:gd name="T11" fmla="*/ 79 h 488"/>
                    <a:gd name="T12" fmla="*/ 373 w 518"/>
                    <a:gd name="T13" fmla="*/ 82 h 488"/>
                    <a:gd name="T14" fmla="*/ 374 w 518"/>
                    <a:gd name="T15" fmla="*/ 105 h 488"/>
                    <a:gd name="T16" fmla="*/ 405 w 518"/>
                    <a:gd name="T17" fmla="*/ 140 h 488"/>
                    <a:gd name="T18" fmla="*/ 412 w 518"/>
                    <a:gd name="T19" fmla="*/ 148 h 488"/>
                    <a:gd name="T20" fmla="*/ 425 w 518"/>
                    <a:gd name="T21" fmla="*/ 174 h 488"/>
                    <a:gd name="T22" fmla="*/ 443 w 518"/>
                    <a:gd name="T23" fmla="*/ 215 h 488"/>
                    <a:gd name="T24" fmla="*/ 457 w 518"/>
                    <a:gd name="T25" fmla="*/ 262 h 488"/>
                    <a:gd name="T26" fmla="*/ 460 w 518"/>
                    <a:gd name="T27" fmla="*/ 269 h 488"/>
                    <a:gd name="T28" fmla="*/ 469 w 518"/>
                    <a:gd name="T29" fmla="*/ 300 h 488"/>
                    <a:gd name="T30" fmla="*/ 478 w 518"/>
                    <a:gd name="T31" fmla="*/ 308 h 488"/>
                    <a:gd name="T32" fmla="*/ 477 w 518"/>
                    <a:gd name="T33" fmla="*/ 317 h 488"/>
                    <a:gd name="T34" fmla="*/ 463 w 518"/>
                    <a:gd name="T35" fmla="*/ 325 h 488"/>
                    <a:gd name="T36" fmla="*/ 482 w 518"/>
                    <a:gd name="T37" fmla="*/ 348 h 488"/>
                    <a:gd name="T38" fmla="*/ 506 w 518"/>
                    <a:gd name="T39" fmla="*/ 383 h 488"/>
                    <a:gd name="T40" fmla="*/ 514 w 518"/>
                    <a:gd name="T41" fmla="*/ 405 h 488"/>
                    <a:gd name="T42" fmla="*/ 466 w 518"/>
                    <a:gd name="T43" fmla="*/ 412 h 488"/>
                    <a:gd name="T44" fmla="*/ 459 w 518"/>
                    <a:gd name="T45" fmla="*/ 437 h 488"/>
                    <a:gd name="T46" fmla="*/ 411 w 518"/>
                    <a:gd name="T47" fmla="*/ 426 h 488"/>
                    <a:gd name="T48" fmla="*/ 396 w 518"/>
                    <a:gd name="T49" fmla="*/ 474 h 488"/>
                    <a:gd name="T50" fmla="*/ 374 w 518"/>
                    <a:gd name="T51" fmla="*/ 475 h 488"/>
                    <a:gd name="T52" fmla="*/ 336 w 518"/>
                    <a:gd name="T53" fmla="*/ 454 h 488"/>
                    <a:gd name="T54" fmla="*/ 291 w 518"/>
                    <a:gd name="T55" fmla="*/ 448 h 488"/>
                    <a:gd name="T56" fmla="*/ 261 w 518"/>
                    <a:gd name="T57" fmla="*/ 452 h 488"/>
                    <a:gd name="T58" fmla="*/ 236 w 518"/>
                    <a:gd name="T59" fmla="*/ 471 h 488"/>
                    <a:gd name="T60" fmla="*/ 204 w 518"/>
                    <a:gd name="T61" fmla="*/ 479 h 488"/>
                    <a:gd name="T62" fmla="*/ 201 w 518"/>
                    <a:gd name="T63" fmla="*/ 459 h 488"/>
                    <a:gd name="T64" fmla="*/ 188 w 518"/>
                    <a:gd name="T65" fmla="*/ 446 h 488"/>
                    <a:gd name="T66" fmla="*/ 192 w 518"/>
                    <a:gd name="T67" fmla="*/ 420 h 488"/>
                    <a:gd name="T68" fmla="*/ 181 w 518"/>
                    <a:gd name="T69" fmla="*/ 395 h 488"/>
                    <a:gd name="T70" fmla="*/ 181 w 518"/>
                    <a:gd name="T71" fmla="*/ 379 h 488"/>
                    <a:gd name="T72" fmla="*/ 173 w 518"/>
                    <a:gd name="T73" fmla="*/ 366 h 488"/>
                    <a:gd name="T74" fmla="*/ 164 w 518"/>
                    <a:gd name="T75" fmla="*/ 357 h 488"/>
                    <a:gd name="T76" fmla="*/ 152 w 518"/>
                    <a:gd name="T77" fmla="*/ 342 h 488"/>
                    <a:gd name="T78" fmla="*/ 147 w 518"/>
                    <a:gd name="T79" fmla="*/ 331 h 488"/>
                    <a:gd name="T80" fmla="*/ 135 w 518"/>
                    <a:gd name="T81" fmla="*/ 325 h 488"/>
                    <a:gd name="T82" fmla="*/ 127 w 518"/>
                    <a:gd name="T83" fmla="*/ 322 h 488"/>
                    <a:gd name="T84" fmla="*/ 127 w 518"/>
                    <a:gd name="T85" fmla="*/ 302 h 488"/>
                    <a:gd name="T86" fmla="*/ 118 w 518"/>
                    <a:gd name="T87" fmla="*/ 292 h 488"/>
                    <a:gd name="T88" fmla="*/ 95 w 518"/>
                    <a:gd name="T89" fmla="*/ 259 h 488"/>
                    <a:gd name="T90" fmla="*/ 86 w 518"/>
                    <a:gd name="T91" fmla="*/ 252 h 488"/>
                    <a:gd name="T92" fmla="*/ 83 w 518"/>
                    <a:gd name="T93" fmla="*/ 239 h 488"/>
                    <a:gd name="T94" fmla="*/ 66 w 518"/>
                    <a:gd name="T95" fmla="*/ 226 h 488"/>
                    <a:gd name="T96" fmla="*/ 52 w 518"/>
                    <a:gd name="T97" fmla="*/ 223 h 488"/>
                    <a:gd name="T98" fmla="*/ 40 w 518"/>
                    <a:gd name="T99" fmla="*/ 209 h 488"/>
                    <a:gd name="T100" fmla="*/ 23 w 518"/>
                    <a:gd name="T101" fmla="*/ 200 h 488"/>
                    <a:gd name="T102" fmla="*/ 17 w 518"/>
                    <a:gd name="T103" fmla="*/ 165 h 488"/>
                    <a:gd name="T104" fmla="*/ 76 w 518"/>
                    <a:gd name="T105" fmla="*/ 108 h 488"/>
                    <a:gd name="T106" fmla="*/ 106 w 518"/>
                    <a:gd name="T107" fmla="*/ 46 h 488"/>
                    <a:gd name="T108" fmla="*/ 119 w 518"/>
                    <a:gd name="T109" fmla="*/ 45 h 488"/>
                    <a:gd name="T110" fmla="*/ 158 w 518"/>
                    <a:gd name="T111" fmla="*/ 28 h 488"/>
                    <a:gd name="T112" fmla="*/ 195 w 518"/>
                    <a:gd name="T113" fmla="*/ 25 h 488"/>
                    <a:gd name="T114" fmla="*/ 211 w 518"/>
                    <a:gd name="T115" fmla="*/ 6 h 488"/>
                    <a:gd name="T116" fmla="*/ 228 w 518"/>
                    <a:gd name="T117" fmla="*/ 2 h 488"/>
                    <a:gd name="T118" fmla="*/ 247 w 518"/>
                    <a:gd name="T119"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8" h="488">
                      <a:moveTo>
                        <a:pt x="251" y="9"/>
                      </a:moveTo>
                      <a:lnTo>
                        <a:pt x="259" y="12"/>
                      </a:lnTo>
                      <a:lnTo>
                        <a:pt x="271" y="11"/>
                      </a:lnTo>
                      <a:lnTo>
                        <a:pt x="279" y="14"/>
                      </a:lnTo>
                      <a:lnTo>
                        <a:pt x="281" y="9"/>
                      </a:lnTo>
                      <a:lnTo>
                        <a:pt x="282" y="11"/>
                      </a:lnTo>
                      <a:lnTo>
                        <a:pt x="288" y="6"/>
                      </a:lnTo>
                      <a:lnTo>
                        <a:pt x="290" y="12"/>
                      </a:lnTo>
                      <a:lnTo>
                        <a:pt x="294" y="14"/>
                      </a:lnTo>
                      <a:lnTo>
                        <a:pt x="297" y="23"/>
                      </a:lnTo>
                      <a:lnTo>
                        <a:pt x="299" y="23"/>
                      </a:lnTo>
                      <a:lnTo>
                        <a:pt x="305" y="19"/>
                      </a:lnTo>
                      <a:lnTo>
                        <a:pt x="310" y="28"/>
                      </a:lnTo>
                      <a:lnTo>
                        <a:pt x="319" y="37"/>
                      </a:lnTo>
                      <a:lnTo>
                        <a:pt x="328" y="37"/>
                      </a:lnTo>
                      <a:lnTo>
                        <a:pt x="327" y="42"/>
                      </a:lnTo>
                      <a:lnTo>
                        <a:pt x="322" y="43"/>
                      </a:lnTo>
                      <a:lnTo>
                        <a:pt x="327" y="49"/>
                      </a:lnTo>
                      <a:lnTo>
                        <a:pt x="330" y="51"/>
                      </a:lnTo>
                      <a:lnTo>
                        <a:pt x="333" y="49"/>
                      </a:lnTo>
                      <a:lnTo>
                        <a:pt x="331" y="39"/>
                      </a:lnTo>
                      <a:lnTo>
                        <a:pt x="337" y="39"/>
                      </a:lnTo>
                      <a:lnTo>
                        <a:pt x="342" y="42"/>
                      </a:lnTo>
                      <a:lnTo>
                        <a:pt x="345" y="48"/>
                      </a:lnTo>
                      <a:lnTo>
                        <a:pt x="342" y="52"/>
                      </a:lnTo>
                      <a:lnTo>
                        <a:pt x="339" y="54"/>
                      </a:lnTo>
                      <a:lnTo>
                        <a:pt x="339" y="59"/>
                      </a:lnTo>
                      <a:lnTo>
                        <a:pt x="342" y="62"/>
                      </a:lnTo>
                      <a:lnTo>
                        <a:pt x="354" y="62"/>
                      </a:lnTo>
                      <a:lnTo>
                        <a:pt x="360" y="68"/>
                      </a:lnTo>
                      <a:lnTo>
                        <a:pt x="360" y="71"/>
                      </a:lnTo>
                      <a:lnTo>
                        <a:pt x="356" y="72"/>
                      </a:lnTo>
                      <a:lnTo>
                        <a:pt x="348" y="66"/>
                      </a:lnTo>
                      <a:lnTo>
                        <a:pt x="347" y="68"/>
                      </a:lnTo>
                      <a:lnTo>
                        <a:pt x="345" y="74"/>
                      </a:lnTo>
                      <a:lnTo>
                        <a:pt x="348" y="79"/>
                      </a:lnTo>
                      <a:lnTo>
                        <a:pt x="353" y="80"/>
                      </a:lnTo>
                      <a:lnTo>
                        <a:pt x="359" y="80"/>
                      </a:lnTo>
                      <a:lnTo>
                        <a:pt x="365" y="85"/>
                      </a:lnTo>
                      <a:lnTo>
                        <a:pt x="371" y="76"/>
                      </a:lnTo>
                      <a:lnTo>
                        <a:pt x="376" y="76"/>
                      </a:lnTo>
                      <a:lnTo>
                        <a:pt x="373" y="82"/>
                      </a:lnTo>
                      <a:lnTo>
                        <a:pt x="374" y="83"/>
                      </a:lnTo>
                      <a:lnTo>
                        <a:pt x="377" y="80"/>
                      </a:lnTo>
                      <a:lnTo>
                        <a:pt x="379" y="80"/>
                      </a:lnTo>
                      <a:lnTo>
                        <a:pt x="377" y="86"/>
                      </a:lnTo>
                      <a:lnTo>
                        <a:pt x="380" y="96"/>
                      </a:lnTo>
                      <a:lnTo>
                        <a:pt x="374" y="105"/>
                      </a:lnTo>
                      <a:lnTo>
                        <a:pt x="380" y="108"/>
                      </a:lnTo>
                      <a:lnTo>
                        <a:pt x="382" y="116"/>
                      </a:lnTo>
                      <a:lnTo>
                        <a:pt x="396" y="126"/>
                      </a:lnTo>
                      <a:lnTo>
                        <a:pt x="397" y="135"/>
                      </a:lnTo>
                      <a:lnTo>
                        <a:pt x="405" y="137"/>
                      </a:lnTo>
                      <a:lnTo>
                        <a:pt x="405" y="140"/>
                      </a:lnTo>
                      <a:lnTo>
                        <a:pt x="400" y="143"/>
                      </a:lnTo>
                      <a:lnTo>
                        <a:pt x="399" y="148"/>
                      </a:lnTo>
                      <a:lnTo>
                        <a:pt x="400" y="152"/>
                      </a:lnTo>
                      <a:lnTo>
                        <a:pt x="405" y="152"/>
                      </a:lnTo>
                      <a:lnTo>
                        <a:pt x="408" y="149"/>
                      </a:lnTo>
                      <a:lnTo>
                        <a:pt x="412" y="148"/>
                      </a:lnTo>
                      <a:lnTo>
                        <a:pt x="414" y="151"/>
                      </a:lnTo>
                      <a:lnTo>
                        <a:pt x="411" y="157"/>
                      </a:lnTo>
                      <a:lnTo>
                        <a:pt x="414" y="160"/>
                      </a:lnTo>
                      <a:lnTo>
                        <a:pt x="417" y="162"/>
                      </a:lnTo>
                      <a:lnTo>
                        <a:pt x="428" y="160"/>
                      </a:lnTo>
                      <a:lnTo>
                        <a:pt x="425" y="174"/>
                      </a:lnTo>
                      <a:lnTo>
                        <a:pt x="420" y="177"/>
                      </a:lnTo>
                      <a:lnTo>
                        <a:pt x="434" y="189"/>
                      </a:lnTo>
                      <a:lnTo>
                        <a:pt x="425" y="199"/>
                      </a:lnTo>
                      <a:lnTo>
                        <a:pt x="423" y="205"/>
                      </a:lnTo>
                      <a:lnTo>
                        <a:pt x="439" y="211"/>
                      </a:lnTo>
                      <a:lnTo>
                        <a:pt x="443" y="215"/>
                      </a:lnTo>
                      <a:lnTo>
                        <a:pt x="448" y="232"/>
                      </a:lnTo>
                      <a:lnTo>
                        <a:pt x="448" y="246"/>
                      </a:lnTo>
                      <a:lnTo>
                        <a:pt x="454" y="252"/>
                      </a:lnTo>
                      <a:lnTo>
                        <a:pt x="462" y="254"/>
                      </a:lnTo>
                      <a:lnTo>
                        <a:pt x="463" y="257"/>
                      </a:lnTo>
                      <a:lnTo>
                        <a:pt x="457" y="262"/>
                      </a:lnTo>
                      <a:lnTo>
                        <a:pt x="452" y="257"/>
                      </a:lnTo>
                      <a:lnTo>
                        <a:pt x="449" y="262"/>
                      </a:lnTo>
                      <a:lnTo>
                        <a:pt x="449" y="266"/>
                      </a:lnTo>
                      <a:lnTo>
                        <a:pt x="452" y="268"/>
                      </a:lnTo>
                      <a:lnTo>
                        <a:pt x="460" y="268"/>
                      </a:lnTo>
                      <a:lnTo>
                        <a:pt x="460" y="269"/>
                      </a:lnTo>
                      <a:lnTo>
                        <a:pt x="455" y="274"/>
                      </a:lnTo>
                      <a:lnTo>
                        <a:pt x="457" y="277"/>
                      </a:lnTo>
                      <a:lnTo>
                        <a:pt x="463" y="280"/>
                      </a:lnTo>
                      <a:lnTo>
                        <a:pt x="465" y="289"/>
                      </a:lnTo>
                      <a:lnTo>
                        <a:pt x="469" y="288"/>
                      </a:lnTo>
                      <a:lnTo>
                        <a:pt x="469" y="300"/>
                      </a:lnTo>
                      <a:lnTo>
                        <a:pt x="471" y="300"/>
                      </a:lnTo>
                      <a:lnTo>
                        <a:pt x="475" y="297"/>
                      </a:lnTo>
                      <a:lnTo>
                        <a:pt x="477" y="303"/>
                      </a:lnTo>
                      <a:lnTo>
                        <a:pt x="475" y="305"/>
                      </a:lnTo>
                      <a:lnTo>
                        <a:pt x="475" y="306"/>
                      </a:lnTo>
                      <a:lnTo>
                        <a:pt x="478" y="308"/>
                      </a:lnTo>
                      <a:lnTo>
                        <a:pt x="482" y="305"/>
                      </a:lnTo>
                      <a:lnTo>
                        <a:pt x="483" y="306"/>
                      </a:lnTo>
                      <a:lnTo>
                        <a:pt x="482" y="309"/>
                      </a:lnTo>
                      <a:lnTo>
                        <a:pt x="478" y="309"/>
                      </a:lnTo>
                      <a:lnTo>
                        <a:pt x="475" y="314"/>
                      </a:lnTo>
                      <a:lnTo>
                        <a:pt x="477" y="317"/>
                      </a:lnTo>
                      <a:lnTo>
                        <a:pt x="482" y="320"/>
                      </a:lnTo>
                      <a:lnTo>
                        <a:pt x="480" y="323"/>
                      </a:lnTo>
                      <a:lnTo>
                        <a:pt x="474" y="319"/>
                      </a:lnTo>
                      <a:lnTo>
                        <a:pt x="471" y="320"/>
                      </a:lnTo>
                      <a:lnTo>
                        <a:pt x="469" y="317"/>
                      </a:lnTo>
                      <a:lnTo>
                        <a:pt x="463" y="325"/>
                      </a:lnTo>
                      <a:lnTo>
                        <a:pt x="469" y="328"/>
                      </a:lnTo>
                      <a:lnTo>
                        <a:pt x="472" y="335"/>
                      </a:lnTo>
                      <a:lnTo>
                        <a:pt x="477" y="335"/>
                      </a:lnTo>
                      <a:lnTo>
                        <a:pt x="472" y="342"/>
                      </a:lnTo>
                      <a:lnTo>
                        <a:pt x="475" y="346"/>
                      </a:lnTo>
                      <a:lnTo>
                        <a:pt x="482" y="348"/>
                      </a:lnTo>
                      <a:lnTo>
                        <a:pt x="482" y="357"/>
                      </a:lnTo>
                      <a:lnTo>
                        <a:pt x="486" y="359"/>
                      </a:lnTo>
                      <a:lnTo>
                        <a:pt x="489" y="365"/>
                      </a:lnTo>
                      <a:lnTo>
                        <a:pt x="489" y="369"/>
                      </a:lnTo>
                      <a:lnTo>
                        <a:pt x="497" y="379"/>
                      </a:lnTo>
                      <a:lnTo>
                        <a:pt x="506" y="383"/>
                      </a:lnTo>
                      <a:lnTo>
                        <a:pt x="509" y="391"/>
                      </a:lnTo>
                      <a:lnTo>
                        <a:pt x="512" y="394"/>
                      </a:lnTo>
                      <a:lnTo>
                        <a:pt x="512" y="395"/>
                      </a:lnTo>
                      <a:lnTo>
                        <a:pt x="518" y="400"/>
                      </a:lnTo>
                      <a:lnTo>
                        <a:pt x="518" y="400"/>
                      </a:lnTo>
                      <a:lnTo>
                        <a:pt x="514" y="405"/>
                      </a:lnTo>
                      <a:lnTo>
                        <a:pt x="506" y="403"/>
                      </a:lnTo>
                      <a:lnTo>
                        <a:pt x="494" y="408"/>
                      </a:lnTo>
                      <a:lnTo>
                        <a:pt x="492" y="406"/>
                      </a:lnTo>
                      <a:lnTo>
                        <a:pt x="478" y="417"/>
                      </a:lnTo>
                      <a:lnTo>
                        <a:pt x="472" y="412"/>
                      </a:lnTo>
                      <a:lnTo>
                        <a:pt x="466" y="412"/>
                      </a:lnTo>
                      <a:lnTo>
                        <a:pt x="463" y="417"/>
                      </a:lnTo>
                      <a:lnTo>
                        <a:pt x="465" y="419"/>
                      </a:lnTo>
                      <a:lnTo>
                        <a:pt x="469" y="432"/>
                      </a:lnTo>
                      <a:lnTo>
                        <a:pt x="468" y="434"/>
                      </a:lnTo>
                      <a:lnTo>
                        <a:pt x="465" y="432"/>
                      </a:lnTo>
                      <a:lnTo>
                        <a:pt x="459" y="437"/>
                      </a:lnTo>
                      <a:lnTo>
                        <a:pt x="454" y="439"/>
                      </a:lnTo>
                      <a:lnTo>
                        <a:pt x="431" y="439"/>
                      </a:lnTo>
                      <a:lnTo>
                        <a:pt x="429" y="429"/>
                      </a:lnTo>
                      <a:lnTo>
                        <a:pt x="426" y="434"/>
                      </a:lnTo>
                      <a:lnTo>
                        <a:pt x="420" y="437"/>
                      </a:lnTo>
                      <a:lnTo>
                        <a:pt x="411" y="426"/>
                      </a:lnTo>
                      <a:lnTo>
                        <a:pt x="406" y="423"/>
                      </a:lnTo>
                      <a:lnTo>
                        <a:pt x="403" y="423"/>
                      </a:lnTo>
                      <a:lnTo>
                        <a:pt x="399" y="431"/>
                      </a:lnTo>
                      <a:lnTo>
                        <a:pt x="394" y="451"/>
                      </a:lnTo>
                      <a:lnTo>
                        <a:pt x="396" y="455"/>
                      </a:lnTo>
                      <a:lnTo>
                        <a:pt x="396" y="474"/>
                      </a:lnTo>
                      <a:lnTo>
                        <a:pt x="389" y="471"/>
                      </a:lnTo>
                      <a:lnTo>
                        <a:pt x="389" y="479"/>
                      </a:lnTo>
                      <a:lnTo>
                        <a:pt x="385" y="480"/>
                      </a:lnTo>
                      <a:lnTo>
                        <a:pt x="380" y="488"/>
                      </a:lnTo>
                      <a:lnTo>
                        <a:pt x="374" y="480"/>
                      </a:lnTo>
                      <a:lnTo>
                        <a:pt x="374" y="475"/>
                      </a:lnTo>
                      <a:lnTo>
                        <a:pt x="370" y="471"/>
                      </a:lnTo>
                      <a:lnTo>
                        <a:pt x="363" y="459"/>
                      </a:lnTo>
                      <a:lnTo>
                        <a:pt x="357" y="457"/>
                      </a:lnTo>
                      <a:lnTo>
                        <a:pt x="351" y="454"/>
                      </a:lnTo>
                      <a:lnTo>
                        <a:pt x="348" y="457"/>
                      </a:lnTo>
                      <a:lnTo>
                        <a:pt x="336" y="454"/>
                      </a:lnTo>
                      <a:lnTo>
                        <a:pt x="333" y="457"/>
                      </a:lnTo>
                      <a:lnTo>
                        <a:pt x="322" y="459"/>
                      </a:lnTo>
                      <a:lnTo>
                        <a:pt x="316" y="457"/>
                      </a:lnTo>
                      <a:lnTo>
                        <a:pt x="308" y="454"/>
                      </a:lnTo>
                      <a:lnTo>
                        <a:pt x="302" y="455"/>
                      </a:lnTo>
                      <a:lnTo>
                        <a:pt x="291" y="448"/>
                      </a:lnTo>
                      <a:lnTo>
                        <a:pt x="288" y="451"/>
                      </a:lnTo>
                      <a:lnTo>
                        <a:pt x="284" y="451"/>
                      </a:lnTo>
                      <a:lnTo>
                        <a:pt x="274" y="445"/>
                      </a:lnTo>
                      <a:lnTo>
                        <a:pt x="262" y="440"/>
                      </a:lnTo>
                      <a:lnTo>
                        <a:pt x="254" y="446"/>
                      </a:lnTo>
                      <a:lnTo>
                        <a:pt x="261" y="452"/>
                      </a:lnTo>
                      <a:lnTo>
                        <a:pt x="258" y="457"/>
                      </a:lnTo>
                      <a:lnTo>
                        <a:pt x="251" y="460"/>
                      </a:lnTo>
                      <a:lnTo>
                        <a:pt x="244" y="457"/>
                      </a:lnTo>
                      <a:lnTo>
                        <a:pt x="244" y="465"/>
                      </a:lnTo>
                      <a:lnTo>
                        <a:pt x="236" y="471"/>
                      </a:lnTo>
                      <a:lnTo>
                        <a:pt x="236" y="471"/>
                      </a:lnTo>
                      <a:lnTo>
                        <a:pt x="233" y="474"/>
                      </a:lnTo>
                      <a:lnTo>
                        <a:pt x="228" y="474"/>
                      </a:lnTo>
                      <a:lnTo>
                        <a:pt x="222" y="471"/>
                      </a:lnTo>
                      <a:lnTo>
                        <a:pt x="215" y="475"/>
                      </a:lnTo>
                      <a:lnTo>
                        <a:pt x="207" y="475"/>
                      </a:lnTo>
                      <a:lnTo>
                        <a:pt x="204" y="479"/>
                      </a:lnTo>
                      <a:lnTo>
                        <a:pt x="202" y="477"/>
                      </a:lnTo>
                      <a:lnTo>
                        <a:pt x="202" y="475"/>
                      </a:lnTo>
                      <a:lnTo>
                        <a:pt x="201" y="472"/>
                      </a:lnTo>
                      <a:lnTo>
                        <a:pt x="202" y="469"/>
                      </a:lnTo>
                      <a:lnTo>
                        <a:pt x="201" y="466"/>
                      </a:lnTo>
                      <a:lnTo>
                        <a:pt x="201" y="459"/>
                      </a:lnTo>
                      <a:lnTo>
                        <a:pt x="198" y="459"/>
                      </a:lnTo>
                      <a:lnTo>
                        <a:pt x="198" y="455"/>
                      </a:lnTo>
                      <a:lnTo>
                        <a:pt x="195" y="452"/>
                      </a:lnTo>
                      <a:lnTo>
                        <a:pt x="190" y="455"/>
                      </a:lnTo>
                      <a:lnTo>
                        <a:pt x="185" y="449"/>
                      </a:lnTo>
                      <a:lnTo>
                        <a:pt x="188" y="446"/>
                      </a:lnTo>
                      <a:lnTo>
                        <a:pt x="193" y="445"/>
                      </a:lnTo>
                      <a:lnTo>
                        <a:pt x="205" y="442"/>
                      </a:lnTo>
                      <a:lnTo>
                        <a:pt x="207" y="434"/>
                      </a:lnTo>
                      <a:lnTo>
                        <a:pt x="196" y="432"/>
                      </a:lnTo>
                      <a:lnTo>
                        <a:pt x="196" y="429"/>
                      </a:lnTo>
                      <a:lnTo>
                        <a:pt x="192" y="420"/>
                      </a:lnTo>
                      <a:lnTo>
                        <a:pt x="192" y="414"/>
                      </a:lnTo>
                      <a:lnTo>
                        <a:pt x="188" y="409"/>
                      </a:lnTo>
                      <a:lnTo>
                        <a:pt x="188" y="408"/>
                      </a:lnTo>
                      <a:lnTo>
                        <a:pt x="182" y="405"/>
                      </a:lnTo>
                      <a:lnTo>
                        <a:pt x="182" y="402"/>
                      </a:lnTo>
                      <a:lnTo>
                        <a:pt x="181" y="395"/>
                      </a:lnTo>
                      <a:lnTo>
                        <a:pt x="184" y="395"/>
                      </a:lnTo>
                      <a:lnTo>
                        <a:pt x="184" y="391"/>
                      </a:lnTo>
                      <a:lnTo>
                        <a:pt x="185" y="389"/>
                      </a:lnTo>
                      <a:lnTo>
                        <a:pt x="184" y="385"/>
                      </a:lnTo>
                      <a:lnTo>
                        <a:pt x="179" y="383"/>
                      </a:lnTo>
                      <a:lnTo>
                        <a:pt x="181" y="379"/>
                      </a:lnTo>
                      <a:lnTo>
                        <a:pt x="182" y="375"/>
                      </a:lnTo>
                      <a:lnTo>
                        <a:pt x="179" y="372"/>
                      </a:lnTo>
                      <a:lnTo>
                        <a:pt x="182" y="371"/>
                      </a:lnTo>
                      <a:lnTo>
                        <a:pt x="184" y="369"/>
                      </a:lnTo>
                      <a:lnTo>
                        <a:pt x="179" y="366"/>
                      </a:lnTo>
                      <a:lnTo>
                        <a:pt x="173" y="366"/>
                      </a:lnTo>
                      <a:lnTo>
                        <a:pt x="173" y="365"/>
                      </a:lnTo>
                      <a:lnTo>
                        <a:pt x="170" y="365"/>
                      </a:lnTo>
                      <a:lnTo>
                        <a:pt x="167" y="362"/>
                      </a:lnTo>
                      <a:lnTo>
                        <a:pt x="167" y="360"/>
                      </a:lnTo>
                      <a:lnTo>
                        <a:pt x="164" y="360"/>
                      </a:lnTo>
                      <a:lnTo>
                        <a:pt x="164" y="357"/>
                      </a:lnTo>
                      <a:lnTo>
                        <a:pt x="158" y="357"/>
                      </a:lnTo>
                      <a:lnTo>
                        <a:pt x="161" y="354"/>
                      </a:lnTo>
                      <a:lnTo>
                        <a:pt x="156" y="351"/>
                      </a:lnTo>
                      <a:lnTo>
                        <a:pt x="158" y="348"/>
                      </a:lnTo>
                      <a:lnTo>
                        <a:pt x="159" y="345"/>
                      </a:lnTo>
                      <a:lnTo>
                        <a:pt x="152" y="342"/>
                      </a:lnTo>
                      <a:lnTo>
                        <a:pt x="155" y="340"/>
                      </a:lnTo>
                      <a:lnTo>
                        <a:pt x="152" y="337"/>
                      </a:lnTo>
                      <a:lnTo>
                        <a:pt x="149" y="340"/>
                      </a:lnTo>
                      <a:lnTo>
                        <a:pt x="149" y="335"/>
                      </a:lnTo>
                      <a:lnTo>
                        <a:pt x="146" y="334"/>
                      </a:lnTo>
                      <a:lnTo>
                        <a:pt x="147" y="331"/>
                      </a:lnTo>
                      <a:lnTo>
                        <a:pt x="144" y="328"/>
                      </a:lnTo>
                      <a:lnTo>
                        <a:pt x="144" y="325"/>
                      </a:lnTo>
                      <a:lnTo>
                        <a:pt x="139" y="326"/>
                      </a:lnTo>
                      <a:lnTo>
                        <a:pt x="139" y="323"/>
                      </a:lnTo>
                      <a:lnTo>
                        <a:pt x="135" y="322"/>
                      </a:lnTo>
                      <a:lnTo>
                        <a:pt x="135" y="325"/>
                      </a:lnTo>
                      <a:lnTo>
                        <a:pt x="132" y="325"/>
                      </a:lnTo>
                      <a:lnTo>
                        <a:pt x="132" y="323"/>
                      </a:lnTo>
                      <a:lnTo>
                        <a:pt x="133" y="323"/>
                      </a:lnTo>
                      <a:lnTo>
                        <a:pt x="132" y="323"/>
                      </a:lnTo>
                      <a:lnTo>
                        <a:pt x="133" y="320"/>
                      </a:lnTo>
                      <a:lnTo>
                        <a:pt x="127" y="322"/>
                      </a:lnTo>
                      <a:lnTo>
                        <a:pt x="127" y="317"/>
                      </a:lnTo>
                      <a:lnTo>
                        <a:pt x="124" y="315"/>
                      </a:lnTo>
                      <a:lnTo>
                        <a:pt x="121" y="309"/>
                      </a:lnTo>
                      <a:lnTo>
                        <a:pt x="127" y="305"/>
                      </a:lnTo>
                      <a:lnTo>
                        <a:pt x="126" y="302"/>
                      </a:lnTo>
                      <a:lnTo>
                        <a:pt x="127" y="302"/>
                      </a:lnTo>
                      <a:lnTo>
                        <a:pt x="127" y="300"/>
                      </a:lnTo>
                      <a:lnTo>
                        <a:pt x="122" y="295"/>
                      </a:lnTo>
                      <a:lnTo>
                        <a:pt x="119" y="297"/>
                      </a:lnTo>
                      <a:lnTo>
                        <a:pt x="119" y="294"/>
                      </a:lnTo>
                      <a:lnTo>
                        <a:pt x="118" y="295"/>
                      </a:lnTo>
                      <a:lnTo>
                        <a:pt x="118" y="292"/>
                      </a:lnTo>
                      <a:lnTo>
                        <a:pt x="115" y="294"/>
                      </a:lnTo>
                      <a:lnTo>
                        <a:pt x="112" y="289"/>
                      </a:lnTo>
                      <a:lnTo>
                        <a:pt x="93" y="268"/>
                      </a:lnTo>
                      <a:lnTo>
                        <a:pt x="93" y="260"/>
                      </a:lnTo>
                      <a:lnTo>
                        <a:pt x="95" y="260"/>
                      </a:lnTo>
                      <a:lnTo>
                        <a:pt x="95" y="259"/>
                      </a:lnTo>
                      <a:lnTo>
                        <a:pt x="90" y="259"/>
                      </a:lnTo>
                      <a:lnTo>
                        <a:pt x="90" y="255"/>
                      </a:lnTo>
                      <a:lnTo>
                        <a:pt x="89" y="254"/>
                      </a:lnTo>
                      <a:lnTo>
                        <a:pt x="89" y="257"/>
                      </a:lnTo>
                      <a:lnTo>
                        <a:pt x="86" y="255"/>
                      </a:lnTo>
                      <a:lnTo>
                        <a:pt x="86" y="252"/>
                      </a:lnTo>
                      <a:lnTo>
                        <a:pt x="89" y="252"/>
                      </a:lnTo>
                      <a:lnTo>
                        <a:pt x="86" y="249"/>
                      </a:lnTo>
                      <a:lnTo>
                        <a:pt x="89" y="248"/>
                      </a:lnTo>
                      <a:lnTo>
                        <a:pt x="87" y="245"/>
                      </a:lnTo>
                      <a:lnTo>
                        <a:pt x="84" y="243"/>
                      </a:lnTo>
                      <a:lnTo>
                        <a:pt x="83" y="239"/>
                      </a:lnTo>
                      <a:lnTo>
                        <a:pt x="81" y="239"/>
                      </a:lnTo>
                      <a:lnTo>
                        <a:pt x="78" y="243"/>
                      </a:lnTo>
                      <a:lnTo>
                        <a:pt x="75" y="234"/>
                      </a:lnTo>
                      <a:lnTo>
                        <a:pt x="73" y="231"/>
                      </a:lnTo>
                      <a:lnTo>
                        <a:pt x="69" y="225"/>
                      </a:lnTo>
                      <a:lnTo>
                        <a:pt x="66" y="226"/>
                      </a:lnTo>
                      <a:lnTo>
                        <a:pt x="66" y="222"/>
                      </a:lnTo>
                      <a:lnTo>
                        <a:pt x="63" y="222"/>
                      </a:lnTo>
                      <a:lnTo>
                        <a:pt x="57" y="217"/>
                      </a:lnTo>
                      <a:lnTo>
                        <a:pt x="55" y="220"/>
                      </a:lnTo>
                      <a:lnTo>
                        <a:pt x="52" y="220"/>
                      </a:lnTo>
                      <a:lnTo>
                        <a:pt x="52" y="223"/>
                      </a:lnTo>
                      <a:lnTo>
                        <a:pt x="46" y="226"/>
                      </a:lnTo>
                      <a:lnTo>
                        <a:pt x="44" y="222"/>
                      </a:lnTo>
                      <a:lnTo>
                        <a:pt x="40" y="222"/>
                      </a:lnTo>
                      <a:lnTo>
                        <a:pt x="40" y="217"/>
                      </a:lnTo>
                      <a:lnTo>
                        <a:pt x="43" y="211"/>
                      </a:lnTo>
                      <a:lnTo>
                        <a:pt x="40" y="209"/>
                      </a:lnTo>
                      <a:lnTo>
                        <a:pt x="40" y="205"/>
                      </a:lnTo>
                      <a:lnTo>
                        <a:pt x="32" y="205"/>
                      </a:lnTo>
                      <a:lnTo>
                        <a:pt x="30" y="199"/>
                      </a:lnTo>
                      <a:lnTo>
                        <a:pt x="24" y="202"/>
                      </a:lnTo>
                      <a:lnTo>
                        <a:pt x="24" y="197"/>
                      </a:lnTo>
                      <a:lnTo>
                        <a:pt x="23" y="200"/>
                      </a:lnTo>
                      <a:lnTo>
                        <a:pt x="17" y="197"/>
                      </a:lnTo>
                      <a:lnTo>
                        <a:pt x="15" y="189"/>
                      </a:lnTo>
                      <a:lnTo>
                        <a:pt x="0" y="166"/>
                      </a:lnTo>
                      <a:lnTo>
                        <a:pt x="0" y="166"/>
                      </a:lnTo>
                      <a:lnTo>
                        <a:pt x="10" y="169"/>
                      </a:lnTo>
                      <a:lnTo>
                        <a:pt x="17" y="165"/>
                      </a:lnTo>
                      <a:lnTo>
                        <a:pt x="23" y="165"/>
                      </a:lnTo>
                      <a:lnTo>
                        <a:pt x="32" y="163"/>
                      </a:lnTo>
                      <a:lnTo>
                        <a:pt x="44" y="155"/>
                      </a:lnTo>
                      <a:lnTo>
                        <a:pt x="49" y="142"/>
                      </a:lnTo>
                      <a:lnTo>
                        <a:pt x="52" y="126"/>
                      </a:lnTo>
                      <a:lnTo>
                        <a:pt x="76" y="108"/>
                      </a:lnTo>
                      <a:lnTo>
                        <a:pt x="81" y="86"/>
                      </a:lnTo>
                      <a:lnTo>
                        <a:pt x="86" y="77"/>
                      </a:lnTo>
                      <a:lnTo>
                        <a:pt x="99" y="62"/>
                      </a:lnTo>
                      <a:lnTo>
                        <a:pt x="96" y="49"/>
                      </a:lnTo>
                      <a:lnTo>
                        <a:pt x="99" y="46"/>
                      </a:lnTo>
                      <a:lnTo>
                        <a:pt x="106" y="46"/>
                      </a:lnTo>
                      <a:lnTo>
                        <a:pt x="106" y="43"/>
                      </a:lnTo>
                      <a:lnTo>
                        <a:pt x="110" y="46"/>
                      </a:lnTo>
                      <a:lnTo>
                        <a:pt x="116" y="39"/>
                      </a:lnTo>
                      <a:lnTo>
                        <a:pt x="119" y="40"/>
                      </a:lnTo>
                      <a:lnTo>
                        <a:pt x="118" y="43"/>
                      </a:lnTo>
                      <a:lnTo>
                        <a:pt x="119" y="45"/>
                      </a:lnTo>
                      <a:lnTo>
                        <a:pt x="126" y="45"/>
                      </a:lnTo>
                      <a:lnTo>
                        <a:pt x="135" y="37"/>
                      </a:lnTo>
                      <a:lnTo>
                        <a:pt x="149" y="34"/>
                      </a:lnTo>
                      <a:lnTo>
                        <a:pt x="149" y="29"/>
                      </a:lnTo>
                      <a:lnTo>
                        <a:pt x="153" y="25"/>
                      </a:lnTo>
                      <a:lnTo>
                        <a:pt x="158" y="28"/>
                      </a:lnTo>
                      <a:lnTo>
                        <a:pt x="167" y="28"/>
                      </a:lnTo>
                      <a:lnTo>
                        <a:pt x="170" y="31"/>
                      </a:lnTo>
                      <a:lnTo>
                        <a:pt x="176" y="31"/>
                      </a:lnTo>
                      <a:lnTo>
                        <a:pt x="184" y="28"/>
                      </a:lnTo>
                      <a:lnTo>
                        <a:pt x="185" y="22"/>
                      </a:lnTo>
                      <a:lnTo>
                        <a:pt x="195" y="25"/>
                      </a:lnTo>
                      <a:lnTo>
                        <a:pt x="193" y="19"/>
                      </a:lnTo>
                      <a:lnTo>
                        <a:pt x="196" y="11"/>
                      </a:lnTo>
                      <a:lnTo>
                        <a:pt x="201" y="9"/>
                      </a:lnTo>
                      <a:lnTo>
                        <a:pt x="204" y="14"/>
                      </a:lnTo>
                      <a:lnTo>
                        <a:pt x="213" y="14"/>
                      </a:lnTo>
                      <a:lnTo>
                        <a:pt x="211" y="6"/>
                      </a:lnTo>
                      <a:lnTo>
                        <a:pt x="218" y="9"/>
                      </a:lnTo>
                      <a:lnTo>
                        <a:pt x="219" y="2"/>
                      </a:lnTo>
                      <a:lnTo>
                        <a:pt x="221" y="3"/>
                      </a:lnTo>
                      <a:lnTo>
                        <a:pt x="224" y="8"/>
                      </a:lnTo>
                      <a:lnTo>
                        <a:pt x="227" y="8"/>
                      </a:lnTo>
                      <a:lnTo>
                        <a:pt x="228" y="2"/>
                      </a:lnTo>
                      <a:lnTo>
                        <a:pt x="231" y="2"/>
                      </a:lnTo>
                      <a:lnTo>
                        <a:pt x="231" y="3"/>
                      </a:lnTo>
                      <a:lnTo>
                        <a:pt x="230" y="9"/>
                      </a:lnTo>
                      <a:lnTo>
                        <a:pt x="231" y="11"/>
                      </a:lnTo>
                      <a:lnTo>
                        <a:pt x="239" y="9"/>
                      </a:lnTo>
                      <a:lnTo>
                        <a:pt x="247" y="0"/>
                      </a:lnTo>
                      <a:lnTo>
                        <a:pt x="248" y="6"/>
                      </a:lnTo>
                      <a:lnTo>
                        <a:pt x="251" y="9"/>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83" name="Bucharest" descr="{&quot;Key&quot;:&quot;bucharest&quot;,&quot;Name&quot;:&quot;Bucharest&quot;,&quot;Value&quot;:1.0,&quot;Formula&quot;:&quot;&quot;,&quot;Text&quot;:&quot;1&quot;,&quot;OfficeApplication&quot;:0,&quot;HasValue&quot;:true}">
                  <a:extLst>
                    <a:ext uri="{FF2B5EF4-FFF2-40B4-BE49-F238E27FC236}">
                      <a16:creationId xmlns:a16="http://schemas.microsoft.com/office/drawing/2014/main" id="{422BAA7B-339F-8321-CB52-19046AFFC489}"/>
                    </a:ext>
                  </a:extLst>
                </p:cNvPr>
                <p:cNvSpPr>
                  <a:spLocks/>
                </p:cNvSpPr>
                <p:nvPr/>
              </p:nvSpPr>
              <p:spPr bwMode="auto">
                <a:xfrm>
                  <a:off x="6715125" y="4740276"/>
                  <a:ext cx="174625" cy="180975"/>
                </a:xfrm>
                <a:custGeom>
                  <a:avLst/>
                  <a:gdLst>
                    <a:gd name="T0" fmla="*/ 92 w 110"/>
                    <a:gd name="T1" fmla="*/ 35 h 114"/>
                    <a:gd name="T2" fmla="*/ 64 w 110"/>
                    <a:gd name="T3" fmla="*/ 31 h 114"/>
                    <a:gd name="T4" fmla="*/ 60 w 110"/>
                    <a:gd name="T5" fmla="*/ 20 h 114"/>
                    <a:gd name="T6" fmla="*/ 60 w 110"/>
                    <a:gd name="T7" fmla="*/ 0 h 114"/>
                    <a:gd name="T8" fmla="*/ 56 w 110"/>
                    <a:gd name="T9" fmla="*/ 3 h 114"/>
                    <a:gd name="T10" fmla="*/ 47 w 110"/>
                    <a:gd name="T11" fmla="*/ 2 h 114"/>
                    <a:gd name="T12" fmla="*/ 37 w 110"/>
                    <a:gd name="T13" fmla="*/ 2 h 114"/>
                    <a:gd name="T14" fmla="*/ 20 w 110"/>
                    <a:gd name="T15" fmla="*/ 12 h 114"/>
                    <a:gd name="T16" fmla="*/ 18 w 110"/>
                    <a:gd name="T17" fmla="*/ 11 h 114"/>
                    <a:gd name="T18" fmla="*/ 17 w 110"/>
                    <a:gd name="T19" fmla="*/ 11 h 114"/>
                    <a:gd name="T20" fmla="*/ 17 w 110"/>
                    <a:gd name="T21" fmla="*/ 20 h 114"/>
                    <a:gd name="T22" fmla="*/ 14 w 110"/>
                    <a:gd name="T23" fmla="*/ 20 h 114"/>
                    <a:gd name="T24" fmla="*/ 7 w 110"/>
                    <a:gd name="T25" fmla="*/ 25 h 114"/>
                    <a:gd name="T26" fmla="*/ 6 w 110"/>
                    <a:gd name="T27" fmla="*/ 39 h 114"/>
                    <a:gd name="T28" fmla="*/ 21 w 110"/>
                    <a:gd name="T29" fmla="*/ 46 h 114"/>
                    <a:gd name="T30" fmla="*/ 23 w 110"/>
                    <a:gd name="T31" fmla="*/ 54 h 114"/>
                    <a:gd name="T32" fmla="*/ 1 w 110"/>
                    <a:gd name="T33" fmla="*/ 55 h 114"/>
                    <a:gd name="T34" fmla="*/ 0 w 110"/>
                    <a:gd name="T35" fmla="*/ 63 h 114"/>
                    <a:gd name="T36" fmla="*/ 6 w 110"/>
                    <a:gd name="T37" fmla="*/ 75 h 114"/>
                    <a:gd name="T38" fmla="*/ 14 w 110"/>
                    <a:gd name="T39" fmla="*/ 75 h 114"/>
                    <a:gd name="T40" fmla="*/ 15 w 110"/>
                    <a:gd name="T41" fmla="*/ 80 h 114"/>
                    <a:gd name="T42" fmla="*/ 20 w 110"/>
                    <a:gd name="T43" fmla="*/ 80 h 114"/>
                    <a:gd name="T44" fmla="*/ 23 w 110"/>
                    <a:gd name="T45" fmla="*/ 79 h 114"/>
                    <a:gd name="T46" fmla="*/ 30 w 110"/>
                    <a:gd name="T47" fmla="*/ 86 h 114"/>
                    <a:gd name="T48" fmla="*/ 32 w 110"/>
                    <a:gd name="T49" fmla="*/ 85 h 114"/>
                    <a:gd name="T50" fmla="*/ 37 w 110"/>
                    <a:gd name="T51" fmla="*/ 92 h 114"/>
                    <a:gd name="T52" fmla="*/ 55 w 110"/>
                    <a:gd name="T53" fmla="*/ 99 h 114"/>
                    <a:gd name="T54" fmla="*/ 56 w 110"/>
                    <a:gd name="T55" fmla="*/ 102 h 114"/>
                    <a:gd name="T56" fmla="*/ 58 w 110"/>
                    <a:gd name="T57" fmla="*/ 102 h 114"/>
                    <a:gd name="T58" fmla="*/ 58 w 110"/>
                    <a:gd name="T59" fmla="*/ 97 h 114"/>
                    <a:gd name="T60" fmla="*/ 63 w 110"/>
                    <a:gd name="T61" fmla="*/ 97 h 114"/>
                    <a:gd name="T62" fmla="*/ 61 w 110"/>
                    <a:gd name="T63" fmla="*/ 100 h 114"/>
                    <a:gd name="T64" fmla="*/ 66 w 110"/>
                    <a:gd name="T65" fmla="*/ 103 h 114"/>
                    <a:gd name="T66" fmla="*/ 69 w 110"/>
                    <a:gd name="T67" fmla="*/ 103 h 114"/>
                    <a:gd name="T68" fmla="*/ 73 w 110"/>
                    <a:gd name="T69" fmla="*/ 114 h 114"/>
                    <a:gd name="T70" fmla="*/ 84 w 110"/>
                    <a:gd name="T71" fmla="*/ 109 h 114"/>
                    <a:gd name="T72" fmla="*/ 75 w 110"/>
                    <a:gd name="T73" fmla="*/ 91 h 114"/>
                    <a:gd name="T74" fmla="*/ 83 w 110"/>
                    <a:gd name="T75" fmla="*/ 77 h 114"/>
                    <a:gd name="T76" fmla="*/ 87 w 110"/>
                    <a:gd name="T77" fmla="*/ 79 h 114"/>
                    <a:gd name="T78" fmla="*/ 95 w 110"/>
                    <a:gd name="T79" fmla="*/ 77 h 114"/>
                    <a:gd name="T80" fmla="*/ 98 w 110"/>
                    <a:gd name="T81" fmla="*/ 72 h 114"/>
                    <a:gd name="T82" fmla="*/ 101 w 110"/>
                    <a:gd name="T83" fmla="*/ 74 h 114"/>
                    <a:gd name="T84" fmla="*/ 110 w 110"/>
                    <a:gd name="T85" fmla="*/ 57 h 114"/>
                    <a:gd name="T86" fmla="*/ 83 w 110"/>
                    <a:gd name="T87" fmla="*/ 48 h 114"/>
                    <a:gd name="T88" fmla="*/ 87 w 110"/>
                    <a:gd name="T89" fmla="*/ 40 h 114"/>
                    <a:gd name="T90" fmla="*/ 92 w 110"/>
                    <a:gd name="T91" fmla="*/ 3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0" h="114">
                      <a:moveTo>
                        <a:pt x="92" y="35"/>
                      </a:moveTo>
                      <a:lnTo>
                        <a:pt x="64" y="31"/>
                      </a:lnTo>
                      <a:lnTo>
                        <a:pt x="60" y="20"/>
                      </a:lnTo>
                      <a:lnTo>
                        <a:pt x="60" y="0"/>
                      </a:lnTo>
                      <a:lnTo>
                        <a:pt x="56" y="3"/>
                      </a:lnTo>
                      <a:lnTo>
                        <a:pt x="47" y="2"/>
                      </a:lnTo>
                      <a:lnTo>
                        <a:pt x="37" y="2"/>
                      </a:lnTo>
                      <a:lnTo>
                        <a:pt x="20" y="12"/>
                      </a:lnTo>
                      <a:lnTo>
                        <a:pt x="18" y="11"/>
                      </a:lnTo>
                      <a:lnTo>
                        <a:pt x="17" y="11"/>
                      </a:lnTo>
                      <a:lnTo>
                        <a:pt x="17" y="20"/>
                      </a:lnTo>
                      <a:lnTo>
                        <a:pt x="14" y="20"/>
                      </a:lnTo>
                      <a:lnTo>
                        <a:pt x="7" y="25"/>
                      </a:lnTo>
                      <a:lnTo>
                        <a:pt x="6" y="39"/>
                      </a:lnTo>
                      <a:lnTo>
                        <a:pt x="21" y="46"/>
                      </a:lnTo>
                      <a:lnTo>
                        <a:pt x="23" y="54"/>
                      </a:lnTo>
                      <a:lnTo>
                        <a:pt x="1" y="55"/>
                      </a:lnTo>
                      <a:lnTo>
                        <a:pt x="0" y="63"/>
                      </a:lnTo>
                      <a:lnTo>
                        <a:pt x="6" y="75"/>
                      </a:lnTo>
                      <a:lnTo>
                        <a:pt x="14" y="75"/>
                      </a:lnTo>
                      <a:lnTo>
                        <a:pt x="15" y="80"/>
                      </a:lnTo>
                      <a:lnTo>
                        <a:pt x="20" y="80"/>
                      </a:lnTo>
                      <a:lnTo>
                        <a:pt x="23" y="79"/>
                      </a:lnTo>
                      <a:lnTo>
                        <a:pt x="30" y="86"/>
                      </a:lnTo>
                      <a:lnTo>
                        <a:pt x="32" y="85"/>
                      </a:lnTo>
                      <a:lnTo>
                        <a:pt x="37" y="92"/>
                      </a:lnTo>
                      <a:lnTo>
                        <a:pt x="55" y="99"/>
                      </a:lnTo>
                      <a:lnTo>
                        <a:pt x="56" y="102"/>
                      </a:lnTo>
                      <a:lnTo>
                        <a:pt x="58" y="102"/>
                      </a:lnTo>
                      <a:lnTo>
                        <a:pt x="58" y="97"/>
                      </a:lnTo>
                      <a:lnTo>
                        <a:pt x="63" y="97"/>
                      </a:lnTo>
                      <a:lnTo>
                        <a:pt x="61" y="100"/>
                      </a:lnTo>
                      <a:lnTo>
                        <a:pt x="66" y="103"/>
                      </a:lnTo>
                      <a:lnTo>
                        <a:pt x="69" y="103"/>
                      </a:lnTo>
                      <a:lnTo>
                        <a:pt x="73" y="114"/>
                      </a:lnTo>
                      <a:lnTo>
                        <a:pt x="84" y="109"/>
                      </a:lnTo>
                      <a:lnTo>
                        <a:pt x="75" y="91"/>
                      </a:lnTo>
                      <a:lnTo>
                        <a:pt x="83" y="77"/>
                      </a:lnTo>
                      <a:lnTo>
                        <a:pt x="87" y="79"/>
                      </a:lnTo>
                      <a:lnTo>
                        <a:pt x="95" y="77"/>
                      </a:lnTo>
                      <a:lnTo>
                        <a:pt x="98" y="72"/>
                      </a:lnTo>
                      <a:lnTo>
                        <a:pt x="101" y="74"/>
                      </a:lnTo>
                      <a:lnTo>
                        <a:pt x="110" y="57"/>
                      </a:lnTo>
                      <a:lnTo>
                        <a:pt x="83" y="48"/>
                      </a:lnTo>
                      <a:lnTo>
                        <a:pt x="87" y="40"/>
                      </a:lnTo>
                      <a:lnTo>
                        <a:pt x="92" y="35"/>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84" name="Brasov" descr="{&quot;Key&quot;:&quot;brasov&quot;,&quot;Name&quot;:&quot;Brasov&quot;,&quot;Value&quot;:1.0,&quot;Formula&quot;:&quot;&quot;,&quot;Text&quot;:&quot;1&quot;,&quot;OfficeApplication&quot;:0,&quot;HasValue&quot;:true}">
                  <a:extLst>
                    <a:ext uri="{FF2B5EF4-FFF2-40B4-BE49-F238E27FC236}">
                      <a16:creationId xmlns:a16="http://schemas.microsoft.com/office/drawing/2014/main" id="{F9E6092C-9D95-0744-EB48-7B2B458D3066}"/>
                    </a:ext>
                  </a:extLst>
                </p:cNvPr>
                <p:cNvSpPr>
                  <a:spLocks/>
                </p:cNvSpPr>
                <p:nvPr/>
              </p:nvSpPr>
              <p:spPr bwMode="auto">
                <a:xfrm>
                  <a:off x="5872163" y="3257551"/>
                  <a:ext cx="925513" cy="723900"/>
                </a:xfrm>
                <a:custGeom>
                  <a:avLst/>
                  <a:gdLst>
                    <a:gd name="T0" fmla="*/ 247 w 583"/>
                    <a:gd name="T1" fmla="*/ 25 h 456"/>
                    <a:gd name="T2" fmla="*/ 276 w 583"/>
                    <a:gd name="T3" fmla="*/ 5 h 456"/>
                    <a:gd name="T4" fmla="*/ 290 w 583"/>
                    <a:gd name="T5" fmla="*/ 17 h 456"/>
                    <a:gd name="T6" fmla="*/ 319 w 583"/>
                    <a:gd name="T7" fmla="*/ 30 h 456"/>
                    <a:gd name="T8" fmla="*/ 325 w 583"/>
                    <a:gd name="T9" fmla="*/ 54 h 456"/>
                    <a:gd name="T10" fmla="*/ 337 w 583"/>
                    <a:gd name="T11" fmla="*/ 73 h 456"/>
                    <a:gd name="T12" fmla="*/ 365 w 583"/>
                    <a:gd name="T13" fmla="*/ 74 h 456"/>
                    <a:gd name="T14" fmla="*/ 377 w 583"/>
                    <a:gd name="T15" fmla="*/ 91 h 456"/>
                    <a:gd name="T16" fmla="*/ 363 w 583"/>
                    <a:gd name="T17" fmla="*/ 107 h 456"/>
                    <a:gd name="T18" fmla="*/ 362 w 583"/>
                    <a:gd name="T19" fmla="*/ 139 h 456"/>
                    <a:gd name="T20" fmla="*/ 368 w 583"/>
                    <a:gd name="T21" fmla="*/ 154 h 456"/>
                    <a:gd name="T22" fmla="*/ 382 w 583"/>
                    <a:gd name="T23" fmla="*/ 165 h 456"/>
                    <a:gd name="T24" fmla="*/ 368 w 583"/>
                    <a:gd name="T25" fmla="*/ 174 h 456"/>
                    <a:gd name="T26" fmla="*/ 371 w 583"/>
                    <a:gd name="T27" fmla="*/ 185 h 456"/>
                    <a:gd name="T28" fmla="*/ 376 w 583"/>
                    <a:gd name="T29" fmla="*/ 202 h 456"/>
                    <a:gd name="T30" fmla="*/ 394 w 583"/>
                    <a:gd name="T31" fmla="*/ 214 h 456"/>
                    <a:gd name="T32" fmla="*/ 399 w 583"/>
                    <a:gd name="T33" fmla="*/ 217 h 456"/>
                    <a:gd name="T34" fmla="*/ 413 w 583"/>
                    <a:gd name="T35" fmla="*/ 227 h 456"/>
                    <a:gd name="T36" fmla="*/ 416 w 583"/>
                    <a:gd name="T37" fmla="*/ 242 h 456"/>
                    <a:gd name="T38" fmla="*/ 434 w 583"/>
                    <a:gd name="T39" fmla="*/ 231 h 456"/>
                    <a:gd name="T40" fmla="*/ 459 w 583"/>
                    <a:gd name="T41" fmla="*/ 240 h 456"/>
                    <a:gd name="T42" fmla="*/ 475 w 583"/>
                    <a:gd name="T43" fmla="*/ 254 h 456"/>
                    <a:gd name="T44" fmla="*/ 489 w 583"/>
                    <a:gd name="T45" fmla="*/ 271 h 456"/>
                    <a:gd name="T46" fmla="*/ 517 w 583"/>
                    <a:gd name="T47" fmla="*/ 279 h 456"/>
                    <a:gd name="T48" fmla="*/ 528 w 583"/>
                    <a:gd name="T49" fmla="*/ 303 h 456"/>
                    <a:gd name="T50" fmla="*/ 580 w 583"/>
                    <a:gd name="T51" fmla="*/ 337 h 456"/>
                    <a:gd name="T52" fmla="*/ 577 w 583"/>
                    <a:gd name="T53" fmla="*/ 380 h 456"/>
                    <a:gd name="T54" fmla="*/ 549 w 583"/>
                    <a:gd name="T55" fmla="*/ 391 h 456"/>
                    <a:gd name="T56" fmla="*/ 503 w 583"/>
                    <a:gd name="T57" fmla="*/ 390 h 456"/>
                    <a:gd name="T58" fmla="*/ 491 w 583"/>
                    <a:gd name="T59" fmla="*/ 425 h 456"/>
                    <a:gd name="T60" fmla="*/ 459 w 583"/>
                    <a:gd name="T61" fmla="*/ 400 h 456"/>
                    <a:gd name="T62" fmla="*/ 436 w 583"/>
                    <a:gd name="T63" fmla="*/ 406 h 456"/>
                    <a:gd name="T64" fmla="*/ 386 w 583"/>
                    <a:gd name="T65" fmla="*/ 402 h 456"/>
                    <a:gd name="T66" fmla="*/ 345 w 583"/>
                    <a:gd name="T67" fmla="*/ 408 h 456"/>
                    <a:gd name="T68" fmla="*/ 325 w 583"/>
                    <a:gd name="T69" fmla="*/ 422 h 456"/>
                    <a:gd name="T70" fmla="*/ 310 w 583"/>
                    <a:gd name="T71" fmla="*/ 448 h 456"/>
                    <a:gd name="T72" fmla="*/ 268 w 583"/>
                    <a:gd name="T73" fmla="*/ 451 h 456"/>
                    <a:gd name="T74" fmla="*/ 253 w 583"/>
                    <a:gd name="T75" fmla="*/ 431 h 456"/>
                    <a:gd name="T76" fmla="*/ 245 w 583"/>
                    <a:gd name="T77" fmla="*/ 408 h 456"/>
                    <a:gd name="T78" fmla="*/ 227 w 583"/>
                    <a:gd name="T79" fmla="*/ 373 h 456"/>
                    <a:gd name="T80" fmla="*/ 204 w 583"/>
                    <a:gd name="T81" fmla="*/ 357 h 456"/>
                    <a:gd name="T82" fmla="*/ 178 w 583"/>
                    <a:gd name="T83" fmla="*/ 343 h 456"/>
                    <a:gd name="T84" fmla="*/ 149 w 583"/>
                    <a:gd name="T85" fmla="*/ 340 h 456"/>
                    <a:gd name="T86" fmla="*/ 101 w 583"/>
                    <a:gd name="T87" fmla="*/ 336 h 456"/>
                    <a:gd name="T88" fmla="*/ 64 w 583"/>
                    <a:gd name="T89" fmla="*/ 330 h 456"/>
                    <a:gd name="T90" fmla="*/ 21 w 583"/>
                    <a:gd name="T91" fmla="*/ 331 h 456"/>
                    <a:gd name="T92" fmla="*/ 21 w 583"/>
                    <a:gd name="T93" fmla="*/ 303 h 456"/>
                    <a:gd name="T94" fmla="*/ 4 w 583"/>
                    <a:gd name="T95" fmla="*/ 240 h 456"/>
                    <a:gd name="T96" fmla="*/ 23 w 583"/>
                    <a:gd name="T97" fmla="*/ 199 h 456"/>
                    <a:gd name="T98" fmla="*/ 57 w 583"/>
                    <a:gd name="T99" fmla="*/ 183 h 456"/>
                    <a:gd name="T100" fmla="*/ 29 w 583"/>
                    <a:gd name="T101" fmla="*/ 151 h 456"/>
                    <a:gd name="T102" fmla="*/ 49 w 583"/>
                    <a:gd name="T103" fmla="*/ 142 h 456"/>
                    <a:gd name="T104" fmla="*/ 81 w 583"/>
                    <a:gd name="T105" fmla="*/ 116 h 456"/>
                    <a:gd name="T106" fmla="*/ 89 w 583"/>
                    <a:gd name="T107" fmla="*/ 97 h 456"/>
                    <a:gd name="T108" fmla="*/ 103 w 583"/>
                    <a:gd name="T109" fmla="*/ 79 h 456"/>
                    <a:gd name="T110" fmla="*/ 123 w 583"/>
                    <a:gd name="T111" fmla="*/ 62 h 456"/>
                    <a:gd name="T112" fmla="*/ 124 w 583"/>
                    <a:gd name="T113" fmla="*/ 47 h 456"/>
                    <a:gd name="T114" fmla="*/ 152 w 583"/>
                    <a:gd name="T115" fmla="*/ 20 h 456"/>
                    <a:gd name="T116" fmla="*/ 193 w 583"/>
                    <a:gd name="T117" fmla="*/ 25 h 456"/>
                    <a:gd name="T118" fmla="*/ 212 w 583"/>
                    <a:gd name="T119" fmla="*/ 13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3" h="456">
                      <a:moveTo>
                        <a:pt x="215" y="8"/>
                      </a:moveTo>
                      <a:lnTo>
                        <a:pt x="218" y="10"/>
                      </a:lnTo>
                      <a:lnTo>
                        <a:pt x="221" y="7"/>
                      </a:lnTo>
                      <a:lnTo>
                        <a:pt x="233" y="17"/>
                      </a:lnTo>
                      <a:lnTo>
                        <a:pt x="247" y="25"/>
                      </a:lnTo>
                      <a:lnTo>
                        <a:pt x="248" y="23"/>
                      </a:lnTo>
                      <a:lnTo>
                        <a:pt x="251" y="8"/>
                      </a:lnTo>
                      <a:lnTo>
                        <a:pt x="265" y="0"/>
                      </a:lnTo>
                      <a:lnTo>
                        <a:pt x="274" y="7"/>
                      </a:lnTo>
                      <a:lnTo>
                        <a:pt x="276" y="5"/>
                      </a:lnTo>
                      <a:lnTo>
                        <a:pt x="278" y="7"/>
                      </a:lnTo>
                      <a:lnTo>
                        <a:pt x="281" y="5"/>
                      </a:lnTo>
                      <a:lnTo>
                        <a:pt x="287" y="14"/>
                      </a:lnTo>
                      <a:lnTo>
                        <a:pt x="290" y="14"/>
                      </a:lnTo>
                      <a:lnTo>
                        <a:pt x="290" y="17"/>
                      </a:lnTo>
                      <a:lnTo>
                        <a:pt x="293" y="16"/>
                      </a:lnTo>
                      <a:lnTo>
                        <a:pt x="290" y="22"/>
                      </a:lnTo>
                      <a:lnTo>
                        <a:pt x="294" y="28"/>
                      </a:lnTo>
                      <a:lnTo>
                        <a:pt x="314" y="31"/>
                      </a:lnTo>
                      <a:lnTo>
                        <a:pt x="319" y="30"/>
                      </a:lnTo>
                      <a:lnTo>
                        <a:pt x="325" y="33"/>
                      </a:lnTo>
                      <a:lnTo>
                        <a:pt x="327" y="39"/>
                      </a:lnTo>
                      <a:lnTo>
                        <a:pt x="327" y="39"/>
                      </a:lnTo>
                      <a:lnTo>
                        <a:pt x="327" y="48"/>
                      </a:lnTo>
                      <a:lnTo>
                        <a:pt x="325" y="54"/>
                      </a:lnTo>
                      <a:lnTo>
                        <a:pt x="322" y="57"/>
                      </a:lnTo>
                      <a:lnTo>
                        <a:pt x="325" y="63"/>
                      </a:lnTo>
                      <a:lnTo>
                        <a:pt x="333" y="67"/>
                      </a:lnTo>
                      <a:lnTo>
                        <a:pt x="334" y="71"/>
                      </a:lnTo>
                      <a:lnTo>
                        <a:pt x="337" y="73"/>
                      </a:lnTo>
                      <a:lnTo>
                        <a:pt x="342" y="82"/>
                      </a:lnTo>
                      <a:lnTo>
                        <a:pt x="348" y="77"/>
                      </a:lnTo>
                      <a:lnTo>
                        <a:pt x="354" y="76"/>
                      </a:lnTo>
                      <a:lnTo>
                        <a:pt x="359" y="77"/>
                      </a:lnTo>
                      <a:lnTo>
                        <a:pt x="365" y="74"/>
                      </a:lnTo>
                      <a:lnTo>
                        <a:pt x="371" y="87"/>
                      </a:lnTo>
                      <a:lnTo>
                        <a:pt x="373" y="87"/>
                      </a:lnTo>
                      <a:lnTo>
                        <a:pt x="374" y="90"/>
                      </a:lnTo>
                      <a:lnTo>
                        <a:pt x="377" y="90"/>
                      </a:lnTo>
                      <a:lnTo>
                        <a:pt x="377" y="91"/>
                      </a:lnTo>
                      <a:lnTo>
                        <a:pt x="374" y="96"/>
                      </a:lnTo>
                      <a:lnTo>
                        <a:pt x="373" y="102"/>
                      </a:lnTo>
                      <a:lnTo>
                        <a:pt x="368" y="103"/>
                      </a:lnTo>
                      <a:lnTo>
                        <a:pt x="368" y="108"/>
                      </a:lnTo>
                      <a:lnTo>
                        <a:pt x="363" y="107"/>
                      </a:lnTo>
                      <a:lnTo>
                        <a:pt x="360" y="120"/>
                      </a:lnTo>
                      <a:lnTo>
                        <a:pt x="363" y="134"/>
                      </a:lnTo>
                      <a:lnTo>
                        <a:pt x="363" y="137"/>
                      </a:lnTo>
                      <a:lnTo>
                        <a:pt x="360" y="137"/>
                      </a:lnTo>
                      <a:lnTo>
                        <a:pt x="362" y="139"/>
                      </a:lnTo>
                      <a:lnTo>
                        <a:pt x="362" y="143"/>
                      </a:lnTo>
                      <a:lnTo>
                        <a:pt x="363" y="145"/>
                      </a:lnTo>
                      <a:lnTo>
                        <a:pt x="363" y="147"/>
                      </a:lnTo>
                      <a:lnTo>
                        <a:pt x="367" y="150"/>
                      </a:lnTo>
                      <a:lnTo>
                        <a:pt x="368" y="154"/>
                      </a:lnTo>
                      <a:lnTo>
                        <a:pt x="365" y="157"/>
                      </a:lnTo>
                      <a:lnTo>
                        <a:pt x="365" y="162"/>
                      </a:lnTo>
                      <a:lnTo>
                        <a:pt x="368" y="163"/>
                      </a:lnTo>
                      <a:lnTo>
                        <a:pt x="379" y="162"/>
                      </a:lnTo>
                      <a:lnTo>
                        <a:pt x="382" y="165"/>
                      </a:lnTo>
                      <a:lnTo>
                        <a:pt x="385" y="167"/>
                      </a:lnTo>
                      <a:lnTo>
                        <a:pt x="382" y="173"/>
                      </a:lnTo>
                      <a:lnTo>
                        <a:pt x="377" y="174"/>
                      </a:lnTo>
                      <a:lnTo>
                        <a:pt x="371" y="173"/>
                      </a:lnTo>
                      <a:lnTo>
                        <a:pt x="368" y="174"/>
                      </a:lnTo>
                      <a:lnTo>
                        <a:pt x="371" y="176"/>
                      </a:lnTo>
                      <a:lnTo>
                        <a:pt x="371" y="179"/>
                      </a:lnTo>
                      <a:lnTo>
                        <a:pt x="374" y="180"/>
                      </a:lnTo>
                      <a:lnTo>
                        <a:pt x="374" y="183"/>
                      </a:lnTo>
                      <a:lnTo>
                        <a:pt x="371" y="185"/>
                      </a:lnTo>
                      <a:lnTo>
                        <a:pt x="373" y="188"/>
                      </a:lnTo>
                      <a:lnTo>
                        <a:pt x="371" y="188"/>
                      </a:lnTo>
                      <a:lnTo>
                        <a:pt x="373" y="191"/>
                      </a:lnTo>
                      <a:lnTo>
                        <a:pt x="371" y="194"/>
                      </a:lnTo>
                      <a:lnTo>
                        <a:pt x="376" y="202"/>
                      </a:lnTo>
                      <a:lnTo>
                        <a:pt x="383" y="205"/>
                      </a:lnTo>
                      <a:lnTo>
                        <a:pt x="386" y="202"/>
                      </a:lnTo>
                      <a:lnTo>
                        <a:pt x="386" y="203"/>
                      </a:lnTo>
                      <a:lnTo>
                        <a:pt x="391" y="205"/>
                      </a:lnTo>
                      <a:lnTo>
                        <a:pt x="394" y="214"/>
                      </a:lnTo>
                      <a:lnTo>
                        <a:pt x="397" y="213"/>
                      </a:lnTo>
                      <a:lnTo>
                        <a:pt x="399" y="216"/>
                      </a:lnTo>
                      <a:lnTo>
                        <a:pt x="402" y="214"/>
                      </a:lnTo>
                      <a:lnTo>
                        <a:pt x="402" y="216"/>
                      </a:lnTo>
                      <a:lnTo>
                        <a:pt x="399" y="217"/>
                      </a:lnTo>
                      <a:lnTo>
                        <a:pt x="403" y="222"/>
                      </a:lnTo>
                      <a:lnTo>
                        <a:pt x="403" y="217"/>
                      </a:lnTo>
                      <a:lnTo>
                        <a:pt x="405" y="225"/>
                      </a:lnTo>
                      <a:lnTo>
                        <a:pt x="406" y="222"/>
                      </a:lnTo>
                      <a:lnTo>
                        <a:pt x="413" y="227"/>
                      </a:lnTo>
                      <a:lnTo>
                        <a:pt x="411" y="230"/>
                      </a:lnTo>
                      <a:lnTo>
                        <a:pt x="413" y="233"/>
                      </a:lnTo>
                      <a:lnTo>
                        <a:pt x="416" y="233"/>
                      </a:lnTo>
                      <a:lnTo>
                        <a:pt x="414" y="239"/>
                      </a:lnTo>
                      <a:lnTo>
                        <a:pt x="416" y="242"/>
                      </a:lnTo>
                      <a:lnTo>
                        <a:pt x="422" y="240"/>
                      </a:lnTo>
                      <a:lnTo>
                        <a:pt x="425" y="233"/>
                      </a:lnTo>
                      <a:lnTo>
                        <a:pt x="428" y="233"/>
                      </a:lnTo>
                      <a:lnTo>
                        <a:pt x="433" y="234"/>
                      </a:lnTo>
                      <a:lnTo>
                        <a:pt x="434" y="231"/>
                      </a:lnTo>
                      <a:lnTo>
                        <a:pt x="437" y="231"/>
                      </a:lnTo>
                      <a:lnTo>
                        <a:pt x="442" y="234"/>
                      </a:lnTo>
                      <a:lnTo>
                        <a:pt x="445" y="240"/>
                      </a:lnTo>
                      <a:lnTo>
                        <a:pt x="449" y="242"/>
                      </a:lnTo>
                      <a:lnTo>
                        <a:pt x="459" y="240"/>
                      </a:lnTo>
                      <a:lnTo>
                        <a:pt x="465" y="243"/>
                      </a:lnTo>
                      <a:lnTo>
                        <a:pt x="465" y="246"/>
                      </a:lnTo>
                      <a:lnTo>
                        <a:pt x="472" y="246"/>
                      </a:lnTo>
                      <a:lnTo>
                        <a:pt x="472" y="254"/>
                      </a:lnTo>
                      <a:lnTo>
                        <a:pt x="475" y="254"/>
                      </a:lnTo>
                      <a:lnTo>
                        <a:pt x="479" y="260"/>
                      </a:lnTo>
                      <a:lnTo>
                        <a:pt x="483" y="262"/>
                      </a:lnTo>
                      <a:lnTo>
                        <a:pt x="483" y="265"/>
                      </a:lnTo>
                      <a:lnTo>
                        <a:pt x="486" y="266"/>
                      </a:lnTo>
                      <a:lnTo>
                        <a:pt x="489" y="271"/>
                      </a:lnTo>
                      <a:lnTo>
                        <a:pt x="508" y="270"/>
                      </a:lnTo>
                      <a:lnTo>
                        <a:pt x="509" y="271"/>
                      </a:lnTo>
                      <a:lnTo>
                        <a:pt x="509" y="276"/>
                      </a:lnTo>
                      <a:lnTo>
                        <a:pt x="512" y="274"/>
                      </a:lnTo>
                      <a:lnTo>
                        <a:pt x="517" y="279"/>
                      </a:lnTo>
                      <a:lnTo>
                        <a:pt x="529" y="282"/>
                      </a:lnTo>
                      <a:lnTo>
                        <a:pt x="535" y="294"/>
                      </a:lnTo>
                      <a:lnTo>
                        <a:pt x="531" y="297"/>
                      </a:lnTo>
                      <a:lnTo>
                        <a:pt x="529" y="302"/>
                      </a:lnTo>
                      <a:lnTo>
                        <a:pt x="528" y="303"/>
                      </a:lnTo>
                      <a:lnTo>
                        <a:pt x="551" y="311"/>
                      </a:lnTo>
                      <a:lnTo>
                        <a:pt x="548" y="322"/>
                      </a:lnTo>
                      <a:lnTo>
                        <a:pt x="564" y="322"/>
                      </a:lnTo>
                      <a:lnTo>
                        <a:pt x="566" y="326"/>
                      </a:lnTo>
                      <a:lnTo>
                        <a:pt x="580" y="337"/>
                      </a:lnTo>
                      <a:lnTo>
                        <a:pt x="580" y="356"/>
                      </a:lnTo>
                      <a:lnTo>
                        <a:pt x="583" y="360"/>
                      </a:lnTo>
                      <a:lnTo>
                        <a:pt x="580" y="379"/>
                      </a:lnTo>
                      <a:lnTo>
                        <a:pt x="580" y="379"/>
                      </a:lnTo>
                      <a:lnTo>
                        <a:pt x="577" y="380"/>
                      </a:lnTo>
                      <a:lnTo>
                        <a:pt x="571" y="386"/>
                      </a:lnTo>
                      <a:lnTo>
                        <a:pt x="568" y="399"/>
                      </a:lnTo>
                      <a:lnTo>
                        <a:pt x="561" y="400"/>
                      </a:lnTo>
                      <a:lnTo>
                        <a:pt x="561" y="400"/>
                      </a:lnTo>
                      <a:lnTo>
                        <a:pt x="549" y="391"/>
                      </a:lnTo>
                      <a:lnTo>
                        <a:pt x="546" y="386"/>
                      </a:lnTo>
                      <a:lnTo>
                        <a:pt x="541" y="380"/>
                      </a:lnTo>
                      <a:lnTo>
                        <a:pt x="529" y="383"/>
                      </a:lnTo>
                      <a:lnTo>
                        <a:pt x="512" y="380"/>
                      </a:lnTo>
                      <a:lnTo>
                        <a:pt x="503" y="390"/>
                      </a:lnTo>
                      <a:lnTo>
                        <a:pt x="500" y="397"/>
                      </a:lnTo>
                      <a:lnTo>
                        <a:pt x="503" y="400"/>
                      </a:lnTo>
                      <a:lnTo>
                        <a:pt x="498" y="411"/>
                      </a:lnTo>
                      <a:lnTo>
                        <a:pt x="498" y="420"/>
                      </a:lnTo>
                      <a:lnTo>
                        <a:pt x="491" y="425"/>
                      </a:lnTo>
                      <a:lnTo>
                        <a:pt x="489" y="431"/>
                      </a:lnTo>
                      <a:lnTo>
                        <a:pt x="475" y="428"/>
                      </a:lnTo>
                      <a:lnTo>
                        <a:pt x="468" y="408"/>
                      </a:lnTo>
                      <a:lnTo>
                        <a:pt x="462" y="405"/>
                      </a:lnTo>
                      <a:lnTo>
                        <a:pt x="459" y="400"/>
                      </a:lnTo>
                      <a:lnTo>
                        <a:pt x="456" y="403"/>
                      </a:lnTo>
                      <a:lnTo>
                        <a:pt x="449" y="408"/>
                      </a:lnTo>
                      <a:lnTo>
                        <a:pt x="440" y="408"/>
                      </a:lnTo>
                      <a:lnTo>
                        <a:pt x="436" y="411"/>
                      </a:lnTo>
                      <a:lnTo>
                        <a:pt x="436" y="406"/>
                      </a:lnTo>
                      <a:lnTo>
                        <a:pt x="433" y="405"/>
                      </a:lnTo>
                      <a:lnTo>
                        <a:pt x="402" y="397"/>
                      </a:lnTo>
                      <a:lnTo>
                        <a:pt x="394" y="397"/>
                      </a:lnTo>
                      <a:lnTo>
                        <a:pt x="390" y="402"/>
                      </a:lnTo>
                      <a:lnTo>
                        <a:pt x="386" y="402"/>
                      </a:lnTo>
                      <a:lnTo>
                        <a:pt x="380" y="411"/>
                      </a:lnTo>
                      <a:lnTo>
                        <a:pt x="368" y="410"/>
                      </a:lnTo>
                      <a:lnTo>
                        <a:pt x="357" y="411"/>
                      </a:lnTo>
                      <a:lnTo>
                        <a:pt x="351" y="408"/>
                      </a:lnTo>
                      <a:lnTo>
                        <a:pt x="345" y="408"/>
                      </a:lnTo>
                      <a:lnTo>
                        <a:pt x="336" y="414"/>
                      </a:lnTo>
                      <a:lnTo>
                        <a:pt x="330" y="414"/>
                      </a:lnTo>
                      <a:lnTo>
                        <a:pt x="325" y="422"/>
                      </a:lnTo>
                      <a:lnTo>
                        <a:pt x="325" y="422"/>
                      </a:lnTo>
                      <a:lnTo>
                        <a:pt x="325" y="422"/>
                      </a:lnTo>
                      <a:lnTo>
                        <a:pt x="325" y="422"/>
                      </a:lnTo>
                      <a:lnTo>
                        <a:pt x="316" y="423"/>
                      </a:lnTo>
                      <a:lnTo>
                        <a:pt x="310" y="430"/>
                      </a:lnTo>
                      <a:lnTo>
                        <a:pt x="308" y="434"/>
                      </a:lnTo>
                      <a:lnTo>
                        <a:pt x="310" y="448"/>
                      </a:lnTo>
                      <a:lnTo>
                        <a:pt x="307" y="453"/>
                      </a:lnTo>
                      <a:lnTo>
                        <a:pt x="291" y="451"/>
                      </a:lnTo>
                      <a:lnTo>
                        <a:pt x="273" y="456"/>
                      </a:lnTo>
                      <a:lnTo>
                        <a:pt x="273" y="456"/>
                      </a:lnTo>
                      <a:lnTo>
                        <a:pt x="268" y="451"/>
                      </a:lnTo>
                      <a:lnTo>
                        <a:pt x="270" y="446"/>
                      </a:lnTo>
                      <a:lnTo>
                        <a:pt x="267" y="433"/>
                      </a:lnTo>
                      <a:lnTo>
                        <a:pt x="265" y="431"/>
                      </a:lnTo>
                      <a:lnTo>
                        <a:pt x="261" y="436"/>
                      </a:lnTo>
                      <a:lnTo>
                        <a:pt x="253" y="431"/>
                      </a:lnTo>
                      <a:lnTo>
                        <a:pt x="247" y="433"/>
                      </a:lnTo>
                      <a:lnTo>
                        <a:pt x="247" y="430"/>
                      </a:lnTo>
                      <a:lnTo>
                        <a:pt x="250" y="426"/>
                      </a:lnTo>
                      <a:lnTo>
                        <a:pt x="248" y="414"/>
                      </a:lnTo>
                      <a:lnTo>
                        <a:pt x="245" y="408"/>
                      </a:lnTo>
                      <a:lnTo>
                        <a:pt x="244" y="405"/>
                      </a:lnTo>
                      <a:lnTo>
                        <a:pt x="241" y="402"/>
                      </a:lnTo>
                      <a:lnTo>
                        <a:pt x="242" y="388"/>
                      </a:lnTo>
                      <a:lnTo>
                        <a:pt x="239" y="380"/>
                      </a:lnTo>
                      <a:lnTo>
                        <a:pt x="227" y="373"/>
                      </a:lnTo>
                      <a:lnTo>
                        <a:pt x="222" y="376"/>
                      </a:lnTo>
                      <a:lnTo>
                        <a:pt x="218" y="373"/>
                      </a:lnTo>
                      <a:lnTo>
                        <a:pt x="216" y="370"/>
                      </a:lnTo>
                      <a:lnTo>
                        <a:pt x="209" y="365"/>
                      </a:lnTo>
                      <a:lnTo>
                        <a:pt x="204" y="357"/>
                      </a:lnTo>
                      <a:lnTo>
                        <a:pt x="198" y="353"/>
                      </a:lnTo>
                      <a:lnTo>
                        <a:pt x="196" y="348"/>
                      </a:lnTo>
                      <a:lnTo>
                        <a:pt x="192" y="348"/>
                      </a:lnTo>
                      <a:lnTo>
                        <a:pt x="187" y="343"/>
                      </a:lnTo>
                      <a:lnTo>
                        <a:pt x="178" y="343"/>
                      </a:lnTo>
                      <a:lnTo>
                        <a:pt x="173" y="340"/>
                      </a:lnTo>
                      <a:lnTo>
                        <a:pt x="169" y="340"/>
                      </a:lnTo>
                      <a:lnTo>
                        <a:pt x="159" y="336"/>
                      </a:lnTo>
                      <a:lnTo>
                        <a:pt x="155" y="339"/>
                      </a:lnTo>
                      <a:lnTo>
                        <a:pt x="149" y="340"/>
                      </a:lnTo>
                      <a:lnTo>
                        <a:pt x="130" y="336"/>
                      </a:lnTo>
                      <a:lnTo>
                        <a:pt x="121" y="340"/>
                      </a:lnTo>
                      <a:lnTo>
                        <a:pt x="113" y="336"/>
                      </a:lnTo>
                      <a:lnTo>
                        <a:pt x="104" y="334"/>
                      </a:lnTo>
                      <a:lnTo>
                        <a:pt x="101" y="336"/>
                      </a:lnTo>
                      <a:lnTo>
                        <a:pt x="83" y="337"/>
                      </a:lnTo>
                      <a:lnTo>
                        <a:pt x="80" y="336"/>
                      </a:lnTo>
                      <a:lnTo>
                        <a:pt x="78" y="328"/>
                      </a:lnTo>
                      <a:lnTo>
                        <a:pt x="75" y="328"/>
                      </a:lnTo>
                      <a:lnTo>
                        <a:pt x="64" y="330"/>
                      </a:lnTo>
                      <a:lnTo>
                        <a:pt x="60" y="328"/>
                      </a:lnTo>
                      <a:lnTo>
                        <a:pt x="50" y="326"/>
                      </a:lnTo>
                      <a:lnTo>
                        <a:pt x="49" y="330"/>
                      </a:lnTo>
                      <a:lnTo>
                        <a:pt x="34" y="330"/>
                      </a:lnTo>
                      <a:lnTo>
                        <a:pt x="21" y="331"/>
                      </a:lnTo>
                      <a:lnTo>
                        <a:pt x="21" y="331"/>
                      </a:lnTo>
                      <a:lnTo>
                        <a:pt x="21" y="325"/>
                      </a:lnTo>
                      <a:lnTo>
                        <a:pt x="18" y="320"/>
                      </a:lnTo>
                      <a:lnTo>
                        <a:pt x="18" y="313"/>
                      </a:lnTo>
                      <a:lnTo>
                        <a:pt x="21" y="303"/>
                      </a:lnTo>
                      <a:lnTo>
                        <a:pt x="20" y="299"/>
                      </a:lnTo>
                      <a:lnTo>
                        <a:pt x="21" y="288"/>
                      </a:lnTo>
                      <a:lnTo>
                        <a:pt x="18" y="280"/>
                      </a:lnTo>
                      <a:lnTo>
                        <a:pt x="18" y="270"/>
                      </a:lnTo>
                      <a:lnTo>
                        <a:pt x="4" y="240"/>
                      </a:lnTo>
                      <a:lnTo>
                        <a:pt x="3" y="228"/>
                      </a:lnTo>
                      <a:lnTo>
                        <a:pt x="0" y="223"/>
                      </a:lnTo>
                      <a:lnTo>
                        <a:pt x="0" y="217"/>
                      </a:lnTo>
                      <a:lnTo>
                        <a:pt x="11" y="207"/>
                      </a:lnTo>
                      <a:lnTo>
                        <a:pt x="23" y="199"/>
                      </a:lnTo>
                      <a:lnTo>
                        <a:pt x="38" y="196"/>
                      </a:lnTo>
                      <a:lnTo>
                        <a:pt x="55" y="196"/>
                      </a:lnTo>
                      <a:lnTo>
                        <a:pt x="57" y="191"/>
                      </a:lnTo>
                      <a:lnTo>
                        <a:pt x="55" y="185"/>
                      </a:lnTo>
                      <a:lnTo>
                        <a:pt x="57" y="183"/>
                      </a:lnTo>
                      <a:lnTo>
                        <a:pt x="55" y="180"/>
                      </a:lnTo>
                      <a:lnTo>
                        <a:pt x="43" y="173"/>
                      </a:lnTo>
                      <a:lnTo>
                        <a:pt x="34" y="163"/>
                      </a:lnTo>
                      <a:lnTo>
                        <a:pt x="32" y="156"/>
                      </a:lnTo>
                      <a:lnTo>
                        <a:pt x="29" y="151"/>
                      </a:lnTo>
                      <a:lnTo>
                        <a:pt x="29" y="147"/>
                      </a:lnTo>
                      <a:lnTo>
                        <a:pt x="27" y="143"/>
                      </a:lnTo>
                      <a:lnTo>
                        <a:pt x="27" y="139"/>
                      </a:lnTo>
                      <a:lnTo>
                        <a:pt x="35" y="136"/>
                      </a:lnTo>
                      <a:lnTo>
                        <a:pt x="49" y="142"/>
                      </a:lnTo>
                      <a:lnTo>
                        <a:pt x="49" y="134"/>
                      </a:lnTo>
                      <a:lnTo>
                        <a:pt x="55" y="127"/>
                      </a:lnTo>
                      <a:lnTo>
                        <a:pt x="55" y="119"/>
                      </a:lnTo>
                      <a:lnTo>
                        <a:pt x="63" y="120"/>
                      </a:lnTo>
                      <a:lnTo>
                        <a:pt x="81" y="116"/>
                      </a:lnTo>
                      <a:lnTo>
                        <a:pt x="81" y="113"/>
                      </a:lnTo>
                      <a:lnTo>
                        <a:pt x="78" y="110"/>
                      </a:lnTo>
                      <a:lnTo>
                        <a:pt x="81" y="103"/>
                      </a:lnTo>
                      <a:lnTo>
                        <a:pt x="80" y="100"/>
                      </a:lnTo>
                      <a:lnTo>
                        <a:pt x="89" y="97"/>
                      </a:lnTo>
                      <a:lnTo>
                        <a:pt x="92" y="99"/>
                      </a:lnTo>
                      <a:lnTo>
                        <a:pt x="97" y="87"/>
                      </a:lnTo>
                      <a:lnTo>
                        <a:pt x="104" y="83"/>
                      </a:lnTo>
                      <a:lnTo>
                        <a:pt x="101" y="82"/>
                      </a:lnTo>
                      <a:lnTo>
                        <a:pt x="103" y="79"/>
                      </a:lnTo>
                      <a:lnTo>
                        <a:pt x="109" y="74"/>
                      </a:lnTo>
                      <a:lnTo>
                        <a:pt x="115" y="73"/>
                      </a:lnTo>
                      <a:lnTo>
                        <a:pt x="120" y="68"/>
                      </a:lnTo>
                      <a:lnTo>
                        <a:pt x="124" y="67"/>
                      </a:lnTo>
                      <a:lnTo>
                        <a:pt x="123" y="62"/>
                      </a:lnTo>
                      <a:lnTo>
                        <a:pt x="123" y="59"/>
                      </a:lnTo>
                      <a:lnTo>
                        <a:pt x="123" y="59"/>
                      </a:lnTo>
                      <a:lnTo>
                        <a:pt x="126" y="56"/>
                      </a:lnTo>
                      <a:lnTo>
                        <a:pt x="127" y="53"/>
                      </a:lnTo>
                      <a:lnTo>
                        <a:pt x="124" y="47"/>
                      </a:lnTo>
                      <a:lnTo>
                        <a:pt x="127" y="42"/>
                      </a:lnTo>
                      <a:lnTo>
                        <a:pt x="136" y="34"/>
                      </a:lnTo>
                      <a:lnTo>
                        <a:pt x="141" y="34"/>
                      </a:lnTo>
                      <a:lnTo>
                        <a:pt x="144" y="28"/>
                      </a:lnTo>
                      <a:lnTo>
                        <a:pt x="152" y="20"/>
                      </a:lnTo>
                      <a:lnTo>
                        <a:pt x="159" y="25"/>
                      </a:lnTo>
                      <a:lnTo>
                        <a:pt x="169" y="25"/>
                      </a:lnTo>
                      <a:lnTo>
                        <a:pt x="176" y="19"/>
                      </a:lnTo>
                      <a:lnTo>
                        <a:pt x="185" y="17"/>
                      </a:lnTo>
                      <a:lnTo>
                        <a:pt x="193" y="25"/>
                      </a:lnTo>
                      <a:lnTo>
                        <a:pt x="202" y="25"/>
                      </a:lnTo>
                      <a:lnTo>
                        <a:pt x="204" y="25"/>
                      </a:lnTo>
                      <a:lnTo>
                        <a:pt x="204" y="17"/>
                      </a:lnTo>
                      <a:lnTo>
                        <a:pt x="205" y="14"/>
                      </a:lnTo>
                      <a:lnTo>
                        <a:pt x="212" y="13"/>
                      </a:lnTo>
                      <a:lnTo>
                        <a:pt x="215" y="8"/>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85" name="Buzau" descr="{&quot;Key&quot;:&quot;buzau&quot;,&quot;Name&quot;:&quot;Buzau&quot;,&quot;Value&quot;:1.0,&quot;Formula&quot;:&quot;&quot;,&quot;Text&quot;:&quot;1&quot;,&quot;OfficeApplication&quot;:0,&quot;HasValue&quot;:true}">
                  <a:extLst>
                    <a:ext uri="{FF2B5EF4-FFF2-40B4-BE49-F238E27FC236}">
                      <a16:creationId xmlns:a16="http://schemas.microsoft.com/office/drawing/2014/main" id="{0C795CF3-9D15-6CC0-9B8E-F37AE7712EBA}"/>
                    </a:ext>
                  </a:extLst>
                </p:cNvPr>
                <p:cNvSpPr>
                  <a:spLocks/>
                </p:cNvSpPr>
                <p:nvPr/>
              </p:nvSpPr>
              <p:spPr bwMode="auto">
                <a:xfrm>
                  <a:off x="6762750" y="3605213"/>
                  <a:ext cx="879475" cy="957263"/>
                </a:xfrm>
                <a:custGeom>
                  <a:avLst/>
                  <a:gdLst>
                    <a:gd name="T0" fmla="*/ 158 w 554"/>
                    <a:gd name="T1" fmla="*/ 27 h 603"/>
                    <a:gd name="T2" fmla="*/ 169 w 554"/>
                    <a:gd name="T3" fmla="*/ 55 h 603"/>
                    <a:gd name="T4" fmla="*/ 211 w 554"/>
                    <a:gd name="T5" fmla="*/ 94 h 603"/>
                    <a:gd name="T6" fmla="*/ 254 w 554"/>
                    <a:gd name="T7" fmla="*/ 121 h 603"/>
                    <a:gd name="T8" fmla="*/ 287 w 554"/>
                    <a:gd name="T9" fmla="*/ 140 h 603"/>
                    <a:gd name="T10" fmla="*/ 313 w 554"/>
                    <a:gd name="T11" fmla="*/ 158 h 603"/>
                    <a:gd name="T12" fmla="*/ 358 w 554"/>
                    <a:gd name="T13" fmla="*/ 155 h 603"/>
                    <a:gd name="T14" fmla="*/ 376 w 554"/>
                    <a:gd name="T15" fmla="*/ 172 h 603"/>
                    <a:gd name="T16" fmla="*/ 419 w 554"/>
                    <a:gd name="T17" fmla="*/ 191 h 603"/>
                    <a:gd name="T18" fmla="*/ 428 w 554"/>
                    <a:gd name="T19" fmla="*/ 203 h 603"/>
                    <a:gd name="T20" fmla="*/ 475 w 554"/>
                    <a:gd name="T21" fmla="*/ 209 h 603"/>
                    <a:gd name="T22" fmla="*/ 490 w 554"/>
                    <a:gd name="T23" fmla="*/ 197 h 603"/>
                    <a:gd name="T24" fmla="*/ 502 w 554"/>
                    <a:gd name="T25" fmla="*/ 241 h 603"/>
                    <a:gd name="T26" fmla="*/ 553 w 554"/>
                    <a:gd name="T27" fmla="*/ 231 h 603"/>
                    <a:gd name="T28" fmla="*/ 537 w 554"/>
                    <a:gd name="T29" fmla="*/ 249 h 603"/>
                    <a:gd name="T30" fmla="*/ 530 w 554"/>
                    <a:gd name="T31" fmla="*/ 266 h 603"/>
                    <a:gd name="T32" fmla="*/ 528 w 554"/>
                    <a:gd name="T33" fmla="*/ 301 h 603"/>
                    <a:gd name="T34" fmla="*/ 517 w 554"/>
                    <a:gd name="T35" fmla="*/ 311 h 603"/>
                    <a:gd name="T36" fmla="*/ 502 w 554"/>
                    <a:gd name="T37" fmla="*/ 332 h 603"/>
                    <a:gd name="T38" fmla="*/ 462 w 554"/>
                    <a:gd name="T39" fmla="*/ 326 h 603"/>
                    <a:gd name="T40" fmla="*/ 427 w 554"/>
                    <a:gd name="T41" fmla="*/ 332 h 603"/>
                    <a:gd name="T42" fmla="*/ 435 w 554"/>
                    <a:gd name="T43" fmla="*/ 360 h 603"/>
                    <a:gd name="T44" fmla="*/ 461 w 554"/>
                    <a:gd name="T45" fmla="*/ 404 h 603"/>
                    <a:gd name="T46" fmla="*/ 476 w 554"/>
                    <a:gd name="T47" fmla="*/ 454 h 603"/>
                    <a:gd name="T48" fmla="*/ 481 w 554"/>
                    <a:gd name="T49" fmla="*/ 478 h 603"/>
                    <a:gd name="T50" fmla="*/ 462 w 554"/>
                    <a:gd name="T51" fmla="*/ 523 h 603"/>
                    <a:gd name="T52" fmla="*/ 464 w 554"/>
                    <a:gd name="T53" fmla="*/ 560 h 603"/>
                    <a:gd name="T54" fmla="*/ 462 w 554"/>
                    <a:gd name="T55" fmla="*/ 566 h 603"/>
                    <a:gd name="T56" fmla="*/ 458 w 554"/>
                    <a:gd name="T57" fmla="*/ 590 h 603"/>
                    <a:gd name="T58" fmla="*/ 424 w 554"/>
                    <a:gd name="T59" fmla="*/ 575 h 603"/>
                    <a:gd name="T60" fmla="*/ 379 w 554"/>
                    <a:gd name="T61" fmla="*/ 575 h 603"/>
                    <a:gd name="T62" fmla="*/ 339 w 554"/>
                    <a:gd name="T63" fmla="*/ 555 h 603"/>
                    <a:gd name="T64" fmla="*/ 326 w 554"/>
                    <a:gd name="T65" fmla="*/ 564 h 603"/>
                    <a:gd name="T66" fmla="*/ 297 w 554"/>
                    <a:gd name="T67" fmla="*/ 564 h 603"/>
                    <a:gd name="T68" fmla="*/ 267 w 554"/>
                    <a:gd name="T69" fmla="*/ 557 h 603"/>
                    <a:gd name="T70" fmla="*/ 227 w 554"/>
                    <a:gd name="T71" fmla="*/ 547 h 603"/>
                    <a:gd name="T72" fmla="*/ 204 w 554"/>
                    <a:gd name="T73" fmla="*/ 515 h 603"/>
                    <a:gd name="T74" fmla="*/ 188 w 554"/>
                    <a:gd name="T75" fmla="*/ 497 h 603"/>
                    <a:gd name="T76" fmla="*/ 203 w 554"/>
                    <a:gd name="T77" fmla="*/ 469 h 603"/>
                    <a:gd name="T78" fmla="*/ 186 w 554"/>
                    <a:gd name="T79" fmla="*/ 455 h 603"/>
                    <a:gd name="T80" fmla="*/ 165 w 554"/>
                    <a:gd name="T81" fmla="*/ 411 h 603"/>
                    <a:gd name="T82" fmla="*/ 168 w 554"/>
                    <a:gd name="T83" fmla="*/ 394 h 603"/>
                    <a:gd name="T84" fmla="*/ 166 w 554"/>
                    <a:gd name="T85" fmla="*/ 381 h 603"/>
                    <a:gd name="T86" fmla="*/ 145 w 554"/>
                    <a:gd name="T87" fmla="*/ 355 h 603"/>
                    <a:gd name="T88" fmla="*/ 123 w 554"/>
                    <a:gd name="T89" fmla="*/ 357 h 603"/>
                    <a:gd name="T90" fmla="*/ 105 w 554"/>
                    <a:gd name="T91" fmla="*/ 338 h 603"/>
                    <a:gd name="T92" fmla="*/ 73 w 554"/>
                    <a:gd name="T93" fmla="*/ 297 h 603"/>
                    <a:gd name="T94" fmla="*/ 76 w 554"/>
                    <a:gd name="T95" fmla="*/ 275 h 603"/>
                    <a:gd name="T96" fmla="*/ 50 w 554"/>
                    <a:gd name="T97" fmla="*/ 247 h 603"/>
                    <a:gd name="T98" fmla="*/ 10 w 554"/>
                    <a:gd name="T99" fmla="*/ 212 h 603"/>
                    <a:gd name="T100" fmla="*/ 0 w 554"/>
                    <a:gd name="T101" fmla="*/ 181 h 603"/>
                    <a:gd name="T102" fmla="*/ 19 w 554"/>
                    <a:gd name="T103" fmla="*/ 160 h 603"/>
                    <a:gd name="T104" fmla="*/ 53 w 554"/>
                    <a:gd name="T105" fmla="*/ 129 h 603"/>
                    <a:gd name="T106" fmla="*/ 82 w 554"/>
                    <a:gd name="T107" fmla="*/ 111 h 603"/>
                    <a:gd name="T108" fmla="*/ 111 w 554"/>
                    <a:gd name="T109" fmla="*/ 83 h 603"/>
                    <a:gd name="T110" fmla="*/ 135 w 554"/>
                    <a:gd name="T111" fmla="*/ 3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4" h="603">
                      <a:moveTo>
                        <a:pt x="137" y="0"/>
                      </a:moveTo>
                      <a:lnTo>
                        <a:pt x="145" y="6"/>
                      </a:lnTo>
                      <a:lnTo>
                        <a:pt x="151" y="8"/>
                      </a:lnTo>
                      <a:lnTo>
                        <a:pt x="157" y="12"/>
                      </a:lnTo>
                      <a:lnTo>
                        <a:pt x="158" y="27"/>
                      </a:lnTo>
                      <a:lnTo>
                        <a:pt x="155" y="35"/>
                      </a:lnTo>
                      <a:lnTo>
                        <a:pt x="168" y="46"/>
                      </a:lnTo>
                      <a:lnTo>
                        <a:pt x="171" y="46"/>
                      </a:lnTo>
                      <a:lnTo>
                        <a:pt x="168" y="49"/>
                      </a:lnTo>
                      <a:lnTo>
                        <a:pt x="169" y="55"/>
                      </a:lnTo>
                      <a:lnTo>
                        <a:pt x="174" y="57"/>
                      </a:lnTo>
                      <a:lnTo>
                        <a:pt x="178" y="71"/>
                      </a:lnTo>
                      <a:lnTo>
                        <a:pt x="198" y="95"/>
                      </a:lnTo>
                      <a:lnTo>
                        <a:pt x="204" y="97"/>
                      </a:lnTo>
                      <a:lnTo>
                        <a:pt x="211" y="94"/>
                      </a:lnTo>
                      <a:lnTo>
                        <a:pt x="218" y="101"/>
                      </a:lnTo>
                      <a:lnTo>
                        <a:pt x="237" y="95"/>
                      </a:lnTo>
                      <a:lnTo>
                        <a:pt x="237" y="101"/>
                      </a:lnTo>
                      <a:lnTo>
                        <a:pt x="247" y="121"/>
                      </a:lnTo>
                      <a:lnTo>
                        <a:pt x="254" y="121"/>
                      </a:lnTo>
                      <a:lnTo>
                        <a:pt x="257" y="121"/>
                      </a:lnTo>
                      <a:lnTo>
                        <a:pt x="261" y="120"/>
                      </a:lnTo>
                      <a:lnTo>
                        <a:pt x="270" y="132"/>
                      </a:lnTo>
                      <a:lnTo>
                        <a:pt x="280" y="141"/>
                      </a:lnTo>
                      <a:lnTo>
                        <a:pt x="287" y="140"/>
                      </a:lnTo>
                      <a:lnTo>
                        <a:pt x="295" y="143"/>
                      </a:lnTo>
                      <a:lnTo>
                        <a:pt x="297" y="141"/>
                      </a:lnTo>
                      <a:lnTo>
                        <a:pt x="303" y="144"/>
                      </a:lnTo>
                      <a:lnTo>
                        <a:pt x="309" y="155"/>
                      </a:lnTo>
                      <a:lnTo>
                        <a:pt x="313" y="158"/>
                      </a:lnTo>
                      <a:lnTo>
                        <a:pt x="323" y="157"/>
                      </a:lnTo>
                      <a:lnTo>
                        <a:pt x="338" y="157"/>
                      </a:lnTo>
                      <a:lnTo>
                        <a:pt x="343" y="151"/>
                      </a:lnTo>
                      <a:lnTo>
                        <a:pt x="350" y="151"/>
                      </a:lnTo>
                      <a:lnTo>
                        <a:pt x="358" y="155"/>
                      </a:lnTo>
                      <a:lnTo>
                        <a:pt x="369" y="152"/>
                      </a:lnTo>
                      <a:lnTo>
                        <a:pt x="373" y="158"/>
                      </a:lnTo>
                      <a:lnTo>
                        <a:pt x="375" y="164"/>
                      </a:lnTo>
                      <a:lnTo>
                        <a:pt x="378" y="169"/>
                      </a:lnTo>
                      <a:lnTo>
                        <a:pt x="376" y="172"/>
                      </a:lnTo>
                      <a:lnTo>
                        <a:pt x="382" y="181"/>
                      </a:lnTo>
                      <a:lnTo>
                        <a:pt x="389" y="186"/>
                      </a:lnTo>
                      <a:lnTo>
                        <a:pt x="392" y="195"/>
                      </a:lnTo>
                      <a:lnTo>
                        <a:pt x="409" y="200"/>
                      </a:lnTo>
                      <a:lnTo>
                        <a:pt x="419" y="191"/>
                      </a:lnTo>
                      <a:lnTo>
                        <a:pt x="421" y="186"/>
                      </a:lnTo>
                      <a:lnTo>
                        <a:pt x="424" y="187"/>
                      </a:lnTo>
                      <a:lnTo>
                        <a:pt x="428" y="191"/>
                      </a:lnTo>
                      <a:lnTo>
                        <a:pt x="422" y="204"/>
                      </a:lnTo>
                      <a:lnTo>
                        <a:pt x="428" y="203"/>
                      </a:lnTo>
                      <a:lnTo>
                        <a:pt x="444" y="217"/>
                      </a:lnTo>
                      <a:lnTo>
                        <a:pt x="461" y="203"/>
                      </a:lnTo>
                      <a:lnTo>
                        <a:pt x="465" y="204"/>
                      </a:lnTo>
                      <a:lnTo>
                        <a:pt x="468" y="211"/>
                      </a:lnTo>
                      <a:lnTo>
                        <a:pt x="475" y="209"/>
                      </a:lnTo>
                      <a:lnTo>
                        <a:pt x="476" y="211"/>
                      </a:lnTo>
                      <a:lnTo>
                        <a:pt x="478" y="203"/>
                      </a:lnTo>
                      <a:lnTo>
                        <a:pt x="481" y="203"/>
                      </a:lnTo>
                      <a:lnTo>
                        <a:pt x="482" y="198"/>
                      </a:lnTo>
                      <a:lnTo>
                        <a:pt x="490" y="197"/>
                      </a:lnTo>
                      <a:lnTo>
                        <a:pt x="490" y="206"/>
                      </a:lnTo>
                      <a:lnTo>
                        <a:pt x="485" y="215"/>
                      </a:lnTo>
                      <a:lnTo>
                        <a:pt x="488" y="237"/>
                      </a:lnTo>
                      <a:lnTo>
                        <a:pt x="499" y="246"/>
                      </a:lnTo>
                      <a:lnTo>
                        <a:pt x="502" y="241"/>
                      </a:lnTo>
                      <a:lnTo>
                        <a:pt x="521" y="243"/>
                      </a:lnTo>
                      <a:lnTo>
                        <a:pt x="530" y="241"/>
                      </a:lnTo>
                      <a:lnTo>
                        <a:pt x="537" y="237"/>
                      </a:lnTo>
                      <a:lnTo>
                        <a:pt x="539" y="240"/>
                      </a:lnTo>
                      <a:lnTo>
                        <a:pt x="553" y="231"/>
                      </a:lnTo>
                      <a:lnTo>
                        <a:pt x="553" y="231"/>
                      </a:lnTo>
                      <a:lnTo>
                        <a:pt x="554" y="240"/>
                      </a:lnTo>
                      <a:lnTo>
                        <a:pt x="542" y="247"/>
                      </a:lnTo>
                      <a:lnTo>
                        <a:pt x="539" y="247"/>
                      </a:lnTo>
                      <a:lnTo>
                        <a:pt x="537" y="249"/>
                      </a:lnTo>
                      <a:lnTo>
                        <a:pt x="542" y="254"/>
                      </a:lnTo>
                      <a:lnTo>
                        <a:pt x="542" y="260"/>
                      </a:lnTo>
                      <a:lnTo>
                        <a:pt x="536" y="261"/>
                      </a:lnTo>
                      <a:lnTo>
                        <a:pt x="536" y="264"/>
                      </a:lnTo>
                      <a:lnTo>
                        <a:pt x="530" y="266"/>
                      </a:lnTo>
                      <a:lnTo>
                        <a:pt x="534" y="275"/>
                      </a:lnTo>
                      <a:lnTo>
                        <a:pt x="534" y="291"/>
                      </a:lnTo>
                      <a:lnTo>
                        <a:pt x="527" y="294"/>
                      </a:lnTo>
                      <a:lnTo>
                        <a:pt x="530" y="297"/>
                      </a:lnTo>
                      <a:lnTo>
                        <a:pt x="528" y="301"/>
                      </a:lnTo>
                      <a:lnTo>
                        <a:pt x="522" y="300"/>
                      </a:lnTo>
                      <a:lnTo>
                        <a:pt x="519" y="307"/>
                      </a:lnTo>
                      <a:lnTo>
                        <a:pt x="513" y="304"/>
                      </a:lnTo>
                      <a:lnTo>
                        <a:pt x="511" y="307"/>
                      </a:lnTo>
                      <a:lnTo>
                        <a:pt x="517" y="311"/>
                      </a:lnTo>
                      <a:lnTo>
                        <a:pt x="513" y="318"/>
                      </a:lnTo>
                      <a:lnTo>
                        <a:pt x="519" y="323"/>
                      </a:lnTo>
                      <a:lnTo>
                        <a:pt x="513" y="331"/>
                      </a:lnTo>
                      <a:lnTo>
                        <a:pt x="507" y="326"/>
                      </a:lnTo>
                      <a:lnTo>
                        <a:pt x="502" y="332"/>
                      </a:lnTo>
                      <a:lnTo>
                        <a:pt x="496" y="332"/>
                      </a:lnTo>
                      <a:lnTo>
                        <a:pt x="491" y="340"/>
                      </a:lnTo>
                      <a:lnTo>
                        <a:pt x="476" y="327"/>
                      </a:lnTo>
                      <a:lnTo>
                        <a:pt x="475" y="334"/>
                      </a:lnTo>
                      <a:lnTo>
                        <a:pt x="462" y="326"/>
                      </a:lnTo>
                      <a:lnTo>
                        <a:pt x="461" y="327"/>
                      </a:lnTo>
                      <a:lnTo>
                        <a:pt x="453" y="318"/>
                      </a:lnTo>
                      <a:lnTo>
                        <a:pt x="450" y="321"/>
                      </a:lnTo>
                      <a:lnTo>
                        <a:pt x="445" y="315"/>
                      </a:lnTo>
                      <a:lnTo>
                        <a:pt x="427" y="332"/>
                      </a:lnTo>
                      <a:lnTo>
                        <a:pt x="419" y="346"/>
                      </a:lnTo>
                      <a:lnTo>
                        <a:pt x="413" y="351"/>
                      </a:lnTo>
                      <a:lnTo>
                        <a:pt x="407" y="360"/>
                      </a:lnTo>
                      <a:lnTo>
                        <a:pt x="416" y="369"/>
                      </a:lnTo>
                      <a:lnTo>
                        <a:pt x="435" y="360"/>
                      </a:lnTo>
                      <a:lnTo>
                        <a:pt x="439" y="355"/>
                      </a:lnTo>
                      <a:lnTo>
                        <a:pt x="447" y="395"/>
                      </a:lnTo>
                      <a:lnTo>
                        <a:pt x="450" y="400"/>
                      </a:lnTo>
                      <a:lnTo>
                        <a:pt x="462" y="400"/>
                      </a:lnTo>
                      <a:lnTo>
                        <a:pt x="461" y="404"/>
                      </a:lnTo>
                      <a:lnTo>
                        <a:pt x="462" y="412"/>
                      </a:lnTo>
                      <a:lnTo>
                        <a:pt x="459" y="415"/>
                      </a:lnTo>
                      <a:lnTo>
                        <a:pt x="458" y="437"/>
                      </a:lnTo>
                      <a:lnTo>
                        <a:pt x="475" y="438"/>
                      </a:lnTo>
                      <a:lnTo>
                        <a:pt x="476" y="454"/>
                      </a:lnTo>
                      <a:lnTo>
                        <a:pt x="488" y="455"/>
                      </a:lnTo>
                      <a:lnTo>
                        <a:pt x="488" y="461"/>
                      </a:lnTo>
                      <a:lnTo>
                        <a:pt x="490" y="461"/>
                      </a:lnTo>
                      <a:lnTo>
                        <a:pt x="490" y="477"/>
                      </a:lnTo>
                      <a:lnTo>
                        <a:pt x="481" y="478"/>
                      </a:lnTo>
                      <a:lnTo>
                        <a:pt x="476" y="477"/>
                      </a:lnTo>
                      <a:lnTo>
                        <a:pt x="473" y="489"/>
                      </a:lnTo>
                      <a:lnTo>
                        <a:pt x="482" y="492"/>
                      </a:lnTo>
                      <a:lnTo>
                        <a:pt x="473" y="526"/>
                      </a:lnTo>
                      <a:lnTo>
                        <a:pt x="462" y="523"/>
                      </a:lnTo>
                      <a:lnTo>
                        <a:pt x="462" y="526"/>
                      </a:lnTo>
                      <a:lnTo>
                        <a:pt x="470" y="530"/>
                      </a:lnTo>
                      <a:lnTo>
                        <a:pt x="470" y="532"/>
                      </a:lnTo>
                      <a:lnTo>
                        <a:pt x="464" y="558"/>
                      </a:lnTo>
                      <a:lnTo>
                        <a:pt x="464" y="560"/>
                      </a:lnTo>
                      <a:lnTo>
                        <a:pt x="455" y="557"/>
                      </a:lnTo>
                      <a:lnTo>
                        <a:pt x="453" y="558"/>
                      </a:lnTo>
                      <a:lnTo>
                        <a:pt x="459" y="561"/>
                      </a:lnTo>
                      <a:lnTo>
                        <a:pt x="459" y="563"/>
                      </a:lnTo>
                      <a:lnTo>
                        <a:pt x="462" y="566"/>
                      </a:lnTo>
                      <a:lnTo>
                        <a:pt x="462" y="567"/>
                      </a:lnTo>
                      <a:lnTo>
                        <a:pt x="462" y="567"/>
                      </a:lnTo>
                      <a:lnTo>
                        <a:pt x="441" y="570"/>
                      </a:lnTo>
                      <a:lnTo>
                        <a:pt x="439" y="583"/>
                      </a:lnTo>
                      <a:lnTo>
                        <a:pt x="458" y="590"/>
                      </a:lnTo>
                      <a:lnTo>
                        <a:pt x="451" y="603"/>
                      </a:lnTo>
                      <a:lnTo>
                        <a:pt x="435" y="597"/>
                      </a:lnTo>
                      <a:lnTo>
                        <a:pt x="433" y="600"/>
                      </a:lnTo>
                      <a:lnTo>
                        <a:pt x="419" y="595"/>
                      </a:lnTo>
                      <a:lnTo>
                        <a:pt x="424" y="575"/>
                      </a:lnTo>
                      <a:lnTo>
                        <a:pt x="405" y="567"/>
                      </a:lnTo>
                      <a:lnTo>
                        <a:pt x="387" y="555"/>
                      </a:lnTo>
                      <a:lnTo>
                        <a:pt x="378" y="567"/>
                      </a:lnTo>
                      <a:lnTo>
                        <a:pt x="381" y="570"/>
                      </a:lnTo>
                      <a:lnTo>
                        <a:pt x="379" y="575"/>
                      </a:lnTo>
                      <a:lnTo>
                        <a:pt x="370" y="569"/>
                      </a:lnTo>
                      <a:lnTo>
                        <a:pt x="344" y="560"/>
                      </a:lnTo>
                      <a:lnTo>
                        <a:pt x="339" y="560"/>
                      </a:lnTo>
                      <a:lnTo>
                        <a:pt x="338" y="558"/>
                      </a:lnTo>
                      <a:lnTo>
                        <a:pt x="339" y="555"/>
                      </a:lnTo>
                      <a:lnTo>
                        <a:pt x="335" y="554"/>
                      </a:lnTo>
                      <a:lnTo>
                        <a:pt x="333" y="560"/>
                      </a:lnTo>
                      <a:lnTo>
                        <a:pt x="330" y="564"/>
                      </a:lnTo>
                      <a:lnTo>
                        <a:pt x="327" y="563"/>
                      </a:lnTo>
                      <a:lnTo>
                        <a:pt x="326" y="564"/>
                      </a:lnTo>
                      <a:lnTo>
                        <a:pt x="321" y="563"/>
                      </a:lnTo>
                      <a:lnTo>
                        <a:pt x="316" y="564"/>
                      </a:lnTo>
                      <a:lnTo>
                        <a:pt x="310" y="574"/>
                      </a:lnTo>
                      <a:lnTo>
                        <a:pt x="297" y="569"/>
                      </a:lnTo>
                      <a:lnTo>
                        <a:pt x="297" y="564"/>
                      </a:lnTo>
                      <a:lnTo>
                        <a:pt x="292" y="561"/>
                      </a:lnTo>
                      <a:lnTo>
                        <a:pt x="293" y="558"/>
                      </a:lnTo>
                      <a:lnTo>
                        <a:pt x="289" y="555"/>
                      </a:lnTo>
                      <a:lnTo>
                        <a:pt x="267" y="560"/>
                      </a:lnTo>
                      <a:lnTo>
                        <a:pt x="267" y="557"/>
                      </a:lnTo>
                      <a:lnTo>
                        <a:pt x="263" y="558"/>
                      </a:lnTo>
                      <a:lnTo>
                        <a:pt x="241" y="558"/>
                      </a:lnTo>
                      <a:lnTo>
                        <a:pt x="238" y="554"/>
                      </a:lnTo>
                      <a:lnTo>
                        <a:pt x="232" y="557"/>
                      </a:lnTo>
                      <a:lnTo>
                        <a:pt x="227" y="547"/>
                      </a:lnTo>
                      <a:lnTo>
                        <a:pt x="224" y="530"/>
                      </a:lnTo>
                      <a:lnTo>
                        <a:pt x="224" y="530"/>
                      </a:lnTo>
                      <a:lnTo>
                        <a:pt x="215" y="520"/>
                      </a:lnTo>
                      <a:lnTo>
                        <a:pt x="209" y="521"/>
                      </a:lnTo>
                      <a:lnTo>
                        <a:pt x="204" y="515"/>
                      </a:lnTo>
                      <a:lnTo>
                        <a:pt x="201" y="506"/>
                      </a:lnTo>
                      <a:lnTo>
                        <a:pt x="198" y="501"/>
                      </a:lnTo>
                      <a:lnTo>
                        <a:pt x="195" y="503"/>
                      </a:lnTo>
                      <a:lnTo>
                        <a:pt x="191" y="501"/>
                      </a:lnTo>
                      <a:lnTo>
                        <a:pt x="188" y="497"/>
                      </a:lnTo>
                      <a:lnTo>
                        <a:pt x="194" y="489"/>
                      </a:lnTo>
                      <a:lnTo>
                        <a:pt x="211" y="483"/>
                      </a:lnTo>
                      <a:lnTo>
                        <a:pt x="211" y="467"/>
                      </a:lnTo>
                      <a:lnTo>
                        <a:pt x="204" y="470"/>
                      </a:lnTo>
                      <a:lnTo>
                        <a:pt x="203" y="469"/>
                      </a:lnTo>
                      <a:lnTo>
                        <a:pt x="206" y="466"/>
                      </a:lnTo>
                      <a:lnTo>
                        <a:pt x="201" y="458"/>
                      </a:lnTo>
                      <a:lnTo>
                        <a:pt x="195" y="451"/>
                      </a:lnTo>
                      <a:lnTo>
                        <a:pt x="188" y="452"/>
                      </a:lnTo>
                      <a:lnTo>
                        <a:pt x="186" y="455"/>
                      </a:lnTo>
                      <a:lnTo>
                        <a:pt x="181" y="458"/>
                      </a:lnTo>
                      <a:lnTo>
                        <a:pt x="175" y="451"/>
                      </a:lnTo>
                      <a:lnTo>
                        <a:pt x="177" y="444"/>
                      </a:lnTo>
                      <a:lnTo>
                        <a:pt x="171" y="435"/>
                      </a:lnTo>
                      <a:lnTo>
                        <a:pt x="165" y="411"/>
                      </a:lnTo>
                      <a:lnTo>
                        <a:pt x="163" y="412"/>
                      </a:lnTo>
                      <a:lnTo>
                        <a:pt x="160" y="411"/>
                      </a:lnTo>
                      <a:lnTo>
                        <a:pt x="160" y="403"/>
                      </a:lnTo>
                      <a:lnTo>
                        <a:pt x="168" y="395"/>
                      </a:lnTo>
                      <a:lnTo>
                        <a:pt x="168" y="394"/>
                      </a:lnTo>
                      <a:lnTo>
                        <a:pt x="163" y="394"/>
                      </a:lnTo>
                      <a:lnTo>
                        <a:pt x="162" y="391"/>
                      </a:lnTo>
                      <a:lnTo>
                        <a:pt x="165" y="387"/>
                      </a:lnTo>
                      <a:lnTo>
                        <a:pt x="163" y="383"/>
                      </a:lnTo>
                      <a:lnTo>
                        <a:pt x="166" y="381"/>
                      </a:lnTo>
                      <a:lnTo>
                        <a:pt x="169" y="364"/>
                      </a:lnTo>
                      <a:lnTo>
                        <a:pt x="158" y="349"/>
                      </a:lnTo>
                      <a:lnTo>
                        <a:pt x="155" y="347"/>
                      </a:lnTo>
                      <a:lnTo>
                        <a:pt x="152" y="352"/>
                      </a:lnTo>
                      <a:lnTo>
                        <a:pt x="145" y="355"/>
                      </a:lnTo>
                      <a:lnTo>
                        <a:pt x="138" y="354"/>
                      </a:lnTo>
                      <a:lnTo>
                        <a:pt x="137" y="357"/>
                      </a:lnTo>
                      <a:lnTo>
                        <a:pt x="131" y="363"/>
                      </a:lnTo>
                      <a:lnTo>
                        <a:pt x="128" y="361"/>
                      </a:lnTo>
                      <a:lnTo>
                        <a:pt x="123" y="357"/>
                      </a:lnTo>
                      <a:lnTo>
                        <a:pt x="119" y="341"/>
                      </a:lnTo>
                      <a:lnTo>
                        <a:pt x="125" y="331"/>
                      </a:lnTo>
                      <a:lnTo>
                        <a:pt x="122" y="332"/>
                      </a:lnTo>
                      <a:lnTo>
                        <a:pt x="115" y="329"/>
                      </a:lnTo>
                      <a:lnTo>
                        <a:pt x="105" y="338"/>
                      </a:lnTo>
                      <a:lnTo>
                        <a:pt x="94" y="335"/>
                      </a:lnTo>
                      <a:lnTo>
                        <a:pt x="88" y="337"/>
                      </a:lnTo>
                      <a:lnTo>
                        <a:pt x="83" y="320"/>
                      </a:lnTo>
                      <a:lnTo>
                        <a:pt x="76" y="309"/>
                      </a:lnTo>
                      <a:lnTo>
                        <a:pt x="73" y="297"/>
                      </a:lnTo>
                      <a:lnTo>
                        <a:pt x="66" y="295"/>
                      </a:lnTo>
                      <a:lnTo>
                        <a:pt x="68" y="291"/>
                      </a:lnTo>
                      <a:lnTo>
                        <a:pt x="65" y="284"/>
                      </a:lnTo>
                      <a:lnTo>
                        <a:pt x="73" y="280"/>
                      </a:lnTo>
                      <a:lnTo>
                        <a:pt x="76" y="275"/>
                      </a:lnTo>
                      <a:lnTo>
                        <a:pt x="74" y="271"/>
                      </a:lnTo>
                      <a:lnTo>
                        <a:pt x="65" y="264"/>
                      </a:lnTo>
                      <a:lnTo>
                        <a:pt x="63" y="260"/>
                      </a:lnTo>
                      <a:lnTo>
                        <a:pt x="59" y="254"/>
                      </a:lnTo>
                      <a:lnTo>
                        <a:pt x="50" y="247"/>
                      </a:lnTo>
                      <a:lnTo>
                        <a:pt x="39" y="247"/>
                      </a:lnTo>
                      <a:lnTo>
                        <a:pt x="25" y="221"/>
                      </a:lnTo>
                      <a:lnTo>
                        <a:pt x="20" y="220"/>
                      </a:lnTo>
                      <a:lnTo>
                        <a:pt x="20" y="217"/>
                      </a:lnTo>
                      <a:lnTo>
                        <a:pt x="10" y="212"/>
                      </a:lnTo>
                      <a:lnTo>
                        <a:pt x="7" y="207"/>
                      </a:lnTo>
                      <a:lnTo>
                        <a:pt x="3" y="207"/>
                      </a:lnTo>
                      <a:lnTo>
                        <a:pt x="2" y="206"/>
                      </a:lnTo>
                      <a:lnTo>
                        <a:pt x="3" y="184"/>
                      </a:lnTo>
                      <a:lnTo>
                        <a:pt x="0" y="181"/>
                      </a:lnTo>
                      <a:lnTo>
                        <a:pt x="0" y="181"/>
                      </a:lnTo>
                      <a:lnTo>
                        <a:pt x="7" y="180"/>
                      </a:lnTo>
                      <a:lnTo>
                        <a:pt x="10" y="167"/>
                      </a:lnTo>
                      <a:lnTo>
                        <a:pt x="16" y="161"/>
                      </a:lnTo>
                      <a:lnTo>
                        <a:pt x="19" y="160"/>
                      </a:lnTo>
                      <a:lnTo>
                        <a:pt x="19" y="160"/>
                      </a:lnTo>
                      <a:lnTo>
                        <a:pt x="25" y="161"/>
                      </a:lnTo>
                      <a:lnTo>
                        <a:pt x="26" y="160"/>
                      </a:lnTo>
                      <a:lnTo>
                        <a:pt x="36" y="158"/>
                      </a:lnTo>
                      <a:lnTo>
                        <a:pt x="53" y="129"/>
                      </a:lnTo>
                      <a:lnTo>
                        <a:pt x="53" y="124"/>
                      </a:lnTo>
                      <a:lnTo>
                        <a:pt x="56" y="109"/>
                      </a:lnTo>
                      <a:lnTo>
                        <a:pt x="66" y="101"/>
                      </a:lnTo>
                      <a:lnTo>
                        <a:pt x="80" y="103"/>
                      </a:lnTo>
                      <a:lnTo>
                        <a:pt x="82" y="111"/>
                      </a:lnTo>
                      <a:lnTo>
                        <a:pt x="94" y="121"/>
                      </a:lnTo>
                      <a:lnTo>
                        <a:pt x="102" y="111"/>
                      </a:lnTo>
                      <a:lnTo>
                        <a:pt x="106" y="109"/>
                      </a:lnTo>
                      <a:lnTo>
                        <a:pt x="112" y="97"/>
                      </a:lnTo>
                      <a:lnTo>
                        <a:pt x="111" y="83"/>
                      </a:lnTo>
                      <a:lnTo>
                        <a:pt x="115" y="72"/>
                      </a:lnTo>
                      <a:lnTo>
                        <a:pt x="115" y="66"/>
                      </a:lnTo>
                      <a:lnTo>
                        <a:pt x="122" y="51"/>
                      </a:lnTo>
                      <a:lnTo>
                        <a:pt x="122" y="43"/>
                      </a:lnTo>
                      <a:lnTo>
                        <a:pt x="135" y="37"/>
                      </a:lnTo>
                      <a:lnTo>
                        <a:pt x="134" y="29"/>
                      </a:lnTo>
                      <a:lnTo>
                        <a:pt x="137" y="18"/>
                      </a:lnTo>
                      <a:lnTo>
                        <a:pt x="134" y="11"/>
                      </a:lnTo>
                      <a:lnTo>
                        <a:pt x="137" y="0"/>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86" name="Cluj" descr="{&quot;Key&quot;:&quot;cluj&quot;,&quot;Name&quot;:&quot;Cluj&quot;,&quot;Value&quot;:1.0,&quot;Formula&quot;:&quot;&quot;,&quot;Text&quot;:&quot;1&quot;,&quot;OfficeApplication&quot;:0,&quot;HasValue&quot;:true}">
                  <a:extLst>
                    <a:ext uri="{FF2B5EF4-FFF2-40B4-BE49-F238E27FC236}">
                      <a16:creationId xmlns:a16="http://schemas.microsoft.com/office/drawing/2014/main" id="{0CA8223C-CAB6-704D-A382-2C8D61A3B669}"/>
                    </a:ext>
                  </a:extLst>
                </p:cNvPr>
                <p:cNvSpPr>
                  <a:spLocks/>
                </p:cNvSpPr>
                <p:nvPr/>
              </p:nvSpPr>
              <p:spPr bwMode="auto">
                <a:xfrm>
                  <a:off x="4619625" y="2163763"/>
                  <a:ext cx="1003300" cy="896938"/>
                </a:xfrm>
                <a:custGeom>
                  <a:avLst/>
                  <a:gdLst>
                    <a:gd name="T0" fmla="*/ 499 w 632"/>
                    <a:gd name="T1" fmla="*/ 10 h 565"/>
                    <a:gd name="T2" fmla="*/ 542 w 632"/>
                    <a:gd name="T3" fmla="*/ 5 h 565"/>
                    <a:gd name="T4" fmla="*/ 536 w 632"/>
                    <a:gd name="T5" fmla="*/ 36 h 565"/>
                    <a:gd name="T6" fmla="*/ 513 w 632"/>
                    <a:gd name="T7" fmla="*/ 93 h 565"/>
                    <a:gd name="T8" fmla="*/ 540 w 632"/>
                    <a:gd name="T9" fmla="*/ 119 h 565"/>
                    <a:gd name="T10" fmla="*/ 576 w 632"/>
                    <a:gd name="T11" fmla="*/ 140 h 565"/>
                    <a:gd name="T12" fmla="*/ 583 w 632"/>
                    <a:gd name="T13" fmla="*/ 194 h 565"/>
                    <a:gd name="T14" fmla="*/ 582 w 632"/>
                    <a:gd name="T15" fmla="*/ 239 h 565"/>
                    <a:gd name="T16" fmla="*/ 623 w 632"/>
                    <a:gd name="T17" fmla="*/ 269 h 565"/>
                    <a:gd name="T18" fmla="*/ 625 w 632"/>
                    <a:gd name="T19" fmla="*/ 289 h 565"/>
                    <a:gd name="T20" fmla="*/ 609 w 632"/>
                    <a:gd name="T21" fmla="*/ 331 h 565"/>
                    <a:gd name="T22" fmla="*/ 577 w 632"/>
                    <a:gd name="T23" fmla="*/ 362 h 565"/>
                    <a:gd name="T24" fmla="*/ 586 w 632"/>
                    <a:gd name="T25" fmla="*/ 391 h 565"/>
                    <a:gd name="T26" fmla="*/ 551 w 632"/>
                    <a:gd name="T27" fmla="*/ 422 h 565"/>
                    <a:gd name="T28" fmla="*/ 556 w 632"/>
                    <a:gd name="T29" fmla="*/ 465 h 565"/>
                    <a:gd name="T30" fmla="*/ 528 w 632"/>
                    <a:gd name="T31" fmla="*/ 485 h 565"/>
                    <a:gd name="T32" fmla="*/ 525 w 632"/>
                    <a:gd name="T33" fmla="*/ 519 h 565"/>
                    <a:gd name="T34" fmla="*/ 491 w 632"/>
                    <a:gd name="T35" fmla="*/ 536 h 565"/>
                    <a:gd name="T36" fmla="*/ 439 w 632"/>
                    <a:gd name="T37" fmla="*/ 532 h 565"/>
                    <a:gd name="T38" fmla="*/ 401 w 632"/>
                    <a:gd name="T39" fmla="*/ 557 h 565"/>
                    <a:gd name="T40" fmla="*/ 382 w 632"/>
                    <a:gd name="T41" fmla="*/ 557 h 565"/>
                    <a:gd name="T42" fmla="*/ 384 w 632"/>
                    <a:gd name="T43" fmla="*/ 523 h 565"/>
                    <a:gd name="T44" fmla="*/ 333 w 632"/>
                    <a:gd name="T45" fmla="*/ 512 h 565"/>
                    <a:gd name="T46" fmla="*/ 293 w 632"/>
                    <a:gd name="T47" fmla="*/ 479 h 565"/>
                    <a:gd name="T48" fmla="*/ 246 w 632"/>
                    <a:gd name="T49" fmla="*/ 509 h 565"/>
                    <a:gd name="T50" fmla="*/ 197 w 632"/>
                    <a:gd name="T51" fmla="*/ 506 h 565"/>
                    <a:gd name="T52" fmla="*/ 160 w 632"/>
                    <a:gd name="T53" fmla="*/ 525 h 565"/>
                    <a:gd name="T54" fmla="*/ 132 w 632"/>
                    <a:gd name="T55" fmla="*/ 479 h 565"/>
                    <a:gd name="T56" fmla="*/ 78 w 632"/>
                    <a:gd name="T57" fmla="*/ 480 h 565"/>
                    <a:gd name="T58" fmla="*/ 55 w 632"/>
                    <a:gd name="T59" fmla="*/ 434 h 565"/>
                    <a:gd name="T60" fmla="*/ 12 w 632"/>
                    <a:gd name="T61" fmla="*/ 422 h 565"/>
                    <a:gd name="T62" fmla="*/ 28 w 632"/>
                    <a:gd name="T63" fmla="*/ 408 h 565"/>
                    <a:gd name="T64" fmla="*/ 3 w 632"/>
                    <a:gd name="T65" fmla="*/ 346 h 565"/>
                    <a:gd name="T66" fmla="*/ 20 w 632"/>
                    <a:gd name="T67" fmla="*/ 253 h 565"/>
                    <a:gd name="T68" fmla="*/ 29 w 632"/>
                    <a:gd name="T69" fmla="*/ 213 h 565"/>
                    <a:gd name="T70" fmla="*/ 86 w 632"/>
                    <a:gd name="T71" fmla="*/ 217 h 565"/>
                    <a:gd name="T72" fmla="*/ 100 w 632"/>
                    <a:gd name="T73" fmla="*/ 249 h 565"/>
                    <a:gd name="T74" fmla="*/ 126 w 632"/>
                    <a:gd name="T75" fmla="*/ 274 h 565"/>
                    <a:gd name="T76" fmla="*/ 146 w 632"/>
                    <a:gd name="T77" fmla="*/ 280 h 565"/>
                    <a:gd name="T78" fmla="*/ 171 w 632"/>
                    <a:gd name="T79" fmla="*/ 276 h 565"/>
                    <a:gd name="T80" fmla="*/ 190 w 632"/>
                    <a:gd name="T81" fmla="*/ 299 h 565"/>
                    <a:gd name="T82" fmla="*/ 224 w 632"/>
                    <a:gd name="T83" fmla="*/ 280 h 565"/>
                    <a:gd name="T84" fmla="*/ 232 w 632"/>
                    <a:gd name="T85" fmla="*/ 242 h 565"/>
                    <a:gd name="T86" fmla="*/ 244 w 632"/>
                    <a:gd name="T87" fmla="*/ 269 h 565"/>
                    <a:gd name="T88" fmla="*/ 283 w 632"/>
                    <a:gd name="T89" fmla="*/ 262 h 565"/>
                    <a:gd name="T90" fmla="*/ 289 w 632"/>
                    <a:gd name="T91" fmla="*/ 237 h 565"/>
                    <a:gd name="T92" fmla="*/ 310 w 632"/>
                    <a:gd name="T93" fmla="*/ 223 h 565"/>
                    <a:gd name="T94" fmla="*/ 329 w 632"/>
                    <a:gd name="T95" fmla="*/ 209 h 565"/>
                    <a:gd name="T96" fmla="*/ 322 w 632"/>
                    <a:gd name="T97" fmla="*/ 182 h 565"/>
                    <a:gd name="T98" fmla="*/ 333 w 632"/>
                    <a:gd name="T99" fmla="*/ 159 h 565"/>
                    <a:gd name="T100" fmla="*/ 335 w 632"/>
                    <a:gd name="T101" fmla="*/ 128 h 565"/>
                    <a:gd name="T102" fmla="*/ 372 w 632"/>
                    <a:gd name="T103" fmla="*/ 113 h 565"/>
                    <a:gd name="T104" fmla="*/ 399 w 632"/>
                    <a:gd name="T105" fmla="*/ 93 h 565"/>
                    <a:gd name="T106" fmla="*/ 428 w 632"/>
                    <a:gd name="T107" fmla="*/ 73 h 565"/>
                    <a:gd name="T108" fmla="*/ 457 w 632"/>
                    <a:gd name="T109" fmla="*/ 53 h 565"/>
                    <a:gd name="T110" fmla="*/ 476 w 632"/>
                    <a:gd name="T111" fmla="*/ 20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 h="565">
                      <a:moveTo>
                        <a:pt x="476" y="20"/>
                      </a:moveTo>
                      <a:lnTo>
                        <a:pt x="474" y="16"/>
                      </a:lnTo>
                      <a:lnTo>
                        <a:pt x="471" y="13"/>
                      </a:lnTo>
                      <a:lnTo>
                        <a:pt x="480" y="0"/>
                      </a:lnTo>
                      <a:lnTo>
                        <a:pt x="491" y="0"/>
                      </a:lnTo>
                      <a:lnTo>
                        <a:pt x="496" y="8"/>
                      </a:lnTo>
                      <a:lnTo>
                        <a:pt x="499" y="10"/>
                      </a:lnTo>
                      <a:lnTo>
                        <a:pt x="505" y="6"/>
                      </a:lnTo>
                      <a:lnTo>
                        <a:pt x="510" y="8"/>
                      </a:lnTo>
                      <a:lnTo>
                        <a:pt x="516" y="5"/>
                      </a:lnTo>
                      <a:lnTo>
                        <a:pt x="519" y="6"/>
                      </a:lnTo>
                      <a:lnTo>
                        <a:pt x="523" y="3"/>
                      </a:lnTo>
                      <a:lnTo>
                        <a:pt x="537" y="0"/>
                      </a:lnTo>
                      <a:lnTo>
                        <a:pt x="542" y="5"/>
                      </a:lnTo>
                      <a:lnTo>
                        <a:pt x="546" y="5"/>
                      </a:lnTo>
                      <a:lnTo>
                        <a:pt x="546" y="5"/>
                      </a:lnTo>
                      <a:lnTo>
                        <a:pt x="545" y="13"/>
                      </a:lnTo>
                      <a:lnTo>
                        <a:pt x="548" y="20"/>
                      </a:lnTo>
                      <a:lnTo>
                        <a:pt x="545" y="22"/>
                      </a:lnTo>
                      <a:lnTo>
                        <a:pt x="548" y="28"/>
                      </a:lnTo>
                      <a:lnTo>
                        <a:pt x="536" y="36"/>
                      </a:lnTo>
                      <a:lnTo>
                        <a:pt x="530" y="42"/>
                      </a:lnTo>
                      <a:lnTo>
                        <a:pt x="517" y="34"/>
                      </a:lnTo>
                      <a:lnTo>
                        <a:pt x="514" y="34"/>
                      </a:lnTo>
                      <a:lnTo>
                        <a:pt x="508" y="42"/>
                      </a:lnTo>
                      <a:lnTo>
                        <a:pt x="508" y="74"/>
                      </a:lnTo>
                      <a:lnTo>
                        <a:pt x="510" y="86"/>
                      </a:lnTo>
                      <a:lnTo>
                        <a:pt x="513" y="93"/>
                      </a:lnTo>
                      <a:lnTo>
                        <a:pt x="511" y="100"/>
                      </a:lnTo>
                      <a:lnTo>
                        <a:pt x="513" y="106"/>
                      </a:lnTo>
                      <a:lnTo>
                        <a:pt x="517" y="109"/>
                      </a:lnTo>
                      <a:lnTo>
                        <a:pt x="520" y="111"/>
                      </a:lnTo>
                      <a:lnTo>
                        <a:pt x="533" y="111"/>
                      </a:lnTo>
                      <a:lnTo>
                        <a:pt x="539" y="120"/>
                      </a:lnTo>
                      <a:lnTo>
                        <a:pt x="540" y="119"/>
                      </a:lnTo>
                      <a:lnTo>
                        <a:pt x="539" y="114"/>
                      </a:lnTo>
                      <a:lnTo>
                        <a:pt x="545" y="113"/>
                      </a:lnTo>
                      <a:lnTo>
                        <a:pt x="551" y="125"/>
                      </a:lnTo>
                      <a:lnTo>
                        <a:pt x="549" y="128"/>
                      </a:lnTo>
                      <a:lnTo>
                        <a:pt x="549" y="136"/>
                      </a:lnTo>
                      <a:lnTo>
                        <a:pt x="559" y="143"/>
                      </a:lnTo>
                      <a:lnTo>
                        <a:pt x="576" y="140"/>
                      </a:lnTo>
                      <a:lnTo>
                        <a:pt x="580" y="143"/>
                      </a:lnTo>
                      <a:lnTo>
                        <a:pt x="582" y="151"/>
                      </a:lnTo>
                      <a:lnTo>
                        <a:pt x="585" y="156"/>
                      </a:lnTo>
                      <a:lnTo>
                        <a:pt x="591" y="168"/>
                      </a:lnTo>
                      <a:lnTo>
                        <a:pt x="591" y="173"/>
                      </a:lnTo>
                      <a:lnTo>
                        <a:pt x="582" y="188"/>
                      </a:lnTo>
                      <a:lnTo>
                        <a:pt x="583" y="194"/>
                      </a:lnTo>
                      <a:lnTo>
                        <a:pt x="577" y="200"/>
                      </a:lnTo>
                      <a:lnTo>
                        <a:pt x="583" y="205"/>
                      </a:lnTo>
                      <a:lnTo>
                        <a:pt x="582" y="213"/>
                      </a:lnTo>
                      <a:lnTo>
                        <a:pt x="579" y="216"/>
                      </a:lnTo>
                      <a:lnTo>
                        <a:pt x="580" y="226"/>
                      </a:lnTo>
                      <a:lnTo>
                        <a:pt x="585" y="233"/>
                      </a:lnTo>
                      <a:lnTo>
                        <a:pt x="582" y="239"/>
                      </a:lnTo>
                      <a:lnTo>
                        <a:pt x="597" y="240"/>
                      </a:lnTo>
                      <a:lnTo>
                        <a:pt x="600" y="245"/>
                      </a:lnTo>
                      <a:lnTo>
                        <a:pt x="602" y="257"/>
                      </a:lnTo>
                      <a:lnTo>
                        <a:pt x="609" y="254"/>
                      </a:lnTo>
                      <a:lnTo>
                        <a:pt x="614" y="256"/>
                      </a:lnTo>
                      <a:lnTo>
                        <a:pt x="614" y="265"/>
                      </a:lnTo>
                      <a:lnTo>
                        <a:pt x="623" y="269"/>
                      </a:lnTo>
                      <a:lnTo>
                        <a:pt x="623" y="274"/>
                      </a:lnTo>
                      <a:lnTo>
                        <a:pt x="626" y="276"/>
                      </a:lnTo>
                      <a:lnTo>
                        <a:pt x="626" y="277"/>
                      </a:lnTo>
                      <a:lnTo>
                        <a:pt x="632" y="280"/>
                      </a:lnTo>
                      <a:lnTo>
                        <a:pt x="631" y="283"/>
                      </a:lnTo>
                      <a:lnTo>
                        <a:pt x="622" y="283"/>
                      </a:lnTo>
                      <a:lnTo>
                        <a:pt x="625" y="289"/>
                      </a:lnTo>
                      <a:lnTo>
                        <a:pt x="619" y="303"/>
                      </a:lnTo>
                      <a:lnTo>
                        <a:pt x="620" y="311"/>
                      </a:lnTo>
                      <a:lnTo>
                        <a:pt x="612" y="316"/>
                      </a:lnTo>
                      <a:lnTo>
                        <a:pt x="614" y="323"/>
                      </a:lnTo>
                      <a:lnTo>
                        <a:pt x="609" y="326"/>
                      </a:lnTo>
                      <a:lnTo>
                        <a:pt x="609" y="331"/>
                      </a:lnTo>
                      <a:lnTo>
                        <a:pt x="609" y="331"/>
                      </a:lnTo>
                      <a:lnTo>
                        <a:pt x="612" y="337"/>
                      </a:lnTo>
                      <a:lnTo>
                        <a:pt x="605" y="343"/>
                      </a:lnTo>
                      <a:lnTo>
                        <a:pt x="591" y="348"/>
                      </a:lnTo>
                      <a:lnTo>
                        <a:pt x="589" y="353"/>
                      </a:lnTo>
                      <a:lnTo>
                        <a:pt x="588" y="356"/>
                      </a:lnTo>
                      <a:lnTo>
                        <a:pt x="580" y="357"/>
                      </a:lnTo>
                      <a:lnTo>
                        <a:pt x="577" y="362"/>
                      </a:lnTo>
                      <a:lnTo>
                        <a:pt x="566" y="365"/>
                      </a:lnTo>
                      <a:lnTo>
                        <a:pt x="563" y="369"/>
                      </a:lnTo>
                      <a:lnTo>
                        <a:pt x="568" y="382"/>
                      </a:lnTo>
                      <a:lnTo>
                        <a:pt x="574" y="382"/>
                      </a:lnTo>
                      <a:lnTo>
                        <a:pt x="582" y="385"/>
                      </a:lnTo>
                      <a:lnTo>
                        <a:pt x="586" y="389"/>
                      </a:lnTo>
                      <a:lnTo>
                        <a:pt x="586" y="391"/>
                      </a:lnTo>
                      <a:lnTo>
                        <a:pt x="583" y="394"/>
                      </a:lnTo>
                      <a:lnTo>
                        <a:pt x="585" y="397"/>
                      </a:lnTo>
                      <a:lnTo>
                        <a:pt x="582" y="399"/>
                      </a:lnTo>
                      <a:lnTo>
                        <a:pt x="579" y="413"/>
                      </a:lnTo>
                      <a:lnTo>
                        <a:pt x="562" y="416"/>
                      </a:lnTo>
                      <a:lnTo>
                        <a:pt x="559" y="419"/>
                      </a:lnTo>
                      <a:lnTo>
                        <a:pt x="551" y="422"/>
                      </a:lnTo>
                      <a:lnTo>
                        <a:pt x="549" y="429"/>
                      </a:lnTo>
                      <a:lnTo>
                        <a:pt x="546" y="431"/>
                      </a:lnTo>
                      <a:lnTo>
                        <a:pt x="546" y="439"/>
                      </a:lnTo>
                      <a:lnTo>
                        <a:pt x="553" y="439"/>
                      </a:lnTo>
                      <a:lnTo>
                        <a:pt x="565" y="445"/>
                      </a:lnTo>
                      <a:lnTo>
                        <a:pt x="559" y="462"/>
                      </a:lnTo>
                      <a:lnTo>
                        <a:pt x="556" y="465"/>
                      </a:lnTo>
                      <a:lnTo>
                        <a:pt x="554" y="473"/>
                      </a:lnTo>
                      <a:lnTo>
                        <a:pt x="549" y="474"/>
                      </a:lnTo>
                      <a:lnTo>
                        <a:pt x="553" y="480"/>
                      </a:lnTo>
                      <a:lnTo>
                        <a:pt x="549" y="486"/>
                      </a:lnTo>
                      <a:lnTo>
                        <a:pt x="545" y="488"/>
                      </a:lnTo>
                      <a:lnTo>
                        <a:pt x="534" y="482"/>
                      </a:lnTo>
                      <a:lnTo>
                        <a:pt x="528" y="485"/>
                      </a:lnTo>
                      <a:lnTo>
                        <a:pt x="525" y="494"/>
                      </a:lnTo>
                      <a:lnTo>
                        <a:pt x="520" y="496"/>
                      </a:lnTo>
                      <a:lnTo>
                        <a:pt x="525" y="502"/>
                      </a:lnTo>
                      <a:lnTo>
                        <a:pt x="523" y="509"/>
                      </a:lnTo>
                      <a:lnTo>
                        <a:pt x="525" y="512"/>
                      </a:lnTo>
                      <a:lnTo>
                        <a:pt x="523" y="516"/>
                      </a:lnTo>
                      <a:lnTo>
                        <a:pt x="525" y="519"/>
                      </a:lnTo>
                      <a:lnTo>
                        <a:pt x="523" y="520"/>
                      </a:lnTo>
                      <a:lnTo>
                        <a:pt x="523" y="531"/>
                      </a:lnTo>
                      <a:lnTo>
                        <a:pt x="523" y="531"/>
                      </a:lnTo>
                      <a:lnTo>
                        <a:pt x="516" y="534"/>
                      </a:lnTo>
                      <a:lnTo>
                        <a:pt x="505" y="534"/>
                      </a:lnTo>
                      <a:lnTo>
                        <a:pt x="497" y="537"/>
                      </a:lnTo>
                      <a:lnTo>
                        <a:pt x="491" y="536"/>
                      </a:lnTo>
                      <a:lnTo>
                        <a:pt x="482" y="539"/>
                      </a:lnTo>
                      <a:lnTo>
                        <a:pt x="471" y="537"/>
                      </a:lnTo>
                      <a:lnTo>
                        <a:pt x="470" y="528"/>
                      </a:lnTo>
                      <a:lnTo>
                        <a:pt x="462" y="526"/>
                      </a:lnTo>
                      <a:lnTo>
                        <a:pt x="451" y="531"/>
                      </a:lnTo>
                      <a:lnTo>
                        <a:pt x="444" y="528"/>
                      </a:lnTo>
                      <a:lnTo>
                        <a:pt x="439" y="532"/>
                      </a:lnTo>
                      <a:lnTo>
                        <a:pt x="428" y="536"/>
                      </a:lnTo>
                      <a:lnTo>
                        <a:pt x="418" y="532"/>
                      </a:lnTo>
                      <a:lnTo>
                        <a:pt x="410" y="536"/>
                      </a:lnTo>
                      <a:lnTo>
                        <a:pt x="405" y="542"/>
                      </a:lnTo>
                      <a:lnTo>
                        <a:pt x="408" y="549"/>
                      </a:lnTo>
                      <a:lnTo>
                        <a:pt x="399" y="549"/>
                      </a:lnTo>
                      <a:lnTo>
                        <a:pt x="401" y="557"/>
                      </a:lnTo>
                      <a:lnTo>
                        <a:pt x="405" y="559"/>
                      </a:lnTo>
                      <a:lnTo>
                        <a:pt x="408" y="556"/>
                      </a:lnTo>
                      <a:lnTo>
                        <a:pt x="408" y="560"/>
                      </a:lnTo>
                      <a:lnTo>
                        <a:pt x="402" y="565"/>
                      </a:lnTo>
                      <a:lnTo>
                        <a:pt x="396" y="563"/>
                      </a:lnTo>
                      <a:lnTo>
                        <a:pt x="393" y="565"/>
                      </a:lnTo>
                      <a:lnTo>
                        <a:pt x="382" y="557"/>
                      </a:lnTo>
                      <a:lnTo>
                        <a:pt x="375" y="559"/>
                      </a:lnTo>
                      <a:lnTo>
                        <a:pt x="370" y="554"/>
                      </a:lnTo>
                      <a:lnTo>
                        <a:pt x="373" y="546"/>
                      </a:lnTo>
                      <a:lnTo>
                        <a:pt x="373" y="539"/>
                      </a:lnTo>
                      <a:lnTo>
                        <a:pt x="376" y="532"/>
                      </a:lnTo>
                      <a:lnTo>
                        <a:pt x="382" y="529"/>
                      </a:lnTo>
                      <a:lnTo>
                        <a:pt x="384" y="523"/>
                      </a:lnTo>
                      <a:lnTo>
                        <a:pt x="384" y="519"/>
                      </a:lnTo>
                      <a:lnTo>
                        <a:pt x="375" y="511"/>
                      </a:lnTo>
                      <a:lnTo>
                        <a:pt x="368" y="509"/>
                      </a:lnTo>
                      <a:lnTo>
                        <a:pt x="359" y="517"/>
                      </a:lnTo>
                      <a:lnTo>
                        <a:pt x="352" y="517"/>
                      </a:lnTo>
                      <a:lnTo>
                        <a:pt x="339" y="509"/>
                      </a:lnTo>
                      <a:lnTo>
                        <a:pt x="333" y="512"/>
                      </a:lnTo>
                      <a:lnTo>
                        <a:pt x="329" y="503"/>
                      </a:lnTo>
                      <a:lnTo>
                        <a:pt x="324" y="503"/>
                      </a:lnTo>
                      <a:lnTo>
                        <a:pt x="322" y="497"/>
                      </a:lnTo>
                      <a:lnTo>
                        <a:pt x="318" y="497"/>
                      </a:lnTo>
                      <a:lnTo>
                        <a:pt x="309" y="486"/>
                      </a:lnTo>
                      <a:lnTo>
                        <a:pt x="298" y="483"/>
                      </a:lnTo>
                      <a:lnTo>
                        <a:pt x="293" y="479"/>
                      </a:lnTo>
                      <a:lnTo>
                        <a:pt x="289" y="479"/>
                      </a:lnTo>
                      <a:lnTo>
                        <a:pt x="283" y="480"/>
                      </a:lnTo>
                      <a:lnTo>
                        <a:pt x="273" y="492"/>
                      </a:lnTo>
                      <a:lnTo>
                        <a:pt x="263" y="497"/>
                      </a:lnTo>
                      <a:lnTo>
                        <a:pt x="256" y="497"/>
                      </a:lnTo>
                      <a:lnTo>
                        <a:pt x="249" y="503"/>
                      </a:lnTo>
                      <a:lnTo>
                        <a:pt x="246" y="509"/>
                      </a:lnTo>
                      <a:lnTo>
                        <a:pt x="238" y="509"/>
                      </a:lnTo>
                      <a:lnTo>
                        <a:pt x="235" y="514"/>
                      </a:lnTo>
                      <a:lnTo>
                        <a:pt x="215" y="509"/>
                      </a:lnTo>
                      <a:lnTo>
                        <a:pt x="213" y="502"/>
                      </a:lnTo>
                      <a:lnTo>
                        <a:pt x="207" y="503"/>
                      </a:lnTo>
                      <a:lnTo>
                        <a:pt x="204" y="503"/>
                      </a:lnTo>
                      <a:lnTo>
                        <a:pt x="197" y="506"/>
                      </a:lnTo>
                      <a:lnTo>
                        <a:pt x="190" y="512"/>
                      </a:lnTo>
                      <a:lnTo>
                        <a:pt x="183" y="512"/>
                      </a:lnTo>
                      <a:lnTo>
                        <a:pt x="180" y="516"/>
                      </a:lnTo>
                      <a:lnTo>
                        <a:pt x="180" y="523"/>
                      </a:lnTo>
                      <a:lnTo>
                        <a:pt x="177" y="526"/>
                      </a:lnTo>
                      <a:lnTo>
                        <a:pt x="164" y="523"/>
                      </a:lnTo>
                      <a:lnTo>
                        <a:pt x="160" y="525"/>
                      </a:lnTo>
                      <a:lnTo>
                        <a:pt x="158" y="523"/>
                      </a:lnTo>
                      <a:lnTo>
                        <a:pt x="163" y="511"/>
                      </a:lnTo>
                      <a:lnTo>
                        <a:pt x="155" y="506"/>
                      </a:lnTo>
                      <a:lnTo>
                        <a:pt x="152" y="488"/>
                      </a:lnTo>
                      <a:lnTo>
                        <a:pt x="144" y="477"/>
                      </a:lnTo>
                      <a:lnTo>
                        <a:pt x="137" y="476"/>
                      </a:lnTo>
                      <a:lnTo>
                        <a:pt x="132" y="479"/>
                      </a:lnTo>
                      <a:lnTo>
                        <a:pt x="126" y="479"/>
                      </a:lnTo>
                      <a:lnTo>
                        <a:pt x="123" y="476"/>
                      </a:lnTo>
                      <a:lnTo>
                        <a:pt x="115" y="476"/>
                      </a:lnTo>
                      <a:lnTo>
                        <a:pt x="111" y="476"/>
                      </a:lnTo>
                      <a:lnTo>
                        <a:pt x="100" y="485"/>
                      </a:lnTo>
                      <a:lnTo>
                        <a:pt x="92" y="486"/>
                      </a:lnTo>
                      <a:lnTo>
                        <a:pt x="78" y="480"/>
                      </a:lnTo>
                      <a:lnTo>
                        <a:pt x="72" y="480"/>
                      </a:lnTo>
                      <a:lnTo>
                        <a:pt x="65" y="473"/>
                      </a:lnTo>
                      <a:lnTo>
                        <a:pt x="63" y="469"/>
                      </a:lnTo>
                      <a:lnTo>
                        <a:pt x="63" y="469"/>
                      </a:lnTo>
                      <a:lnTo>
                        <a:pt x="68" y="448"/>
                      </a:lnTo>
                      <a:lnTo>
                        <a:pt x="63" y="431"/>
                      </a:lnTo>
                      <a:lnTo>
                        <a:pt x="55" y="434"/>
                      </a:lnTo>
                      <a:lnTo>
                        <a:pt x="54" y="425"/>
                      </a:lnTo>
                      <a:lnTo>
                        <a:pt x="39" y="414"/>
                      </a:lnTo>
                      <a:lnTo>
                        <a:pt x="34" y="416"/>
                      </a:lnTo>
                      <a:lnTo>
                        <a:pt x="29" y="413"/>
                      </a:lnTo>
                      <a:lnTo>
                        <a:pt x="26" y="413"/>
                      </a:lnTo>
                      <a:lnTo>
                        <a:pt x="17" y="420"/>
                      </a:lnTo>
                      <a:lnTo>
                        <a:pt x="12" y="422"/>
                      </a:lnTo>
                      <a:lnTo>
                        <a:pt x="6" y="420"/>
                      </a:lnTo>
                      <a:lnTo>
                        <a:pt x="5" y="414"/>
                      </a:lnTo>
                      <a:lnTo>
                        <a:pt x="0" y="411"/>
                      </a:lnTo>
                      <a:lnTo>
                        <a:pt x="0" y="409"/>
                      </a:lnTo>
                      <a:lnTo>
                        <a:pt x="12" y="408"/>
                      </a:lnTo>
                      <a:lnTo>
                        <a:pt x="14" y="403"/>
                      </a:lnTo>
                      <a:lnTo>
                        <a:pt x="28" y="408"/>
                      </a:lnTo>
                      <a:lnTo>
                        <a:pt x="40" y="396"/>
                      </a:lnTo>
                      <a:lnTo>
                        <a:pt x="34" y="379"/>
                      </a:lnTo>
                      <a:lnTo>
                        <a:pt x="23" y="368"/>
                      </a:lnTo>
                      <a:lnTo>
                        <a:pt x="26" y="357"/>
                      </a:lnTo>
                      <a:lnTo>
                        <a:pt x="19" y="353"/>
                      </a:lnTo>
                      <a:lnTo>
                        <a:pt x="9" y="353"/>
                      </a:lnTo>
                      <a:lnTo>
                        <a:pt x="3" y="346"/>
                      </a:lnTo>
                      <a:lnTo>
                        <a:pt x="6" y="337"/>
                      </a:lnTo>
                      <a:lnTo>
                        <a:pt x="8" y="333"/>
                      </a:lnTo>
                      <a:lnTo>
                        <a:pt x="31" y="323"/>
                      </a:lnTo>
                      <a:lnTo>
                        <a:pt x="32" y="314"/>
                      </a:lnTo>
                      <a:lnTo>
                        <a:pt x="52" y="277"/>
                      </a:lnTo>
                      <a:lnTo>
                        <a:pt x="31" y="263"/>
                      </a:lnTo>
                      <a:lnTo>
                        <a:pt x="20" y="253"/>
                      </a:lnTo>
                      <a:lnTo>
                        <a:pt x="12" y="251"/>
                      </a:lnTo>
                      <a:lnTo>
                        <a:pt x="12" y="234"/>
                      </a:lnTo>
                      <a:lnTo>
                        <a:pt x="20" y="229"/>
                      </a:lnTo>
                      <a:lnTo>
                        <a:pt x="22" y="223"/>
                      </a:lnTo>
                      <a:lnTo>
                        <a:pt x="28" y="219"/>
                      </a:lnTo>
                      <a:lnTo>
                        <a:pt x="29" y="213"/>
                      </a:lnTo>
                      <a:lnTo>
                        <a:pt x="29" y="213"/>
                      </a:lnTo>
                      <a:lnTo>
                        <a:pt x="40" y="213"/>
                      </a:lnTo>
                      <a:lnTo>
                        <a:pt x="48" y="216"/>
                      </a:lnTo>
                      <a:lnTo>
                        <a:pt x="55" y="216"/>
                      </a:lnTo>
                      <a:lnTo>
                        <a:pt x="69" y="211"/>
                      </a:lnTo>
                      <a:lnTo>
                        <a:pt x="77" y="213"/>
                      </a:lnTo>
                      <a:lnTo>
                        <a:pt x="83" y="211"/>
                      </a:lnTo>
                      <a:lnTo>
                        <a:pt x="86" y="217"/>
                      </a:lnTo>
                      <a:lnTo>
                        <a:pt x="91" y="216"/>
                      </a:lnTo>
                      <a:lnTo>
                        <a:pt x="92" y="222"/>
                      </a:lnTo>
                      <a:lnTo>
                        <a:pt x="101" y="223"/>
                      </a:lnTo>
                      <a:lnTo>
                        <a:pt x="105" y="225"/>
                      </a:lnTo>
                      <a:lnTo>
                        <a:pt x="103" y="231"/>
                      </a:lnTo>
                      <a:lnTo>
                        <a:pt x="100" y="233"/>
                      </a:lnTo>
                      <a:lnTo>
                        <a:pt x="100" y="249"/>
                      </a:lnTo>
                      <a:lnTo>
                        <a:pt x="103" y="254"/>
                      </a:lnTo>
                      <a:lnTo>
                        <a:pt x="109" y="254"/>
                      </a:lnTo>
                      <a:lnTo>
                        <a:pt x="114" y="259"/>
                      </a:lnTo>
                      <a:lnTo>
                        <a:pt x="115" y="266"/>
                      </a:lnTo>
                      <a:lnTo>
                        <a:pt x="121" y="268"/>
                      </a:lnTo>
                      <a:lnTo>
                        <a:pt x="121" y="271"/>
                      </a:lnTo>
                      <a:lnTo>
                        <a:pt x="126" y="274"/>
                      </a:lnTo>
                      <a:lnTo>
                        <a:pt x="131" y="273"/>
                      </a:lnTo>
                      <a:lnTo>
                        <a:pt x="134" y="274"/>
                      </a:lnTo>
                      <a:lnTo>
                        <a:pt x="141" y="271"/>
                      </a:lnTo>
                      <a:lnTo>
                        <a:pt x="143" y="274"/>
                      </a:lnTo>
                      <a:lnTo>
                        <a:pt x="146" y="274"/>
                      </a:lnTo>
                      <a:lnTo>
                        <a:pt x="144" y="277"/>
                      </a:lnTo>
                      <a:lnTo>
                        <a:pt x="146" y="280"/>
                      </a:lnTo>
                      <a:lnTo>
                        <a:pt x="152" y="274"/>
                      </a:lnTo>
                      <a:lnTo>
                        <a:pt x="155" y="277"/>
                      </a:lnTo>
                      <a:lnTo>
                        <a:pt x="154" y="285"/>
                      </a:lnTo>
                      <a:lnTo>
                        <a:pt x="157" y="286"/>
                      </a:lnTo>
                      <a:lnTo>
                        <a:pt x="166" y="273"/>
                      </a:lnTo>
                      <a:lnTo>
                        <a:pt x="166" y="274"/>
                      </a:lnTo>
                      <a:lnTo>
                        <a:pt x="171" y="276"/>
                      </a:lnTo>
                      <a:lnTo>
                        <a:pt x="172" y="277"/>
                      </a:lnTo>
                      <a:lnTo>
                        <a:pt x="177" y="280"/>
                      </a:lnTo>
                      <a:lnTo>
                        <a:pt x="174" y="285"/>
                      </a:lnTo>
                      <a:lnTo>
                        <a:pt x="171" y="297"/>
                      </a:lnTo>
                      <a:lnTo>
                        <a:pt x="178" y="300"/>
                      </a:lnTo>
                      <a:lnTo>
                        <a:pt x="181" y="302"/>
                      </a:lnTo>
                      <a:lnTo>
                        <a:pt x="190" y="299"/>
                      </a:lnTo>
                      <a:lnTo>
                        <a:pt x="197" y="299"/>
                      </a:lnTo>
                      <a:lnTo>
                        <a:pt x="203" y="291"/>
                      </a:lnTo>
                      <a:lnTo>
                        <a:pt x="212" y="289"/>
                      </a:lnTo>
                      <a:lnTo>
                        <a:pt x="218" y="293"/>
                      </a:lnTo>
                      <a:lnTo>
                        <a:pt x="220" y="288"/>
                      </a:lnTo>
                      <a:lnTo>
                        <a:pt x="223" y="285"/>
                      </a:lnTo>
                      <a:lnTo>
                        <a:pt x="224" y="280"/>
                      </a:lnTo>
                      <a:lnTo>
                        <a:pt x="227" y="280"/>
                      </a:lnTo>
                      <a:lnTo>
                        <a:pt x="224" y="274"/>
                      </a:lnTo>
                      <a:lnTo>
                        <a:pt x="223" y="260"/>
                      </a:lnTo>
                      <a:lnTo>
                        <a:pt x="226" y="257"/>
                      </a:lnTo>
                      <a:lnTo>
                        <a:pt x="227" y="253"/>
                      </a:lnTo>
                      <a:lnTo>
                        <a:pt x="224" y="245"/>
                      </a:lnTo>
                      <a:lnTo>
                        <a:pt x="232" y="242"/>
                      </a:lnTo>
                      <a:lnTo>
                        <a:pt x="232" y="240"/>
                      </a:lnTo>
                      <a:lnTo>
                        <a:pt x="233" y="242"/>
                      </a:lnTo>
                      <a:lnTo>
                        <a:pt x="233" y="248"/>
                      </a:lnTo>
                      <a:lnTo>
                        <a:pt x="240" y="249"/>
                      </a:lnTo>
                      <a:lnTo>
                        <a:pt x="243" y="256"/>
                      </a:lnTo>
                      <a:lnTo>
                        <a:pt x="241" y="265"/>
                      </a:lnTo>
                      <a:lnTo>
                        <a:pt x="244" y="269"/>
                      </a:lnTo>
                      <a:lnTo>
                        <a:pt x="253" y="268"/>
                      </a:lnTo>
                      <a:lnTo>
                        <a:pt x="255" y="273"/>
                      </a:lnTo>
                      <a:lnTo>
                        <a:pt x="260" y="274"/>
                      </a:lnTo>
                      <a:lnTo>
                        <a:pt x="269" y="268"/>
                      </a:lnTo>
                      <a:lnTo>
                        <a:pt x="273" y="269"/>
                      </a:lnTo>
                      <a:lnTo>
                        <a:pt x="279" y="266"/>
                      </a:lnTo>
                      <a:lnTo>
                        <a:pt x="283" y="262"/>
                      </a:lnTo>
                      <a:lnTo>
                        <a:pt x="281" y="257"/>
                      </a:lnTo>
                      <a:lnTo>
                        <a:pt x="284" y="256"/>
                      </a:lnTo>
                      <a:lnTo>
                        <a:pt x="289" y="251"/>
                      </a:lnTo>
                      <a:lnTo>
                        <a:pt x="292" y="248"/>
                      </a:lnTo>
                      <a:lnTo>
                        <a:pt x="292" y="242"/>
                      </a:lnTo>
                      <a:lnTo>
                        <a:pt x="287" y="239"/>
                      </a:lnTo>
                      <a:lnTo>
                        <a:pt x="289" y="237"/>
                      </a:lnTo>
                      <a:lnTo>
                        <a:pt x="293" y="237"/>
                      </a:lnTo>
                      <a:lnTo>
                        <a:pt x="292" y="233"/>
                      </a:lnTo>
                      <a:lnTo>
                        <a:pt x="298" y="231"/>
                      </a:lnTo>
                      <a:lnTo>
                        <a:pt x="304" y="228"/>
                      </a:lnTo>
                      <a:lnTo>
                        <a:pt x="298" y="226"/>
                      </a:lnTo>
                      <a:lnTo>
                        <a:pt x="301" y="222"/>
                      </a:lnTo>
                      <a:lnTo>
                        <a:pt x="310" y="223"/>
                      </a:lnTo>
                      <a:lnTo>
                        <a:pt x="312" y="223"/>
                      </a:lnTo>
                      <a:lnTo>
                        <a:pt x="312" y="222"/>
                      </a:lnTo>
                      <a:lnTo>
                        <a:pt x="316" y="223"/>
                      </a:lnTo>
                      <a:lnTo>
                        <a:pt x="321" y="217"/>
                      </a:lnTo>
                      <a:lnTo>
                        <a:pt x="324" y="216"/>
                      </a:lnTo>
                      <a:lnTo>
                        <a:pt x="324" y="213"/>
                      </a:lnTo>
                      <a:lnTo>
                        <a:pt x="329" y="209"/>
                      </a:lnTo>
                      <a:lnTo>
                        <a:pt x="327" y="203"/>
                      </a:lnTo>
                      <a:lnTo>
                        <a:pt x="333" y="202"/>
                      </a:lnTo>
                      <a:lnTo>
                        <a:pt x="333" y="196"/>
                      </a:lnTo>
                      <a:lnTo>
                        <a:pt x="329" y="191"/>
                      </a:lnTo>
                      <a:lnTo>
                        <a:pt x="330" y="189"/>
                      </a:lnTo>
                      <a:lnTo>
                        <a:pt x="329" y="183"/>
                      </a:lnTo>
                      <a:lnTo>
                        <a:pt x="322" y="182"/>
                      </a:lnTo>
                      <a:lnTo>
                        <a:pt x="322" y="177"/>
                      </a:lnTo>
                      <a:lnTo>
                        <a:pt x="312" y="165"/>
                      </a:lnTo>
                      <a:lnTo>
                        <a:pt x="319" y="163"/>
                      </a:lnTo>
                      <a:lnTo>
                        <a:pt x="319" y="162"/>
                      </a:lnTo>
                      <a:lnTo>
                        <a:pt x="325" y="163"/>
                      </a:lnTo>
                      <a:lnTo>
                        <a:pt x="333" y="163"/>
                      </a:lnTo>
                      <a:lnTo>
                        <a:pt x="333" y="159"/>
                      </a:lnTo>
                      <a:lnTo>
                        <a:pt x="330" y="157"/>
                      </a:lnTo>
                      <a:lnTo>
                        <a:pt x="332" y="153"/>
                      </a:lnTo>
                      <a:lnTo>
                        <a:pt x="341" y="151"/>
                      </a:lnTo>
                      <a:lnTo>
                        <a:pt x="341" y="145"/>
                      </a:lnTo>
                      <a:lnTo>
                        <a:pt x="339" y="142"/>
                      </a:lnTo>
                      <a:lnTo>
                        <a:pt x="336" y="140"/>
                      </a:lnTo>
                      <a:lnTo>
                        <a:pt x="335" y="128"/>
                      </a:lnTo>
                      <a:lnTo>
                        <a:pt x="341" y="125"/>
                      </a:lnTo>
                      <a:lnTo>
                        <a:pt x="348" y="126"/>
                      </a:lnTo>
                      <a:lnTo>
                        <a:pt x="353" y="123"/>
                      </a:lnTo>
                      <a:lnTo>
                        <a:pt x="358" y="125"/>
                      </a:lnTo>
                      <a:lnTo>
                        <a:pt x="356" y="120"/>
                      </a:lnTo>
                      <a:lnTo>
                        <a:pt x="364" y="111"/>
                      </a:lnTo>
                      <a:lnTo>
                        <a:pt x="372" y="113"/>
                      </a:lnTo>
                      <a:lnTo>
                        <a:pt x="381" y="120"/>
                      </a:lnTo>
                      <a:lnTo>
                        <a:pt x="384" y="116"/>
                      </a:lnTo>
                      <a:lnTo>
                        <a:pt x="387" y="116"/>
                      </a:lnTo>
                      <a:lnTo>
                        <a:pt x="391" y="111"/>
                      </a:lnTo>
                      <a:lnTo>
                        <a:pt x="390" y="103"/>
                      </a:lnTo>
                      <a:lnTo>
                        <a:pt x="393" y="96"/>
                      </a:lnTo>
                      <a:lnTo>
                        <a:pt x="399" y="93"/>
                      </a:lnTo>
                      <a:lnTo>
                        <a:pt x="401" y="88"/>
                      </a:lnTo>
                      <a:lnTo>
                        <a:pt x="405" y="85"/>
                      </a:lnTo>
                      <a:lnTo>
                        <a:pt x="416" y="74"/>
                      </a:lnTo>
                      <a:lnTo>
                        <a:pt x="421" y="73"/>
                      </a:lnTo>
                      <a:lnTo>
                        <a:pt x="422" y="71"/>
                      </a:lnTo>
                      <a:lnTo>
                        <a:pt x="427" y="68"/>
                      </a:lnTo>
                      <a:lnTo>
                        <a:pt x="428" y="73"/>
                      </a:lnTo>
                      <a:lnTo>
                        <a:pt x="436" y="69"/>
                      </a:lnTo>
                      <a:lnTo>
                        <a:pt x="441" y="57"/>
                      </a:lnTo>
                      <a:lnTo>
                        <a:pt x="454" y="63"/>
                      </a:lnTo>
                      <a:lnTo>
                        <a:pt x="464" y="74"/>
                      </a:lnTo>
                      <a:lnTo>
                        <a:pt x="467" y="74"/>
                      </a:lnTo>
                      <a:lnTo>
                        <a:pt x="464" y="60"/>
                      </a:lnTo>
                      <a:lnTo>
                        <a:pt x="457" y="53"/>
                      </a:lnTo>
                      <a:lnTo>
                        <a:pt x="462" y="45"/>
                      </a:lnTo>
                      <a:lnTo>
                        <a:pt x="461" y="43"/>
                      </a:lnTo>
                      <a:lnTo>
                        <a:pt x="464" y="37"/>
                      </a:lnTo>
                      <a:lnTo>
                        <a:pt x="468" y="34"/>
                      </a:lnTo>
                      <a:lnTo>
                        <a:pt x="468" y="30"/>
                      </a:lnTo>
                      <a:lnTo>
                        <a:pt x="474" y="25"/>
                      </a:lnTo>
                      <a:lnTo>
                        <a:pt x="476" y="20"/>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87" name="Calarasi" descr="{&quot;Key&quot;:&quot;calarasi&quot;,&quot;Name&quot;:&quot;Calarasi&quot;,&quot;Value&quot;:1.0,&quot;Formula&quot;:&quot;&quot;,&quot;Text&quot;:&quot;1&quot;,&quot;OfficeApplication&quot;:0,&quot;HasValue&quot;:true}">
                  <a:extLst>
                    <a:ext uri="{FF2B5EF4-FFF2-40B4-BE49-F238E27FC236}">
                      <a16:creationId xmlns:a16="http://schemas.microsoft.com/office/drawing/2014/main" id="{664E9B27-7727-24CE-3AE8-BA097331E860}"/>
                    </a:ext>
                  </a:extLst>
                </p:cNvPr>
                <p:cNvSpPr>
                  <a:spLocks/>
                </p:cNvSpPr>
                <p:nvPr/>
              </p:nvSpPr>
              <p:spPr bwMode="auto">
                <a:xfrm>
                  <a:off x="6892925" y="4681538"/>
                  <a:ext cx="1114425" cy="493713"/>
                </a:xfrm>
                <a:custGeom>
                  <a:avLst/>
                  <a:gdLst>
                    <a:gd name="T0" fmla="*/ 92 w 702"/>
                    <a:gd name="T1" fmla="*/ 6 h 311"/>
                    <a:gd name="T2" fmla="*/ 135 w 702"/>
                    <a:gd name="T3" fmla="*/ 42 h 311"/>
                    <a:gd name="T4" fmla="*/ 168 w 702"/>
                    <a:gd name="T5" fmla="*/ 3 h 311"/>
                    <a:gd name="T6" fmla="*/ 178 w 702"/>
                    <a:gd name="T7" fmla="*/ 29 h 311"/>
                    <a:gd name="T8" fmla="*/ 208 w 702"/>
                    <a:gd name="T9" fmla="*/ 26 h 311"/>
                    <a:gd name="T10" fmla="*/ 236 w 702"/>
                    <a:gd name="T11" fmla="*/ 39 h 311"/>
                    <a:gd name="T12" fmla="*/ 248 w 702"/>
                    <a:gd name="T13" fmla="*/ 39 h 311"/>
                    <a:gd name="T14" fmla="*/ 276 w 702"/>
                    <a:gd name="T15" fmla="*/ 40 h 311"/>
                    <a:gd name="T16" fmla="*/ 333 w 702"/>
                    <a:gd name="T17" fmla="*/ 48 h 311"/>
                    <a:gd name="T18" fmla="*/ 374 w 702"/>
                    <a:gd name="T19" fmla="*/ 59 h 311"/>
                    <a:gd name="T20" fmla="*/ 380 w 702"/>
                    <a:gd name="T21" fmla="*/ 52 h 311"/>
                    <a:gd name="T22" fmla="*/ 389 w 702"/>
                    <a:gd name="T23" fmla="*/ 49 h 311"/>
                    <a:gd name="T24" fmla="*/ 414 w 702"/>
                    <a:gd name="T25" fmla="*/ 48 h 311"/>
                    <a:gd name="T26" fmla="*/ 446 w 702"/>
                    <a:gd name="T27" fmla="*/ 46 h 311"/>
                    <a:gd name="T28" fmla="*/ 503 w 702"/>
                    <a:gd name="T29" fmla="*/ 56 h 311"/>
                    <a:gd name="T30" fmla="*/ 515 w 702"/>
                    <a:gd name="T31" fmla="*/ 19 h 311"/>
                    <a:gd name="T32" fmla="*/ 528 w 702"/>
                    <a:gd name="T33" fmla="*/ 68 h 311"/>
                    <a:gd name="T34" fmla="*/ 557 w 702"/>
                    <a:gd name="T35" fmla="*/ 88 h 311"/>
                    <a:gd name="T36" fmla="*/ 587 w 702"/>
                    <a:gd name="T37" fmla="*/ 100 h 311"/>
                    <a:gd name="T38" fmla="*/ 595 w 702"/>
                    <a:gd name="T39" fmla="*/ 120 h 311"/>
                    <a:gd name="T40" fmla="*/ 612 w 702"/>
                    <a:gd name="T41" fmla="*/ 136 h 311"/>
                    <a:gd name="T42" fmla="*/ 626 w 702"/>
                    <a:gd name="T43" fmla="*/ 145 h 311"/>
                    <a:gd name="T44" fmla="*/ 676 w 702"/>
                    <a:gd name="T45" fmla="*/ 131 h 311"/>
                    <a:gd name="T46" fmla="*/ 701 w 702"/>
                    <a:gd name="T47" fmla="*/ 149 h 311"/>
                    <a:gd name="T48" fmla="*/ 663 w 702"/>
                    <a:gd name="T49" fmla="*/ 194 h 311"/>
                    <a:gd name="T50" fmla="*/ 618 w 702"/>
                    <a:gd name="T51" fmla="*/ 199 h 311"/>
                    <a:gd name="T52" fmla="*/ 554 w 702"/>
                    <a:gd name="T53" fmla="*/ 219 h 311"/>
                    <a:gd name="T54" fmla="*/ 491 w 702"/>
                    <a:gd name="T55" fmla="*/ 254 h 311"/>
                    <a:gd name="T56" fmla="*/ 440 w 702"/>
                    <a:gd name="T57" fmla="*/ 262 h 311"/>
                    <a:gd name="T58" fmla="*/ 408 w 702"/>
                    <a:gd name="T59" fmla="*/ 263 h 311"/>
                    <a:gd name="T60" fmla="*/ 379 w 702"/>
                    <a:gd name="T61" fmla="*/ 266 h 311"/>
                    <a:gd name="T62" fmla="*/ 337 w 702"/>
                    <a:gd name="T63" fmla="*/ 255 h 311"/>
                    <a:gd name="T64" fmla="*/ 281 w 702"/>
                    <a:gd name="T65" fmla="*/ 257 h 311"/>
                    <a:gd name="T66" fmla="*/ 195 w 702"/>
                    <a:gd name="T67" fmla="*/ 291 h 311"/>
                    <a:gd name="T68" fmla="*/ 162 w 702"/>
                    <a:gd name="T69" fmla="*/ 297 h 311"/>
                    <a:gd name="T70" fmla="*/ 76 w 702"/>
                    <a:gd name="T71" fmla="*/ 311 h 311"/>
                    <a:gd name="T72" fmla="*/ 38 w 702"/>
                    <a:gd name="T73" fmla="*/ 275 h 311"/>
                    <a:gd name="T74" fmla="*/ 70 w 702"/>
                    <a:gd name="T75" fmla="*/ 246 h 311"/>
                    <a:gd name="T76" fmla="*/ 58 w 702"/>
                    <a:gd name="T77" fmla="*/ 228 h 311"/>
                    <a:gd name="T78" fmla="*/ 60 w 702"/>
                    <a:gd name="T79" fmla="*/ 217 h 311"/>
                    <a:gd name="T80" fmla="*/ 35 w 702"/>
                    <a:gd name="T81" fmla="*/ 196 h 311"/>
                    <a:gd name="T82" fmla="*/ 18 w 702"/>
                    <a:gd name="T83" fmla="*/ 188 h 311"/>
                    <a:gd name="T84" fmla="*/ 0 w 702"/>
                    <a:gd name="T85" fmla="*/ 168 h 311"/>
                    <a:gd name="T86" fmla="*/ 12 w 702"/>
                    <a:gd name="T87" fmla="*/ 139 h 311"/>
                    <a:gd name="T88" fmla="*/ 29 w 702"/>
                    <a:gd name="T89" fmla="*/ 132 h 311"/>
                    <a:gd name="T90" fmla="*/ 23 w 702"/>
                    <a:gd name="T91" fmla="*/ 114 h 311"/>
                    <a:gd name="T92" fmla="*/ 29 w 702"/>
                    <a:gd name="T93" fmla="*/ 111 h 311"/>
                    <a:gd name="T94" fmla="*/ 44 w 702"/>
                    <a:gd name="T95" fmla="*/ 100 h 311"/>
                    <a:gd name="T96" fmla="*/ 60 w 702"/>
                    <a:gd name="T97" fmla="*/ 100 h 311"/>
                    <a:gd name="T98" fmla="*/ 80 w 702"/>
                    <a:gd name="T99" fmla="*/ 80 h 311"/>
                    <a:gd name="T100" fmla="*/ 73 w 702"/>
                    <a:gd name="T101" fmla="*/ 76 h 311"/>
                    <a:gd name="T102" fmla="*/ 53 w 702"/>
                    <a:gd name="T103" fmla="*/ 72 h 311"/>
                    <a:gd name="T104" fmla="*/ 49 w 702"/>
                    <a:gd name="T105" fmla="*/ 66 h 311"/>
                    <a:gd name="T106" fmla="*/ 61 w 702"/>
                    <a:gd name="T107" fmla="*/ 4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2" h="311">
                      <a:moveTo>
                        <a:pt x="66" y="43"/>
                      </a:moveTo>
                      <a:lnTo>
                        <a:pt x="86" y="28"/>
                      </a:lnTo>
                      <a:lnTo>
                        <a:pt x="73" y="26"/>
                      </a:lnTo>
                      <a:lnTo>
                        <a:pt x="92" y="6"/>
                      </a:lnTo>
                      <a:lnTo>
                        <a:pt x="104" y="16"/>
                      </a:lnTo>
                      <a:lnTo>
                        <a:pt x="106" y="22"/>
                      </a:lnTo>
                      <a:lnTo>
                        <a:pt x="116" y="36"/>
                      </a:lnTo>
                      <a:lnTo>
                        <a:pt x="135" y="42"/>
                      </a:lnTo>
                      <a:lnTo>
                        <a:pt x="145" y="26"/>
                      </a:lnTo>
                      <a:lnTo>
                        <a:pt x="149" y="26"/>
                      </a:lnTo>
                      <a:lnTo>
                        <a:pt x="162" y="0"/>
                      </a:lnTo>
                      <a:lnTo>
                        <a:pt x="168" y="3"/>
                      </a:lnTo>
                      <a:lnTo>
                        <a:pt x="165" y="11"/>
                      </a:lnTo>
                      <a:lnTo>
                        <a:pt x="172" y="14"/>
                      </a:lnTo>
                      <a:lnTo>
                        <a:pt x="179" y="16"/>
                      </a:lnTo>
                      <a:lnTo>
                        <a:pt x="178" y="29"/>
                      </a:lnTo>
                      <a:lnTo>
                        <a:pt x="184" y="36"/>
                      </a:lnTo>
                      <a:lnTo>
                        <a:pt x="198" y="40"/>
                      </a:lnTo>
                      <a:lnTo>
                        <a:pt x="201" y="25"/>
                      </a:lnTo>
                      <a:lnTo>
                        <a:pt x="208" y="26"/>
                      </a:lnTo>
                      <a:lnTo>
                        <a:pt x="207" y="43"/>
                      </a:lnTo>
                      <a:lnTo>
                        <a:pt x="221" y="48"/>
                      </a:lnTo>
                      <a:lnTo>
                        <a:pt x="230" y="37"/>
                      </a:lnTo>
                      <a:lnTo>
                        <a:pt x="236" y="39"/>
                      </a:lnTo>
                      <a:lnTo>
                        <a:pt x="234" y="45"/>
                      </a:lnTo>
                      <a:lnTo>
                        <a:pt x="242" y="42"/>
                      </a:lnTo>
                      <a:lnTo>
                        <a:pt x="247" y="43"/>
                      </a:lnTo>
                      <a:lnTo>
                        <a:pt x="248" y="39"/>
                      </a:lnTo>
                      <a:lnTo>
                        <a:pt x="254" y="40"/>
                      </a:lnTo>
                      <a:lnTo>
                        <a:pt x="256" y="40"/>
                      </a:lnTo>
                      <a:lnTo>
                        <a:pt x="256" y="45"/>
                      </a:lnTo>
                      <a:lnTo>
                        <a:pt x="276" y="40"/>
                      </a:lnTo>
                      <a:lnTo>
                        <a:pt x="281" y="37"/>
                      </a:lnTo>
                      <a:lnTo>
                        <a:pt x="308" y="37"/>
                      </a:lnTo>
                      <a:lnTo>
                        <a:pt x="308" y="49"/>
                      </a:lnTo>
                      <a:lnTo>
                        <a:pt x="333" y="48"/>
                      </a:lnTo>
                      <a:lnTo>
                        <a:pt x="333" y="62"/>
                      </a:lnTo>
                      <a:lnTo>
                        <a:pt x="350" y="63"/>
                      </a:lnTo>
                      <a:lnTo>
                        <a:pt x="353" y="52"/>
                      </a:lnTo>
                      <a:lnTo>
                        <a:pt x="374" y="59"/>
                      </a:lnTo>
                      <a:lnTo>
                        <a:pt x="374" y="60"/>
                      </a:lnTo>
                      <a:lnTo>
                        <a:pt x="380" y="62"/>
                      </a:lnTo>
                      <a:lnTo>
                        <a:pt x="382" y="52"/>
                      </a:lnTo>
                      <a:lnTo>
                        <a:pt x="380" y="52"/>
                      </a:lnTo>
                      <a:lnTo>
                        <a:pt x="383" y="46"/>
                      </a:lnTo>
                      <a:lnTo>
                        <a:pt x="388" y="46"/>
                      </a:lnTo>
                      <a:lnTo>
                        <a:pt x="388" y="49"/>
                      </a:lnTo>
                      <a:lnTo>
                        <a:pt x="389" y="49"/>
                      </a:lnTo>
                      <a:lnTo>
                        <a:pt x="388" y="59"/>
                      </a:lnTo>
                      <a:lnTo>
                        <a:pt x="402" y="60"/>
                      </a:lnTo>
                      <a:lnTo>
                        <a:pt x="408" y="46"/>
                      </a:lnTo>
                      <a:lnTo>
                        <a:pt x="414" y="48"/>
                      </a:lnTo>
                      <a:lnTo>
                        <a:pt x="414" y="59"/>
                      </a:lnTo>
                      <a:lnTo>
                        <a:pt x="439" y="62"/>
                      </a:lnTo>
                      <a:lnTo>
                        <a:pt x="442" y="45"/>
                      </a:lnTo>
                      <a:lnTo>
                        <a:pt x="446" y="46"/>
                      </a:lnTo>
                      <a:lnTo>
                        <a:pt x="446" y="51"/>
                      </a:lnTo>
                      <a:lnTo>
                        <a:pt x="454" y="51"/>
                      </a:lnTo>
                      <a:lnTo>
                        <a:pt x="454" y="57"/>
                      </a:lnTo>
                      <a:lnTo>
                        <a:pt x="503" y="56"/>
                      </a:lnTo>
                      <a:lnTo>
                        <a:pt x="506" y="45"/>
                      </a:lnTo>
                      <a:lnTo>
                        <a:pt x="506" y="29"/>
                      </a:lnTo>
                      <a:lnTo>
                        <a:pt x="514" y="31"/>
                      </a:lnTo>
                      <a:lnTo>
                        <a:pt x="515" y="19"/>
                      </a:lnTo>
                      <a:lnTo>
                        <a:pt x="520" y="19"/>
                      </a:lnTo>
                      <a:lnTo>
                        <a:pt x="524" y="22"/>
                      </a:lnTo>
                      <a:lnTo>
                        <a:pt x="528" y="40"/>
                      </a:lnTo>
                      <a:lnTo>
                        <a:pt x="528" y="68"/>
                      </a:lnTo>
                      <a:lnTo>
                        <a:pt x="547" y="68"/>
                      </a:lnTo>
                      <a:lnTo>
                        <a:pt x="547" y="72"/>
                      </a:lnTo>
                      <a:lnTo>
                        <a:pt x="557" y="72"/>
                      </a:lnTo>
                      <a:lnTo>
                        <a:pt x="557" y="88"/>
                      </a:lnTo>
                      <a:lnTo>
                        <a:pt x="558" y="89"/>
                      </a:lnTo>
                      <a:lnTo>
                        <a:pt x="558" y="92"/>
                      </a:lnTo>
                      <a:lnTo>
                        <a:pt x="567" y="97"/>
                      </a:lnTo>
                      <a:lnTo>
                        <a:pt x="587" y="100"/>
                      </a:lnTo>
                      <a:lnTo>
                        <a:pt x="587" y="102"/>
                      </a:lnTo>
                      <a:lnTo>
                        <a:pt x="592" y="103"/>
                      </a:lnTo>
                      <a:lnTo>
                        <a:pt x="603" y="112"/>
                      </a:lnTo>
                      <a:lnTo>
                        <a:pt x="595" y="120"/>
                      </a:lnTo>
                      <a:lnTo>
                        <a:pt x="600" y="128"/>
                      </a:lnTo>
                      <a:lnTo>
                        <a:pt x="597" y="131"/>
                      </a:lnTo>
                      <a:lnTo>
                        <a:pt x="606" y="142"/>
                      </a:lnTo>
                      <a:lnTo>
                        <a:pt x="612" y="136"/>
                      </a:lnTo>
                      <a:lnTo>
                        <a:pt x="617" y="143"/>
                      </a:lnTo>
                      <a:lnTo>
                        <a:pt x="618" y="142"/>
                      </a:lnTo>
                      <a:lnTo>
                        <a:pt x="621" y="146"/>
                      </a:lnTo>
                      <a:lnTo>
                        <a:pt x="626" y="145"/>
                      </a:lnTo>
                      <a:lnTo>
                        <a:pt x="630" y="140"/>
                      </a:lnTo>
                      <a:lnTo>
                        <a:pt x="633" y="128"/>
                      </a:lnTo>
                      <a:lnTo>
                        <a:pt x="638" y="122"/>
                      </a:lnTo>
                      <a:lnTo>
                        <a:pt x="676" y="131"/>
                      </a:lnTo>
                      <a:lnTo>
                        <a:pt x="689" y="139"/>
                      </a:lnTo>
                      <a:lnTo>
                        <a:pt x="702" y="143"/>
                      </a:lnTo>
                      <a:lnTo>
                        <a:pt x="702" y="143"/>
                      </a:lnTo>
                      <a:lnTo>
                        <a:pt x="701" y="149"/>
                      </a:lnTo>
                      <a:lnTo>
                        <a:pt x="693" y="163"/>
                      </a:lnTo>
                      <a:lnTo>
                        <a:pt x="676" y="188"/>
                      </a:lnTo>
                      <a:lnTo>
                        <a:pt x="669" y="192"/>
                      </a:lnTo>
                      <a:lnTo>
                        <a:pt x="663" y="194"/>
                      </a:lnTo>
                      <a:lnTo>
                        <a:pt x="650" y="192"/>
                      </a:lnTo>
                      <a:lnTo>
                        <a:pt x="640" y="196"/>
                      </a:lnTo>
                      <a:lnTo>
                        <a:pt x="629" y="196"/>
                      </a:lnTo>
                      <a:lnTo>
                        <a:pt x="618" y="199"/>
                      </a:lnTo>
                      <a:lnTo>
                        <a:pt x="612" y="202"/>
                      </a:lnTo>
                      <a:lnTo>
                        <a:pt x="587" y="223"/>
                      </a:lnTo>
                      <a:lnTo>
                        <a:pt x="581" y="223"/>
                      </a:lnTo>
                      <a:lnTo>
                        <a:pt x="554" y="219"/>
                      </a:lnTo>
                      <a:lnTo>
                        <a:pt x="537" y="223"/>
                      </a:lnTo>
                      <a:lnTo>
                        <a:pt x="506" y="240"/>
                      </a:lnTo>
                      <a:lnTo>
                        <a:pt x="500" y="248"/>
                      </a:lnTo>
                      <a:lnTo>
                        <a:pt x="491" y="254"/>
                      </a:lnTo>
                      <a:lnTo>
                        <a:pt x="478" y="263"/>
                      </a:lnTo>
                      <a:lnTo>
                        <a:pt x="471" y="263"/>
                      </a:lnTo>
                      <a:lnTo>
                        <a:pt x="455" y="260"/>
                      </a:lnTo>
                      <a:lnTo>
                        <a:pt x="440" y="262"/>
                      </a:lnTo>
                      <a:lnTo>
                        <a:pt x="431" y="255"/>
                      </a:lnTo>
                      <a:lnTo>
                        <a:pt x="423" y="255"/>
                      </a:lnTo>
                      <a:lnTo>
                        <a:pt x="416" y="257"/>
                      </a:lnTo>
                      <a:lnTo>
                        <a:pt x="408" y="263"/>
                      </a:lnTo>
                      <a:lnTo>
                        <a:pt x="408" y="263"/>
                      </a:lnTo>
                      <a:lnTo>
                        <a:pt x="405" y="262"/>
                      </a:lnTo>
                      <a:lnTo>
                        <a:pt x="391" y="268"/>
                      </a:lnTo>
                      <a:lnTo>
                        <a:pt x="379" y="266"/>
                      </a:lnTo>
                      <a:lnTo>
                        <a:pt x="371" y="265"/>
                      </a:lnTo>
                      <a:lnTo>
                        <a:pt x="363" y="259"/>
                      </a:lnTo>
                      <a:lnTo>
                        <a:pt x="350" y="254"/>
                      </a:lnTo>
                      <a:lnTo>
                        <a:pt x="337" y="255"/>
                      </a:lnTo>
                      <a:lnTo>
                        <a:pt x="325" y="249"/>
                      </a:lnTo>
                      <a:lnTo>
                        <a:pt x="320" y="249"/>
                      </a:lnTo>
                      <a:lnTo>
                        <a:pt x="294" y="257"/>
                      </a:lnTo>
                      <a:lnTo>
                        <a:pt x="281" y="257"/>
                      </a:lnTo>
                      <a:lnTo>
                        <a:pt x="259" y="259"/>
                      </a:lnTo>
                      <a:lnTo>
                        <a:pt x="239" y="268"/>
                      </a:lnTo>
                      <a:lnTo>
                        <a:pt x="201" y="289"/>
                      </a:lnTo>
                      <a:lnTo>
                        <a:pt x="195" y="291"/>
                      </a:lnTo>
                      <a:lnTo>
                        <a:pt x="188" y="292"/>
                      </a:lnTo>
                      <a:lnTo>
                        <a:pt x="182" y="289"/>
                      </a:lnTo>
                      <a:lnTo>
                        <a:pt x="176" y="289"/>
                      </a:lnTo>
                      <a:lnTo>
                        <a:pt x="162" y="297"/>
                      </a:lnTo>
                      <a:lnTo>
                        <a:pt x="145" y="300"/>
                      </a:lnTo>
                      <a:lnTo>
                        <a:pt x="138" y="303"/>
                      </a:lnTo>
                      <a:lnTo>
                        <a:pt x="113" y="302"/>
                      </a:lnTo>
                      <a:lnTo>
                        <a:pt x="76" y="311"/>
                      </a:lnTo>
                      <a:lnTo>
                        <a:pt x="52" y="306"/>
                      </a:lnTo>
                      <a:lnTo>
                        <a:pt x="46" y="309"/>
                      </a:lnTo>
                      <a:lnTo>
                        <a:pt x="46" y="309"/>
                      </a:lnTo>
                      <a:lnTo>
                        <a:pt x="38" y="275"/>
                      </a:lnTo>
                      <a:lnTo>
                        <a:pt x="64" y="260"/>
                      </a:lnTo>
                      <a:lnTo>
                        <a:pt x="66" y="260"/>
                      </a:lnTo>
                      <a:lnTo>
                        <a:pt x="70" y="252"/>
                      </a:lnTo>
                      <a:lnTo>
                        <a:pt x="70" y="246"/>
                      </a:lnTo>
                      <a:lnTo>
                        <a:pt x="67" y="242"/>
                      </a:lnTo>
                      <a:lnTo>
                        <a:pt x="66" y="242"/>
                      </a:lnTo>
                      <a:lnTo>
                        <a:pt x="64" y="231"/>
                      </a:lnTo>
                      <a:lnTo>
                        <a:pt x="58" y="228"/>
                      </a:lnTo>
                      <a:lnTo>
                        <a:pt x="60" y="225"/>
                      </a:lnTo>
                      <a:lnTo>
                        <a:pt x="64" y="223"/>
                      </a:lnTo>
                      <a:lnTo>
                        <a:pt x="64" y="220"/>
                      </a:lnTo>
                      <a:lnTo>
                        <a:pt x="60" y="217"/>
                      </a:lnTo>
                      <a:lnTo>
                        <a:pt x="60" y="209"/>
                      </a:lnTo>
                      <a:lnTo>
                        <a:pt x="44" y="208"/>
                      </a:lnTo>
                      <a:lnTo>
                        <a:pt x="41" y="199"/>
                      </a:lnTo>
                      <a:lnTo>
                        <a:pt x="35" y="196"/>
                      </a:lnTo>
                      <a:lnTo>
                        <a:pt x="33" y="197"/>
                      </a:lnTo>
                      <a:lnTo>
                        <a:pt x="27" y="192"/>
                      </a:lnTo>
                      <a:lnTo>
                        <a:pt x="21" y="192"/>
                      </a:lnTo>
                      <a:lnTo>
                        <a:pt x="18" y="188"/>
                      </a:lnTo>
                      <a:lnTo>
                        <a:pt x="14" y="179"/>
                      </a:lnTo>
                      <a:lnTo>
                        <a:pt x="14" y="176"/>
                      </a:lnTo>
                      <a:lnTo>
                        <a:pt x="0" y="168"/>
                      </a:lnTo>
                      <a:lnTo>
                        <a:pt x="0" y="168"/>
                      </a:lnTo>
                      <a:lnTo>
                        <a:pt x="10" y="156"/>
                      </a:lnTo>
                      <a:lnTo>
                        <a:pt x="1" y="148"/>
                      </a:lnTo>
                      <a:lnTo>
                        <a:pt x="12" y="139"/>
                      </a:lnTo>
                      <a:lnTo>
                        <a:pt x="12" y="139"/>
                      </a:lnTo>
                      <a:lnTo>
                        <a:pt x="14" y="140"/>
                      </a:lnTo>
                      <a:lnTo>
                        <a:pt x="20" y="136"/>
                      </a:lnTo>
                      <a:lnTo>
                        <a:pt x="23" y="137"/>
                      </a:lnTo>
                      <a:lnTo>
                        <a:pt x="29" y="132"/>
                      </a:lnTo>
                      <a:lnTo>
                        <a:pt x="24" y="131"/>
                      </a:lnTo>
                      <a:lnTo>
                        <a:pt x="30" y="125"/>
                      </a:lnTo>
                      <a:lnTo>
                        <a:pt x="26" y="125"/>
                      </a:lnTo>
                      <a:lnTo>
                        <a:pt x="23" y="114"/>
                      </a:lnTo>
                      <a:lnTo>
                        <a:pt x="26" y="114"/>
                      </a:lnTo>
                      <a:lnTo>
                        <a:pt x="29" y="117"/>
                      </a:lnTo>
                      <a:lnTo>
                        <a:pt x="32" y="116"/>
                      </a:lnTo>
                      <a:lnTo>
                        <a:pt x="29" y="111"/>
                      </a:lnTo>
                      <a:lnTo>
                        <a:pt x="35" y="108"/>
                      </a:lnTo>
                      <a:lnTo>
                        <a:pt x="38" y="109"/>
                      </a:lnTo>
                      <a:lnTo>
                        <a:pt x="38" y="106"/>
                      </a:lnTo>
                      <a:lnTo>
                        <a:pt x="44" y="100"/>
                      </a:lnTo>
                      <a:lnTo>
                        <a:pt x="49" y="99"/>
                      </a:lnTo>
                      <a:lnTo>
                        <a:pt x="52" y="99"/>
                      </a:lnTo>
                      <a:lnTo>
                        <a:pt x="56" y="97"/>
                      </a:lnTo>
                      <a:lnTo>
                        <a:pt x="60" y="100"/>
                      </a:lnTo>
                      <a:lnTo>
                        <a:pt x="66" y="94"/>
                      </a:lnTo>
                      <a:lnTo>
                        <a:pt x="84" y="83"/>
                      </a:lnTo>
                      <a:lnTo>
                        <a:pt x="83" y="80"/>
                      </a:lnTo>
                      <a:lnTo>
                        <a:pt x="80" y="80"/>
                      </a:lnTo>
                      <a:lnTo>
                        <a:pt x="83" y="77"/>
                      </a:lnTo>
                      <a:lnTo>
                        <a:pt x="80" y="74"/>
                      </a:lnTo>
                      <a:lnTo>
                        <a:pt x="78" y="79"/>
                      </a:lnTo>
                      <a:lnTo>
                        <a:pt x="73" y="76"/>
                      </a:lnTo>
                      <a:lnTo>
                        <a:pt x="70" y="77"/>
                      </a:lnTo>
                      <a:lnTo>
                        <a:pt x="56" y="77"/>
                      </a:lnTo>
                      <a:lnTo>
                        <a:pt x="56" y="74"/>
                      </a:lnTo>
                      <a:lnTo>
                        <a:pt x="53" y="72"/>
                      </a:lnTo>
                      <a:lnTo>
                        <a:pt x="52" y="69"/>
                      </a:lnTo>
                      <a:lnTo>
                        <a:pt x="50" y="69"/>
                      </a:lnTo>
                      <a:lnTo>
                        <a:pt x="49" y="66"/>
                      </a:lnTo>
                      <a:lnTo>
                        <a:pt x="49" y="66"/>
                      </a:lnTo>
                      <a:lnTo>
                        <a:pt x="44" y="62"/>
                      </a:lnTo>
                      <a:lnTo>
                        <a:pt x="58" y="48"/>
                      </a:lnTo>
                      <a:lnTo>
                        <a:pt x="58" y="48"/>
                      </a:lnTo>
                      <a:lnTo>
                        <a:pt x="61" y="49"/>
                      </a:lnTo>
                      <a:lnTo>
                        <a:pt x="66" y="43"/>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88" name="Caras-Severin" descr="{&quot;Key&quot;:&quot;caras-severin&quot;,&quot;Name&quot;:&quot;Caras-Severin&quot;,&quot;Value&quot;:1.0,&quot;Formula&quot;:&quot;&quot;,&quot;Text&quot;:&quot;1&quot;,&quot;OfficeApplication&quot;:0,&quot;HasValue&quot;:true}">
                  <a:extLst>
                    <a:ext uri="{FF2B5EF4-FFF2-40B4-BE49-F238E27FC236}">
                      <a16:creationId xmlns:a16="http://schemas.microsoft.com/office/drawing/2014/main" id="{B26D47D3-7B35-C40D-F7A5-7C116B7BD9AE}"/>
                    </a:ext>
                  </a:extLst>
                </p:cNvPr>
                <p:cNvSpPr>
                  <a:spLocks/>
                </p:cNvSpPr>
                <p:nvPr/>
              </p:nvSpPr>
              <p:spPr bwMode="auto">
                <a:xfrm>
                  <a:off x="3798888" y="3724276"/>
                  <a:ext cx="860425" cy="966788"/>
                </a:xfrm>
                <a:custGeom>
                  <a:avLst/>
                  <a:gdLst>
                    <a:gd name="T0" fmla="*/ 456 w 542"/>
                    <a:gd name="T1" fmla="*/ 29 h 609"/>
                    <a:gd name="T2" fmla="*/ 477 w 542"/>
                    <a:gd name="T3" fmla="*/ 49 h 609"/>
                    <a:gd name="T4" fmla="*/ 511 w 542"/>
                    <a:gd name="T5" fmla="*/ 56 h 609"/>
                    <a:gd name="T6" fmla="*/ 525 w 542"/>
                    <a:gd name="T7" fmla="*/ 91 h 609"/>
                    <a:gd name="T8" fmla="*/ 523 w 542"/>
                    <a:gd name="T9" fmla="*/ 179 h 609"/>
                    <a:gd name="T10" fmla="*/ 499 w 542"/>
                    <a:gd name="T11" fmla="*/ 216 h 609"/>
                    <a:gd name="T12" fmla="*/ 517 w 542"/>
                    <a:gd name="T13" fmla="*/ 246 h 609"/>
                    <a:gd name="T14" fmla="*/ 483 w 542"/>
                    <a:gd name="T15" fmla="*/ 283 h 609"/>
                    <a:gd name="T16" fmla="*/ 514 w 542"/>
                    <a:gd name="T17" fmla="*/ 306 h 609"/>
                    <a:gd name="T18" fmla="*/ 520 w 542"/>
                    <a:gd name="T19" fmla="*/ 317 h 609"/>
                    <a:gd name="T20" fmla="*/ 482 w 542"/>
                    <a:gd name="T21" fmla="*/ 369 h 609"/>
                    <a:gd name="T22" fmla="*/ 459 w 542"/>
                    <a:gd name="T23" fmla="*/ 403 h 609"/>
                    <a:gd name="T24" fmla="*/ 447 w 542"/>
                    <a:gd name="T25" fmla="*/ 452 h 609"/>
                    <a:gd name="T26" fmla="*/ 424 w 542"/>
                    <a:gd name="T27" fmla="*/ 488 h 609"/>
                    <a:gd name="T28" fmla="*/ 367 w 542"/>
                    <a:gd name="T29" fmla="*/ 499 h 609"/>
                    <a:gd name="T30" fmla="*/ 338 w 542"/>
                    <a:gd name="T31" fmla="*/ 508 h 609"/>
                    <a:gd name="T32" fmla="*/ 322 w 542"/>
                    <a:gd name="T33" fmla="*/ 523 h 609"/>
                    <a:gd name="T34" fmla="*/ 328 w 542"/>
                    <a:gd name="T35" fmla="*/ 583 h 609"/>
                    <a:gd name="T36" fmla="*/ 318 w 542"/>
                    <a:gd name="T37" fmla="*/ 609 h 609"/>
                    <a:gd name="T38" fmla="*/ 292 w 542"/>
                    <a:gd name="T39" fmla="*/ 588 h 609"/>
                    <a:gd name="T40" fmla="*/ 263 w 542"/>
                    <a:gd name="T41" fmla="*/ 597 h 609"/>
                    <a:gd name="T42" fmla="*/ 207 w 542"/>
                    <a:gd name="T43" fmla="*/ 571 h 609"/>
                    <a:gd name="T44" fmla="*/ 109 w 542"/>
                    <a:gd name="T45" fmla="*/ 560 h 609"/>
                    <a:gd name="T46" fmla="*/ 74 w 542"/>
                    <a:gd name="T47" fmla="*/ 503 h 609"/>
                    <a:gd name="T48" fmla="*/ 14 w 542"/>
                    <a:gd name="T49" fmla="*/ 483 h 609"/>
                    <a:gd name="T50" fmla="*/ 2 w 542"/>
                    <a:gd name="T51" fmla="*/ 466 h 609"/>
                    <a:gd name="T52" fmla="*/ 8 w 542"/>
                    <a:gd name="T53" fmla="*/ 449 h 609"/>
                    <a:gd name="T54" fmla="*/ 26 w 542"/>
                    <a:gd name="T55" fmla="*/ 448 h 609"/>
                    <a:gd name="T56" fmla="*/ 37 w 542"/>
                    <a:gd name="T57" fmla="*/ 446 h 609"/>
                    <a:gd name="T58" fmla="*/ 57 w 542"/>
                    <a:gd name="T59" fmla="*/ 448 h 609"/>
                    <a:gd name="T60" fmla="*/ 77 w 542"/>
                    <a:gd name="T61" fmla="*/ 414 h 609"/>
                    <a:gd name="T62" fmla="*/ 22 w 542"/>
                    <a:gd name="T63" fmla="*/ 388 h 609"/>
                    <a:gd name="T64" fmla="*/ 11 w 542"/>
                    <a:gd name="T65" fmla="*/ 371 h 609"/>
                    <a:gd name="T66" fmla="*/ 14 w 542"/>
                    <a:gd name="T67" fmla="*/ 360 h 609"/>
                    <a:gd name="T68" fmla="*/ 42 w 542"/>
                    <a:gd name="T69" fmla="*/ 354 h 609"/>
                    <a:gd name="T70" fmla="*/ 60 w 542"/>
                    <a:gd name="T71" fmla="*/ 306 h 609"/>
                    <a:gd name="T72" fmla="*/ 52 w 542"/>
                    <a:gd name="T73" fmla="*/ 269 h 609"/>
                    <a:gd name="T74" fmla="*/ 69 w 542"/>
                    <a:gd name="T75" fmla="*/ 239 h 609"/>
                    <a:gd name="T76" fmla="*/ 69 w 542"/>
                    <a:gd name="T77" fmla="*/ 199 h 609"/>
                    <a:gd name="T78" fmla="*/ 42 w 542"/>
                    <a:gd name="T79" fmla="*/ 162 h 609"/>
                    <a:gd name="T80" fmla="*/ 58 w 542"/>
                    <a:gd name="T81" fmla="*/ 142 h 609"/>
                    <a:gd name="T82" fmla="*/ 49 w 542"/>
                    <a:gd name="T83" fmla="*/ 134 h 609"/>
                    <a:gd name="T84" fmla="*/ 75 w 542"/>
                    <a:gd name="T85" fmla="*/ 100 h 609"/>
                    <a:gd name="T86" fmla="*/ 89 w 542"/>
                    <a:gd name="T87" fmla="*/ 77 h 609"/>
                    <a:gd name="T88" fmla="*/ 124 w 542"/>
                    <a:gd name="T89" fmla="*/ 49 h 609"/>
                    <a:gd name="T90" fmla="*/ 161 w 542"/>
                    <a:gd name="T91" fmla="*/ 77 h 609"/>
                    <a:gd name="T92" fmla="*/ 210 w 542"/>
                    <a:gd name="T93" fmla="*/ 71 h 609"/>
                    <a:gd name="T94" fmla="*/ 221 w 542"/>
                    <a:gd name="T95" fmla="*/ 80 h 609"/>
                    <a:gd name="T96" fmla="*/ 243 w 542"/>
                    <a:gd name="T97" fmla="*/ 102 h 609"/>
                    <a:gd name="T98" fmla="*/ 281 w 542"/>
                    <a:gd name="T99" fmla="*/ 88 h 609"/>
                    <a:gd name="T100" fmla="*/ 278 w 542"/>
                    <a:gd name="T101" fmla="*/ 54 h 609"/>
                    <a:gd name="T102" fmla="*/ 313 w 542"/>
                    <a:gd name="T103" fmla="*/ 40 h 609"/>
                    <a:gd name="T104" fmla="*/ 355 w 542"/>
                    <a:gd name="T105" fmla="*/ 37 h 609"/>
                    <a:gd name="T106" fmla="*/ 396 w 542"/>
                    <a:gd name="T107" fmla="*/ 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2" h="609">
                      <a:moveTo>
                        <a:pt x="428" y="0"/>
                      </a:moveTo>
                      <a:lnTo>
                        <a:pt x="440" y="5"/>
                      </a:lnTo>
                      <a:lnTo>
                        <a:pt x="440" y="12"/>
                      </a:lnTo>
                      <a:lnTo>
                        <a:pt x="448" y="26"/>
                      </a:lnTo>
                      <a:lnTo>
                        <a:pt x="451" y="26"/>
                      </a:lnTo>
                      <a:lnTo>
                        <a:pt x="456" y="29"/>
                      </a:lnTo>
                      <a:lnTo>
                        <a:pt x="454" y="32"/>
                      </a:lnTo>
                      <a:lnTo>
                        <a:pt x="459" y="36"/>
                      </a:lnTo>
                      <a:lnTo>
                        <a:pt x="464" y="49"/>
                      </a:lnTo>
                      <a:lnTo>
                        <a:pt x="468" y="54"/>
                      </a:lnTo>
                      <a:lnTo>
                        <a:pt x="473" y="52"/>
                      </a:lnTo>
                      <a:lnTo>
                        <a:pt x="477" y="49"/>
                      </a:lnTo>
                      <a:lnTo>
                        <a:pt x="480" y="51"/>
                      </a:lnTo>
                      <a:lnTo>
                        <a:pt x="491" y="48"/>
                      </a:lnTo>
                      <a:lnTo>
                        <a:pt x="496" y="52"/>
                      </a:lnTo>
                      <a:lnTo>
                        <a:pt x="496" y="60"/>
                      </a:lnTo>
                      <a:lnTo>
                        <a:pt x="510" y="57"/>
                      </a:lnTo>
                      <a:lnTo>
                        <a:pt x="511" y="56"/>
                      </a:lnTo>
                      <a:lnTo>
                        <a:pt x="514" y="60"/>
                      </a:lnTo>
                      <a:lnTo>
                        <a:pt x="510" y="76"/>
                      </a:lnTo>
                      <a:lnTo>
                        <a:pt x="517" y="74"/>
                      </a:lnTo>
                      <a:lnTo>
                        <a:pt x="525" y="83"/>
                      </a:lnTo>
                      <a:lnTo>
                        <a:pt x="526" y="86"/>
                      </a:lnTo>
                      <a:lnTo>
                        <a:pt x="525" y="91"/>
                      </a:lnTo>
                      <a:lnTo>
                        <a:pt x="533" y="102"/>
                      </a:lnTo>
                      <a:lnTo>
                        <a:pt x="539" y="140"/>
                      </a:lnTo>
                      <a:lnTo>
                        <a:pt x="542" y="143"/>
                      </a:lnTo>
                      <a:lnTo>
                        <a:pt x="542" y="145"/>
                      </a:lnTo>
                      <a:lnTo>
                        <a:pt x="525" y="176"/>
                      </a:lnTo>
                      <a:lnTo>
                        <a:pt x="523" y="179"/>
                      </a:lnTo>
                      <a:lnTo>
                        <a:pt x="526" y="182"/>
                      </a:lnTo>
                      <a:lnTo>
                        <a:pt x="522" y="183"/>
                      </a:lnTo>
                      <a:lnTo>
                        <a:pt x="516" y="191"/>
                      </a:lnTo>
                      <a:lnTo>
                        <a:pt x="508" y="194"/>
                      </a:lnTo>
                      <a:lnTo>
                        <a:pt x="496" y="209"/>
                      </a:lnTo>
                      <a:lnTo>
                        <a:pt x="499" y="216"/>
                      </a:lnTo>
                      <a:lnTo>
                        <a:pt x="500" y="225"/>
                      </a:lnTo>
                      <a:lnTo>
                        <a:pt x="497" y="234"/>
                      </a:lnTo>
                      <a:lnTo>
                        <a:pt x="494" y="240"/>
                      </a:lnTo>
                      <a:lnTo>
                        <a:pt x="508" y="240"/>
                      </a:lnTo>
                      <a:lnTo>
                        <a:pt x="511" y="242"/>
                      </a:lnTo>
                      <a:lnTo>
                        <a:pt x="517" y="246"/>
                      </a:lnTo>
                      <a:lnTo>
                        <a:pt x="517" y="246"/>
                      </a:lnTo>
                      <a:lnTo>
                        <a:pt x="517" y="252"/>
                      </a:lnTo>
                      <a:lnTo>
                        <a:pt x="510" y="260"/>
                      </a:lnTo>
                      <a:lnTo>
                        <a:pt x="500" y="260"/>
                      </a:lnTo>
                      <a:lnTo>
                        <a:pt x="494" y="266"/>
                      </a:lnTo>
                      <a:lnTo>
                        <a:pt x="483" y="283"/>
                      </a:lnTo>
                      <a:lnTo>
                        <a:pt x="483" y="291"/>
                      </a:lnTo>
                      <a:lnTo>
                        <a:pt x="490" y="300"/>
                      </a:lnTo>
                      <a:lnTo>
                        <a:pt x="496" y="302"/>
                      </a:lnTo>
                      <a:lnTo>
                        <a:pt x="500" y="300"/>
                      </a:lnTo>
                      <a:lnTo>
                        <a:pt x="506" y="300"/>
                      </a:lnTo>
                      <a:lnTo>
                        <a:pt x="514" y="306"/>
                      </a:lnTo>
                      <a:lnTo>
                        <a:pt x="519" y="306"/>
                      </a:lnTo>
                      <a:lnTo>
                        <a:pt x="520" y="317"/>
                      </a:lnTo>
                      <a:lnTo>
                        <a:pt x="522" y="317"/>
                      </a:lnTo>
                      <a:lnTo>
                        <a:pt x="522" y="317"/>
                      </a:lnTo>
                      <a:lnTo>
                        <a:pt x="520" y="320"/>
                      </a:lnTo>
                      <a:lnTo>
                        <a:pt x="520" y="317"/>
                      </a:lnTo>
                      <a:lnTo>
                        <a:pt x="519" y="319"/>
                      </a:lnTo>
                      <a:lnTo>
                        <a:pt x="517" y="322"/>
                      </a:lnTo>
                      <a:lnTo>
                        <a:pt x="514" y="325"/>
                      </a:lnTo>
                      <a:lnTo>
                        <a:pt x="499" y="346"/>
                      </a:lnTo>
                      <a:lnTo>
                        <a:pt x="490" y="356"/>
                      </a:lnTo>
                      <a:lnTo>
                        <a:pt x="482" y="369"/>
                      </a:lnTo>
                      <a:lnTo>
                        <a:pt x="474" y="374"/>
                      </a:lnTo>
                      <a:lnTo>
                        <a:pt x="454" y="392"/>
                      </a:lnTo>
                      <a:lnTo>
                        <a:pt x="454" y="394"/>
                      </a:lnTo>
                      <a:lnTo>
                        <a:pt x="462" y="397"/>
                      </a:lnTo>
                      <a:lnTo>
                        <a:pt x="465" y="400"/>
                      </a:lnTo>
                      <a:lnTo>
                        <a:pt x="459" y="403"/>
                      </a:lnTo>
                      <a:lnTo>
                        <a:pt x="454" y="409"/>
                      </a:lnTo>
                      <a:lnTo>
                        <a:pt x="456" y="417"/>
                      </a:lnTo>
                      <a:lnTo>
                        <a:pt x="453" y="432"/>
                      </a:lnTo>
                      <a:lnTo>
                        <a:pt x="454" y="446"/>
                      </a:lnTo>
                      <a:lnTo>
                        <a:pt x="450" y="448"/>
                      </a:lnTo>
                      <a:lnTo>
                        <a:pt x="447" y="452"/>
                      </a:lnTo>
                      <a:lnTo>
                        <a:pt x="442" y="465"/>
                      </a:lnTo>
                      <a:lnTo>
                        <a:pt x="437" y="472"/>
                      </a:lnTo>
                      <a:lnTo>
                        <a:pt x="437" y="479"/>
                      </a:lnTo>
                      <a:lnTo>
                        <a:pt x="433" y="482"/>
                      </a:lnTo>
                      <a:lnTo>
                        <a:pt x="428" y="488"/>
                      </a:lnTo>
                      <a:lnTo>
                        <a:pt x="424" y="488"/>
                      </a:lnTo>
                      <a:lnTo>
                        <a:pt x="419" y="502"/>
                      </a:lnTo>
                      <a:lnTo>
                        <a:pt x="408" y="500"/>
                      </a:lnTo>
                      <a:lnTo>
                        <a:pt x="405" y="497"/>
                      </a:lnTo>
                      <a:lnTo>
                        <a:pt x="394" y="502"/>
                      </a:lnTo>
                      <a:lnTo>
                        <a:pt x="385" y="502"/>
                      </a:lnTo>
                      <a:lnTo>
                        <a:pt x="367" y="499"/>
                      </a:lnTo>
                      <a:lnTo>
                        <a:pt x="353" y="485"/>
                      </a:lnTo>
                      <a:lnTo>
                        <a:pt x="347" y="480"/>
                      </a:lnTo>
                      <a:lnTo>
                        <a:pt x="344" y="480"/>
                      </a:lnTo>
                      <a:lnTo>
                        <a:pt x="341" y="491"/>
                      </a:lnTo>
                      <a:lnTo>
                        <a:pt x="336" y="495"/>
                      </a:lnTo>
                      <a:lnTo>
                        <a:pt x="338" y="508"/>
                      </a:lnTo>
                      <a:lnTo>
                        <a:pt x="339" y="512"/>
                      </a:lnTo>
                      <a:lnTo>
                        <a:pt x="336" y="515"/>
                      </a:lnTo>
                      <a:lnTo>
                        <a:pt x="336" y="520"/>
                      </a:lnTo>
                      <a:lnTo>
                        <a:pt x="335" y="520"/>
                      </a:lnTo>
                      <a:lnTo>
                        <a:pt x="333" y="522"/>
                      </a:lnTo>
                      <a:lnTo>
                        <a:pt x="322" y="523"/>
                      </a:lnTo>
                      <a:lnTo>
                        <a:pt x="319" y="555"/>
                      </a:lnTo>
                      <a:lnTo>
                        <a:pt x="315" y="566"/>
                      </a:lnTo>
                      <a:lnTo>
                        <a:pt x="316" y="569"/>
                      </a:lnTo>
                      <a:lnTo>
                        <a:pt x="327" y="572"/>
                      </a:lnTo>
                      <a:lnTo>
                        <a:pt x="330" y="579"/>
                      </a:lnTo>
                      <a:lnTo>
                        <a:pt x="328" y="583"/>
                      </a:lnTo>
                      <a:lnTo>
                        <a:pt x="328" y="588"/>
                      </a:lnTo>
                      <a:lnTo>
                        <a:pt x="325" y="592"/>
                      </a:lnTo>
                      <a:lnTo>
                        <a:pt x="327" y="597"/>
                      </a:lnTo>
                      <a:lnTo>
                        <a:pt x="322" y="602"/>
                      </a:lnTo>
                      <a:lnTo>
                        <a:pt x="324" y="606"/>
                      </a:lnTo>
                      <a:lnTo>
                        <a:pt x="318" y="609"/>
                      </a:lnTo>
                      <a:lnTo>
                        <a:pt x="316" y="608"/>
                      </a:lnTo>
                      <a:lnTo>
                        <a:pt x="313" y="600"/>
                      </a:lnTo>
                      <a:lnTo>
                        <a:pt x="309" y="605"/>
                      </a:lnTo>
                      <a:lnTo>
                        <a:pt x="302" y="603"/>
                      </a:lnTo>
                      <a:lnTo>
                        <a:pt x="296" y="591"/>
                      </a:lnTo>
                      <a:lnTo>
                        <a:pt x="292" y="588"/>
                      </a:lnTo>
                      <a:lnTo>
                        <a:pt x="286" y="592"/>
                      </a:lnTo>
                      <a:lnTo>
                        <a:pt x="284" y="599"/>
                      </a:lnTo>
                      <a:lnTo>
                        <a:pt x="279" y="602"/>
                      </a:lnTo>
                      <a:lnTo>
                        <a:pt x="266" y="592"/>
                      </a:lnTo>
                      <a:lnTo>
                        <a:pt x="263" y="597"/>
                      </a:lnTo>
                      <a:lnTo>
                        <a:pt x="263" y="597"/>
                      </a:lnTo>
                      <a:lnTo>
                        <a:pt x="259" y="585"/>
                      </a:lnTo>
                      <a:lnTo>
                        <a:pt x="256" y="582"/>
                      </a:lnTo>
                      <a:lnTo>
                        <a:pt x="243" y="580"/>
                      </a:lnTo>
                      <a:lnTo>
                        <a:pt x="229" y="572"/>
                      </a:lnTo>
                      <a:lnTo>
                        <a:pt x="216" y="574"/>
                      </a:lnTo>
                      <a:lnTo>
                        <a:pt x="207" y="571"/>
                      </a:lnTo>
                      <a:lnTo>
                        <a:pt x="183" y="569"/>
                      </a:lnTo>
                      <a:lnTo>
                        <a:pt x="177" y="565"/>
                      </a:lnTo>
                      <a:lnTo>
                        <a:pt x="149" y="569"/>
                      </a:lnTo>
                      <a:lnTo>
                        <a:pt x="137" y="563"/>
                      </a:lnTo>
                      <a:lnTo>
                        <a:pt x="112" y="565"/>
                      </a:lnTo>
                      <a:lnTo>
                        <a:pt x="109" y="560"/>
                      </a:lnTo>
                      <a:lnTo>
                        <a:pt x="106" y="555"/>
                      </a:lnTo>
                      <a:lnTo>
                        <a:pt x="104" y="543"/>
                      </a:lnTo>
                      <a:lnTo>
                        <a:pt x="106" y="535"/>
                      </a:lnTo>
                      <a:lnTo>
                        <a:pt x="101" y="519"/>
                      </a:lnTo>
                      <a:lnTo>
                        <a:pt x="94" y="511"/>
                      </a:lnTo>
                      <a:lnTo>
                        <a:pt x="74" y="503"/>
                      </a:lnTo>
                      <a:lnTo>
                        <a:pt x="63" y="505"/>
                      </a:lnTo>
                      <a:lnTo>
                        <a:pt x="49" y="500"/>
                      </a:lnTo>
                      <a:lnTo>
                        <a:pt x="29" y="502"/>
                      </a:lnTo>
                      <a:lnTo>
                        <a:pt x="20" y="500"/>
                      </a:lnTo>
                      <a:lnTo>
                        <a:pt x="17" y="495"/>
                      </a:lnTo>
                      <a:lnTo>
                        <a:pt x="14" y="483"/>
                      </a:lnTo>
                      <a:lnTo>
                        <a:pt x="3" y="475"/>
                      </a:lnTo>
                      <a:lnTo>
                        <a:pt x="3" y="471"/>
                      </a:lnTo>
                      <a:lnTo>
                        <a:pt x="5" y="469"/>
                      </a:lnTo>
                      <a:lnTo>
                        <a:pt x="2" y="468"/>
                      </a:lnTo>
                      <a:lnTo>
                        <a:pt x="5" y="466"/>
                      </a:lnTo>
                      <a:lnTo>
                        <a:pt x="2" y="466"/>
                      </a:lnTo>
                      <a:lnTo>
                        <a:pt x="0" y="463"/>
                      </a:lnTo>
                      <a:lnTo>
                        <a:pt x="5" y="463"/>
                      </a:lnTo>
                      <a:lnTo>
                        <a:pt x="3" y="459"/>
                      </a:lnTo>
                      <a:lnTo>
                        <a:pt x="5" y="457"/>
                      </a:lnTo>
                      <a:lnTo>
                        <a:pt x="5" y="455"/>
                      </a:lnTo>
                      <a:lnTo>
                        <a:pt x="8" y="449"/>
                      </a:lnTo>
                      <a:lnTo>
                        <a:pt x="14" y="451"/>
                      </a:lnTo>
                      <a:lnTo>
                        <a:pt x="15" y="448"/>
                      </a:lnTo>
                      <a:lnTo>
                        <a:pt x="22" y="449"/>
                      </a:lnTo>
                      <a:lnTo>
                        <a:pt x="23" y="448"/>
                      </a:lnTo>
                      <a:lnTo>
                        <a:pt x="26" y="449"/>
                      </a:lnTo>
                      <a:lnTo>
                        <a:pt x="26" y="448"/>
                      </a:lnTo>
                      <a:lnTo>
                        <a:pt x="29" y="446"/>
                      </a:lnTo>
                      <a:lnTo>
                        <a:pt x="31" y="449"/>
                      </a:lnTo>
                      <a:lnTo>
                        <a:pt x="34" y="448"/>
                      </a:lnTo>
                      <a:lnTo>
                        <a:pt x="35" y="449"/>
                      </a:lnTo>
                      <a:lnTo>
                        <a:pt x="37" y="448"/>
                      </a:lnTo>
                      <a:lnTo>
                        <a:pt x="37" y="446"/>
                      </a:lnTo>
                      <a:lnTo>
                        <a:pt x="40" y="445"/>
                      </a:lnTo>
                      <a:lnTo>
                        <a:pt x="46" y="451"/>
                      </a:lnTo>
                      <a:lnTo>
                        <a:pt x="48" y="448"/>
                      </a:lnTo>
                      <a:lnTo>
                        <a:pt x="52" y="449"/>
                      </a:lnTo>
                      <a:lnTo>
                        <a:pt x="54" y="448"/>
                      </a:lnTo>
                      <a:lnTo>
                        <a:pt x="57" y="448"/>
                      </a:lnTo>
                      <a:lnTo>
                        <a:pt x="63" y="443"/>
                      </a:lnTo>
                      <a:lnTo>
                        <a:pt x="83" y="439"/>
                      </a:lnTo>
                      <a:lnTo>
                        <a:pt x="83" y="428"/>
                      </a:lnTo>
                      <a:lnTo>
                        <a:pt x="78" y="422"/>
                      </a:lnTo>
                      <a:lnTo>
                        <a:pt x="80" y="419"/>
                      </a:lnTo>
                      <a:lnTo>
                        <a:pt x="77" y="414"/>
                      </a:lnTo>
                      <a:lnTo>
                        <a:pt x="71" y="411"/>
                      </a:lnTo>
                      <a:lnTo>
                        <a:pt x="68" y="411"/>
                      </a:lnTo>
                      <a:lnTo>
                        <a:pt x="48" y="400"/>
                      </a:lnTo>
                      <a:lnTo>
                        <a:pt x="39" y="397"/>
                      </a:lnTo>
                      <a:lnTo>
                        <a:pt x="35" y="399"/>
                      </a:lnTo>
                      <a:lnTo>
                        <a:pt x="22" y="388"/>
                      </a:lnTo>
                      <a:lnTo>
                        <a:pt x="25" y="383"/>
                      </a:lnTo>
                      <a:lnTo>
                        <a:pt x="22" y="382"/>
                      </a:lnTo>
                      <a:lnTo>
                        <a:pt x="22" y="380"/>
                      </a:lnTo>
                      <a:lnTo>
                        <a:pt x="12" y="376"/>
                      </a:lnTo>
                      <a:lnTo>
                        <a:pt x="14" y="374"/>
                      </a:lnTo>
                      <a:lnTo>
                        <a:pt x="11" y="371"/>
                      </a:lnTo>
                      <a:lnTo>
                        <a:pt x="11" y="372"/>
                      </a:lnTo>
                      <a:lnTo>
                        <a:pt x="3" y="365"/>
                      </a:lnTo>
                      <a:lnTo>
                        <a:pt x="5" y="363"/>
                      </a:lnTo>
                      <a:lnTo>
                        <a:pt x="11" y="360"/>
                      </a:lnTo>
                      <a:lnTo>
                        <a:pt x="12" y="362"/>
                      </a:lnTo>
                      <a:lnTo>
                        <a:pt x="14" y="360"/>
                      </a:lnTo>
                      <a:lnTo>
                        <a:pt x="17" y="362"/>
                      </a:lnTo>
                      <a:lnTo>
                        <a:pt x="22" y="356"/>
                      </a:lnTo>
                      <a:lnTo>
                        <a:pt x="23" y="357"/>
                      </a:lnTo>
                      <a:lnTo>
                        <a:pt x="28" y="357"/>
                      </a:lnTo>
                      <a:lnTo>
                        <a:pt x="28" y="359"/>
                      </a:lnTo>
                      <a:lnTo>
                        <a:pt x="42" y="354"/>
                      </a:lnTo>
                      <a:lnTo>
                        <a:pt x="40" y="345"/>
                      </a:lnTo>
                      <a:lnTo>
                        <a:pt x="42" y="337"/>
                      </a:lnTo>
                      <a:lnTo>
                        <a:pt x="52" y="325"/>
                      </a:lnTo>
                      <a:lnTo>
                        <a:pt x="48" y="317"/>
                      </a:lnTo>
                      <a:lnTo>
                        <a:pt x="51" y="308"/>
                      </a:lnTo>
                      <a:lnTo>
                        <a:pt x="60" y="306"/>
                      </a:lnTo>
                      <a:lnTo>
                        <a:pt x="71" y="297"/>
                      </a:lnTo>
                      <a:lnTo>
                        <a:pt x="71" y="292"/>
                      </a:lnTo>
                      <a:lnTo>
                        <a:pt x="66" y="280"/>
                      </a:lnTo>
                      <a:lnTo>
                        <a:pt x="57" y="280"/>
                      </a:lnTo>
                      <a:lnTo>
                        <a:pt x="52" y="269"/>
                      </a:lnTo>
                      <a:lnTo>
                        <a:pt x="52" y="269"/>
                      </a:lnTo>
                      <a:lnTo>
                        <a:pt x="57" y="266"/>
                      </a:lnTo>
                      <a:lnTo>
                        <a:pt x="60" y="268"/>
                      </a:lnTo>
                      <a:lnTo>
                        <a:pt x="66" y="263"/>
                      </a:lnTo>
                      <a:lnTo>
                        <a:pt x="65" y="254"/>
                      </a:lnTo>
                      <a:lnTo>
                        <a:pt x="71" y="246"/>
                      </a:lnTo>
                      <a:lnTo>
                        <a:pt x="69" y="239"/>
                      </a:lnTo>
                      <a:lnTo>
                        <a:pt x="72" y="237"/>
                      </a:lnTo>
                      <a:lnTo>
                        <a:pt x="74" y="228"/>
                      </a:lnTo>
                      <a:lnTo>
                        <a:pt x="81" y="225"/>
                      </a:lnTo>
                      <a:lnTo>
                        <a:pt x="78" y="216"/>
                      </a:lnTo>
                      <a:lnTo>
                        <a:pt x="81" y="211"/>
                      </a:lnTo>
                      <a:lnTo>
                        <a:pt x="69" y="199"/>
                      </a:lnTo>
                      <a:lnTo>
                        <a:pt x="69" y="191"/>
                      </a:lnTo>
                      <a:lnTo>
                        <a:pt x="65" y="185"/>
                      </a:lnTo>
                      <a:lnTo>
                        <a:pt x="52" y="179"/>
                      </a:lnTo>
                      <a:lnTo>
                        <a:pt x="45" y="169"/>
                      </a:lnTo>
                      <a:lnTo>
                        <a:pt x="46" y="166"/>
                      </a:lnTo>
                      <a:lnTo>
                        <a:pt x="42" y="162"/>
                      </a:lnTo>
                      <a:lnTo>
                        <a:pt x="42" y="159"/>
                      </a:lnTo>
                      <a:lnTo>
                        <a:pt x="37" y="149"/>
                      </a:lnTo>
                      <a:lnTo>
                        <a:pt x="39" y="145"/>
                      </a:lnTo>
                      <a:lnTo>
                        <a:pt x="52" y="139"/>
                      </a:lnTo>
                      <a:lnTo>
                        <a:pt x="57" y="139"/>
                      </a:lnTo>
                      <a:lnTo>
                        <a:pt x="58" y="142"/>
                      </a:lnTo>
                      <a:lnTo>
                        <a:pt x="65" y="140"/>
                      </a:lnTo>
                      <a:lnTo>
                        <a:pt x="62" y="136"/>
                      </a:lnTo>
                      <a:lnTo>
                        <a:pt x="57" y="134"/>
                      </a:lnTo>
                      <a:lnTo>
                        <a:pt x="57" y="131"/>
                      </a:lnTo>
                      <a:lnTo>
                        <a:pt x="52" y="134"/>
                      </a:lnTo>
                      <a:lnTo>
                        <a:pt x="49" y="134"/>
                      </a:lnTo>
                      <a:lnTo>
                        <a:pt x="48" y="129"/>
                      </a:lnTo>
                      <a:lnTo>
                        <a:pt x="45" y="109"/>
                      </a:lnTo>
                      <a:lnTo>
                        <a:pt x="55" y="103"/>
                      </a:lnTo>
                      <a:lnTo>
                        <a:pt x="65" y="102"/>
                      </a:lnTo>
                      <a:lnTo>
                        <a:pt x="71" y="99"/>
                      </a:lnTo>
                      <a:lnTo>
                        <a:pt x="75" y="100"/>
                      </a:lnTo>
                      <a:lnTo>
                        <a:pt x="81" y="91"/>
                      </a:lnTo>
                      <a:lnTo>
                        <a:pt x="86" y="92"/>
                      </a:lnTo>
                      <a:lnTo>
                        <a:pt x="91" y="88"/>
                      </a:lnTo>
                      <a:lnTo>
                        <a:pt x="86" y="82"/>
                      </a:lnTo>
                      <a:lnTo>
                        <a:pt x="89" y="79"/>
                      </a:lnTo>
                      <a:lnTo>
                        <a:pt x="89" y="77"/>
                      </a:lnTo>
                      <a:lnTo>
                        <a:pt x="94" y="69"/>
                      </a:lnTo>
                      <a:lnTo>
                        <a:pt x="94" y="66"/>
                      </a:lnTo>
                      <a:lnTo>
                        <a:pt x="98" y="57"/>
                      </a:lnTo>
                      <a:lnTo>
                        <a:pt x="114" y="57"/>
                      </a:lnTo>
                      <a:lnTo>
                        <a:pt x="120" y="51"/>
                      </a:lnTo>
                      <a:lnTo>
                        <a:pt x="124" y="49"/>
                      </a:lnTo>
                      <a:lnTo>
                        <a:pt x="137" y="49"/>
                      </a:lnTo>
                      <a:lnTo>
                        <a:pt x="141" y="56"/>
                      </a:lnTo>
                      <a:lnTo>
                        <a:pt x="141" y="60"/>
                      </a:lnTo>
                      <a:lnTo>
                        <a:pt x="151" y="62"/>
                      </a:lnTo>
                      <a:lnTo>
                        <a:pt x="157" y="65"/>
                      </a:lnTo>
                      <a:lnTo>
                        <a:pt x="161" y="77"/>
                      </a:lnTo>
                      <a:lnTo>
                        <a:pt x="164" y="79"/>
                      </a:lnTo>
                      <a:lnTo>
                        <a:pt x="181" y="77"/>
                      </a:lnTo>
                      <a:lnTo>
                        <a:pt x="192" y="72"/>
                      </a:lnTo>
                      <a:lnTo>
                        <a:pt x="197" y="76"/>
                      </a:lnTo>
                      <a:lnTo>
                        <a:pt x="207" y="76"/>
                      </a:lnTo>
                      <a:lnTo>
                        <a:pt x="210" y="71"/>
                      </a:lnTo>
                      <a:lnTo>
                        <a:pt x="209" y="62"/>
                      </a:lnTo>
                      <a:lnTo>
                        <a:pt x="223" y="59"/>
                      </a:lnTo>
                      <a:lnTo>
                        <a:pt x="220" y="65"/>
                      </a:lnTo>
                      <a:lnTo>
                        <a:pt x="216" y="68"/>
                      </a:lnTo>
                      <a:lnTo>
                        <a:pt x="216" y="76"/>
                      </a:lnTo>
                      <a:lnTo>
                        <a:pt x="221" y="80"/>
                      </a:lnTo>
                      <a:lnTo>
                        <a:pt x="223" y="77"/>
                      </a:lnTo>
                      <a:lnTo>
                        <a:pt x="229" y="77"/>
                      </a:lnTo>
                      <a:lnTo>
                        <a:pt x="236" y="76"/>
                      </a:lnTo>
                      <a:lnTo>
                        <a:pt x="241" y="83"/>
                      </a:lnTo>
                      <a:lnTo>
                        <a:pt x="235" y="97"/>
                      </a:lnTo>
                      <a:lnTo>
                        <a:pt x="243" y="102"/>
                      </a:lnTo>
                      <a:lnTo>
                        <a:pt x="246" y="99"/>
                      </a:lnTo>
                      <a:lnTo>
                        <a:pt x="249" y="103"/>
                      </a:lnTo>
                      <a:lnTo>
                        <a:pt x="253" y="100"/>
                      </a:lnTo>
                      <a:lnTo>
                        <a:pt x="270" y="102"/>
                      </a:lnTo>
                      <a:lnTo>
                        <a:pt x="275" y="91"/>
                      </a:lnTo>
                      <a:lnTo>
                        <a:pt x="281" y="88"/>
                      </a:lnTo>
                      <a:lnTo>
                        <a:pt x="281" y="77"/>
                      </a:lnTo>
                      <a:lnTo>
                        <a:pt x="278" y="71"/>
                      </a:lnTo>
                      <a:lnTo>
                        <a:pt x="279" y="71"/>
                      </a:lnTo>
                      <a:lnTo>
                        <a:pt x="276" y="60"/>
                      </a:lnTo>
                      <a:lnTo>
                        <a:pt x="279" y="59"/>
                      </a:lnTo>
                      <a:lnTo>
                        <a:pt x="278" y="54"/>
                      </a:lnTo>
                      <a:lnTo>
                        <a:pt x="284" y="49"/>
                      </a:lnTo>
                      <a:lnTo>
                        <a:pt x="289" y="54"/>
                      </a:lnTo>
                      <a:lnTo>
                        <a:pt x="301" y="43"/>
                      </a:lnTo>
                      <a:lnTo>
                        <a:pt x="304" y="45"/>
                      </a:lnTo>
                      <a:lnTo>
                        <a:pt x="307" y="40"/>
                      </a:lnTo>
                      <a:lnTo>
                        <a:pt x="313" y="40"/>
                      </a:lnTo>
                      <a:lnTo>
                        <a:pt x="315" y="36"/>
                      </a:lnTo>
                      <a:lnTo>
                        <a:pt x="324" y="22"/>
                      </a:lnTo>
                      <a:lnTo>
                        <a:pt x="330" y="23"/>
                      </a:lnTo>
                      <a:lnTo>
                        <a:pt x="335" y="31"/>
                      </a:lnTo>
                      <a:lnTo>
                        <a:pt x="345" y="37"/>
                      </a:lnTo>
                      <a:lnTo>
                        <a:pt x="355" y="37"/>
                      </a:lnTo>
                      <a:lnTo>
                        <a:pt x="361" y="48"/>
                      </a:lnTo>
                      <a:lnTo>
                        <a:pt x="365" y="48"/>
                      </a:lnTo>
                      <a:lnTo>
                        <a:pt x="370" y="43"/>
                      </a:lnTo>
                      <a:lnTo>
                        <a:pt x="379" y="12"/>
                      </a:lnTo>
                      <a:lnTo>
                        <a:pt x="387" y="3"/>
                      </a:lnTo>
                      <a:lnTo>
                        <a:pt x="396" y="9"/>
                      </a:lnTo>
                      <a:lnTo>
                        <a:pt x="410" y="8"/>
                      </a:lnTo>
                      <a:lnTo>
                        <a:pt x="414" y="3"/>
                      </a:lnTo>
                      <a:lnTo>
                        <a:pt x="419" y="9"/>
                      </a:lnTo>
                      <a:lnTo>
                        <a:pt x="428" y="0"/>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89" name="Constanta" descr="{&quot;Key&quot;:&quot;constanta&quot;,&quot;Name&quot;:&quot;Constanta&quot;,&quot;Value&quot;:1.0,&quot;Formula&quot;:&quot;&quot;,&quot;Text&quot;:&quot;1&quot;,&quot;OfficeApplication&quot;:0,&quot;HasValue&quot;:true}">
                  <a:extLst>
                    <a:ext uri="{FF2B5EF4-FFF2-40B4-BE49-F238E27FC236}">
                      <a16:creationId xmlns:a16="http://schemas.microsoft.com/office/drawing/2014/main" id="{B4D42A15-7ECC-FBF7-30B4-13FC0A09DE6A}"/>
                    </a:ext>
                  </a:extLst>
                </p:cNvPr>
                <p:cNvSpPr>
                  <a:spLocks noEditPoints="1"/>
                </p:cNvSpPr>
                <p:nvPr/>
              </p:nvSpPr>
              <p:spPr bwMode="auto">
                <a:xfrm>
                  <a:off x="7540625" y="4498976"/>
                  <a:ext cx="1090613" cy="939800"/>
                </a:xfrm>
                <a:custGeom>
                  <a:avLst/>
                  <a:gdLst>
                    <a:gd name="T0" fmla="*/ 661 w 687"/>
                    <a:gd name="T1" fmla="*/ 69 h 592"/>
                    <a:gd name="T2" fmla="*/ 617 w 687"/>
                    <a:gd name="T3" fmla="*/ 71 h 592"/>
                    <a:gd name="T4" fmla="*/ 607 w 687"/>
                    <a:gd name="T5" fmla="*/ 71 h 592"/>
                    <a:gd name="T6" fmla="*/ 684 w 687"/>
                    <a:gd name="T7" fmla="*/ 61 h 592"/>
                    <a:gd name="T8" fmla="*/ 676 w 687"/>
                    <a:gd name="T9" fmla="*/ 69 h 592"/>
                    <a:gd name="T10" fmla="*/ 672 w 687"/>
                    <a:gd name="T11" fmla="*/ 61 h 592"/>
                    <a:gd name="T12" fmla="*/ 664 w 687"/>
                    <a:gd name="T13" fmla="*/ 60 h 592"/>
                    <a:gd name="T14" fmla="*/ 641 w 687"/>
                    <a:gd name="T15" fmla="*/ 77 h 592"/>
                    <a:gd name="T16" fmla="*/ 650 w 687"/>
                    <a:gd name="T17" fmla="*/ 63 h 592"/>
                    <a:gd name="T18" fmla="*/ 618 w 687"/>
                    <a:gd name="T19" fmla="*/ 60 h 592"/>
                    <a:gd name="T20" fmla="*/ 340 w 687"/>
                    <a:gd name="T21" fmla="*/ 0 h 592"/>
                    <a:gd name="T22" fmla="*/ 373 w 687"/>
                    <a:gd name="T23" fmla="*/ 26 h 592"/>
                    <a:gd name="T24" fmla="*/ 388 w 687"/>
                    <a:gd name="T25" fmla="*/ 37 h 592"/>
                    <a:gd name="T26" fmla="*/ 417 w 687"/>
                    <a:gd name="T27" fmla="*/ 61 h 592"/>
                    <a:gd name="T28" fmla="*/ 456 w 687"/>
                    <a:gd name="T29" fmla="*/ 87 h 592"/>
                    <a:gd name="T30" fmla="*/ 477 w 687"/>
                    <a:gd name="T31" fmla="*/ 77 h 592"/>
                    <a:gd name="T32" fmla="*/ 482 w 687"/>
                    <a:gd name="T33" fmla="*/ 94 h 592"/>
                    <a:gd name="T34" fmla="*/ 568 w 687"/>
                    <a:gd name="T35" fmla="*/ 75 h 592"/>
                    <a:gd name="T36" fmla="*/ 584 w 687"/>
                    <a:gd name="T37" fmla="*/ 69 h 592"/>
                    <a:gd name="T38" fmla="*/ 597 w 687"/>
                    <a:gd name="T39" fmla="*/ 77 h 592"/>
                    <a:gd name="T40" fmla="*/ 618 w 687"/>
                    <a:gd name="T41" fmla="*/ 91 h 592"/>
                    <a:gd name="T42" fmla="*/ 598 w 687"/>
                    <a:gd name="T43" fmla="*/ 103 h 592"/>
                    <a:gd name="T44" fmla="*/ 603 w 687"/>
                    <a:gd name="T45" fmla="*/ 121 h 592"/>
                    <a:gd name="T46" fmla="*/ 581 w 687"/>
                    <a:gd name="T47" fmla="*/ 135 h 592"/>
                    <a:gd name="T48" fmla="*/ 586 w 687"/>
                    <a:gd name="T49" fmla="*/ 171 h 592"/>
                    <a:gd name="T50" fmla="*/ 604 w 687"/>
                    <a:gd name="T51" fmla="*/ 161 h 592"/>
                    <a:gd name="T52" fmla="*/ 638 w 687"/>
                    <a:gd name="T53" fmla="*/ 146 h 592"/>
                    <a:gd name="T54" fmla="*/ 551 w 687"/>
                    <a:gd name="T55" fmla="*/ 255 h 592"/>
                    <a:gd name="T56" fmla="*/ 535 w 687"/>
                    <a:gd name="T57" fmla="*/ 307 h 592"/>
                    <a:gd name="T58" fmla="*/ 546 w 687"/>
                    <a:gd name="T59" fmla="*/ 352 h 592"/>
                    <a:gd name="T60" fmla="*/ 548 w 687"/>
                    <a:gd name="T61" fmla="*/ 363 h 592"/>
                    <a:gd name="T62" fmla="*/ 552 w 687"/>
                    <a:gd name="T63" fmla="*/ 384 h 592"/>
                    <a:gd name="T64" fmla="*/ 545 w 687"/>
                    <a:gd name="T65" fmla="*/ 380 h 592"/>
                    <a:gd name="T66" fmla="*/ 537 w 687"/>
                    <a:gd name="T67" fmla="*/ 394 h 592"/>
                    <a:gd name="T68" fmla="*/ 552 w 687"/>
                    <a:gd name="T69" fmla="*/ 397 h 592"/>
                    <a:gd name="T70" fmla="*/ 552 w 687"/>
                    <a:gd name="T71" fmla="*/ 452 h 592"/>
                    <a:gd name="T72" fmla="*/ 540 w 687"/>
                    <a:gd name="T73" fmla="*/ 489 h 592"/>
                    <a:gd name="T74" fmla="*/ 517 w 687"/>
                    <a:gd name="T75" fmla="*/ 555 h 592"/>
                    <a:gd name="T76" fmla="*/ 515 w 687"/>
                    <a:gd name="T77" fmla="*/ 580 h 592"/>
                    <a:gd name="T78" fmla="*/ 296 w 687"/>
                    <a:gd name="T79" fmla="*/ 537 h 592"/>
                    <a:gd name="T80" fmla="*/ 225 w 687"/>
                    <a:gd name="T81" fmla="*/ 463 h 592"/>
                    <a:gd name="T82" fmla="*/ 133 w 687"/>
                    <a:gd name="T83" fmla="*/ 440 h 592"/>
                    <a:gd name="T84" fmla="*/ 6 w 687"/>
                    <a:gd name="T85" fmla="*/ 401 h 592"/>
                    <a:gd name="T86" fmla="*/ 0 w 687"/>
                    <a:gd name="T87" fmla="*/ 378 h 592"/>
                    <a:gd name="T88" fmla="*/ 63 w 687"/>
                    <a:gd name="T89" fmla="*/ 378 h 592"/>
                    <a:gd name="T90" fmla="*/ 146 w 687"/>
                    <a:gd name="T91" fmla="*/ 334 h 592"/>
                    <a:gd name="T92" fmla="*/ 232 w 687"/>
                    <a:gd name="T93" fmla="*/ 311 h 592"/>
                    <a:gd name="T94" fmla="*/ 293 w 687"/>
                    <a:gd name="T95" fmla="*/ 264 h 592"/>
                    <a:gd name="T96" fmla="*/ 316 w 687"/>
                    <a:gd name="T97" fmla="*/ 217 h 592"/>
                    <a:gd name="T98" fmla="*/ 310 w 687"/>
                    <a:gd name="T99" fmla="*/ 164 h 592"/>
                    <a:gd name="T100" fmla="*/ 301 w 687"/>
                    <a:gd name="T101" fmla="*/ 103 h 592"/>
                    <a:gd name="T102" fmla="*/ 241 w 687"/>
                    <a:gd name="T103" fmla="*/ 54 h 592"/>
                    <a:gd name="T104" fmla="*/ 287 w 687"/>
                    <a:gd name="T105" fmla="*/ 23 h 592"/>
                    <a:gd name="T106" fmla="*/ 316 w 687"/>
                    <a:gd name="T107"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7" h="592">
                      <a:moveTo>
                        <a:pt x="663" y="64"/>
                      </a:moveTo>
                      <a:lnTo>
                        <a:pt x="670" y="69"/>
                      </a:lnTo>
                      <a:lnTo>
                        <a:pt x="667" y="77"/>
                      </a:lnTo>
                      <a:lnTo>
                        <a:pt x="666" y="71"/>
                      </a:lnTo>
                      <a:lnTo>
                        <a:pt x="666" y="66"/>
                      </a:lnTo>
                      <a:lnTo>
                        <a:pt x="661" y="69"/>
                      </a:lnTo>
                      <a:lnTo>
                        <a:pt x="660" y="74"/>
                      </a:lnTo>
                      <a:lnTo>
                        <a:pt x="660" y="67"/>
                      </a:lnTo>
                      <a:lnTo>
                        <a:pt x="663" y="64"/>
                      </a:lnTo>
                      <a:close/>
                      <a:moveTo>
                        <a:pt x="614" y="69"/>
                      </a:moveTo>
                      <a:lnTo>
                        <a:pt x="617" y="69"/>
                      </a:lnTo>
                      <a:lnTo>
                        <a:pt x="617" y="71"/>
                      </a:lnTo>
                      <a:lnTo>
                        <a:pt x="611" y="77"/>
                      </a:lnTo>
                      <a:lnTo>
                        <a:pt x="612" y="71"/>
                      </a:lnTo>
                      <a:lnTo>
                        <a:pt x="612" y="72"/>
                      </a:lnTo>
                      <a:lnTo>
                        <a:pt x="611" y="69"/>
                      </a:lnTo>
                      <a:lnTo>
                        <a:pt x="607" y="71"/>
                      </a:lnTo>
                      <a:lnTo>
                        <a:pt x="607" y="71"/>
                      </a:lnTo>
                      <a:lnTo>
                        <a:pt x="617" y="61"/>
                      </a:lnTo>
                      <a:lnTo>
                        <a:pt x="620" y="61"/>
                      </a:lnTo>
                      <a:lnTo>
                        <a:pt x="614" y="69"/>
                      </a:lnTo>
                      <a:close/>
                      <a:moveTo>
                        <a:pt x="672" y="61"/>
                      </a:moveTo>
                      <a:lnTo>
                        <a:pt x="680" y="67"/>
                      </a:lnTo>
                      <a:lnTo>
                        <a:pt x="684" y="61"/>
                      </a:lnTo>
                      <a:lnTo>
                        <a:pt x="687" y="63"/>
                      </a:lnTo>
                      <a:lnTo>
                        <a:pt x="670" y="86"/>
                      </a:lnTo>
                      <a:lnTo>
                        <a:pt x="657" y="104"/>
                      </a:lnTo>
                      <a:lnTo>
                        <a:pt x="661" y="97"/>
                      </a:lnTo>
                      <a:lnTo>
                        <a:pt x="678" y="72"/>
                      </a:lnTo>
                      <a:lnTo>
                        <a:pt x="676" y="69"/>
                      </a:lnTo>
                      <a:lnTo>
                        <a:pt x="672" y="69"/>
                      </a:lnTo>
                      <a:lnTo>
                        <a:pt x="672" y="66"/>
                      </a:lnTo>
                      <a:lnTo>
                        <a:pt x="667" y="61"/>
                      </a:lnTo>
                      <a:lnTo>
                        <a:pt x="666" y="63"/>
                      </a:lnTo>
                      <a:lnTo>
                        <a:pt x="666" y="60"/>
                      </a:lnTo>
                      <a:lnTo>
                        <a:pt x="672" y="61"/>
                      </a:lnTo>
                      <a:close/>
                      <a:moveTo>
                        <a:pt x="632" y="54"/>
                      </a:moveTo>
                      <a:lnTo>
                        <a:pt x="643" y="54"/>
                      </a:lnTo>
                      <a:lnTo>
                        <a:pt x="652" y="57"/>
                      </a:lnTo>
                      <a:lnTo>
                        <a:pt x="653" y="60"/>
                      </a:lnTo>
                      <a:lnTo>
                        <a:pt x="661" y="58"/>
                      </a:lnTo>
                      <a:lnTo>
                        <a:pt x="664" y="60"/>
                      </a:lnTo>
                      <a:lnTo>
                        <a:pt x="661" y="64"/>
                      </a:lnTo>
                      <a:lnTo>
                        <a:pt x="660" y="63"/>
                      </a:lnTo>
                      <a:lnTo>
                        <a:pt x="658" y="63"/>
                      </a:lnTo>
                      <a:lnTo>
                        <a:pt x="653" y="66"/>
                      </a:lnTo>
                      <a:lnTo>
                        <a:pt x="640" y="75"/>
                      </a:lnTo>
                      <a:lnTo>
                        <a:pt x="641" y="77"/>
                      </a:lnTo>
                      <a:lnTo>
                        <a:pt x="624" y="91"/>
                      </a:lnTo>
                      <a:lnTo>
                        <a:pt x="624" y="92"/>
                      </a:lnTo>
                      <a:lnTo>
                        <a:pt x="621" y="95"/>
                      </a:lnTo>
                      <a:lnTo>
                        <a:pt x="618" y="91"/>
                      </a:lnTo>
                      <a:lnTo>
                        <a:pt x="626" y="81"/>
                      </a:lnTo>
                      <a:lnTo>
                        <a:pt x="650" y="63"/>
                      </a:lnTo>
                      <a:lnTo>
                        <a:pt x="644" y="55"/>
                      </a:lnTo>
                      <a:lnTo>
                        <a:pt x="641" y="55"/>
                      </a:lnTo>
                      <a:lnTo>
                        <a:pt x="637" y="54"/>
                      </a:lnTo>
                      <a:lnTo>
                        <a:pt x="624" y="58"/>
                      </a:lnTo>
                      <a:lnTo>
                        <a:pt x="621" y="61"/>
                      </a:lnTo>
                      <a:lnTo>
                        <a:pt x="618" y="60"/>
                      </a:lnTo>
                      <a:lnTo>
                        <a:pt x="620" y="57"/>
                      </a:lnTo>
                      <a:lnTo>
                        <a:pt x="632" y="54"/>
                      </a:lnTo>
                      <a:close/>
                      <a:moveTo>
                        <a:pt x="316" y="0"/>
                      </a:moveTo>
                      <a:lnTo>
                        <a:pt x="333" y="4"/>
                      </a:lnTo>
                      <a:lnTo>
                        <a:pt x="337" y="3"/>
                      </a:lnTo>
                      <a:lnTo>
                        <a:pt x="340" y="0"/>
                      </a:lnTo>
                      <a:lnTo>
                        <a:pt x="348" y="1"/>
                      </a:lnTo>
                      <a:lnTo>
                        <a:pt x="363" y="12"/>
                      </a:lnTo>
                      <a:lnTo>
                        <a:pt x="359" y="17"/>
                      </a:lnTo>
                      <a:lnTo>
                        <a:pt x="359" y="21"/>
                      </a:lnTo>
                      <a:lnTo>
                        <a:pt x="367" y="27"/>
                      </a:lnTo>
                      <a:lnTo>
                        <a:pt x="373" y="26"/>
                      </a:lnTo>
                      <a:lnTo>
                        <a:pt x="373" y="21"/>
                      </a:lnTo>
                      <a:lnTo>
                        <a:pt x="374" y="20"/>
                      </a:lnTo>
                      <a:lnTo>
                        <a:pt x="391" y="21"/>
                      </a:lnTo>
                      <a:lnTo>
                        <a:pt x="391" y="26"/>
                      </a:lnTo>
                      <a:lnTo>
                        <a:pt x="390" y="29"/>
                      </a:lnTo>
                      <a:lnTo>
                        <a:pt x="388" y="37"/>
                      </a:lnTo>
                      <a:lnTo>
                        <a:pt x="394" y="38"/>
                      </a:lnTo>
                      <a:lnTo>
                        <a:pt x="390" y="46"/>
                      </a:lnTo>
                      <a:lnTo>
                        <a:pt x="413" y="57"/>
                      </a:lnTo>
                      <a:lnTo>
                        <a:pt x="411" y="58"/>
                      </a:lnTo>
                      <a:lnTo>
                        <a:pt x="417" y="60"/>
                      </a:lnTo>
                      <a:lnTo>
                        <a:pt x="417" y="61"/>
                      </a:lnTo>
                      <a:lnTo>
                        <a:pt x="422" y="63"/>
                      </a:lnTo>
                      <a:lnTo>
                        <a:pt x="422" y="69"/>
                      </a:lnTo>
                      <a:lnTo>
                        <a:pt x="448" y="72"/>
                      </a:lnTo>
                      <a:lnTo>
                        <a:pt x="440" y="83"/>
                      </a:lnTo>
                      <a:lnTo>
                        <a:pt x="443" y="84"/>
                      </a:lnTo>
                      <a:lnTo>
                        <a:pt x="456" y="87"/>
                      </a:lnTo>
                      <a:lnTo>
                        <a:pt x="457" y="81"/>
                      </a:lnTo>
                      <a:lnTo>
                        <a:pt x="468" y="83"/>
                      </a:lnTo>
                      <a:lnTo>
                        <a:pt x="469" y="78"/>
                      </a:lnTo>
                      <a:lnTo>
                        <a:pt x="471" y="78"/>
                      </a:lnTo>
                      <a:lnTo>
                        <a:pt x="472" y="77"/>
                      </a:lnTo>
                      <a:lnTo>
                        <a:pt x="477" y="77"/>
                      </a:lnTo>
                      <a:lnTo>
                        <a:pt x="479" y="77"/>
                      </a:lnTo>
                      <a:lnTo>
                        <a:pt x="475" y="81"/>
                      </a:lnTo>
                      <a:lnTo>
                        <a:pt x="480" y="83"/>
                      </a:lnTo>
                      <a:lnTo>
                        <a:pt x="480" y="87"/>
                      </a:lnTo>
                      <a:lnTo>
                        <a:pt x="483" y="89"/>
                      </a:lnTo>
                      <a:lnTo>
                        <a:pt x="482" y="94"/>
                      </a:lnTo>
                      <a:lnTo>
                        <a:pt x="489" y="89"/>
                      </a:lnTo>
                      <a:lnTo>
                        <a:pt x="503" y="89"/>
                      </a:lnTo>
                      <a:lnTo>
                        <a:pt x="505" y="77"/>
                      </a:lnTo>
                      <a:lnTo>
                        <a:pt x="522" y="80"/>
                      </a:lnTo>
                      <a:lnTo>
                        <a:pt x="563" y="74"/>
                      </a:lnTo>
                      <a:lnTo>
                        <a:pt x="568" y="75"/>
                      </a:lnTo>
                      <a:lnTo>
                        <a:pt x="568" y="64"/>
                      </a:lnTo>
                      <a:lnTo>
                        <a:pt x="574" y="64"/>
                      </a:lnTo>
                      <a:lnTo>
                        <a:pt x="578" y="61"/>
                      </a:lnTo>
                      <a:lnTo>
                        <a:pt x="581" y="61"/>
                      </a:lnTo>
                      <a:lnTo>
                        <a:pt x="584" y="64"/>
                      </a:lnTo>
                      <a:lnTo>
                        <a:pt x="584" y="69"/>
                      </a:lnTo>
                      <a:lnTo>
                        <a:pt x="587" y="72"/>
                      </a:lnTo>
                      <a:lnTo>
                        <a:pt x="591" y="72"/>
                      </a:lnTo>
                      <a:lnTo>
                        <a:pt x="594" y="69"/>
                      </a:lnTo>
                      <a:lnTo>
                        <a:pt x="595" y="71"/>
                      </a:lnTo>
                      <a:lnTo>
                        <a:pt x="595" y="71"/>
                      </a:lnTo>
                      <a:lnTo>
                        <a:pt x="597" y="77"/>
                      </a:lnTo>
                      <a:lnTo>
                        <a:pt x="600" y="80"/>
                      </a:lnTo>
                      <a:lnTo>
                        <a:pt x="601" y="91"/>
                      </a:lnTo>
                      <a:lnTo>
                        <a:pt x="604" y="94"/>
                      </a:lnTo>
                      <a:lnTo>
                        <a:pt x="607" y="91"/>
                      </a:lnTo>
                      <a:lnTo>
                        <a:pt x="609" y="92"/>
                      </a:lnTo>
                      <a:lnTo>
                        <a:pt x="618" y="91"/>
                      </a:lnTo>
                      <a:lnTo>
                        <a:pt x="620" y="95"/>
                      </a:lnTo>
                      <a:lnTo>
                        <a:pt x="598" y="115"/>
                      </a:lnTo>
                      <a:lnTo>
                        <a:pt x="606" y="103"/>
                      </a:lnTo>
                      <a:lnTo>
                        <a:pt x="604" y="100"/>
                      </a:lnTo>
                      <a:lnTo>
                        <a:pt x="601" y="100"/>
                      </a:lnTo>
                      <a:lnTo>
                        <a:pt x="598" y="103"/>
                      </a:lnTo>
                      <a:lnTo>
                        <a:pt x="591" y="103"/>
                      </a:lnTo>
                      <a:lnTo>
                        <a:pt x="589" y="112"/>
                      </a:lnTo>
                      <a:lnTo>
                        <a:pt x="592" y="118"/>
                      </a:lnTo>
                      <a:lnTo>
                        <a:pt x="591" y="124"/>
                      </a:lnTo>
                      <a:lnTo>
                        <a:pt x="595" y="127"/>
                      </a:lnTo>
                      <a:lnTo>
                        <a:pt x="603" y="121"/>
                      </a:lnTo>
                      <a:lnTo>
                        <a:pt x="603" y="123"/>
                      </a:lnTo>
                      <a:lnTo>
                        <a:pt x="591" y="134"/>
                      </a:lnTo>
                      <a:lnTo>
                        <a:pt x="587" y="134"/>
                      </a:lnTo>
                      <a:lnTo>
                        <a:pt x="586" y="131"/>
                      </a:lnTo>
                      <a:lnTo>
                        <a:pt x="580" y="131"/>
                      </a:lnTo>
                      <a:lnTo>
                        <a:pt x="581" y="135"/>
                      </a:lnTo>
                      <a:lnTo>
                        <a:pt x="574" y="143"/>
                      </a:lnTo>
                      <a:lnTo>
                        <a:pt x="577" y="147"/>
                      </a:lnTo>
                      <a:lnTo>
                        <a:pt x="583" y="140"/>
                      </a:lnTo>
                      <a:lnTo>
                        <a:pt x="589" y="138"/>
                      </a:lnTo>
                      <a:lnTo>
                        <a:pt x="597" y="141"/>
                      </a:lnTo>
                      <a:lnTo>
                        <a:pt x="586" y="171"/>
                      </a:lnTo>
                      <a:lnTo>
                        <a:pt x="587" y="180"/>
                      </a:lnTo>
                      <a:lnTo>
                        <a:pt x="586" y="186"/>
                      </a:lnTo>
                      <a:lnTo>
                        <a:pt x="589" y="189"/>
                      </a:lnTo>
                      <a:lnTo>
                        <a:pt x="591" y="191"/>
                      </a:lnTo>
                      <a:lnTo>
                        <a:pt x="595" y="177"/>
                      </a:lnTo>
                      <a:lnTo>
                        <a:pt x="604" y="161"/>
                      </a:lnTo>
                      <a:lnTo>
                        <a:pt x="621" y="144"/>
                      </a:lnTo>
                      <a:lnTo>
                        <a:pt x="624" y="137"/>
                      </a:lnTo>
                      <a:lnTo>
                        <a:pt x="629" y="132"/>
                      </a:lnTo>
                      <a:lnTo>
                        <a:pt x="647" y="126"/>
                      </a:lnTo>
                      <a:lnTo>
                        <a:pt x="652" y="118"/>
                      </a:lnTo>
                      <a:lnTo>
                        <a:pt x="638" y="146"/>
                      </a:lnTo>
                      <a:lnTo>
                        <a:pt x="626" y="167"/>
                      </a:lnTo>
                      <a:lnTo>
                        <a:pt x="584" y="217"/>
                      </a:lnTo>
                      <a:lnTo>
                        <a:pt x="574" y="234"/>
                      </a:lnTo>
                      <a:lnTo>
                        <a:pt x="571" y="237"/>
                      </a:lnTo>
                      <a:lnTo>
                        <a:pt x="561" y="254"/>
                      </a:lnTo>
                      <a:lnTo>
                        <a:pt x="551" y="255"/>
                      </a:lnTo>
                      <a:lnTo>
                        <a:pt x="545" y="261"/>
                      </a:lnTo>
                      <a:lnTo>
                        <a:pt x="543" y="261"/>
                      </a:lnTo>
                      <a:lnTo>
                        <a:pt x="538" y="266"/>
                      </a:lnTo>
                      <a:lnTo>
                        <a:pt x="541" y="267"/>
                      </a:lnTo>
                      <a:lnTo>
                        <a:pt x="535" y="284"/>
                      </a:lnTo>
                      <a:lnTo>
                        <a:pt x="535" y="307"/>
                      </a:lnTo>
                      <a:lnTo>
                        <a:pt x="538" y="321"/>
                      </a:lnTo>
                      <a:lnTo>
                        <a:pt x="546" y="329"/>
                      </a:lnTo>
                      <a:lnTo>
                        <a:pt x="548" y="335"/>
                      </a:lnTo>
                      <a:lnTo>
                        <a:pt x="548" y="346"/>
                      </a:lnTo>
                      <a:lnTo>
                        <a:pt x="552" y="350"/>
                      </a:lnTo>
                      <a:lnTo>
                        <a:pt x="546" y="352"/>
                      </a:lnTo>
                      <a:lnTo>
                        <a:pt x="545" y="355"/>
                      </a:lnTo>
                      <a:lnTo>
                        <a:pt x="548" y="357"/>
                      </a:lnTo>
                      <a:lnTo>
                        <a:pt x="548" y="358"/>
                      </a:lnTo>
                      <a:lnTo>
                        <a:pt x="543" y="357"/>
                      </a:lnTo>
                      <a:lnTo>
                        <a:pt x="541" y="360"/>
                      </a:lnTo>
                      <a:lnTo>
                        <a:pt x="548" y="363"/>
                      </a:lnTo>
                      <a:lnTo>
                        <a:pt x="549" y="366"/>
                      </a:lnTo>
                      <a:lnTo>
                        <a:pt x="552" y="366"/>
                      </a:lnTo>
                      <a:lnTo>
                        <a:pt x="545" y="367"/>
                      </a:lnTo>
                      <a:lnTo>
                        <a:pt x="546" y="370"/>
                      </a:lnTo>
                      <a:lnTo>
                        <a:pt x="548" y="369"/>
                      </a:lnTo>
                      <a:lnTo>
                        <a:pt x="552" y="384"/>
                      </a:lnTo>
                      <a:lnTo>
                        <a:pt x="551" y="384"/>
                      </a:lnTo>
                      <a:lnTo>
                        <a:pt x="551" y="381"/>
                      </a:lnTo>
                      <a:lnTo>
                        <a:pt x="548" y="381"/>
                      </a:lnTo>
                      <a:lnTo>
                        <a:pt x="548" y="384"/>
                      </a:lnTo>
                      <a:lnTo>
                        <a:pt x="546" y="384"/>
                      </a:lnTo>
                      <a:lnTo>
                        <a:pt x="545" y="380"/>
                      </a:lnTo>
                      <a:lnTo>
                        <a:pt x="548" y="378"/>
                      </a:lnTo>
                      <a:lnTo>
                        <a:pt x="546" y="374"/>
                      </a:lnTo>
                      <a:lnTo>
                        <a:pt x="543" y="375"/>
                      </a:lnTo>
                      <a:lnTo>
                        <a:pt x="543" y="389"/>
                      </a:lnTo>
                      <a:lnTo>
                        <a:pt x="535" y="390"/>
                      </a:lnTo>
                      <a:lnTo>
                        <a:pt x="537" y="394"/>
                      </a:lnTo>
                      <a:lnTo>
                        <a:pt x="541" y="390"/>
                      </a:lnTo>
                      <a:lnTo>
                        <a:pt x="543" y="394"/>
                      </a:lnTo>
                      <a:lnTo>
                        <a:pt x="546" y="394"/>
                      </a:lnTo>
                      <a:lnTo>
                        <a:pt x="546" y="392"/>
                      </a:lnTo>
                      <a:lnTo>
                        <a:pt x="552" y="392"/>
                      </a:lnTo>
                      <a:lnTo>
                        <a:pt x="552" y="397"/>
                      </a:lnTo>
                      <a:lnTo>
                        <a:pt x="543" y="398"/>
                      </a:lnTo>
                      <a:lnTo>
                        <a:pt x="541" y="404"/>
                      </a:lnTo>
                      <a:lnTo>
                        <a:pt x="543" y="415"/>
                      </a:lnTo>
                      <a:lnTo>
                        <a:pt x="552" y="440"/>
                      </a:lnTo>
                      <a:lnTo>
                        <a:pt x="551" y="447"/>
                      </a:lnTo>
                      <a:lnTo>
                        <a:pt x="552" y="452"/>
                      </a:lnTo>
                      <a:lnTo>
                        <a:pt x="549" y="457"/>
                      </a:lnTo>
                      <a:lnTo>
                        <a:pt x="548" y="463"/>
                      </a:lnTo>
                      <a:lnTo>
                        <a:pt x="541" y="472"/>
                      </a:lnTo>
                      <a:lnTo>
                        <a:pt x="541" y="478"/>
                      </a:lnTo>
                      <a:lnTo>
                        <a:pt x="540" y="483"/>
                      </a:lnTo>
                      <a:lnTo>
                        <a:pt x="540" y="489"/>
                      </a:lnTo>
                      <a:lnTo>
                        <a:pt x="531" y="503"/>
                      </a:lnTo>
                      <a:lnTo>
                        <a:pt x="528" y="514"/>
                      </a:lnTo>
                      <a:lnTo>
                        <a:pt x="529" y="527"/>
                      </a:lnTo>
                      <a:lnTo>
                        <a:pt x="523" y="534"/>
                      </a:lnTo>
                      <a:lnTo>
                        <a:pt x="522" y="552"/>
                      </a:lnTo>
                      <a:lnTo>
                        <a:pt x="517" y="555"/>
                      </a:lnTo>
                      <a:lnTo>
                        <a:pt x="518" y="555"/>
                      </a:lnTo>
                      <a:lnTo>
                        <a:pt x="517" y="560"/>
                      </a:lnTo>
                      <a:lnTo>
                        <a:pt x="522" y="561"/>
                      </a:lnTo>
                      <a:lnTo>
                        <a:pt x="518" y="563"/>
                      </a:lnTo>
                      <a:lnTo>
                        <a:pt x="518" y="567"/>
                      </a:lnTo>
                      <a:lnTo>
                        <a:pt x="515" y="580"/>
                      </a:lnTo>
                      <a:lnTo>
                        <a:pt x="518" y="589"/>
                      </a:lnTo>
                      <a:lnTo>
                        <a:pt x="465" y="592"/>
                      </a:lnTo>
                      <a:lnTo>
                        <a:pt x="425" y="581"/>
                      </a:lnTo>
                      <a:lnTo>
                        <a:pt x="380" y="578"/>
                      </a:lnTo>
                      <a:lnTo>
                        <a:pt x="330" y="555"/>
                      </a:lnTo>
                      <a:lnTo>
                        <a:pt x="296" y="537"/>
                      </a:lnTo>
                      <a:lnTo>
                        <a:pt x="285" y="530"/>
                      </a:lnTo>
                      <a:lnTo>
                        <a:pt x="279" y="501"/>
                      </a:lnTo>
                      <a:lnTo>
                        <a:pt x="268" y="477"/>
                      </a:lnTo>
                      <a:lnTo>
                        <a:pt x="265" y="454"/>
                      </a:lnTo>
                      <a:lnTo>
                        <a:pt x="255" y="440"/>
                      </a:lnTo>
                      <a:lnTo>
                        <a:pt x="225" y="463"/>
                      </a:lnTo>
                      <a:lnTo>
                        <a:pt x="190" y="467"/>
                      </a:lnTo>
                      <a:lnTo>
                        <a:pt x="182" y="470"/>
                      </a:lnTo>
                      <a:lnTo>
                        <a:pt x="172" y="467"/>
                      </a:lnTo>
                      <a:lnTo>
                        <a:pt x="158" y="430"/>
                      </a:lnTo>
                      <a:lnTo>
                        <a:pt x="146" y="420"/>
                      </a:lnTo>
                      <a:lnTo>
                        <a:pt x="133" y="440"/>
                      </a:lnTo>
                      <a:lnTo>
                        <a:pt x="78" y="435"/>
                      </a:lnTo>
                      <a:lnTo>
                        <a:pt x="49" y="440"/>
                      </a:lnTo>
                      <a:lnTo>
                        <a:pt x="38" y="424"/>
                      </a:lnTo>
                      <a:lnTo>
                        <a:pt x="32" y="415"/>
                      </a:lnTo>
                      <a:lnTo>
                        <a:pt x="6" y="406"/>
                      </a:lnTo>
                      <a:lnTo>
                        <a:pt x="6" y="401"/>
                      </a:lnTo>
                      <a:lnTo>
                        <a:pt x="1" y="394"/>
                      </a:lnTo>
                      <a:lnTo>
                        <a:pt x="0" y="390"/>
                      </a:lnTo>
                      <a:lnTo>
                        <a:pt x="3" y="387"/>
                      </a:lnTo>
                      <a:lnTo>
                        <a:pt x="1" y="386"/>
                      </a:lnTo>
                      <a:lnTo>
                        <a:pt x="0" y="378"/>
                      </a:lnTo>
                      <a:lnTo>
                        <a:pt x="0" y="378"/>
                      </a:lnTo>
                      <a:lnTo>
                        <a:pt x="8" y="372"/>
                      </a:lnTo>
                      <a:lnTo>
                        <a:pt x="15" y="370"/>
                      </a:lnTo>
                      <a:lnTo>
                        <a:pt x="23" y="370"/>
                      </a:lnTo>
                      <a:lnTo>
                        <a:pt x="32" y="377"/>
                      </a:lnTo>
                      <a:lnTo>
                        <a:pt x="47" y="375"/>
                      </a:lnTo>
                      <a:lnTo>
                        <a:pt x="63" y="378"/>
                      </a:lnTo>
                      <a:lnTo>
                        <a:pt x="70" y="378"/>
                      </a:lnTo>
                      <a:lnTo>
                        <a:pt x="83" y="369"/>
                      </a:lnTo>
                      <a:lnTo>
                        <a:pt x="92" y="363"/>
                      </a:lnTo>
                      <a:lnTo>
                        <a:pt x="98" y="355"/>
                      </a:lnTo>
                      <a:lnTo>
                        <a:pt x="129" y="338"/>
                      </a:lnTo>
                      <a:lnTo>
                        <a:pt x="146" y="334"/>
                      </a:lnTo>
                      <a:lnTo>
                        <a:pt x="173" y="338"/>
                      </a:lnTo>
                      <a:lnTo>
                        <a:pt x="179" y="338"/>
                      </a:lnTo>
                      <a:lnTo>
                        <a:pt x="204" y="317"/>
                      </a:lnTo>
                      <a:lnTo>
                        <a:pt x="210" y="314"/>
                      </a:lnTo>
                      <a:lnTo>
                        <a:pt x="221" y="311"/>
                      </a:lnTo>
                      <a:lnTo>
                        <a:pt x="232" y="311"/>
                      </a:lnTo>
                      <a:lnTo>
                        <a:pt x="242" y="307"/>
                      </a:lnTo>
                      <a:lnTo>
                        <a:pt x="255" y="309"/>
                      </a:lnTo>
                      <a:lnTo>
                        <a:pt x="261" y="309"/>
                      </a:lnTo>
                      <a:lnTo>
                        <a:pt x="268" y="303"/>
                      </a:lnTo>
                      <a:lnTo>
                        <a:pt x="285" y="278"/>
                      </a:lnTo>
                      <a:lnTo>
                        <a:pt x="293" y="264"/>
                      </a:lnTo>
                      <a:lnTo>
                        <a:pt x="294" y="258"/>
                      </a:lnTo>
                      <a:lnTo>
                        <a:pt x="294" y="258"/>
                      </a:lnTo>
                      <a:lnTo>
                        <a:pt x="296" y="246"/>
                      </a:lnTo>
                      <a:lnTo>
                        <a:pt x="302" y="237"/>
                      </a:lnTo>
                      <a:lnTo>
                        <a:pt x="311" y="226"/>
                      </a:lnTo>
                      <a:lnTo>
                        <a:pt x="316" y="217"/>
                      </a:lnTo>
                      <a:lnTo>
                        <a:pt x="328" y="207"/>
                      </a:lnTo>
                      <a:lnTo>
                        <a:pt x="330" y="201"/>
                      </a:lnTo>
                      <a:lnTo>
                        <a:pt x="327" y="194"/>
                      </a:lnTo>
                      <a:lnTo>
                        <a:pt x="324" y="175"/>
                      </a:lnTo>
                      <a:lnTo>
                        <a:pt x="321" y="172"/>
                      </a:lnTo>
                      <a:lnTo>
                        <a:pt x="310" y="164"/>
                      </a:lnTo>
                      <a:lnTo>
                        <a:pt x="307" y="160"/>
                      </a:lnTo>
                      <a:lnTo>
                        <a:pt x="302" y="143"/>
                      </a:lnTo>
                      <a:lnTo>
                        <a:pt x="293" y="127"/>
                      </a:lnTo>
                      <a:lnTo>
                        <a:pt x="293" y="121"/>
                      </a:lnTo>
                      <a:lnTo>
                        <a:pt x="298" y="112"/>
                      </a:lnTo>
                      <a:lnTo>
                        <a:pt x="301" y="103"/>
                      </a:lnTo>
                      <a:lnTo>
                        <a:pt x="296" y="89"/>
                      </a:lnTo>
                      <a:lnTo>
                        <a:pt x="293" y="84"/>
                      </a:lnTo>
                      <a:lnTo>
                        <a:pt x="276" y="69"/>
                      </a:lnTo>
                      <a:lnTo>
                        <a:pt x="262" y="69"/>
                      </a:lnTo>
                      <a:lnTo>
                        <a:pt x="256" y="60"/>
                      </a:lnTo>
                      <a:lnTo>
                        <a:pt x="241" y="54"/>
                      </a:lnTo>
                      <a:lnTo>
                        <a:pt x="236" y="43"/>
                      </a:lnTo>
                      <a:lnTo>
                        <a:pt x="239" y="23"/>
                      </a:lnTo>
                      <a:lnTo>
                        <a:pt x="239" y="23"/>
                      </a:lnTo>
                      <a:lnTo>
                        <a:pt x="245" y="17"/>
                      </a:lnTo>
                      <a:lnTo>
                        <a:pt x="268" y="12"/>
                      </a:lnTo>
                      <a:lnTo>
                        <a:pt x="287" y="23"/>
                      </a:lnTo>
                      <a:lnTo>
                        <a:pt x="293" y="23"/>
                      </a:lnTo>
                      <a:lnTo>
                        <a:pt x="298" y="20"/>
                      </a:lnTo>
                      <a:lnTo>
                        <a:pt x="301" y="23"/>
                      </a:lnTo>
                      <a:lnTo>
                        <a:pt x="305" y="15"/>
                      </a:lnTo>
                      <a:lnTo>
                        <a:pt x="313" y="11"/>
                      </a:lnTo>
                      <a:lnTo>
                        <a:pt x="316" y="0"/>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90" name="Covasna" descr="{&quot;Key&quot;:&quot;covasna&quot;,&quot;Name&quot;:&quot;Covasna&quot;,&quot;Value&quot;:1.0,&quot;Formula&quot;:&quot;&quot;,&quot;Text&quot;:&quot;1&quot;,&quot;OfficeApplication&quot;:0,&quot;HasValue&quot;:true}">
                  <a:extLst>
                    <a:ext uri="{FF2B5EF4-FFF2-40B4-BE49-F238E27FC236}">
                      <a16:creationId xmlns:a16="http://schemas.microsoft.com/office/drawing/2014/main" id="{B6872EEC-3ACC-7138-D56E-7055FAB4472B}"/>
                    </a:ext>
                  </a:extLst>
                </p:cNvPr>
                <p:cNvSpPr>
                  <a:spLocks/>
                </p:cNvSpPr>
                <p:nvPr/>
              </p:nvSpPr>
              <p:spPr bwMode="auto">
                <a:xfrm>
                  <a:off x="6383338" y="3165476"/>
                  <a:ext cx="630238" cy="695325"/>
                </a:xfrm>
                <a:custGeom>
                  <a:avLst/>
                  <a:gdLst>
                    <a:gd name="T0" fmla="*/ 23 w 397"/>
                    <a:gd name="T1" fmla="*/ 66 h 438"/>
                    <a:gd name="T2" fmla="*/ 37 w 397"/>
                    <a:gd name="T3" fmla="*/ 52 h 438"/>
                    <a:gd name="T4" fmla="*/ 74 w 397"/>
                    <a:gd name="T5" fmla="*/ 23 h 438"/>
                    <a:gd name="T6" fmla="*/ 103 w 397"/>
                    <a:gd name="T7" fmla="*/ 1 h 438"/>
                    <a:gd name="T8" fmla="*/ 121 w 397"/>
                    <a:gd name="T9" fmla="*/ 28 h 438"/>
                    <a:gd name="T10" fmla="*/ 129 w 397"/>
                    <a:gd name="T11" fmla="*/ 40 h 438"/>
                    <a:gd name="T12" fmla="*/ 138 w 397"/>
                    <a:gd name="T13" fmla="*/ 63 h 438"/>
                    <a:gd name="T14" fmla="*/ 157 w 397"/>
                    <a:gd name="T15" fmla="*/ 88 h 438"/>
                    <a:gd name="T16" fmla="*/ 189 w 397"/>
                    <a:gd name="T17" fmla="*/ 88 h 438"/>
                    <a:gd name="T18" fmla="*/ 221 w 397"/>
                    <a:gd name="T19" fmla="*/ 88 h 438"/>
                    <a:gd name="T20" fmla="*/ 255 w 397"/>
                    <a:gd name="T21" fmla="*/ 72 h 438"/>
                    <a:gd name="T22" fmla="*/ 289 w 397"/>
                    <a:gd name="T23" fmla="*/ 71 h 438"/>
                    <a:gd name="T24" fmla="*/ 296 w 397"/>
                    <a:gd name="T25" fmla="*/ 58 h 438"/>
                    <a:gd name="T26" fmla="*/ 324 w 397"/>
                    <a:gd name="T27" fmla="*/ 38 h 438"/>
                    <a:gd name="T28" fmla="*/ 325 w 397"/>
                    <a:gd name="T29" fmla="*/ 20 h 438"/>
                    <a:gd name="T30" fmla="*/ 353 w 397"/>
                    <a:gd name="T31" fmla="*/ 60 h 438"/>
                    <a:gd name="T32" fmla="*/ 373 w 397"/>
                    <a:gd name="T33" fmla="*/ 108 h 438"/>
                    <a:gd name="T34" fmla="*/ 390 w 397"/>
                    <a:gd name="T35" fmla="*/ 123 h 438"/>
                    <a:gd name="T36" fmla="*/ 397 w 397"/>
                    <a:gd name="T37" fmla="*/ 151 h 438"/>
                    <a:gd name="T38" fmla="*/ 379 w 397"/>
                    <a:gd name="T39" fmla="*/ 181 h 438"/>
                    <a:gd name="T40" fmla="*/ 377 w 397"/>
                    <a:gd name="T41" fmla="*/ 208 h 438"/>
                    <a:gd name="T42" fmla="*/ 374 w 397"/>
                    <a:gd name="T43" fmla="*/ 232 h 438"/>
                    <a:gd name="T44" fmla="*/ 376 w 397"/>
                    <a:gd name="T45" fmla="*/ 277 h 438"/>
                    <a:gd name="T46" fmla="*/ 373 w 397"/>
                    <a:gd name="T47" fmla="*/ 306 h 438"/>
                    <a:gd name="T48" fmla="*/ 354 w 397"/>
                    <a:gd name="T49" fmla="*/ 343 h 438"/>
                    <a:gd name="T50" fmla="*/ 345 w 397"/>
                    <a:gd name="T51" fmla="*/ 386 h 438"/>
                    <a:gd name="T52" fmla="*/ 319 w 397"/>
                    <a:gd name="T53" fmla="*/ 380 h 438"/>
                    <a:gd name="T54" fmla="*/ 292 w 397"/>
                    <a:gd name="T55" fmla="*/ 406 h 438"/>
                    <a:gd name="T56" fmla="*/ 258 w 397"/>
                    <a:gd name="T57" fmla="*/ 437 h 438"/>
                    <a:gd name="T58" fmla="*/ 258 w 397"/>
                    <a:gd name="T59" fmla="*/ 395 h 438"/>
                    <a:gd name="T60" fmla="*/ 229 w 397"/>
                    <a:gd name="T61" fmla="*/ 369 h 438"/>
                    <a:gd name="T62" fmla="*/ 213 w 397"/>
                    <a:gd name="T63" fmla="*/ 352 h 438"/>
                    <a:gd name="T64" fmla="*/ 187 w 397"/>
                    <a:gd name="T65" fmla="*/ 334 h 438"/>
                    <a:gd name="T66" fmla="*/ 164 w 397"/>
                    <a:gd name="T67" fmla="*/ 324 h 438"/>
                    <a:gd name="T68" fmla="*/ 153 w 397"/>
                    <a:gd name="T69" fmla="*/ 312 h 438"/>
                    <a:gd name="T70" fmla="*/ 143 w 397"/>
                    <a:gd name="T71" fmla="*/ 301 h 438"/>
                    <a:gd name="T72" fmla="*/ 120 w 397"/>
                    <a:gd name="T73" fmla="*/ 292 h 438"/>
                    <a:gd name="T74" fmla="*/ 106 w 397"/>
                    <a:gd name="T75" fmla="*/ 291 h 438"/>
                    <a:gd name="T76" fmla="*/ 92 w 397"/>
                    <a:gd name="T77" fmla="*/ 297 h 438"/>
                    <a:gd name="T78" fmla="*/ 91 w 397"/>
                    <a:gd name="T79" fmla="*/ 285 h 438"/>
                    <a:gd name="T80" fmla="*/ 81 w 397"/>
                    <a:gd name="T81" fmla="*/ 280 h 438"/>
                    <a:gd name="T82" fmla="*/ 77 w 397"/>
                    <a:gd name="T83" fmla="*/ 274 h 438"/>
                    <a:gd name="T84" fmla="*/ 64 w 397"/>
                    <a:gd name="T85" fmla="*/ 261 h 438"/>
                    <a:gd name="T86" fmla="*/ 49 w 397"/>
                    <a:gd name="T87" fmla="*/ 252 h 438"/>
                    <a:gd name="T88" fmla="*/ 49 w 397"/>
                    <a:gd name="T89" fmla="*/ 243 h 438"/>
                    <a:gd name="T90" fmla="*/ 49 w 397"/>
                    <a:gd name="T91" fmla="*/ 234 h 438"/>
                    <a:gd name="T92" fmla="*/ 60 w 397"/>
                    <a:gd name="T93" fmla="*/ 231 h 438"/>
                    <a:gd name="T94" fmla="*/ 46 w 397"/>
                    <a:gd name="T95" fmla="*/ 221 h 438"/>
                    <a:gd name="T96" fmla="*/ 45 w 397"/>
                    <a:gd name="T97" fmla="*/ 208 h 438"/>
                    <a:gd name="T98" fmla="*/ 40 w 397"/>
                    <a:gd name="T99" fmla="*/ 197 h 438"/>
                    <a:gd name="T100" fmla="*/ 38 w 397"/>
                    <a:gd name="T101" fmla="*/ 178 h 438"/>
                    <a:gd name="T102" fmla="*/ 51 w 397"/>
                    <a:gd name="T103" fmla="*/ 160 h 438"/>
                    <a:gd name="T104" fmla="*/ 52 w 397"/>
                    <a:gd name="T105" fmla="*/ 148 h 438"/>
                    <a:gd name="T106" fmla="*/ 37 w 397"/>
                    <a:gd name="T107" fmla="*/ 135 h 438"/>
                    <a:gd name="T108" fmla="*/ 15 w 397"/>
                    <a:gd name="T109" fmla="*/ 131 h 438"/>
                    <a:gd name="T110" fmla="*/ 0 w 397"/>
                    <a:gd name="T111" fmla="*/ 11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7" h="438">
                      <a:moveTo>
                        <a:pt x="5" y="97"/>
                      </a:moveTo>
                      <a:lnTo>
                        <a:pt x="17" y="91"/>
                      </a:lnTo>
                      <a:lnTo>
                        <a:pt x="25" y="72"/>
                      </a:lnTo>
                      <a:lnTo>
                        <a:pt x="23" y="66"/>
                      </a:lnTo>
                      <a:lnTo>
                        <a:pt x="26" y="61"/>
                      </a:lnTo>
                      <a:lnTo>
                        <a:pt x="26" y="58"/>
                      </a:lnTo>
                      <a:lnTo>
                        <a:pt x="26" y="57"/>
                      </a:lnTo>
                      <a:lnTo>
                        <a:pt x="37" y="52"/>
                      </a:lnTo>
                      <a:lnTo>
                        <a:pt x="40" y="46"/>
                      </a:lnTo>
                      <a:lnTo>
                        <a:pt x="51" y="41"/>
                      </a:lnTo>
                      <a:lnTo>
                        <a:pt x="61" y="26"/>
                      </a:lnTo>
                      <a:lnTo>
                        <a:pt x="74" y="23"/>
                      </a:lnTo>
                      <a:lnTo>
                        <a:pt x="89" y="14"/>
                      </a:lnTo>
                      <a:lnTo>
                        <a:pt x="92" y="11"/>
                      </a:lnTo>
                      <a:lnTo>
                        <a:pt x="97" y="0"/>
                      </a:lnTo>
                      <a:lnTo>
                        <a:pt x="103" y="1"/>
                      </a:lnTo>
                      <a:lnTo>
                        <a:pt x="107" y="1"/>
                      </a:lnTo>
                      <a:lnTo>
                        <a:pt x="118" y="11"/>
                      </a:lnTo>
                      <a:lnTo>
                        <a:pt x="112" y="18"/>
                      </a:lnTo>
                      <a:lnTo>
                        <a:pt x="121" y="28"/>
                      </a:lnTo>
                      <a:lnTo>
                        <a:pt x="120" y="31"/>
                      </a:lnTo>
                      <a:lnTo>
                        <a:pt x="126" y="34"/>
                      </a:lnTo>
                      <a:lnTo>
                        <a:pt x="126" y="38"/>
                      </a:lnTo>
                      <a:lnTo>
                        <a:pt x="129" y="40"/>
                      </a:lnTo>
                      <a:lnTo>
                        <a:pt x="138" y="52"/>
                      </a:lnTo>
                      <a:lnTo>
                        <a:pt x="138" y="55"/>
                      </a:lnTo>
                      <a:lnTo>
                        <a:pt x="141" y="57"/>
                      </a:lnTo>
                      <a:lnTo>
                        <a:pt x="138" y="63"/>
                      </a:lnTo>
                      <a:lnTo>
                        <a:pt x="141" y="63"/>
                      </a:lnTo>
                      <a:lnTo>
                        <a:pt x="143" y="68"/>
                      </a:lnTo>
                      <a:lnTo>
                        <a:pt x="155" y="80"/>
                      </a:lnTo>
                      <a:lnTo>
                        <a:pt x="157" y="88"/>
                      </a:lnTo>
                      <a:lnTo>
                        <a:pt x="160" y="92"/>
                      </a:lnTo>
                      <a:lnTo>
                        <a:pt x="163" y="94"/>
                      </a:lnTo>
                      <a:lnTo>
                        <a:pt x="178" y="94"/>
                      </a:lnTo>
                      <a:lnTo>
                        <a:pt x="189" y="88"/>
                      </a:lnTo>
                      <a:lnTo>
                        <a:pt x="196" y="89"/>
                      </a:lnTo>
                      <a:lnTo>
                        <a:pt x="213" y="86"/>
                      </a:lnTo>
                      <a:lnTo>
                        <a:pt x="218" y="91"/>
                      </a:lnTo>
                      <a:lnTo>
                        <a:pt x="221" y="88"/>
                      </a:lnTo>
                      <a:lnTo>
                        <a:pt x="229" y="89"/>
                      </a:lnTo>
                      <a:lnTo>
                        <a:pt x="233" y="83"/>
                      </a:lnTo>
                      <a:lnTo>
                        <a:pt x="235" y="69"/>
                      </a:lnTo>
                      <a:lnTo>
                        <a:pt x="255" y="72"/>
                      </a:lnTo>
                      <a:lnTo>
                        <a:pt x="259" y="68"/>
                      </a:lnTo>
                      <a:lnTo>
                        <a:pt x="267" y="69"/>
                      </a:lnTo>
                      <a:lnTo>
                        <a:pt x="273" y="65"/>
                      </a:lnTo>
                      <a:lnTo>
                        <a:pt x="289" y="71"/>
                      </a:lnTo>
                      <a:lnTo>
                        <a:pt x="290" y="69"/>
                      </a:lnTo>
                      <a:lnTo>
                        <a:pt x="290" y="61"/>
                      </a:lnTo>
                      <a:lnTo>
                        <a:pt x="293" y="58"/>
                      </a:lnTo>
                      <a:lnTo>
                        <a:pt x="296" y="58"/>
                      </a:lnTo>
                      <a:lnTo>
                        <a:pt x="304" y="61"/>
                      </a:lnTo>
                      <a:lnTo>
                        <a:pt x="310" y="46"/>
                      </a:lnTo>
                      <a:lnTo>
                        <a:pt x="319" y="45"/>
                      </a:lnTo>
                      <a:lnTo>
                        <a:pt x="324" y="38"/>
                      </a:lnTo>
                      <a:lnTo>
                        <a:pt x="322" y="29"/>
                      </a:lnTo>
                      <a:lnTo>
                        <a:pt x="325" y="26"/>
                      </a:lnTo>
                      <a:lnTo>
                        <a:pt x="325" y="20"/>
                      </a:lnTo>
                      <a:lnTo>
                        <a:pt x="325" y="20"/>
                      </a:lnTo>
                      <a:lnTo>
                        <a:pt x="335" y="21"/>
                      </a:lnTo>
                      <a:lnTo>
                        <a:pt x="348" y="28"/>
                      </a:lnTo>
                      <a:lnTo>
                        <a:pt x="356" y="46"/>
                      </a:lnTo>
                      <a:lnTo>
                        <a:pt x="353" y="60"/>
                      </a:lnTo>
                      <a:lnTo>
                        <a:pt x="359" y="72"/>
                      </a:lnTo>
                      <a:lnTo>
                        <a:pt x="356" y="92"/>
                      </a:lnTo>
                      <a:lnTo>
                        <a:pt x="359" y="98"/>
                      </a:lnTo>
                      <a:lnTo>
                        <a:pt x="373" y="108"/>
                      </a:lnTo>
                      <a:lnTo>
                        <a:pt x="390" y="106"/>
                      </a:lnTo>
                      <a:lnTo>
                        <a:pt x="396" y="117"/>
                      </a:lnTo>
                      <a:lnTo>
                        <a:pt x="390" y="120"/>
                      </a:lnTo>
                      <a:lnTo>
                        <a:pt x="390" y="123"/>
                      </a:lnTo>
                      <a:lnTo>
                        <a:pt x="394" y="131"/>
                      </a:lnTo>
                      <a:lnTo>
                        <a:pt x="396" y="137"/>
                      </a:lnTo>
                      <a:lnTo>
                        <a:pt x="396" y="137"/>
                      </a:lnTo>
                      <a:lnTo>
                        <a:pt x="397" y="151"/>
                      </a:lnTo>
                      <a:lnTo>
                        <a:pt x="393" y="161"/>
                      </a:lnTo>
                      <a:lnTo>
                        <a:pt x="396" y="168"/>
                      </a:lnTo>
                      <a:lnTo>
                        <a:pt x="387" y="177"/>
                      </a:lnTo>
                      <a:lnTo>
                        <a:pt x="379" y="181"/>
                      </a:lnTo>
                      <a:lnTo>
                        <a:pt x="376" y="186"/>
                      </a:lnTo>
                      <a:lnTo>
                        <a:pt x="376" y="194"/>
                      </a:lnTo>
                      <a:lnTo>
                        <a:pt x="374" y="197"/>
                      </a:lnTo>
                      <a:lnTo>
                        <a:pt x="377" y="208"/>
                      </a:lnTo>
                      <a:lnTo>
                        <a:pt x="373" y="209"/>
                      </a:lnTo>
                      <a:lnTo>
                        <a:pt x="370" y="217"/>
                      </a:lnTo>
                      <a:lnTo>
                        <a:pt x="371" y="226"/>
                      </a:lnTo>
                      <a:lnTo>
                        <a:pt x="374" y="232"/>
                      </a:lnTo>
                      <a:lnTo>
                        <a:pt x="368" y="251"/>
                      </a:lnTo>
                      <a:lnTo>
                        <a:pt x="371" y="257"/>
                      </a:lnTo>
                      <a:lnTo>
                        <a:pt x="370" y="266"/>
                      </a:lnTo>
                      <a:lnTo>
                        <a:pt x="376" y="277"/>
                      </a:lnTo>
                      <a:lnTo>
                        <a:pt x="376" y="277"/>
                      </a:lnTo>
                      <a:lnTo>
                        <a:pt x="373" y="288"/>
                      </a:lnTo>
                      <a:lnTo>
                        <a:pt x="376" y="295"/>
                      </a:lnTo>
                      <a:lnTo>
                        <a:pt x="373" y="306"/>
                      </a:lnTo>
                      <a:lnTo>
                        <a:pt x="374" y="314"/>
                      </a:lnTo>
                      <a:lnTo>
                        <a:pt x="361" y="320"/>
                      </a:lnTo>
                      <a:lnTo>
                        <a:pt x="361" y="328"/>
                      </a:lnTo>
                      <a:lnTo>
                        <a:pt x="354" y="343"/>
                      </a:lnTo>
                      <a:lnTo>
                        <a:pt x="354" y="349"/>
                      </a:lnTo>
                      <a:lnTo>
                        <a:pt x="350" y="360"/>
                      </a:lnTo>
                      <a:lnTo>
                        <a:pt x="351" y="374"/>
                      </a:lnTo>
                      <a:lnTo>
                        <a:pt x="345" y="386"/>
                      </a:lnTo>
                      <a:lnTo>
                        <a:pt x="341" y="388"/>
                      </a:lnTo>
                      <a:lnTo>
                        <a:pt x="333" y="398"/>
                      </a:lnTo>
                      <a:lnTo>
                        <a:pt x="321" y="388"/>
                      </a:lnTo>
                      <a:lnTo>
                        <a:pt x="319" y="380"/>
                      </a:lnTo>
                      <a:lnTo>
                        <a:pt x="305" y="378"/>
                      </a:lnTo>
                      <a:lnTo>
                        <a:pt x="295" y="386"/>
                      </a:lnTo>
                      <a:lnTo>
                        <a:pt x="292" y="401"/>
                      </a:lnTo>
                      <a:lnTo>
                        <a:pt x="292" y="406"/>
                      </a:lnTo>
                      <a:lnTo>
                        <a:pt x="275" y="435"/>
                      </a:lnTo>
                      <a:lnTo>
                        <a:pt x="265" y="437"/>
                      </a:lnTo>
                      <a:lnTo>
                        <a:pt x="264" y="438"/>
                      </a:lnTo>
                      <a:lnTo>
                        <a:pt x="258" y="437"/>
                      </a:lnTo>
                      <a:lnTo>
                        <a:pt x="258" y="437"/>
                      </a:lnTo>
                      <a:lnTo>
                        <a:pt x="261" y="418"/>
                      </a:lnTo>
                      <a:lnTo>
                        <a:pt x="258" y="414"/>
                      </a:lnTo>
                      <a:lnTo>
                        <a:pt x="258" y="395"/>
                      </a:lnTo>
                      <a:lnTo>
                        <a:pt x="244" y="384"/>
                      </a:lnTo>
                      <a:lnTo>
                        <a:pt x="242" y="380"/>
                      </a:lnTo>
                      <a:lnTo>
                        <a:pt x="226" y="380"/>
                      </a:lnTo>
                      <a:lnTo>
                        <a:pt x="229" y="369"/>
                      </a:lnTo>
                      <a:lnTo>
                        <a:pt x="206" y="361"/>
                      </a:lnTo>
                      <a:lnTo>
                        <a:pt x="207" y="360"/>
                      </a:lnTo>
                      <a:lnTo>
                        <a:pt x="209" y="355"/>
                      </a:lnTo>
                      <a:lnTo>
                        <a:pt x="213" y="352"/>
                      </a:lnTo>
                      <a:lnTo>
                        <a:pt x="207" y="340"/>
                      </a:lnTo>
                      <a:lnTo>
                        <a:pt x="195" y="337"/>
                      </a:lnTo>
                      <a:lnTo>
                        <a:pt x="190" y="332"/>
                      </a:lnTo>
                      <a:lnTo>
                        <a:pt x="187" y="334"/>
                      </a:lnTo>
                      <a:lnTo>
                        <a:pt x="187" y="329"/>
                      </a:lnTo>
                      <a:lnTo>
                        <a:pt x="186" y="328"/>
                      </a:lnTo>
                      <a:lnTo>
                        <a:pt x="167" y="329"/>
                      </a:lnTo>
                      <a:lnTo>
                        <a:pt x="164" y="324"/>
                      </a:lnTo>
                      <a:lnTo>
                        <a:pt x="161" y="323"/>
                      </a:lnTo>
                      <a:lnTo>
                        <a:pt x="161" y="320"/>
                      </a:lnTo>
                      <a:lnTo>
                        <a:pt x="157" y="318"/>
                      </a:lnTo>
                      <a:lnTo>
                        <a:pt x="153" y="312"/>
                      </a:lnTo>
                      <a:lnTo>
                        <a:pt x="150" y="312"/>
                      </a:lnTo>
                      <a:lnTo>
                        <a:pt x="150" y="304"/>
                      </a:lnTo>
                      <a:lnTo>
                        <a:pt x="143" y="304"/>
                      </a:lnTo>
                      <a:lnTo>
                        <a:pt x="143" y="301"/>
                      </a:lnTo>
                      <a:lnTo>
                        <a:pt x="137" y="298"/>
                      </a:lnTo>
                      <a:lnTo>
                        <a:pt x="127" y="300"/>
                      </a:lnTo>
                      <a:lnTo>
                        <a:pt x="123" y="298"/>
                      </a:lnTo>
                      <a:lnTo>
                        <a:pt x="120" y="292"/>
                      </a:lnTo>
                      <a:lnTo>
                        <a:pt x="115" y="289"/>
                      </a:lnTo>
                      <a:lnTo>
                        <a:pt x="112" y="289"/>
                      </a:lnTo>
                      <a:lnTo>
                        <a:pt x="111" y="292"/>
                      </a:lnTo>
                      <a:lnTo>
                        <a:pt x="106" y="291"/>
                      </a:lnTo>
                      <a:lnTo>
                        <a:pt x="103" y="291"/>
                      </a:lnTo>
                      <a:lnTo>
                        <a:pt x="100" y="298"/>
                      </a:lnTo>
                      <a:lnTo>
                        <a:pt x="94" y="300"/>
                      </a:lnTo>
                      <a:lnTo>
                        <a:pt x="92" y="297"/>
                      </a:lnTo>
                      <a:lnTo>
                        <a:pt x="94" y="291"/>
                      </a:lnTo>
                      <a:lnTo>
                        <a:pt x="91" y="291"/>
                      </a:lnTo>
                      <a:lnTo>
                        <a:pt x="89" y="288"/>
                      </a:lnTo>
                      <a:lnTo>
                        <a:pt x="91" y="285"/>
                      </a:lnTo>
                      <a:lnTo>
                        <a:pt x="84" y="280"/>
                      </a:lnTo>
                      <a:lnTo>
                        <a:pt x="83" y="283"/>
                      </a:lnTo>
                      <a:lnTo>
                        <a:pt x="81" y="275"/>
                      </a:lnTo>
                      <a:lnTo>
                        <a:pt x="81" y="280"/>
                      </a:lnTo>
                      <a:lnTo>
                        <a:pt x="77" y="275"/>
                      </a:lnTo>
                      <a:lnTo>
                        <a:pt x="80" y="274"/>
                      </a:lnTo>
                      <a:lnTo>
                        <a:pt x="80" y="272"/>
                      </a:lnTo>
                      <a:lnTo>
                        <a:pt x="77" y="274"/>
                      </a:lnTo>
                      <a:lnTo>
                        <a:pt x="75" y="271"/>
                      </a:lnTo>
                      <a:lnTo>
                        <a:pt x="72" y="272"/>
                      </a:lnTo>
                      <a:lnTo>
                        <a:pt x="69" y="263"/>
                      </a:lnTo>
                      <a:lnTo>
                        <a:pt x="64" y="261"/>
                      </a:lnTo>
                      <a:lnTo>
                        <a:pt x="64" y="260"/>
                      </a:lnTo>
                      <a:lnTo>
                        <a:pt x="61" y="263"/>
                      </a:lnTo>
                      <a:lnTo>
                        <a:pt x="54" y="260"/>
                      </a:lnTo>
                      <a:lnTo>
                        <a:pt x="49" y="252"/>
                      </a:lnTo>
                      <a:lnTo>
                        <a:pt x="51" y="249"/>
                      </a:lnTo>
                      <a:lnTo>
                        <a:pt x="49" y="246"/>
                      </a:lnTo>
                      <a:lnTo>
                        <a:pt x="51" y="246"/>
                      </a:lnTo>
                      <a:lnTo>
                        <a:pt x="49" y="243"/>
                      </a:lnTo>
                      <a:lnTo>
                        <a:pt x="52" y="241"/>
                      </a:lnTo>
                      <a:lnTo>
                        <a:pt x="52" y="238"/>
                      </a:lnTo>
                      <a:lnTo>
                        <a:pt x="49" y="237"/>
                      </a:lnTo>
                      <a:lnTo>
                        <a:pt x="49" y="234"/>
                      </a:lnTo>
                      <a:lnTo>
                        <a:pt x="46" y="232"/>
                      </a:lnTo>
                      <a:lnTo>
                        <a:pt x="49" y="231"/>
                      </a:lnTo>
                      <a:lnTo>
                        <a:pt x="55" y="232"/>
                      </a:lnTo>
                      <a:lnTo>
                        <a:pt x="60" y="231"/>
                      </a:lnTo>
                      <a:lnTo>
                        <a:pt x="63" y="225"/>
                      </a:lnTo>
                      <a:lnTo>
                        <a:pt x="60" y="223"/>
                      </a:lnTo>
                      <a:lnTo>
                        <a:pt x="57" y="220"/>
                      </a:lnTo>
                      <a:lnTo>
                        <a:pt x="46" y="221"/>
                      </a:lnTo>
                      <a:lnTo>
                        <a:pt x="43" y="220"/>
                      </a:lnTo>
                      <a:lnTo>
                        <a:pt x="43" y="215"/>
                      </a:lnTo>
                      <a:lnTo>
                        <a:pt x="46" y="212"/>
                      </a:lnTo>
                      <a:lnTo>
                        <a:pt x="45" y="208"/>
                      </a:lnTo>
                      <a:lnTo>
                        <a:pt x="41" y="205"/>
                      </a:lnTo>
                      <a:lnTo>
                        <a:pt x="41" y="203"/>
                      </a:lnTo>
                      <a:lnTo>
                        <a:pt x="40" y="201"/>
                      </a:lnTo>
                      <a:lnTo>
                        <a:pt x="40" y="197"/>
                      </a:lnTo>
                      <a:lnTo>
                        <a:pt x="38" y="195"/>
                      </a:lnTo>
                      <a:lnTo>
                        <a:pt x="41" y="195"/>
                      </a:lnTo>
                      <a:lnTo>
                        <a:pt x="41" y="192"/>
                      </a:lnTo>
                      <a:lnTo>
                        <a:pt x="38" y="178"/>
                      </a:lnTo>
                      <a:lnTo>
                        <a:pt x="41" y="165"/>
                      </a:lnTo>
                      <a:lnTo>
                        <a:pt x="46" y="166"/>
                      </a:lnTo>
                      <a:lnTo>
                        <a:pt x="46" y="161"/>
                      </a:lnTo>
                      <a:lnTo>
                        <a:pt x="51" y="160"/>
                      </a:lnTo>
                      <a:lnTo>
                        <a:pt x="52" y="154"/>
                      </a:lnTo>
                      <a:lnTo>
                        <a:pt x="55" y="149"/>
                      </a:lnTo>
                      <a:lnTo>
                        <a:pt x="55" y="148"/>
                      </a:lnTo>
                      <a:lnTo>
                        <a:pt x="52" y="148"/>
                      </a:lnTo>
                      <a:lnTo>
                        <a:pt x="51" y="145"/>
                      </a:lnTo>
                      <a:lnTo>
                        <a:pt x="49" y="145"/>
                      </a:lnTo>
                      <a:lnTo>
                        <a:pt x="43" y="132"/>
                      </a:lnTo>
                      <a:lnTo>
                        <a:pt x="37" y="135"/>
                      </a:lnTo>
                      <a:lnTo>
                        <a:pt x="32" y="134"/>
                      </a:lnTo>
                      <a:lnTo>
                        <a:pt x="26" y="135"/>
                      </a:lnTo>
                      <a:lnTo>
                        <a:pt x="20" y="140"/>
                      </a:lnTo>
                      <a:lnTo>
                        <a:pt x="15" y="131"/>
                      </a:lnTo>
                      <a:lnTo>
                        <a:pt x="12" y="129"/>
                      </a:lnTo>
                      <a:lnTo>
                        <a:pt x="11" y="125"/>
                      </a:lnTo>
                      <a:lnTo>
                        <a:pt x="3" y="121"/>
                      </a:lnTo>
                      <a:lnTo>
                        <a:pt x="0" y="115"/>
                      </a:lnTo>
                      <a:lnTo>
                        <a:pt x="3" y="112"/>
                      </a:lnTo>
                      <a:lnTo>
                        <a:pt x="5" y="106"/>
                      </a:lnTo>
                      <a:lnTo>
                        <a:pt x="5" y="97"/>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91" name="Dâmbovita" descr="{&quot;Key&quot;:&quot;dâmbovita&quot;,&quot;Name&quot;:&quot;Dâmbovita&quot;,&quot;Value&quot;:1.0,&quot;Formula&quot;:&quot;&quot;,&quot;Text&quot;:&quot;1&quot;,&quot;OfficeApplication&quot;:0,&quot;HasValue&quot;:true}">
                  <a:extLst>
                    <a:ext uri="{FF2B5EF4-FFF2-40B4-BE49-F238E27FC236}">
                      <a16:creationId xmlns:a16="http://schemas.microsoft.com/office/drawing/2014/main" id="{B964284D-A2BA-1383-55AB-BDD7E93D4E97}"/>
                    </a:ext>
                  </a:extLst>
                </p:cNvPr>
                <p:cNvSpPr>
                  <a:spLocks/>
                </p:cNvSpPr>
                <p:nvPr/>
              </p:nvSpPr>
              <p:spPr bwMode="auto">
                <a:xfrm>
                  <a:off x="6183313" y="3927476"/>
                  <a:ext cx="546100" cy="917575"/>
                </a:xfrm>
                <a:custGeom>
                  <a:avLst/>
                  <a:gdLst>
                    <a:gd name="T0" fmla="*/ 137 w 344"/>
                    <a:gd name="T1" fmla="*/ 38 h 578"/>
                    <a:gd name="T2" fmla="*/ 137 w 344"/>
                    <a:gd name="T3" fmla="*/ 57 h 578"/>
                    <a:gd name="T4" fmla="*/ 152 w 344"/>
                    <a:gd name="T5" fmla="*/ 71 h 578"/>
                    <a:gd name="T6" fmla="*/ 161 w 344"/>
                    <a:gd name="T7" fmla="*/ 104 h 578"/>
                    <a:gd name="T8" fmla="*/ 174 w 344"/>
                    <a:gd name="T9" fmla="*/ 157 h 578"/>
                    <a:gd name="T10" fmla="*/ 190 w 344"/>
                    <a:gd name="T11" fmla="*/ 180 h 578"/>
                    <a:gd name="T12" fmla="*/ 217 w 344"/>
                    <a:gd name="T13" fmla="*/ 206 h 578"/>
                    <a:gd name="T14" fmla="*/ 223 w 344"/>
                    <a:gd name="T15" fmla="*/ 234 h 578"/>
                    <a:gd name="T16" fmla="*/ 224 w 344"/>
                    <a:gd name="T17" fmla="*/ 274 h 578"/>
                    <a:gd name="T18" fmla="*/ 237 w 344"/>
                    <a:gd name="T19" fmla="*/ 269 h 578"/>
                    <a:gd name="T20" fmla="*/ 247 w 344"/>
                    <a:gd name="T21" fmla="*/ 280 h 578"/>
                    <a:gd name="T22" fmla="*/ 269 w 344"/>
                    <a:gd name="T23" fmla="*/ 292 h 578"/>
                    <a:gd name="T24" fmla="*/ 269 w 344"/>
                    <a:gd name="T25" fmla="*/ 306 h 578"/>
                    <a:gd name="T26" fmla="*/ 279 w 344"/>
                    <a:gd name="T27" fmla="*/ 346 h 578"/>
                    <a:gd name="T28" fmla="*/ 293 w 344"/>
                    <a:gd name="T29" fmla="*/ 344 h 578"/>
                    <a:gd name="T30" fmla="*/ 309 w 344"/>
                    <a:gd name="T31" fmla="*/ 364 h 578"/>
                    <a:gd name="T32" fmla="*/ 329 w 344"/>
                    <a:gd name="T33" fmla="*/ 389 h 578"/>
                    <a:gd name="T34" fmla="*/ 322 w 344"/>
                    <a:gd name="T35" fmla="*/ 418 h 578"/>
                    <a:gd name="T36" fmla="*/ 336 w 344"/>
                    <a:gd name="T37" fmla="*/ 415 h 578"/>
                    <a:gd name="T38" fmla="*/ 341 w 344"/>
                    <a:gd name="T39" fmla="*/ 415 h 578"/>
                    <a:gd name="T40" fmla="*/ 339 w 344"/>
                    <a:gd name="T41" fmla="*/ 424 h 578"/>
                    <a:gd name="T42" fmla="*/ 332 w 344"/>
                    <a:gd name="T43" fmla="*/ 440 h 578"/>
                    <a:gd name="T44" fmla="*/ 344 w 344"/>
                    <a:gd name="T45" fmla="*/ 464 h 578"/>
                    <a:gd name="T46" fmla="*/ 302 w 344"/>
                    <a:gd name="T47" fmla="*/ 484 h 578"/>
                    <a:gd name="T48" fmla="*/ 296 w 344"/>
                    <a:gd name="T49" fmla="*/ 489 h 578"/>
                    <a:gd name="T50" fmla="*/ 278 w 344"/>
                    <a:gd name="T51" fmla="*/ 504 h 578"/>
                    <a:gd name="T52" fmla="*/ 258 w 344"/>
                    <a:gd name="T53" fmla="*/ 511 h 578"/>
                    <a:gd name="T54" fmla="*/ 221 w 344"/>
                    <a:gd name="T55" fmla="*/ 515 h 578"/>
                    <a:gd name="T56" fmla="*/ 209 w 344"/>
                    <a:gd name="T57" fmla="*/ 504 h 578"/>
                    <a:gd name="T58" fmla="*/ 195 w 344"/>
                    <a:gd name="T59" fmla="*/ 501 h 578"/>
                    <a:gd name="T60" fmla="*/ 180 w 344"/>
                    <a:gd name="T61" fmla="*/ 509 h 578"/>
                    <a:gd name="T62" fmla="*/ 132 w 344"/>
                    <a:gd name="T63" fmla="*/ 544 h 578"/>
                    <a:gd name="T64" fmla="*/ 123 w 344"/>
                    <a:gd name="T65" fmla="*/ 524 h 578"/>
                    <a:gd name="T66" fmla="*/ 86 w 344"/>
                    <a:gd name="T67" fmla="*/ 521 h 578"/>
                    <a:gd name="T68" fmla="*/ 91 w 344"/>
                    <a:gd name="T69" fmla="*/ 552 h 578"/>
                    <a:gd name="T70" fmla="*/ 80 w 344"/>
                    <a:gd name="T71" fmla="*/ 557 h 578"/>
                    <a:gd name="T72" fmla="*/ 59 w 344"/>
                    <a:gd name="T73" fmla="*/ 577 h 578"/>
                    <a:gd name="T74" fmla="*/ 34 w 344"/>
                    <a:gd name="T75" fmla="*/ 558 h 578"/>
                    <a:gd name="T76" fmla="*/ 55 w 344"/>
                    <a:gd name="T77" fmla="*/ 546 h 578"/>
                    <a:gd name="T78" fmla="*/ 59 w 344"/>
                    <a:gd name="T79" fmla="*/ 515 h 578"/>
                    <a:gd name="T80" fmla="*/ 55 w 344"/>
                    <a:gd name="T81" fmla="*/ 497 h 578"/>
                    <a:gd name="T82" fmla="*/ 32 w 344"/>
                    <a:gd name="T83" fmla="*/ 472 h 578"/>
                    <a:gd name="T84" fmla="*/ 20 w 344"/>
                    <a:gd name="T85" fmla="*/ 437 h 578"/>
                    <a:gd name="T86" fmla="*/ 40 w 344"/>
                    <a:gd name="T87" fmla="*/ 417 h 578"/>
                    <a:gd name="T88" fmla="*/ 29 w 344"/>
                    <a:gd name="T89" fmla="*/ 361 h 578"/>
                    <a:gd name="T90" fmla="*/ 26 w 344"/>
                    <a:gd name="T91" fmla="*/ 338 h 578"/>
                    <a:gd name="T92" fmla="*/ 17 w 344"/>
                    <a:gd name="T93" fmla="*/ 284 h 578"/>
                    <a:gd name="T94" fmla="*/ 29 w 344"/>
                    <a:gd name="T95" fmla="*/ 246 h 578"/>
                    <a:gd name="T96" fmla="*/ 8 w 344"/>
                    <a:gd name="T97" fmla="*/ 226 h 578"/>
                    <a:gd name="T98" fmla="*/ 14 w 344"/>
                    <a:gd name="T99" fmla="*/ 206 h 578"/>
                    <a:gd name="T100" fmla="*/ 14 w 344"/>
                    <a:gd name="T101" fmla="*/ 181 h 578"/>
                    <a:gd name="T102" fmla="*/ 8 w 344"/>
                    <a:gd name="T103" fmla="*/ 168 h 578"/>
                    <a:gd name="T104" fmla="*/ 11 w 344"/>
                    <a:gd name="T105" fmla="*/ 138 h 578"/>
                    <a:gd name="T106" fmla="*/ 23 w 344"/>
                    <a:gd name="T107" fmla="*/ 134 h 578"/>
                    <a:gd name="T108" fmla="*/ 49 w 344"/>
                    <a:gd name="T109" fmla="*/ 135 h 578"/>
                    <a:gd name="T110" fmla="*/ 66 w 344"/>
                    <a:gd name="T111" fmla="*/ 123 h 578"/>
                    <a:gd name="T112" fmla="*/ 71 w 344"/>
                    <a:gd name="T113" fmla="*/ 78 h 578"/>
                    <a:gd name="T114" fmla="*/ 80 w 344"/>
                    <a:gd name="T115" fmla="*/ 49 h 578"/>
                    <a:gd name="T116" fmla="*/ 95 w 344"/>
                    <a:gd name="T117" fmla="*/ 29 h 578"/>
                    <a:gd name="T118" fmla="*/ 114 w 344"/>
                    <a:gd name="T119" fmla="*/ 8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4" h="578">
                      <a:moveTo>
                        <a:pt x="129" y="0"/>
                      </a:moveTo>
                      <a:lnTo>
                        <a:pt x="135" y="8"/>
                      </a:lnTo>
                      <a:lnTo>
                        <a:pt x="140" y="29"/>
                      </a:lnTo>
                      <a:lnTo>
                        <a:pt x="137" y="38"/>
                      </a:lnTo>
                      <a:lnTo>
                        <a:pt x="138" y="41"/>
                      </a:lnTo>
                      <a:lnTo>
                        <a:pt x="135" y="44"/>
                      </a:lnTo>
                      <a:lnTo>
                        <a:pt x="134" y="51"/>
                      </a:lnTo>
                      <a:lnTo>
                        <a:pt x="137" y="57"/>
                      </a:lnTo>
                      <a:lnTo>
                        <a:pt x="134" y="61"/>
                      </a:lnTo>
                      <a:lnTo>
                        <a:pt x="137" y="66"/>
                      </a:lnTo>
                      <a:lnTo>
                        <a:pt x="149" y="68"/>
                      </a:lnTo>
                      <a:lnTo>
                        <a:pt x="152" y="71"/>
                      </a:lnTo>
                      <a:lnTo>
                        <a:pt x="160" y="75"/>
                      </a:lnTo>
                      <a:lnTo>
                        <a:pt x="169" y="88"/>
                      </a:lnTo>
                      <a:lnTo>
                        <a:pt x="171" y="98"/>
                      </a:lnTo>
                      <a:lnTo>
                        <a:pt x="161" y="104"/>
                      </a:lnTo>
                      <a:lnTo>
                        <a:pt x="157" y="124"/>
                      </a:lnTo>
                      <a:lnTo>
                        <a:pt x="160" y="143"/>
                      </a:lnTo>
                      <a:lnTo>
                        <a:pt x="172" y="144"/>
                      </a:lnTo>
                      <a:lnTo>
                        <a:pt x="174" y="157"/>
                      </a:lnTo>
                      <a:lnTo>
                        <a:pt x="175" y="158"/>
                      </a:lnTo>
                      <a:lnTo>
                        <a:pt x="180" y="158"/>
                      </a:lnTo>
                      <a:lnTo>
                        <a:pt x="187" y="164"/>
                      </a:lnTo>
                      <a:lnTo>
                        <a:pt x="190" y="180"/>
                      </a:lnTo>
                      <a:lnTo>
                        <a:pt x="194" y="188"/>
                      </a:lnTo>
                      <a:lnTo>
                        <a:pt x="206" y="197"/>
                      </a:lnTo>
                      <a:lnTo>
                        <a:pt x="210" y="198"/>
                      </a:lnTo>
                      <a:lnTo>
                        <a:pt x="217" y="206"/>
                      </a:lnTo>
                      <a:lnTo>
                        <a:pt x="218" y="206"/>
                      </a:lnTo>
                      <a:lnTo>
                        <a:pt x="220" y="223"/>
                      </a:lnTo>
                      <a:lnTo>
                        <a:pt x="221" y="226"/>
                      </a:lnTo>
                      <a:lnTo>
                        <a:pt x="223" y="234"/>
                      </a:lnTo>
                      <a:lnTo>
                        <a:pt x="221" y="240"/>
                      </a:lnTo>
                      <a:lnTo>
                        <a:pt x="220" y="243"/>
                      </a:lnTo>
                      <a:lnTo>
                        <a:pt x="221" y="274"/>
                      </a:lnTo>
                      <a:lnTo>
                        <a:pt x="224" y="274"/>
                      </a:lnTo>
                      <a:lnTo>
                        <a:pt x="223" y="271"/>
                      </a:lnTo>
                      <a:lnTo>
                        <a:pt x="227" y="269"/>
                      </a:lnTo>
                      <a:lnTo>
                        <a:pt x="230" y="272"/>
                      </a:lnTo>
                      <a:lnTo>
                        <a:pt x="237" y="269"/>
                      </a:lnTo>
                      <a:lnTo>
                        <a:pt x="241" y="271"/>
                      </a:lnTo>
                      <a:lnTo>
                        <a:pt x="243" y="274"/>
                      </a:lnTo>
                      <a:lnTo>
                        <a:pt x="246" y="275"/>
                      </a:lnTo>
                      <a:lnTo>
                        <a:pt x="247" y="280"/>
                      </a:lnTo>
                      <a:lnTo>
                        <a:pt x="260" y="278"/>
                      </a:lnTo>
                      <a:lnTo>
                        <a:pt x="260" y="280"/>
                      </a:lnTo>
                      <a:lnTo>
                        <a:pt x="267" y="287"/>
                      </a:lnTo>
                      <a:lnTo>
                        <a:pt x="269" y="292"/>
                      </a:lnTo>
                      <a:lnTo>
                        <a:pt x="270" y="291"/>
                      </a:lnTo>
                      <a:lnTo>
                        <a:pt x="276" y="298"/>
                      </a:lnTo>
                      <a:lnTo>
                        <a:pt x="275" y="303"/>
                      </a:lnTo>
                      <a:lnTo>
                        <a:pt x="269" y="306"/>
                      </a:lnTo>
                      <a:lnTo>
                        <a:pt x="273" y="318"/>
                      </a:lnTo>
                      <a:lnTo>
                        <a:pt x="264" y="331"/>
                      </a:lnTo>
                      <a:lnTo>
                        <a:pt x="267" y="337"/>
                      </a:lnTo>
                      <a:lnTo>
                        <a:pt x="279" y="346"/>
                      </a:lnTo>
                      <a:lnTo>
                        <a:pt x="283" y="351"/>
                      </a:lnTo>
                      <a:lnTo>
                        <a:pt x="286" y="347"/>
                      </a:lnTo>
                      <a:lnTo>
                        <a:pt x="289" y="349"/>
                      </a:lnTo>
                      <a:lnTo>
                        <a:pt x="293" y="344"/>
                      </a:lnTo>
                      <a:lnTo>
                        <a:pt x="298" y="344"/>
                      </a:lnTo>
                      <a:lnTo>
                        <a:pt x="298" y="349"/>
                      </a:lnTo>
                      <a:lnTo>
                        <a:pt x="301" y="351"/>
                      </a:lnTo>
                      <a:lnTo>
                        <a:pt x="309" y="364"/>
                      </a:lnTo>
                      <a:lnTo>
                        <a:pt x="321" y="378"/>
                      </a:lnTo>
                      <a:lnTo>
                        <a:pt x="319" y="380"/>
                      </a:lnTo>
                      <a:lnTo>
                        <a:pt x="322" y="381"/>
                      </a:lnTo>
                      <a:lnTo>
                        <a:pt x="329" y="389"/>
                      </a:lnTo>
                      <a:lnTo>
                        <a:pt x="327" y="395"/>
                      </a:lnTo>
                      <a:lnTo>
                        <a:pt x="313" y="404"/>
                      </a:lnTo>
                      <a:lnTo>
                        <a:pt x="319" y="417"/>
                      </a:lnTo>
                      <a:lnTo>
                        <a:pt x="322" y="418"/>
                      </a:lnTo>
                      <a:lnTo>
                        <a:pt x="329" y="404"/>
                      </a:lnTo>
                      <a:lnTo>
                        <a:pt x="336" y="404"/>
                      </a:lnTo>
                      <a:lnTo>
                        <a:pt x="336" y="404"/>
                      </a:lnTo>
                      <a:lnTo>
                        <a:pt x="336" y="415"/>
                      </a:lnTo>
                      <a:lnTo>
                        <a:pt x="336" y="415"/>
                      </a:lnTo>
                      <a:lnTo>
                        <a:pt x="338" y="417"/>
                      </a:lnTo>
                      <a:lnTo>
                        <a:pt x="341" y="415"/>
                      </a:lnTo>
                      <a:lnTo>
                        <a:pt x="341" y="415"/>
                      </a:lnTo>
                      <a:lnTo>
                        <a:pt x="342" y="418"/>
                      </a:lnTo>
                      <a:lnTo>
                        <a:pt x="338" y="423"/>
                      </a:lnTo>
                      <a:lnTo>
                        <a:pt x="338" y="423"/>
                      </a:lnTo>
                      <a:lnTo>
                        <a:pt x="339" y="424"/>
                      </a:lnTo>
                      <a:lnTo>
                        <a:pt x="336" y="424"/>
                      </a:lnTo>
                      <a:lnTo>
                        <a:pt x="339" y="434"/>
                      </a:lnTo>
                      <a:lnTo>
                        <a:pt x="336" y="438"/>
                      </a:lnTo>
                      <a:lnTo>
                        <a:pt x="332" y="440"/>
                      </a:lnTo>
                      <a:lnTo>
                        <a:pt x="324" y="440"/>
                      </a:lnTo>
                      <a:lnTo>
                        <a:pt x="322" y="446"/>
                      </a:lnTo>
                      <a:lnTo>
                        <a:pt x="341" y="458"/>
                      </a:lnTo>
                      <a:lnTo>
                        <a:pt x="344" y="464"/>
                      </a:lnTo>
                      <a:lnTo>
                        <a:pt x="327" y="483"/>
                      </a:lnTo>
                      <a:lnTo>
                        <a:pt x="310" y="492"/>
                      </a:lnTo>
                      <a:lnTo>
                        <a:pt x="310" y="492"/>
                      </a:lnTo>
                      <a:lnTo>
                        <a:pt x="302" y="484"/>
                      </a:lnTo>
                      <a:lnTo>
                        <a:pt x="298" y="481"/>
                      </a:lnTo>
                      <a:lnTo>
                        <a:pt x="293" y="487"/>
                      </a:lnTo>
                      <a:lnTo>
                        <a:pt x="293" y="487"/>
                      </a:lnTo>
                      <a:lnTo>
                        <a:pt x="296" y="489"/>
                      </a:lnTo>
                      <a:lnTo>
                        <a:pt x="290" y="507"/>
                      </a:lnTo>
                      <a:lnTo>
                        <a:pt x="290" y="507"/>
                      </a:lnTo>
                      <a:lnTo>
                        <a:pt x="287" y="514"/>
                      </a:lnTo>
                      <a:lnTo>
                        <a:pt x="278" y="504"/>
                      </a:lnTo>
                      <a:lnTo>
                        <a:pt x="267" y="507"/>
                      </a:lnTo>
                      <a:lnTo>
                        <a:pt x="266" y="509"/>
                      </a:lnTo>
                      <a:lnTo>
                        <a:pt x="261" y="509"/>
                      </a:lnTo>
                      <a:lnTo>
                        <a:pt x="258" y="511"/>
                      </a:lnTo>
                      <a:lnTo>
                        <a:pt x="249" y="506"/>
                      </a:lnTo>
                      <a:lnTo>
                        <a:pt x="240" y="507"/>
                      </a:lnTo>
                      <a:lnTo>
                        <a:pt x="233" y="503"/>
                      </a:lnTo>
                      <a:lnTo>
                        <a:pt x="221" y="515"/>
                      </a:lnTo>
                      <a:lnTo>
                        <a:pt x="218" y="511"/>
                      </a:lnTo>
                      <a:lnTo>
                        <a:pt x="215" y="511"/>
                      </a:lnTo>
                      <a:lnTo>
                        <a:pt x="212" y="506"/>
                      </a:lnTo>
                      <a:lnTo>
                        <a:pt x="209" y="504"/>
                      </a:lnTo>
                      <a:lnTo>
                        <a:pt x="207" y="500"/>
                      </a:lnTo>
                      <a:lnTo>
                        <a:pt x="204" y="501"/>
                      </a:lnTo>
                      <a:lnTo>
                        <a:pt x="201" y="497"/>
                      </a:lnTo>
                      <a:lnTo>
                        <a:pt x="195" y="501"/>
                      </a:lnTo>
                      <a:lnTo>
                        <a:pt x="189" y="512"/>
                      </a:lnTo>
                      <a:lnTo>
                        <a:pt x="184" y="515"/>
                      </a:lnTo>
                      <a:lnTo>
                        <a:pt x="183" y="514"/>
                      </a:lnTo>
                      <a:lnTo>
                        <a:pt x="180" y="509"/>
                      </a:lnTo>
                      <a:lnTo>
                        <a:pt x="175" y="507"/>
                      </a:lnTo>
                      <a:lnTo>
                        <a:pt x="146" y="523"/>
                      </a:lnTo>
                      <a:lnTo>
                        <a:pt x="132" y="544"/>
                      </a:lnTo>
                      <a:lnTo>
                        <a:pt x="132" y="544"/>
                      </a:lnTo>
                      <a:lnTo>
                        <a:pt x="131" y="546"/>
                      </a:lnTo>
                      <a:lnTo>
                        <a:pt x="123" y="540"/>
                      </a:lnTo>
                      <a:lnTo>
                        <a:pt x="131" y="529"/>
                      </a:lnTo>
                      <a:lnTo>
                        <a:pt x="123" y="524"/>
                      </a:lnTo>
                      <a:lnTo>
                        <a:pt x="117" y="526"/>
                      </a:lnTo>
                      <a:lnTo>
                        <a:pt x="106" y="518"/>
                      </a:lnTo>
                      <a:lnTo>
                        <a:pt x="89" y="520"/>
                      </a:lnTo>
                      <a:lnTo>
                        <a:pt x="86" y="521"/>
                      </a:lnTo>
                      <a:lnTo>
                        <a:pt x="94" y="538"/>
                      </a:lnTo>
                      <a:lnTo>
                        <a:pt x="92" y="540"/>
                      </a:lnTo>
                      <a:lnTo>
                        <a:pt x="95" y="543"/>
                      </a:lnTo>
                      <a:lnTo>
                        <a:pt x="91" y="552"/>
                      </a:lnTo>
                      <a:lnTo>
                        <a:pt x="86" y="549"/>
                      </a:lnTo>
                      <a:lnTo>
                        <a:pt x="85" y="555"/>
                      </a:lnTo>
                      <a:lnTo>
                        <a:pt x="82" y="554"/>
                      </a:lnTo>
                      <a:lnTo>
                        <a:pt x="80" y="557"/>
                      </a:lnTo>
                      <a:lnTo>
                        <a:pt x="77" y="563"/>
                      </a:lnTo>
                      <a:lnTo>
                        <a:pt x="69" y="567"/>
                      </a:lnTo>
                      <a:lnTo>
                        <a:pt x="71" y="572"/>
                      </a:lnTo>
                      <a:lnTo>
                        <a:pt x="59" y="577"/>
                      </a:lnTo>
                      <a:lnTo>
                        <a:pt x="52" y="577"/>
                      </a:lnTo>
                      <a:lnTo>
                        <a:pt x="49" y="578"/>
                      </a:lnTo>
                      <a:lnTo>
                        <a:pt x="34" y="558"/>
                      </a:lnTo>
                      <a:lnTo>
                        <a:pt x="34" y="558"/>
                      </a:lnTo>
                      <a:lnTo>
                        <a:pt x="52" y="561"/>
                      </a:lnTo>
                      <a:lnTo>
                        <a:pt x="57" y="558"/>
                      </a:lnTo>
                      <a:lnTo>
                        <a:pt x="59" y="552"/>
                      </a:lnTo>
                      <a:lnTo>
                        <a:pt x="55" y="546"/>
                      </a:lnTo>
                      <a:lnTo>
                        <a:pt x="60" y="543"/>
                      </a:lnTo>
                      <a:lnTo>
                        <a:pt x="60" y="540"/>
                      </a:lnTo>
                      <a:lnTo>
                        <a:pt x="52" y="521"/>
                      </a:lnTo>
                      <a:lnTo>
                        <a:pt x="59" y="515"/>
                      </a:lnTo>
                      <a:lnTo>
                        <a:pt x="57" y="514"/>
                      </a:lnTo>
                      <a:lnTo>
                        <a:pt x="59" y="511"/>
                      </a:lnTo>
                      <a:lnTo>
                        <a:pt x="57" y="497"/>
                      </a:lnTo>
                      <a:lnTo>
                        <a:pt x="55" y="497"/>
                      </a:lnTo>
                      <a:lnTo>
                        <a:pt x="49" y="492"/>
                      </a:lnTo>
                      <a:lnTo>
                        <a:pt x="40" y="475"/>
                      </a:lnTo>
                      <a:lnTo>
                        <a:pt x="36" y="471"/>
                      </a:lnTo>
                      <a:lnTo>
                        <a:pt x="32" y="472"/>
                      </a:lnTo>
                      <a:lnTo>
                        <a:pt x="28" y="464"/>
                      </a:lnTo>
                      <a:lnTo>
                        <a:pt x="31" y="454"/>
                      </a:lnTo>
                      <a:lnTo>
                        <a:pt x="16" y="438"/>
                      </a:lnTo>
                      <a:lnTo>
                        <a:pt x="20" y="437"/>
                      </a:lnTo>
                      <a:lnTo>
                        <a:pt x="25" y="438"/>
                      </a:lnTo>
                      <a:lnTo>
                        <a:pt x="26" y="437"/>
                      </a:lnTo>
                      <a:lnTo>
                        <a:pt x="39" y="424"/>
                      </a:lnTo>
                      <a:lnTo>
                        <a:pt x="40" y="417"/>
                      </a:lnTo>
                      <a:lnTo>
                        <a:pt x="22" y="407"/>
                      </a:lnTo>
                      <a:lnTo>
                        <a:pt x="23" y="400"/>
                      </a:lnTo>
                      <a:lnTo>
                        <a:pt x="26" y="397"/>
                      </a:lnTo>
                      <a:lnTo>
                        <a:pt x="29" y="361"/>
                      </a:lnTo>
                      <a:lnTo>
                        <a:pt x="29" y="355"/>
                      </a:lnTo>
                      <a:lnTo>
                        <a:pt x="26" y="351"/>
                      </a:lnTo>
                      <a:lnTo>
                        <a:pt x="28" y="346"/>
                      </a:lnTo>
                      <a:lnTo>
                        <a:pt x="26" y="338"/>
                      </a:lnTo>
                      <a:lnTo>
                        <a:pt x="28" y="327"/>
                      </a:lnTo>
                      <a:lnTo>
                        <a:pt x="19" y="294"/>
                      </a:lnTo>
                      <a:lnTo>
                        <a:pt x="17" y="291"/>
                      </a:lnTo>
                      <a:lnTo>
                        <a:pt x="17" y="284"/>
                      </a:lnTo>
                      <a:lnTo>
                        <a:pt x="16" y="278"/>
                      </a:lnTo>
                      <a:lnTo>
                        <a:pt x="20" y="257"/>
                      </a:lnTo>
                      <a:lnTo>
                        <a:pt x="26" y="252"/>
                      </a:lnTo>
                      <a:lnTo>
                        <a:pt x="29" y="246"/>
                      </a:lnTo>
                      <a:lnTo>
                        <a:pt x="25" y="232"/>
                      </a:lnTo>
                      <a:lnTo>
                        <a:pt x="19" y="232"/>
                      </a:lnTo>
                      <a:lnTo>
                        <a:pt x="16" y="224"/>
                      </a:lnTo>
                      <a:lnTo>
                        <a:pt x="8" y="226"/>
                      </a:lnTo>
                      <a:lnTo>
                        <a:pt x="0" y="214"/>
                      </a:lnTo>
                      <a:lnTo>
                        <a:pt x="0" y="206"/>
                      </a:lnTo>
                      <a:lnTo>
                        <a:pt x="5" y="201"/>
                      </a:lnTo>
                      <a:lnTo>
                        <a:pt x="14" y="206"/>
                      </a:lnTo>
                      <a:lnTo>
                        <a:pt x="19" y="198"/>
                      </a:lnTo>
                      <a:lnTo>
                        <a:pt x="20" y="191"/>
                      </a:lnTo>
                      <a:lnTo>
                        <a:pt x="16" y="188"/>
                      </a:lnTo>
                      <a:lnTo>
                        <a:pt x="14" y="181"/>
                      </a:lnTo>
                      <a:lnTo>
                        <a:pt x="14" y="178"/>
                      </a:lnTo>
                      <a:lnTo>
                        <a:pt x="11" y="177"/>
                      </a:lnTo>
                      <a:lnTo>
                        <a:pt x="14" y="171"/>
                      </a:lnTo>
                      <a:lnTo>
                        <a:pt x="8" y="168"/>
                      </a:lnTo>
                      <a:lnTo>
                        <a:pt x="8" y="161"/>
                      </a:lnTo>
                      <a:lnTo>
                        <a:pt x="11" y="154"/>
                      </a:lnTo>
                      <a:lnTo>
                        <a:pt x="13" y="140"/>
                      </a:lnTo>
                      <a:lnTo>
                        <a:pt x="11" y="138"/>
                      </a:lnTo>
                      <a:lnTo>
                        <a:pt x="3" y="138"/>
                      </a:lnTo>
                      <a:lnTo>
                        <a:pt x="3" y="126"/>
                      </a:lnTo>
                      <a:lnTo>
                        <a:pt x="11" y="118"/>
                      </a:lnTo>
                      <a:lnTo>
                        <a:pt x="23" y="134"/>
                      </a:lnTo>
                      <a:lnTo>
                        <a:pt x="29" y="146"/>
                      </a:lnTo>
                      <a:lnTo>
                        <a:pt x="39" y="152"/>
                      </a:lnTo>
                      <a:lnTo>
                        <a:pt x="49" y="148"/>
                      </a:lnTo>
                      <a:lnTo>
                        <a:pt x="49" y="135"/>
                      </a:lnTo>
                      <a:lnTo>
                        <a:pt x="48" y="129"/>
                      </a:lnTo>
                      <a:lnTo>
                        <a:pt x="51" y="128"/>
                      </a:lnTo>
                      <a:lnTo>
                        <a:pt x="60" y="126"/>
                      </a:lnTo>
                      <a:lnTo>
                        <a:pt x="66" y="123"/>
                      </a:lnTo>
                      <a:lnTo>
                        <a:pt x="66" y="117"/>
                      </a:lnTo>
                      <a:lnTo>
                        <a:pt x="62" y="97"/>
                      </a:lnTo>
                      <a:lnTo>
                        <a:pt x="71" y="84"/>
                      </a:lnTo>
                      <a:lnTo>
                        <a:pt x="71" y="78"/>
                      </a:lnTo>
                      <a:lnTo>
                        <a:pt x="75" y="68"/>
                      </a:lnTo>
                      <a:lnTo>
                        <a:pt x="74" y="60"/>
                      </a:lnTo>
                      <a:lnTo>
                        <a:pt x="77" y="55"/>
                      </a:lnTo>
                      <a:lnTo>
                        <a:pt x="80" y="49"/>
                      </a:lnTo>
                      <a:lnTo>
                        <a:pt x="75" y="40"/>
                      </a:lnTo>
                      <a:lnTo>
                        <a:pt x="77" y="34"/>
                      </a:lnTo>
                      <a:lnTo>
                        <a:pt x="77" y="34"/>
                      </a:lnTo>
                      <a:lnTo>
                        <a:pt x="95" y="29"/>
                      </a:lnTo>
                      <a:lnTo>
                        <a:pt x="111" y="31"/>
                      </a:lnTo>
                      <a:lnTo>
                        <a:pt x="114" y="26"/>
                      </a:lnTo>
                      <a:lnTo>
                        <a:pt x="112" y="12"/>
                      </a:lnTo>
                      <a:lnTo>
                        <a:pt x="114" y="8"/>
                      </a:lnTo>
                      <a:lnTo>
                        <a:pt x="120" y="1"/>
                      </a:lnTo>
                      <a:lnTo>
                        <a:pt x="129" y="0"/>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92" name="Dolj" descr="{&quot;Key&quot;:&quot;dolj&quot;,&quot;Name&quot;:&quot;Dolj&quot;,&quot;Value&quot;:1.0,&quot;Formula&quot;:&quot;&quot;,&quot;Text&quot;:&quot;1&quot;,&quot;OfficeApplication&quot;:0,&quot;HasValue&quot;:true}">
                  <a:extLst>
                    <a:ext uri="{FF2B5EF4-FFF2-40B4-BE49-F238E27FC236}">
                      <a16:creationId xmlns:a16="http://schemas.microsoft.com/office/drawing/2014/main" id="{9D5184AB-4BEF-FCA5-D423-5E182357CBD6}"/>
                    </a:ext>
                  </a:extLst>
                </p:cNvPr>
                <p:cNvSpPr>
                  <a:spLocks/>
                </p:cNvSpPr>
                <p:nvPr/>
              </p:nvSpPr>
              <p:spPr bwMode="auto">
                <a:xfrm>
                  <a:off x="4741863" y="4572001"/>
                  <a:ext cx="879475" cy="906463"/>
                </a:xfrm>
                <a:custGeom>
                  <a:avLst/>
                  <a:gdLst>
                    <a:gd name="T0" fmla="*/ 259 w 554"/>
                    <a:gd name="T1" fmla="*/ 77 h 571"/>
                    <a:gd name="T2" fmla="*/ 278 w 554"/>
                    <a:gd name="T3" fmla="*/ 61 h 571"/>
                    <a:gd name="T4" fmla="*/ 301 w 554"/>
                    <a:gd name="T5" fmla="*/ 68 h 571"/>
                    <a:gd name="T6" fmla="*/ 324 w 554"/>
                    <a:gd name="T7" fmla="*/ 68 h 571"/>
                    <a:gd name="T8" fmla="*/ 344 w 554"/>
                    <a:gd name="T9" fmla="*/ 72 h 571"/>
                    <a:gd name="T10" fmla="*/ 350 w 554"/>
                    <a:gd name="T11" fmla="*/ 46 h 571"/>
                    <a:gd name="T12" fmla="*/ 350 w 554"/>
                    <a:gd name="T13" fmla="*/ 21 h 571"/>
                    <a:gd name="T14" fmla="*/ 356 w 554"/>
                    <a:gd name="T15" fmla="*/ 0 h 571"/>
                    <a:gd name="T16" fmla="*/ 367 w 554"/>
                    <a:gd name="T17" fmla="*/ 6 h 571"/>
                    <a:gd name="T18" fmla="*/ 368 w 554"/>
                    <a:gd name="T19" fmla="*/ 29 h 571"/>
                    <a:gd name="T20" fmla="*/ 376 w 554"/>
                    <a:gd name="T21" fmla="*/ 49 h 571"/>
                    <a:gd name="T22" fmla="*/ 387 w 554"/>
                    <a:gd name="T23" fmla="*/ 45 h 571"/>
                    <a:gd name="T24" fmla="*/ 417 w 554"/>
                    <a:gd name="T25" fmla="*/ 63 h 571"/>
                    <a:gd name="T26" fmla="*/ 430 w 554"/>
                    <a:gd name="T27" fmla="*/ 88 h 571"/>
                    <a:gd name="T28" fmla="*/ 417 w 554"/>
                    <a:gd name="T29" fmla="*/ 117 h 571"/>
                    <a:gd name="T30" fmla="*/ 407 w 554"/>
                    <a:gd name="T31" fmla="*/ 140 h 571"/>
                    <a:gd name="T32" fmla="*/ 426 w 554"/>
                    <a:gd name="T33" fmla="*/ 165 h 571"/>
                    <a:gd name="T34" fmla="*/ 442 w 554"/>
                    <a:gd name="T35" fmla="*/ 169 h 571"/>
                    <a:gd name="T36" fmla="*/ 445 w 554"/>
                    <a:gd name="T37" fmla="*/ 183 h 571"/>
                    <a:gd name="T38" fmla="*/ 468 w 554"/>
                    <a:gd name="T39" fmla="*/ 191 h 571"/>
                    <a:gd name="T40" fmla="*/ 480 w 554"/>
                    <a:gd name="T41" fmla="*/ 208 h 571"/>
                    <a:gd name="T42" fmla="*/ 492 w 554"/>
                    <a:gd name="T43" fmla="*/ 223 h 571"/>
                    <a:gd name="T44" fmla="*/ 506 w 554"/>
                    <a:gd name="T45" fmla="*/ 252 h 571"/>
                    <a:gd name="T46" fmla="*/ 534 w 554"/>
                    <a:gd name="T47" fmla="*/ 271 h 571"/>
                    <a:gd name="T48" fmla="*/ 548 w 554"/>
                    <a:gd name="T49" fmla="*/ 283 h 571"/>
                    <a:gd name="T50" fmla="*/ 551 w 554"/>
                    <a:gd name="T51" fmla="*/ 317 h 571"/>
                    <a:gd name="T52" fmla="*/ 543 w 554"/>
                    <a:gd name="T53" fmla="*/ 357 h 571"/>
                    <a:gd name="T54" fmla="*/ 545 w 554"/>
                    <a:gd name="T55" fmla="*/ 395 h 571"/>
                    <a:gd name="T56" fmla="*/ 549 w 554"/>
                    <a:gd name="T57" fmla="*/ 414 h 571"/>
                    <a:gd name="T58" fmla="*/ 543 w 554"/>
                    <a:gd name="T59" fmla="*/ 423 h 571"/>
                    <a:gd name="T60" fmla="*/ 549 w 554"/>
                    <a:gd name="T61" fmla="*/ 437 h 571"/>
                    <a:gd name="T62" fmla="*/ 540 w 554"/>
                    <a:gd name="T63" fmla="*/ 486 h 571"/>
                    <a:gd name="T64" fmla="*/ 515 w 554"/>
                    <a:gd name="T65" fmla="*/ 520 h 571"/>
                    <a:gd name="T66" fmla="*/ 519 w 554"/>
                    <a:gd name="T67" fmla="*/ 571 h 571"/>
                    <a:gd name="T68" fmla="*/ 483 w 554"/>
                    <a:gd name="T69" fmla="*/ 554 h 571"/>
                    <a:gd name="T70" fmla="*/ 387 w 554"/>
                    <a:gd name="T71" fmla="*/ 524 h 571"/>
                    <a:gd name="T72" fmla="*/ 350 w 554"/>
                    <a:gd name="T73" fmla="*/ 508 h 571"/>
                    <a:gd name="T74" fmla="*/ 307 w 554"/>
                    <a:gd name="T75" fmla="*/ 515 h 571"/>
                    <a:gd name="T76" fmla="*/ 264 w 554"/>
                    <a:gd name="T77" fmla="*/ 489 h 571"/>
                    <a:gd name="T78" fmla="*/ 150 w 554"/>
                    <a:gd name="T79" fmla="*/ 491 h 571"/>
                    <a:gd name="T80" fmla="*/ 51 w 554"/>
                    <a:gd name="T81" fmla="*/ 504 h 571"/>
                    <a:gd name="T82" fmla="*/ 6 w 554"/>
                    <a:gd name="T83" fmla="*/ 483 h 571"/>
                    <a:gd name="T84" fmla="*/ 8 w 554"/>
                    <a:gd name="T85" fmla="*/ 441 h 571"/>
                    <a:gd name="T86" fmla="*/ 26 w 554"/>
                    <a:gd name="T87" fmla="*/ 401 h 571"/>
                    <a:gd name="T88" fmla="*/ 81 w 554"/>
                    <a:gd name="T89" fmla="*/ 369 h 571"/>
                    <a:gd name="T90" fmla="*/ 51 w 554"/>
                    <a:gd name="T91" fmla="*/ 344 h 571"/>
                    <a:gd name="T92" fmla="*/ 100 w 554"/>
                    <a:gd name="T93" fmla="*/ 318 h 571"/>
                    <a:gd name="T94" fmla="*/ 97 w 554"/>
                    <a:gd name="T95" fmla="*/ 257 h 571"/>
                    <a:gd name="T96" fmla="*/ 135 w 554"/>
                    <a:gd name="T97" fmla="*/ 217 h 571"/>
                    <a:gd name="T98" fmla="*/ 140 w 554"/>
                    <a:gd name="T99" fmla="*/ 197 h 571"/>
                    <a:gd name="T100" fmla="*/ 158 w 554"/>
                    <a:gd name="T101" fmla="*/ 186 h 571"/>
                    <a:gd name="T102" fmla="*/ 124 w 554"/>
                    <a:gd name="T103" fmla="*/ 166 h 571"/>
                    <a:gd name="T104" fmla="*/ 136 w 554"/>
                    <a:gd name="T105" fmla="*/ 161 h 571"/>
                    <a:gd name="T106" fmla="*/ 158 w 554"/>
                    <a:gd name="T107" fmla="*/ 126 h 571"/>
                    <a:gd name="T108" fmla="*/ 164 w 554"/>
                    <a:gd name="T109" fmla="*/ 114 h 571"/>
                    <a:gd name="T110" fmla="*/ 204 w 554"/>
                    <a:gd name="T111" fmla="*/ 101 h 571"/>
                    <a:gd name="T112" fmla="*/ 229 w 554"/>
                    <a:gd name="T113" fmla="*/ 108 h 571"/>
                    <a:gd name="T114" fmla="*/ 242 w 554"/>
                    <a:gd name="T115" fmla="*/ 92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 h="571">
                      <a:moveTo>
                        <a:pt x="244" y="83"/>
                      </a:moveTo>
                      <a:lnTo>
                        <a:pt x="250" y="80"/>
                      </a:lnTo>
                      <a:lnTo>
                        <a:pt x="259" y="80"/>
                      </a:lnTo>
                      <a:lnTo>
                        <a:pt x="259" y="77"/>
                      </a:lnTo>
                      <a:lnTo>
                        <a:pt x="262" y="75"/>
                      </a:lnTo>
                      <a:lnTo>
                        <a:pt x="265" y="69"/>
                      </a:lnTo>
                      <a:lnTo>
                        <a:pt x="273" y="68"/>
                      </a:lnTo>
                      <a:lnTo>
                        <a:pt x="278" y="61"/>
                      </a:lnTo>
                      <a:lnTo>
                        <a:pt x="287" y="65"/>
                      </a:lnTo>
                      <a:lnTo>
                        <a:pt x="296" y="60"/>
                      </a:lnTo>
                      <a:lnTo>
                        <a:pt x="301" y="61"/>
                      </a:lnTo>
                      <a:lnTo>
                        <a:pt x="301" y="68"/>
                      </a:lnTo>
                      <a:lnTo>
                        <a:pt x="304" y="71"/>
                      </a:lnTo>
                      <a:lnTo>
                        <a:pt x="313" y="72"/>
                      </a:lnTo>
                      <a:lnTo>
                        <a:pt x="321" y="69"/>
                      </a:lnTo>
                      <a:lnTo>
                        <a:pt x="324" y="68"/>
                      </a:lnTo>
                      <a:lnTo>
                        <a:pt x="337" y="66"/>
                      </a:lnTo>
                      <a:lnTo>
                        <a:pt x="341" y="66"/>
                      </a:lnTo>
                      <a:lnTo>
                        <a:pt x="341" y="72"/>
                      </a:lnTo>
                      <a:lnTo>
                        <a:pt x="344" y="72"/>
                      </a:lnTo>
                      <a:lnTo>
                        <a:pt x="344" y="75"/>
                      </a:lnTo>
                      <a:lnTo>
                        <a:pt x="345" y="75"/>
                      </a:lnTo>
                      <a:lnTo>
                        <a:pt x="350" y="55"/>
                      </a:lnTo>
                      <a:lnTo>
                        <a:pt x="350" y="46"/>
                      </a:lnTo>
                      <a:lnTo>
                        <a:pt x="345" y="43"/>
                      </a:lnTo>
                      <a:lnTo>
                        <a:pt x="348" y="38"/>
                      </a:lnTo>
                      <a:lnTo>
                        <a:pt x="345" y="34"/>
                      </a:lnTo>
                      <a:lnTo>
                        <a:pt x="350" y="21"/>
                      </a:lnTo>
                      <a:lnTo>
                        <a:pt x="350" y="5"/>
                      </a:lnTo>
                      <a:lnTo>
                        <a:pt x="353" y="5"/>
                      </a:lnTo>
                      <a:lnTo>
                        <a:pt x="354" y="1"/>
                      </a:lnTo>
                      <a:lnTo>
                        <a:pt x="356" y="0"/>
                      </a:lnTo>
                      <a:lnTo>
                        <a:pt x="359" y="3"/>
                      </a:lnTo>
                      <a:lnTo>
                        <a:pt x="367" y="3"/>
                      </a:lnTo>
                      <a:lnTo>
                        <a:pt x="367" y="6"/>
                      </a:lnTo>
                      <a:lnTo>
                        <a:pt x="367" y="6"/>
                      </a:lnTo>
                      <a:lnTo>
                        <a:pt x="367" y="11"/>
                      </a:lnTo>
                      <a:lnTo>
                        <a:pt x="371" y="17"/>
                      </a:lnTo>
                      <a:lnTo>
                        <a:pt x="368" y="23"/>
                      </a:lnTo>
                      <a:lnTo>
                        <a:pt x="368" y="29"/>
                      </a:lnTo>
                      <a:lnTo>
                        <a:pt x="368" y="31"/>
                      </a:lnTo>
                      <a:lnTo>
                        <a:pt x="371" y="31"/>
                      </a:lnTo>
                      <a:lnTo>
                        <a:pt x="373" y="32"/>
                      </a:lnTo>
                      <a:lnTo>
                        <a:pt x="376" y="49"/>
                      </a:lnTo>
                      <a:lnTo>
                        <a:pt x="379" y="48"/>
                      </a:lnTo>
                      <a:lnTo>
                        <a:pt x="379" y="40"/>
                      </a:lnTo>
                      <a:lnTo>
                        <a:pt x="380" y="38"/>
                      </a:lnTo>
                      <a:lnTo>
                        <a:pt x="387" y="45"/>
                      </a:lnTo>
                      <a:lnTo>
                        <a:pt x="396" y="45"/>
                      </a:lnTo>
                      <a:lnTo>
                        <a:pt x="420" y="54"/>
                      </a:lnTo>
                      <a:lnTo>
                        <a:pt x="420" y="61"/>
                      </a:lnTo>
                      <a:lnTo>
                        <a:pt x="417" y="63"/>
                      </a:lnTo>
                      <a:lnTo>
                        <a:pt x="419" y="75"/>
                      </a:lnTo>
                      <a:lnTo>
                        <a:pt x="420" y="80"/>
                      </a:lnTo>
                      <a:lnTo>
                        <a:pt x="426" y="78"/>
                      </a:lnTo>
                      <a:lnTo>
                        <a:pt x="430" y="88"/>
                      </a:lnTo>
                      <a:lnTo>
                        <a:pt x="433" y="106"/>
                      </a:lnTo>
                      <a:lnTo>
                        <a:pt x="433" y="106"/>
                      </a:lnTo>
                      <a:lnTo>
                        <a:pt x="425" y="115"/>
                      </a:lnTo>
                      <a:lnTo>
                        <a:pt x="417" y="117"/>
                      </a:lnTo>
                      <a:lnTo>
                        <a:pt x="422" y="120"/>
                      </a:lnTo>
                      <a:lnTo>
                        <a:pt x="422" y="125"/>
                      </a:lnTo>
                      <a:lnTo>
                        <a:pt x="417" y="131"/>
                      </a:lnTo>
                      <a:lnTo>
                        <a:pt x="407" y="140"/>
                      </a:lnTo>
                      <a:lnTo>
                        <a:pt x="419" y="146"/>
                      </a:lnTo>
                      <a:lnTo>
                        <a:pt x="419" y="151"/>
                      </a:lnTo>
                      <a:lnTo>
                        <a:pt x="416" y="158"/>
                      </a:lnTo>
                      <a:lnTo>
                        <a:pt x="426" y="165"/>
                      </a:lnTo>
                      <a:lnTo>
                        <a:pt x="425" y="169"/>
                      </a:lnTo>
                      <a:lnTo>
                        <a:pt x="436" y="177"/>
                      </a:lnTo>
                      <a:lnTo>
                        <a:pt x="437" y="172"/>
                      </a:lnTo>
                      <a:lnTo>
                        <a:pt x="442" y="169"/>
                      </a:lnTo>
                      <a:lnTo>
                        <a:pt x="445" y="172"/>
                      </a:lnTo>
                      <a:lnTo>
                        <a:pt x="451" y="174"/>
                      </a:lnTo>
                      <a:lnTo>
                        <a:pt x="449" y="177"/>
                      </a:lnTo>
                      <a:lnTo>
                        <a:pt x="445" y="183"/>
                      </a:lnTo>
                      <a:lnTo>
                        <a:pt x="445" y="188"/>
                      </a:lnTo>
                      <a:lnTo>
                        <a:pt x="459" y="194"/>
                      </a:lnTo>
                      <a:lnTo>
                        <a:pt x="460" y="191"/>
                      </a:lnTo>
                      <a:lnTo>
                        <a:pt x="468" y="191"/>
                      </a:lnTo>
                      <a:lnTo>
                        <a:pt x="477" y="197"/>
                      </a:lnTo>
                      <a:lnTo>
                        <a:pt x="474" y="206"/>
                      </a:lnTo>
                      <a:lnTo>
                        <a:pt x="477" y="205"/>
                      </a:lnTo>
                      <a:lnTo>
                        <a:pt x="480" y="208"/>
                      </a:lnTo>
                      <a:lnTo>
                        <a:pt x="480" y="211"/>
                      </a:lnTo>
                      <a:lnTo>
                        <a:pt x="485" y="214"/>
                      </a:lnTo>
                      <a:lnTo>
                        <a:pt x="488" y="223"/>
                      </a:lnTo>
                      <a:lnTo>
                        <a:pt x="492" y="223"/>
                      </a:lnTo>
                      <a:lnTo>
                        <a:pt x="497" y="235"/>
                      </a:lnTo>
                      <a:lnTo>
                        <a:pt x="502" y="238"/>
                      </a:lnTo>
                      <a:lnTo>
                        <a:pt x="503" y="249"/>
                      </a:lnTo>
                      <a:lnTo>
                        <a:pt x="506" y="252"/>
                      </a:lnTo>
                      <a:lnTo>
                        <a:pt x="520" y="255"/>
                      </a:lnTo>
                      <a:lnTo>
                        <a:pt x="520" y="257"/>
                      </a:lnTo>
                      <a:lnTo>
                        <a:pt x="525" y="260"/>
                      </a:lnTo>
                      <a:lnTo>
                        <a:pt x="534" y="271"/>
                      </a:lnTo>
                      <a:lnTo>
                        <a:pt x="543" y="269"/>
                      </a:lnTo>
                      <a:lnTo>
                        <a:pt x="545" y="278"/>
                      </a:lnTo>
                      <a:lnTo>
                        <a:pt x="548" y="280"/>
                      </a:lnTo>
                      <a:lnTo>
                        <a:pt x="548" y="283"/>
                      </a:lnTo>
                      <a:lnTo>
                        <a:pt x="551" y="283"/>
                      </a:lnTo>
                      <a:lnTo>
                        <a:pt x="546" y="303"/>
                      </a:lnTo>
                      <a:lnTo>
                        <a:pt x="554" y="304"/>
                      </a:lnTo>
                      <a:lnTo>
                        <a:pt x="551" y="317"/>
                      </a:lnTo>
                      <a:lnTo>
                        <a:pt x="549" y="317"/>
                      </a:lnTo>
                      <a:lnTo>
                        <a:pt x="545" y="343"/>
                      </a:lnTo>
                      <a:lnTo>
                        <a:pt x="542" y="352"/>
                      </a:lnTo>
                      <a:lnTo>
                        <a:pt x="543" y="357"/>
                      </a:lnTo>
                      <a:lnTo>
                        <a:pt x="537" y="389"/>
                      </a:lnTo>
                      <a:lnTo>
                        <a:pt x="543" y="391"/>
                      </a:lnTo>
                      <a:lnTo>
                        <a:pt x="542" y="397"/>
                      </a:lnTo>
                      <a:lnTo>
                        <a:pt x="545" y="395"/>
                      </a:lnTo>
                      <a:lnTo>
                        <a:pt x="551" y="398"/>
                      </a:lnTo>
                      <a:lnTo>
                        <a:pt x="551" y="403"/>
                      </a:lnTo>
                      <a:lnTo>
                        <a:pt x="552" y="403"/>
                      </a:lnTo>
                      <a:lnTo>
                        <a:pt x="549" y="414"/>
                      </a:lnTo>
                      <a:lnTo>
                        <a:pt x="554" y="415"/>
                      </a:lnTo>
                      <a:lnTo>
                        <a:pt x="552" y="420"/>
                      </a:lnTo>
                      <a:lnTo>
                        <a:pt x="546" y="417"/>
                      </a:lnTo>
                      <a:lnTo>
                        <a:pt x="543" y="423"/>
                      </a:lnTo>
                      <a:lnTo>
                        <a:pt x="549" y="429"/>
                      </a:lnTo>
                      <a:lnTo>
                        <a:pt x="554" y="431"/>
                      </a:lnTo>
                      <a:lnTo>
                        <a:pt x="552" y="437"/>
                      </a:lnTo>
                      <a:lnTo>
                        <a:pt x="549" y="437"/>
                      </a:lnTo>
                      <a:lnTo>
                        <a:pt x="552" y="440"/>
                      </a:lnTo>
                      <a:lnTo>
                        <a:pt x="545" y="478"/>
                      </a:lnTo>
                      <a:lnTo>
                        <a:pt x="542" y="478"/>
                      </a:lnTo>
                      <a:lnTo>
                        <a:pt x="540" y="486"/>
                      </a:lnTo>
                      <a:lnTo>
                        <a:pt x="535" y="486"/>
                      </a:lnTo>
                      <a:lnTo>
                        <a:pt x="534" y="491"/>
                      </a:lnTo>
                      <a:lnTo>
                        <a:pt x="531" y="491"/>
                      </a:lnTo>
                      <a:lnTo>
                        <a:pt x="515" y="520"/>
                      </a:lnTo>
                      <a:lnTo>
                        <a:pt x="512" y="518"/>
                      </a:lnTo>
                      <a:lnTo>
                        <a:pt x="506" y="558"/>
                      </a:lnTo>
                      <a:lnTo>
                        <a:pt x="514" y="564"/>
                      </a:lnTo>
                      <a:lnTo>
                        <a:pt x="519" y="571"/>
                      </a:lnTo>
                      <a:lnTo>
                        <a:pt x="519" y="571"/>
                      </a:lnTo>
                      <a:lnTo>
                        <a:pt x="506" y="566"/>
                      </a:lnTo>
                      <a:lnTo>
                        <a:pt x="496" y="564"/>
                      </a:lnTo>
                      <a:lnTo>
                        <a:pt x="483" y="554"/>
                      </a:lnTo>
                      <a:lnTo>
                        <a:pt x="449" y="540"/>
                      </a:lnTo>
                      <a:lnTo>
                        <a:pt x="431" y="540"/>
                      </a:lnTo>
                      <a:lnTo>
                        <a:pt x="405" y="534"/>
                      </a:lnTo>
                      <a:lnTo>
                        <a:pt x="387" y="524"/>
                      </a:lnTo>
                      <a:lnTo>
                        <a:pt x="379" y="523"/>
                      </a:lnTo>
                      <a:lnTo>
                        <a:pt x="368" y="518"/>
                      </a:lnTo>
                      <a:lnTo>
                        <a:pt x="360" y="509"/>
                      </a:lnTo>
                      <a:lnTo>
                        <a:pt x="350" y="508"/>
                      </a:lnTo>
                      <a:lnTo>
                        <a:pt x="341" y="508"/>
                      </a:lnTo>
                      <a:lnTo>
                        <a:pt x="327" y="511"/>
                      </a:lnTo>
                      <a:lnTo>
                        <a:pt x="314" y="515"/>
                      </a:lnTo>
                      <a:lnTo>
                        <a:pt x="307" y="515"/>
                      </a:lnTo>
                      <a:lnTo>
                        <a:pt x="285" y="508"/>
                      </a:lnTo>
                      <a:lnTo>
                        <a:pt x="278" y="501"/>
                      </a:lnTo>
                      <a:lnTo>
                        <a:pt x="267" y="491"/>
                      </a:lnTo>
                      <a:lnTo>
                        <a:pt x="264" y="489"/>
                      </a:lnTo>
                      <a:lnTo>
                        <a:pt x="250" y="489"/>
                      </a:lnTo>
                      <a:lnTo>
                        <a:pt x="233" y="481"/>
                      </a:lnTo>
                      <a:lnTo>
                        <a:pt x="172" y="484"/>
                      </a:lnTo>
                      <a:lnTo>
                        <a:pt x="150" y="491"/>
                      </a:lnTo>
                      <a:lnTo>
                        <a:pt x="132" y="498"/>
                      </a:lnTo>
                      <a:lnTo>
                        <a:pt x="120" y="506"/>
                      </a:lnTo>
                      <a:lnTo>
                        <a:pt x="89" y="512"/>
                      </a:lnTo>
                      <a:lnTo>
                        <a:pt x="51" y="504"/>
                      </a:lnTo>
                      <a:lnTo>
                        <a:pt x="41" y="498"/>
                      </a:lnTo>
                      <a:lnTo>
                        <a:pt x="29" y="497"/>
                      </a:lnTo>
                      <a:lnTo>
                        <a:pt x="14" y="491"/>
                      </a:lnTo>
                      <a:lnTo>
                        <a:pt x="6" y="483"/>
                      </a:lnTo>
                      <a:lnTo>
                        <a:pt x="1" y="474"/>
                      </a:lnTo>
                      <a:lnTo>
                        <a:pt x="0" y="464"/>
                      </a:lnTo>
                      <a:lnTo>
                        <a:pt x="3" y="452"/>
                      </a:lnTo>
                      <a:lnTo>
                        <a:pt x="8" y="441"/>
                      </a:lnTo>
                      <a:lnTo>
                        <a:pt x="9" y="437"/>
                      </a:lnTo>
                      <a:lnTo>
                        <a:pt x="8" y="435"/>
                      </a:lnTo>
                      <a:lnTo>
                        <a:pt x="15" y="411"/>
                      </a:lnTo>
                      <a:lnTo>
                        <a:pt x="26" y="401"/>
                      </a:lnTo>
                      <a:lnTo>
                        <a:pt x="35" y="398"/>
                      </a:lnTo>
                      <a:lnTo>
                        <a:pt x="67" y="392"/>
                      </a:lnTo>
                      <a:lnTo>
                        <a:pt x="74" y="383"/>
                      </a:lnTo>
                      <a:lnTo>
                        <a:pt x="81" y="369"/>
                      </a:lnTo>
                      <a:lnTo>
                        <a:pt x="81" y="361"/>
                      </a:lnTo>
                      <a:lnTo>
                        <a:pt x="77" y="351"/>
                      </a:lnTo>
                      <a:lnTo>
                        <a:pt x="51" y="344"/>
                      </a:lnTo>
                      <a:lnTo>
                        <a:pt x="51" y="344"/>
                      </a:lnTo>
                      <a:lnTo>
                        <a:pt x="55" y="331"/>
                      </a:lnTo>
                      <a:lnTo>
                        <a:pt x="78" y="308"/>
                      </a:lnTo>
                      <a:lnTo>
                        <a:pt x="89" y="312"/>
                      </a:lnTo>
                      <a:lnTo>
                        <a:pt x="100" y="318"/>
                      </a:lnTo>
                      <a:lnTo>
                        <a:pt x="103" y="317"/>
                      </a:lnTo>
                      <a:lnTo>
                        <a:pt x="110" y="271"/>
                      </a:lnTo>
                      <a:lnTo>
                        <a:pt x="95" y="263"/>
                      </a:lnTo>
                      <a:lnTo>
                        <a:pt x="97" y="257"/>
                      </a:lnTo>
                      <a:lnTo>
                        <a:pt x="106" y="254"/>
                      </a:lnTo>
                      <a:lnTo>
                        <a:pt x="110" y="232"/>
                      </a:lnTo>
                      <a:lnTo>
                        <a:pt x="117" y="221"/>
                      </a:lnTo>
                      <a:lnTo>
                        <a:pt x="135" y="217"/>
                      </a:lnTo>
                      <a:lnTo>
                        <a:pt x="136" y="211"/>
                      </a:lnTo>
                      <a:lnTo>
                        <a:pt x="140" y="209"/>
                      </a:lnTo>
                      <a:lnTo>
                        <a:pt x="138" y="200"/>
                      </a:lnTo>
                      <a:lnTo>
                        <a:pt x="140" y="197"/>
                      </a:lnTo>
                      <a:lnTo>
                        <a:pt x="146" y="197"/>
                      </a:lnTo>
                      <a:lnTo>
                        <a:pt x="149" y="194"/>
                      </a:lnTo>
                      <a:lnTo>
                        <a:pt x="159" y="194"/>
                      </a:lnTo>
                      <a:lnTo>
                        <a:pt x="158" y="186"/>
                      </a:lnTo>
                      <a:lnTo>
                        <a:pt x="141" y="175"/>
                      </a:lnTo>
                      <a:lnTo>
                        <a:pt x="132" y="172"/>
                      </a:lnTo>
                      <a:lnTo>
                        <a:pt x="129" y="172"/>
                      </a:lnTo>
                      <a:lnTo>
                        <a:pt x="124" y="166"/>
                      </a:lnTo>
                      <a:lnTo>
                        <a:pt x="127" y="161"/>
                      </a:lnTo>
                      <a:lnTo>
                        <a:pt x="130" y="163"/>
                      </a:lnTo>
                      <a:lnTo>
                        <a:pt x="132" y="160"/>
                      </a:lnTo>
                      <a:lnTo>
                        <a:pt x="136" y="161"/>
                      </a:lnTo>
                      <a:lnTo>
                        <a:pt x="141" y="152"/>
                      </a:lnTo>
                      <a:lnTo>
                        <a:pt x="141" y="141"/>
                      </a:lnTo>
                      <a:lnTo>
                        <a:pt x="158" y="131"/>
                      </a:lnTo>
                      <a:lnTo>
                        <a:pt x="158" y="126"/>
                      </a:lnTo>
                      <a:lnTo>
                        <a:pt x="173" y="121"/>
                      </a:lnTo>
                      <a:lnTo>
                        <a:pt x="173" y="117"/>
                      </a:lnTo>
                      <a:lnTo>
                        <a:pt x="170" y="114"/>
                      </a:lnTo>
                      <a:lnTo>
                        <a:pt x="164" y="114"/>
                      </a:lnTo>
                      <a:lnTo>
                        <a:pt x="164" y="108"/>
                      </a:lnTo>
                      <a:lnTo>
                        <a:pt x="183" y="106"/>
                      </a:lnTo>
                      <a:lnTo>
                        <a:pt x="198" y="109"/>
                      </a:lnTo>
                      <a:lnTo>
                        <a:pt x="204" y="101"/>
                      </a:lnTo>
                      <a:lnTo>
                        <a:pt x="210" y="103"/>
                      </a:lnTo>
                      <a:lnTo>
                        <a:pt x="212" y="106"/>
                      </a:lnTo>
                      <a:lnTo>
                        <a:pt x="219" y="100"/>
                      </a:lnTo>
                      <a:lnTo>
                        <a:pt x="229" y="108"/>
                      </a:lnTo>
                      <a:lnTo>
                        <a:pt x="230" y="105"/>
                      </a:lnTo>
                      <a:lnTo>
                        <a:pt x="235" y="105"/>
                      </a:lnTo>
                      <a:lnTo>
                        <a:pt x="239" y="98"/>
                      </a:lnTo>
                      <a:lnTo>
                        <a:pt x="242" y="92"/>
                      </a:lnTo>
                      <a:lnTo>
                        <a:pt x="244" y="83"/>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93" name="Gorj" descr="{&quot;Key&quot;:&quot;gorj&quot;,&quot;Name&quot;:&quot;Gorj&quot;,&quot;Value&quot;:1.0,&quot;Formula&quot;:&quot;&quot;,&quot;Text&quot;:&quot;1&quot;,&quot;OfficeApplication&quot;:0,&quot;HasValue&quot;:true}">
                  <a:extLst>
                    <a:ext uri="{FF2B5EF4-FFF2-40B4-BE49-F238E27FC236}">
                      <a16:creationId xmlns:a16="http://schemas.microsoft.com/office/drawing/2014/main" id="{251BC3AD-196E-F4CC-D89D-127CA3DA2A43}"/>
                    </a:ext>
                  </a:extLst>
                </p:cNvPr>
                <p:cNvSpPr>
                  <a:spLocks/>
                </p:cNvSpPr>
                <p:nvPr/>
              </p:nvSpPr>
              <p:spPr bwMode="auto">
                <a:xfrm>
                  <a:off x="4565650" y="4008438"/>
                  <a:ext cx="815975" cy="695325"/>
                </a:xfrm>
                <a:custGeom>
                  <a:avLst/>
                  <a:gdLst>
                    <a:gd name="T0" fmla="*/ 421 w 514"/>
                    <a:gd name="T1" fmla="*/ 10 h 438"/>
                    <a:gd name="T2" fmla="*/ 429 w 514"/>
                    <a:gd name="T3" fmla="*/ 0 h 438"/>
                    <a:gd name="T4" fmla="*/ 444 w 514"/>
                    <a:gd name="T5" fmla="*/ 10 h 438"/>
                    <a:gd name="T6" fmla="*/ 467 w 514"/>
                    <a:gd name="T7" fmla="*/ 10 h 438"/>
                    <a:gd name="T8" fmla="*/ 498 w 514"/>
                    <a:gd name="T9" fmla="*/ 3 h 438"/>
                    <a:gd name="T10" fmla="*/ 508 w 514"/>
                    <a:gd name="T11" fmla="*/ 23 h 438"/>
                    <a:gd name="T12" fmla="*/ 491 w 514"/>
                    <a:gd name="T13" fmla="*/ 50 h 438"/>
                    <a:gd name="T14" fmla="*/ 511 w 514"/>
                    <a:gd name="T15" fmla="*/ 98 h 438"/>
                    <a:gd name="T16" fmla="*/ 501 w 514"/>
                    <a:gd name="T17" fmla="*/ 130 h 438"/>
                    <a:gd name="T18" fmla="*/ 493 w 514"/>
                    <a:gd name="T19" fmla="*/ 172 h 438"/>
                    <a:gd name="T20" fmla="*/ 475 w 514"/>
                    <a:gd name="T21" fmla="*/ 203 h 438"/>
                    <a:gd name="T22" fmla="*/ 479 w 514"/>
                    <a:gd name="T23" fmla="*/ 250 h 438"/>
                    <a:gd name="T24" fmla="*/ 482 w 514"/>
                    <a:gd name="T25" fmla="*/ 272 h 438"/>
                    <a:gd name="T26" fmla="*/ 484 w 514"/>
                    <a:gd name="T27" fmla="*/ 301 h 438"/>
                    <a:gd name="T28" fmla="*/ 481 w 514"/>
                    <a:gd name="T29" fmla="*/ 361 h 438"/>
                    <a:gd name="T30" fmla="*/ 470 w 514"/>
                    <a:gd name="T31" fmla="*/ 358 h 438"/>
                    <a:gd name="T32" fmla="*/ 461 w 514"/>
                    <a:gd name="T33" fmla="*/ 360 h 438"/>
                    <a:gd name="T34" fmla="*/ 456 w 514"/>
                    <a:gd name="T35" fmla="*/ 398 h 438"/>
                    <a:gd name="T36" fmla="*/ 455 w 514"/>
                    <a:gd name="T37" fmla="*/ 430 h 438"/>
                    <a:gd name="T38" fmla="*/ 448 w 514"/>
                    <a:gd name="T39" fmla="*/ 421 h 438"/>
                    <a:gd name="T40" fmla="*/ 415 w 514"/>
                    <a:gd name="T41" fmla="*/ 426 h 438"/>
                    <a:gd name="T42" fmla="*/ 398 w 514"/>
                    <a:gd name="T43" fmla="*/ 420 h 438"/>
                    <a:gd name="T44" fmla="*/ 373 w 514"/>
                    <a:gd name="T45" fmla="*/ 430 h 438"/>
                    <a:gd name="T46" fmla="*/ 355 w 514"/>
                    <a:gd name="T47" fmla="*/ 438 h 438"/>
                    <a:gd name="T48" fmla="*/ 333 w 514"/>
                    <a:gd name="T49" fmla="*/ 426 h 438"/>
                    <a:gd name="T50" fmla="*/ 317 w 514"/>
                    <a:gd name="T51" fmla="*/ 406 h 438"/>
                    <a:gd name="T52" fmla="*/ 269 w 514"/>
                    <a:gd name="T53" fmla="*/ 381 h 438"/>
                    <a:gd name="T54" fmla="*/ 228 w 514"/>
                    <a:gd name="T55" fmla="*/ 373 h 438"/>
                    <a:gd name="T56" fmla="*/ 205 w 514"/>
                    <a:gd name="T57" fmla="*/ 364 h 438"/>
                    <a:gd name="T58" fmla="*/ 198 w 514"/>
                    <a:gd name="T59" fmla="*/ 353 h 438"/>
                    <a:gd name="T60" fmla="*/ 197 w 514"/>
                    <a:gd name="T61" fmla="*/ 349 h 438"/>
                    <a:gd name="T62" fmla="*/ 175 w 514"/>
                    <a:gd name="T63" fmla="*/ 340 h 438"/>
                    <a:gd name="T64" fmla="*/ 163 w 514"/>
                    <a:gd name="T65" fmla="*/ 316 h 438"/>
                    <a:gd name="T66" fmla="*/ 146 w 514"/>
                    <a:gd name="T67" fmla="*/ 310 h 438"/>
                    <a:gd name="T68" fmla="*/ 132 w 514"/>
                    <a:gd name="T69" fmla="*/ 266 h 438"/>
                    <a:gd name="T70" fmla="*/ 123 w 514"/>
                    <a:gd name="T71" fmla="*/ 230 h 438"/>
                    <a:gd name="T72" fmla="*/ 132 w 514"/>
                    <a:gd name="T73" fmla="*/ 218 h 438"/>
                    <a:gd name="T74" fmla="*/ 114 w 514"/>
                    <a:gd name="T75" fmla="*/ 197 h 438"/>
                    <a:gd name="T76" fmla="*/ 88 w 514"/>
                    <a:gd name="T77" fmla="*/ 173 h 438"/>
                    <a:gd name="T78" fmla="*/ 59 w 514"/>
                    <a:gd name="T79" fmla="*/ 160 h 438"/>
                    <a:gd name="T80" fmla="*/ 42 w 514"/>
                    <a:gd name="T81" fmla="*/ 140 h 438"/>
                    <a:gd name="T82" fmla="*/ 36 w 514"/>
                    <a:gd name="T83" fmla="*/ 127 h 438"/>
                    <a:gd name="T84" fmla="*/ 13 w 514"/>
                    <a:gd name="T85" fmla="*/ 123 h 438"/>
                    <a:gd name="T86" fmla="*/ 11 w 514"/>
                    <a:gd name="T87" fmla="*/ 87 h 438"/>
                    <a:gd name="T88" fmla="*/ 34 w 514"/>
                    <a:gd name="T89" fmla="*/ 67 h 438"/>
                    <a:gd name="T90" fmla="*/ 68 w 514"/>
                    <a:gd name="T91" fmla="*/ 53 h 438"/>
                    <a:gd name="T92" fmla="*/ 120 w 514"/>
                    <a:gd name="T93" fmla="*/ 50 h 438"/>
                    <a:gd name="T94" fmla="*/ 168 w 514"/>
                    <a:gd name="T95" fmla="*/ 35 h 438"/>
                    <a:gd name="T96" fmla="*/ 180 w 514"/>
                    <a:gd name="T97" fmla="*/ 55 h 438"/>
                    <a:gd name="T98" fmla="*/ 206 w 514"/>
                    <a:gd name="T99" fmla="*/ 47 h 438"/>
                    <a:gd name="T100" fmla="*/ 241 w 514"/>
                    <a:gd name="T101" fmla="*/ 44 h 438"/>
                    <a:gd name="T102" fmla="*/ 274 w 514"/>
                    <a:gd name="T103" fmla="*/ 24 h 438"/>
                    <a:gd name="T104" fmla="*/ 304 w 514"/>
                    <a:gd name="T105" fmla="*/ 24 h 438"/>
                    <a:gd name="T106" fmla="*/ 324 w 514"/>
                    <a:gd name="T107" fmla="*/ 6 h 438"/>
                    <a:gd name="T108" fmla="*/ 349 w 514"/>
                    <a:gd name="T109" fmla="*/ 30 h 438"/>
                    <a:gd name="T110" fmla="*/ 378 w 514"/>
                    <a:gd name="T111" fmla="*/ 13 h 438"/>
                    <a:gd name="T112" fmla="*/ 401 w 514"/>
                    <a:gd name="T113" fmla="*/ 1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4" h="438">
                      <a:moveTo>
                        <a:pt x="409" y="0"/>
                      </a:moveTo>
                      <a:lnTo>
                        <a:pt x="412" y="4"/>
                      </a:lnTo>
                      <a:lnTo>
                        <a:pt x="419" y="6"/>
                      </a:lnTo>
                      <a:lnTo>
                        <a:pt x="421" y="10"/>
                      </a:lnTo>
                      <a:lnTo>
                        <a:pt x="421" y="10"/>
                      </a:lnTo>
                      <a:lnTo>
                        <a:pt x="424" y="9"/>
                      </a:lnTo>
                      <a:lnTo>
                        <a:pt x="429" y="0"/>
                      </a:lnTo>
                      <a:lnTo>
                        <a:pt x="429" y="0"/>
                      </a:lnTo>
                      <a:lnTo>
                        <a:pt x="435" y="1"/>
                      </a:lnTo>
                      <a:lnTo>
                        <a:pt x="436" y="4"/>
                      </a:lnTo>
                      <a:lnTo>
                        <a:pt x="442" y="6"/>
                      </a:lnTo>
                      <a:lnTo>
                        <a:pt x="444" y="10"/>
                      </a:lnTo>
                      <a:lnTo>
                        <a:pt x="445" y="12"/>
                      </a:lnTo>
                      <a:lnTo>
                        <a:pt x="459" y="10"/>
                      </a:lnTo>
                      <a:lnTo>
                        <a:pt x="462" y="15"/>
                      </a:lnTo>
                      <a:lnTo>
                        <a:pt x="467" y="10"/>
                      </a:lnTo>
                      <a:lnTo>
                        <a:pt x="478" y="6"/>
                      </a:lnTo>
                      <a:lnTo>
                        <a:pt x="481" y="3"/>
                      </a:lnTo>
                      <a:lnTo>
                        <a:pt x="488" y="1"/>
                      </a:lnTo>
                      <a:lnTo>
                        <a:pt x="498" y="3"/>
                      </a:lnTo>
                      <a:lnTo>
                        <a:pt x="504" y="9"/>
                      </a:lnTo>
                      <a:lnTo>
                        <a:pt x="508" y="10"/>
                      </a:lnTo>
                      <a:lnTo>
                        <a:pt x="510" y="13"/>
                      </a:lnTo>
                      <a:lnTo>
                        <a:pt x="508" y="23"/>
                      </a:lnTo>
                      <a:lnTo>
                        <a:pt x="499" y="35"/>
                      </a:lnTo>
                      <a:lnTo>
                        <a:pt x="493" y="46"/>
                      </a:lnTo>
                      <a:lnTo>
                        <a:pt x="490" y="47"/>
                      </a:lnTo>
                      <a:lnTo>
                        <a:pt x="491" y="50"/>
                      </a:lnTo>
                      <a:lnTo>
                        <a:pt x="491" y="52"/>
                      </a:lnTo>
                      <a:lnTo>
                        <a:pt x="498" y="78"/>
                      </a:lnTo>
                      <a:lnTo>
                        <a:pt x="508" y="90"/>
                      </a:lnTo>
                      <a:lnTo>
                        <a:pt x="511" y="98"/>
                      </a:lnTo>
                      <a:lnTo>
                        <a:pt x="514" y="115"/>
                      </a:lnTo>
                      <a:lnTo>
                        <a:pt x="502" y="121"/>
                      </a:lnTo>
                      <a:lnTo>
                        <a:pt x="498" y="126"/>
                      </a:lnTo>
                      <a:lnTo>
                        <a:pt x="501" y="130"/>
                      </a:lnTo>
                      <a:lnTo>
                        <a:pt x="502" y="140"/>
                      </a:lnTo>
                      <a:lnTo>
                        <a:pt x="499" y="158"/>
                      </a:lnTo>
                      <a:lnTo>
                        <a:pt x="495" y="161"/>
                      </a:lnTo>
                      <a:lnTo>
                        <a:pt x="493" y="172"/>
                      </a:lnTo>
                      <a:lnTo>
                        <a:pt x="487" y="184"/>
                      </a:lnTo>
                      <a:lnTo>
                        <a:pt x="485" y="190"/>
                      </a:lnTo>
                      <a:lnTo>
                        <a:pt x="475" y="197"/>
                      </a:lnTo>
                      <a:lnTo>
                        <a:pt x="475" y="203"/>
                      </a:lnTo>
                      <a:lnTo>
                        <a:pt x="478" y="216"/>
                      </a:lnTo>
                      <a:lnTo>
                        <a:pt x="479" y="220"/>
                      </a:lnTo>
                      <a:lnTo>
                        <a:pt x="481" y="226"/>
                      </a:lnTo>
                      <a:lnTo>
                        <a:pt x="479" y="250"/>
                      </a:lnTo>
                      <a:lnTo>
                        <a:pt x="476" y="255"/>
                      </a:lnTo>
                      <a:lnTo>
                        <a:pt x="478" y="263"/>
                      </a:lnTo>
                      <a:lnTo>
                        <a:pt x="475" y="270"/>
                      </a:lnTo>
                      <a:lnTo>
                        <a:pt x="482" y="272"/>
                      </a:lnTo>
                      <a:lnTo>
                        <a:pt x="491" y="292"/>
                      </a:lnTo>
                      <a:lnTo>
                        <a:pt x="488" y="295"/>
                      </a:lnTo>
                      <a:lnTo>
                        <a:pt x="485" y="295"/>
                      </a:lnTo>
                      <a:lnTo>
                        <a:pt x="484" y="301"/>
                      </a:lnTo>
                      <a:lnTo>
                        <a:pt x="482" y="304"/>
                      </a:lnTo>
                      <a:lnTo>
                        <a:pt x="481" y="321"/>
                      </a:lnTo>
                      <a:lnTo>
                        <a:pt x="485" y="340"/>
                      </a:lnTo>
                      <a:lnTo>
                        <a:pt x="481" y="361"/>
                      </a:lnTo>
                      <a:lnTo>
                        <a:pt x="478" y="361"/>
                      </a:lnTo>
                      <a:lnTo>
                        <a:pt x="478" y="361"/>
                      </a:lnTo>
                      <a:lnTo>
                        <a:pt x="478" y="358"/>
                      </a:lnTo>
                      <a:lnTo>
                        <a:pt x="470" y="358"/>
                      </a:lnTo>
                      <a:lnTo>
                        <a:pt x="467" y="355"/>
                      </a:lnTo>
                      <a:lnTo>
                        <a:pt x="465" y="356"/>
                      </a:lnTo>
                      <a:lnTo>
                        <a:pt x="464" y="360"/>
                      </a:lnTo>
                      <a:lnTo>
                        <a:pt x="461" y="360"/>
                      </a:lnTo>
                      <a:lnTo>
                        <a:pt x="461" y="376"/>
                      </a:lnTo>
                      <a:lnTo>
                        <a:pt x="456" y="389"/>
                      </a:lnTo>
                      <a:lnTo>
                        <a:pt x="459" y="393"/>
                      </a:lnTo>
                      <a:lnTo>
                        <a:pt x="456" y="398"/>
                      </a:lnTo>
                      <a:lnTo>
                        <a:pt x="461" y="401"/>
                      </a:lnTo>
                      <a:lnTo>
                        <a:pt x="461" y="410"/>
                      </a:lnTo>
                      <a:lnTo>
                        <a:pt x="456" y="430"/>
                      </a:lnTo>
                      <a:lnTo>
                        <a:pt x="455" y="430"/>
                      </a:lnTo>
                      <a:lnTo>
                        <a:pt x="455" y="427"/>
                      </a:lnTo>
                      <a:lnTo>
                        <a:pt x="452" y="427"/>
                      </a:lnTo>
                      <a:lnTo>
                        <a:pt x="452" y="421"/>
                      </a:lnTo>
                      <a:lnTo>
                        <a:pt x="448" y="421"/>
                      </a:lnTo>
                      <a:lnTo>
                        <a:pt x="435" y="423"/>
                      </a:lnTo>
                      <a:lnTo>
                        <a:pt x="432" y="424"/>
                      </a:lnTo>
                      <a:lnTo>
                        <a:pt x="424" y="427"/>
                      </a:lnTo>
                      <a:lnTo>
                        <a:pt x="415" y="426"/>
                      </a:lnTo>
                      <a:lnTo>
                        <a:pt x="412" y="423"/>
                      </a:lnTo>
                      <a:lnTo>
                        <a:pt x="412" y="416"/>
                      </a:lnTo>
                      <a:lnTo>
                        <a:pt x="407" y="415"/>
                      </a:lnTo>
                      <a:lnTo>
                        <a:pt x="398" y="420"/>
                      </a:lnTo>
                      <a:lnTo>
                        <a:pt x="389" y="416"/>
                      </a:lnTo>
                      <a:lnTo>
                        <a:pt x="384" y="423"/>
                      </a:lnTo>
                      <a:lnTo>
                        <a:pt x="376" y="424"/>
                      </a:lnTo>
                      <a:lnTo>
                        <a:pt x="373" y="430"/>
                      </a:lnTo>
                      <a:lnTo>
                        <a:pt x="370" y="432"/>
                      </a:lnTo>
                      <a:lnTo>
                        <a:pt x="370" y="435"/>
                      </a:lnTo>
                      <a:lnTo>
                        <a:pt x="361" y="435"/>
                      </a:lnTo>
                      <a:lnTo>
                        <a:pt x="355" y="438"/>
                      </a:lnTo>
                      <a:lnTo>
                        <a:pt x="355" y="438"/>
                      </a:lnTo>
                      <a:lnTo>
                        <a:pt x="349" y="435"/>
                      </a:lnTo>
                      <a:lnTo>
                        <a:pt x="343" y="429"/>
                      </a:lnTo>
                      <a:lnTo>
                        <a:pt x="333" y="426"/>
                      </a:lnTo>
                      <a:lnTo>
                        <a:pt x="338" y="421"/>
                      </a:lnTo>
                      <a:lnTo>
                        <a:pt x="338" y="416"/>
                      </a:lnTo>
                      <a:lnTo>
                        <a:pt x="323" y="407"/>
                      </a:lnTo>
                      <a:lnTo>
                        <a:pt x="317" y="406"/>
                      </a:lnTo>
                      <a:lnTo>
                        <a:pt x="300" y="393"/>
                      </a:lnTo>
                      <a:lnTo>
                        <a:pt x="295" y="392"/>
                      </a:lnTo>
                      <a:lnTo>
                        <a:pt x="272" y="381"/>
                      </a:lnTo>
                      <a:lnTo>
                        <a:pt x="269" y="381"/>
                      </a:lnTo>
                      <a:lnTo>
                        <a:pt x="264" y="378"/>
                      </a:lnTo>
                      <a:lnTo>
                        <a:pt x="251" y="378"/>
                      </a:lnTo>
                      <a:lnTo>
                        <a:pt x="231" y="370"/>
                      </a:lnTo>
                      <a:lnTo>
                        <a:pt x="228" y="373"/>
                      </a:lnTo>
                      <a:lnTo>
                        <a:pt x="226" y="372"/>
                      </a:lnTo>
                      <a:lnTo>
                        <a:pt x="209" y="369"/>
                      </a:lnTo>
                      <a:lnTo>
                        <a:pt x="208" y="366"/>
                      </a:lnTo>
                      <a:lnTo>
                        <a:pt x="205" y="364"/>
                      </a:lnTo>
                      <a:lnTo>
                        <a:pt x="200" y="360"/>
                      </a:lnTo>
                      <a:lnTo>
                        <a:pt x="200" y="358"/>
                      </a:lnTo>
                      <a:lnTo>
                        <a:pt x="201" y="356"/>
                      </a:lnTo>
                      <a:lnTo>
                        <a:pt x="198" y="353"/>
                      </a:lnTo>
                      <a:lnTo>
                        <a:pt x="201" y="352"/>
                      </a:lnTo>
                      <a:lnTo>
                        <a:pt x="200" y="349"/>
                      </a:lnTo>
                      <a:lnTo>
                        <a:pt x="198" y="350"/>
                      </a:lnTo>
                      <a:lnTo>
                        <a:pt x="197" y="349"/>
                      </a:lnTo>
                      <a:lnTo>
                        <a:pt x="195" y="352"/>
                      </a:lnTo>
                      <a:lnTo>
                        <a:pt x="194" y="347"/>
                      </a:lnTo>
                      <a:lnTo>
                        <a:pt x="185" y="346"/>
                      </a:lnTo>
                      <a:lnTo>
                        <a:pt x="175" y="340"/>
                      </a:lnTo>
                      <a:lnTo>
                        <a:pt x="175" y="333"/>
                      </a:lnTo>
                      <a:lnTo>
                        <a:pt x="172" y="332"/>
                      </a:lnTo>
                      <a:lnTo>
                        <a:pt x="168" y="321"/>
                      </a:lnTo>
                      <a:lnTo>
                        <a:pt x="163" y="316"/>
                      </a:lnTo>
                      <a:lnTo>
                        <a:pt x="158" y="313"/>
                      </a:lnTo>
                      <a:lnTo>
                        <a:pt x="152" y="321"/>
                      </a:lnTo>
                      <a:lnTo>
                        <a:pt x="146" y="316"/>
                      </a:lnTo>
                      <a:lnTo>
                        <a:pt x="146" y="310"/>
                      </a:lnTo>
                      <a:lnTo>
                        <a:pt x="151" y="307"/>
                      </a:lnTo>
                      <a:lnTo>
                        <a:pt x="137" y="298"/>
                      </a:lnTo>
                      <a:lnTo>
                        <a:pt x="132" y="278"/>
                      </a:lnTo>
                      <a:lnTo>
                        <a:pt x="132" y="266"/>
                      </a:lnTo>
                      <a:lnTo>
                        <a:pt x="131" y="252"/>
                      </a:lnTo>
                      <a:lnTo>
                        <a:pt x="128" y="246"/>
                      </a:lnTo>
                      <a:lnTo>
                        <a:pt x="125" y="232"/>
                      </a:lnTo>
                      <a:lnTo>
                        <a:pt x="123" y="230"/>
                      </a:lnTo>
                      <a:lnTo>
                        <a:pt x="125" y="227"/>
                      </a:lnTo>
                      <a:lnTo>
                        <a:pt x="129" y="224"/>
                      </a:lnTo>
                      <a:lnTo>
                        <a:pt x="131" y="220"/>
                      </a:lnTo>
                      <a:lnTo>
                        <a:pt x="132" y="218"/>
                      </a:lnTo>
                      <a:lnTo>
                        <a:pt x="131" y="210"/>
                      </a:lnTo>
                      <a:lnTo>
                        <a:pt x="125" y="203"/>
                      </a:lnTo>
                      <a:lnTo>
                        <a:pt x="116" y="203"/>
                      </a:lnTo>
                      <a:lnTo>
                        <a:pt x="114" y="197"/>
                      </a:lnTo>
                      <a:lnTo>
                        <a:pt x="108" y="190"/>
                      </a:lnTo>
                      <a:lnTo>
                        <a:pt x="106" y="184"/>
                      </a:lnTo>
                      <a:lnTo>
                        <a:pt x="96" y="177"/>
                      </a:lnTo>
                      <a:lnTo>
                        <a:pt x="88" y="173"/>
                      </a:lnTo>
                      <a:lnTo>
                        <a:pt x="83" y="166"/>
                      </a:lnTo>
                      <a:lnTo>
                        <a:pt x="73" y="166"/>
                      </a:lnTo>
                      <a:lnTo>
                        <a:pt x="63" y="160"/>
                      </a:lnTo>
                      <a:lnTo>
                        <a:pt x="59" y="160"/>
                      </a:lnTo>
                      <a:lnTo>
                        <a:pt x="50" y="141"/>
                      </a:lnTo>
                      <a:lnTo>
                        <a:pt x="48" y="140"/>
                      </a:lnTo>
                      <a:lnTo>
                        <a:pt x="43" y="141"/>
                      </a:lnTo>
                      <a:lnTo>
                        <a:pt x="42" y="140"/>
                      </a:lnTo>
                      <a:lnTo>
                        <a:pt x="39" y="138"/>
                      </a:lnTo>
                      <a:lnTo>
                        <a:pt x="39" y="138"/>
                      </a:lnTo>
                      <a:lnTo>
                        <a:pt x="37" y="138"/>
                      </a:lnTo>
                      <a:lnTo>
                        <a:pt x="36" y="127"/>
                      </a:lnTo>
                      <a:lnTo>
                        <a:pt x="31" y="127"/>
                      </a:lnTo>
                      <a:lnTo>
                        <a:pt x="23" y="121"/>
                      </a:lnTo>
                      <a:lnTo>
                        <a:pt x="17" y="121"/>
                      </a:lnTo>
                      <a:lnTo>
                        <a:pt x="13" y="123"/>
                      </a:lnTo>
                      <a:lnTo>
                        <a:pt x="7" y="121"/>
                      </a:lnTo>
                      <a:lnTo>
                        <a:pt x="0" y="112"/>
                      </a:lnTo>
                      <a:lnTo>
                        <a:pt x="0" y="104"/>
                      </a:lnTo>
                      <a:lnTo>
                        <a:pt x="11" y="87"/>
                      </a:lnTo>
                      <a:lnTo>
                        <a:pt x="17" y="81"/>
                      </a:lnTo>
                      <a:lnTo>
                        <a:pt x="27" y="81"/>
                      </a:lnTo>
                      <a:lnTo>
                        <a:pt x="34" y="73"/>
                      </a:lnTo>
                      <a:lnTo>
                        <a:pt x="34" y="67"/>
                      </a:lnTo>
                      <a:lnTo>
                        <a:pt x="34" y="67"/>
                      </a:lnTo>
                      <a:lnTo>
                        <a:pt x="46" y="58"/>
                      </a:lnTo>
                      <a:lnTo>
                        <a:pt x="57" y="53"/>
                      </a:lnTo>
                      <a:lnTo>
                        <a:pt x="68" y="53"/>
                      </a:lnTo>
                      <a:lnTo>
                        <a:pt x="74" y="50"/>
                      </a:lnTo>
                      <a:lnTo>
                        <a:pt x="96" y="44"/>
                      </a:lnTo>
                      <a:lnTo>
                        <a:pt x="105" y="38"/>
                      </a:lnTo>
                      <a:lnTo>
                        <a:pt x="120" y="50"/>
                      </a:lnTo>
                      <a:lnTo>
                        <a:pt x="126" y="46"/>
                      </a:lnTo>
                      <a:lnTo>
                        <a:pt x="157" y="44"/>
                      </a:lnTo>
                      <a:lnTo>
                        <a:pt x="166" y="35"/>
                      </a:lnTo>
                      <a:lnTo>
                        <a:pt x="168" y="35"/>
                      </a:lnTo>
                      <a:lnTo>
                        <a:pt x="172" y="47"/>
                      </a:lnTo>
                      <a:lnTo>
                        <a:pt x="172" y="50"/>
                      </a:lnTo>
                      <a:lnTo>
                        <a:pt x="174" y="53"/>
                      </a:lnTo>
                      <a:lnTo>
                        <a:pt x="180" y="55"/>
                      </a:lnTo>
                      <a:lnTo>
                        <a:pt x="183" y="70"/>
                      </a:lnTo>
                      <a:lnTo>
                        <a:pt x="189" y="72"/>
                      </a:lnTo>
                      <a:lnTo>
                        <a:pt x="208" y="57"/>
                      </a:lnTo>
                      <a:lnTo>
                        <a:pt x="206" y="47"/>
                      </a:lnTo>
                      <a:lnTo>
                        <a:pt x="209" y="35"/>
                      </a:lnTo>
                      <a:lnTo>
                        <a:pt x="220" y="35"/>
                      </a:lnTo>
                      <a:lnTo>
                        <a:pt x="237" y="44"/>
                      </a:lnTo>
                      <a:lnTo>
                        <a:pt x="241" y="44"/>
                      </a:lnTo>
                      <a:lnTo>
                        <a:pt x="247" y="40"/>
                      </a:lnTo>
                      <a:lnTo>
                        <a:pt x="258" y="37"/>
                      </a:lnTo>
                      <a:lnTo>
                        <a:pt x="261" y="30"/>
                      </a:lnTo>
                      <a:lnTo>
                        <a:pt x="274" y="24"/>
                      </a:lnTo>
                      <a:lnTo>
                        <a:pt x="290" y="26"/>
                      </a:lnTo>
                      <a:lnTo>
                        <a:pt x="298" y="29"/>
                      </a:lnTo>
                      <a:lnTo>
                        <a:pt x="300" y="29"/>
                      </a:lnTo>
                      <a:lnTo>
                        <a:pt x="304" y="24"/>
                      </a:lnTo>
                      <a:lnTo>
                        <a:pt x="307" y="12"/>
                      </a:lnTo>
                      <a:lnTo>
                        <a:pt x="313" y="9"/>
                      </a:lnTo>
                      <a:lnTo>
                        <a:pt x="323" y="12"/>
                      </a:lnTo>
                      <a:lnTo>
                        <a:pt x="324" y="6"/>
                      </a:lnTo>
                      <a:lnTo>
                        <a:pt x="330" y="18"/>
                      </a:lnTo>
                      <a:lnTo>
                        <a:pt x="341" y="26"/>
                      </a:lnTo>
                      <a:lnTo>
                        <a:pt x="347" y="27"/>
                      </a:lnTo>
                      <a:lnTo>
                        <a:pt x="349" y="30"/>
                      </a:lnTo>
                      <a:lnTo>
                        <a:pt x="352" y="32"/>
                      </a:lnTo>
                      <a:lnTo>
                        <a:pt x="361" y="29"/>
                      </a:lnTo>
                      <a:lnTo>
                        <a:pt x="364" y="23"/>
                      </a:lnTo>
                      <a:lnTo>
                        <a:pt x="378" y="13"/>
                      </a:lnTo>
                      <a:lnTo>
                        <a:pt x="386" y="12"/>
                      </a:lnTo>
                      <a:lnTo>
                        <a:pt x="389" y="7"/>
                      </a:lnTo>
                      <a:lnTo>
                        <a:pt x="398" y="4"/>
                      </a:lnTo>
                      <a:lnTo>
                        <a:pt x="401" y="1"/>
                      </a:lnTo>
                      <a:lnTo>
                        <a:pt x="409" y="0"/>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94" name="Galati" descr="{&quot;Key&quot;:&quot;galati&quot;,&quot;Name&quot;:&quot;Galati&quot;,&quot;Value&quot;:1.0,&quot;Formula&quot;:&quot;&quot;,&quot;Text&quot;:&quot;1&quot;,&quot;OfficeApplication&quot;:0,&quot;HasValue&quot;:true}">
                  <a:extLst>
                    <a:ext uri="{FF2B5EF4-FFF2-40B4-BE49-F238E27FC236}">
                      <a16:creationId xmlns:a16="http://schemas.microsoft.com/office/drawing/2014/main" id="{4A75652D-481C-152A-2389-6D10E000F628}"/>
                    </a:ext>
                  </a:extLst>
                </p:cNvPr>
                <p:cNvSpPr>
                  <a:spLocks/>
                </p:cNvSpPr>
                <p:nvPr/>
              </p:nvSpPr>
              <p:spPr bwMode="auto">
                <a:xfrm>
                  <a:off x="7508875" y="3273426"/>
                  <a:ext cx="625475" cy="700088"/>
                </a:xfrm>
                <a:custGeom>
                  <a:avLst/>
                  <a:gdLst>
                    <a:gd name="T0" fmla="*/ 121 w 394"/>
                    <a:gd name="T1" fmla="*/ 57 h 441"/>
                    <a:gd name="T2" fmla="*/ 150 w 394"/>
                    <a:gd name="T3" fmla="*/ 84 h 441"/>
                    <a:gd name="T4" fmla="*/ 149 w 394"/>
                    <a:gd name="T5" fmla="*/ 40 h 441"/>
                    <a:gd name="T6" fmla="*/ 143 w 394"/>
                    <a:gd name="T7" fmla="*/ 18 h 441"/>
                    <a:gd name="T8" fmla="*/ 167 w 394"/>
                    <a:gd name="T9" fmla="*/ 20 h 441"/>
                    <a:gd name="T10" fmla="*/ 193 w 394"/>
                    <a:gd name="T11" fmla="*/ 20 h 441"/>
                    <a:gd name="T12" fmla="*/ 236 w 394"/>
                    <a:gd name="T13" fmla="*/ 26 h 441"/>
                    <a:gd name="T14" fmla="*/ 255 w 394"/>
                    <a:gd name="T15" fmla="*/ 3 h 441"/>
                    <a:gd name="T16" fmla="*/ 275 w 394"/>
                    <a:gd name="T17" fmla="*/ 10 h 441"/>
                    <a:gd name="T18" fmla="*/ 314 w 394"/>
                    <a:gd name="T19" fmla="*/ 35 h 441"/>
                    <a:gd name="T20" fmla="*/ 356 w 394"/>
                    <a:gd name="T21" fmla="*/ 35 h 441"/>
                    <a:gd name="T22" fmla="*/ 351 w 394"/>
                    <a:gd name="T23" fmla="*/ 44 h 441"/>
                    <a:gd name="T24" fmla="*/ 342 w 394"/>
                    <a:gd name="T25" fmla="*/ 55 h 441"/>
                    <a:gd name="T26" fmla="*/ 347 w 394"/>
                    <a:gd name="T27" fmla="*/ 67 h 441"/>
                    <a:gd name="T28" fmla="*/ 341 w 394"/>
                    <a:gd name="T29" fmla="*/ 89 h 441"/>
                    <a:gd name="T30" fmla="*/ 350 w 394"/>
                    <a:gd name="T31" fmla="*/ 115 h 441"/>
                    <a:gd name="T32" fmla="*/ 354 w 394"/>
                    <a:gd name="T33" fmla="*/ 150 h 441"/>
                    <a:gd name="T34" fmla="*/ 359 w 394"/>
                    <a:gd name="T35" fmla="*/ 163 h 441"/>
                    <a:gd name="T36" fmla="*/ 350 w 394"/>
                    <a:gd name="T37" fmla="*/ 184 h 441"/>
                    <a:gd name="T38" fmla="*/ 356 w 394"/>
                    <a:gd name="T39" fmla="*/ 209 h 441"/>
                    <a:gd name="T40" fmla="*/ 370 w 394"/>
                    <a:gd name="T41" fmla="*/ 223 h 441"/>
                    <a:gd name="T42" fmla="*/ 374 w 394"/>
                    <a:gd name="T43" fmla="*/ 246 h 441"/>
                    <a:gd name="T44" fmla="*/ 373 w 394"/>
                    <a:gd name="T45" fmla="*/ 272 h 441"/>
                    <a:gd name="T46" fmla="*/ 376 w 394"/>
                    <a:gd name="T47" fmla="*/ 296 h 441"/>
                    <a:gd name="T48" fmla="*/ 365 w 394"/>
                    <a:gd name="T49" fmla="*/ 310 h 441"/>
                    <a:gd name="T50" fmla="*/ 344 w 394"/>
                    <a:gd name="T51" fmla="*/ 316 h 441"/>
                    <a:gd name="T52" fmla="*/ 357 w 394"/>
                    <a:gd name="T53" fmla="*/ 338 h 441"/>
                    <a:gd name="T54" fmla="*/ 370 w 394"/>
                    <a:gd name="T55" fmla="*/ 336 h 441"/>
                    <a:gd name="T56" fmla="*/ 373 w 394"/>
                    <a:gd name="T57" fmla="*/ 360 h 441"/>
                    <a:gd name="T58" fmla="*/ 373 w 394"/>
                    <a:gd name="T59" fmla="*/ 373 h 441"/>
                    <a:gd name="T60" fmla="*/ 388 w 394"/>
                    <a:gd name="T61" fmla="*/ 401 h 441"/>
                    <a:gd name="T62" fmla="*/ 354 w 394"/>
                    <a:gd name="T63" fmla="*/ 412 h 441"/>
                    <a:gd name="T64" fmla="*/ 308 w 394"/>
                    <a:gd name="T65" fmla="*/ 436 h 441"/>
                    <a:gd name="T66" fmla="*/ 267 w 394"/>
                    <a:gd name="T67" fmla="*/ 426 h 441"/>
                    <a:gd name="T68" fmla="*/ 255 w 394"/>
                    <a:gd name="T69" fmla="*/ 435 h 441"/>
                    <a:gd name="T70" fmla="*/ 222 w 394"/>
                    <a:gd name="T71" fmla="*/ 427 h 441"/>
                    <a:gd name="T72" fmla="*/ 199 w 394"/>
                    <a:gd name="T73" fmla="*/ 406 h 441"/>
                    <a:gd name="T74" fmla="*/ 181 w 394"/>
                    <a:gd name="T75" fmla="*/ 398 h 441"/>
                    <a:gd name="T76" fmla="*/ 172 w 394"/>
                    <a:gd name="T77" fmla="*/ 384 h 441"/>
                    <a:gd name="T78" fmla="*/ 136 w 394"/>
                    <a:gd name="T79" fmla="*/ 386 h 441"/>
                    <a:gd name="T80" fmla="*/ 123 w 394"/>
                    <a:gd name="T81" fmla="*/ 383 h 441"/>
                    <a:gd name="T82" fmla="*/ 117 w 394"/>
                    <a:gd name="T83" fmla="*/ 349 h 441"/>
                    <a:gd name="T84" fmla="*/ 121 w 394"/>
                    <a:gd name="T85" fmla="*/ 332 h 441"/>
                    <a:gd name="T86" fmla="*/ 113 w 394"/>
                    <a:gd name="T87" fmla="*/ 312 h 441"/>
                    <a:gd name="T88" fmla="*/ 95 w 394"/>
                    <a:gd name="T89" fmla="*/ 303 h 441"/>
                    <a:gd name="T90" fmla="*/ 87 w 394"/>
                    <a:gd name="T91" fmla="*/ 278 h 441"/>
                    <a:gd name="T92" fmla="*/ 52 w 394"/>
                    <a:gd name="T93" fmla="*/ 243 h 441"/>
                    <a:gd name="T94" fmla="*/ 40 w 394"/>
                    <a:gd name="T95" fmla="*/ 212 h 441"/>
                    <a:gd name="T96" fmla="*/ 20 w 394"/>
                    <a:gd name="T97" fmla="*/ 147 h 441"/>
                    <a:gd name="T98" fmla="*/ 3 w 394"/>
                    <a:gd name="T99" fmla="*/ 109 h 441"/>
                    <a:gd name="T100" fmla="*/ 11 w 394"/>
                    <a:gd name="T101" fmla="*/ 73 h 441"/>
                    <a:gd name="T102" fmla="*/ 29 w 394"/>
                    <a:gd name="T103" fmla="*/ 50 h 441"/>
                    <a:gd name="T104" fmla="*/ 80 w 394"/>
                    <a:gd name="T105" fmla="*/ 38 h 441"/>
                    <a:gd name="T106" fmla="*/ 101 w 394"/>
                    <a:gd name="T107" fmla="*/ 24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4" h="441">
                      <a:moveTo>
                        <a:pt x="101" y="18"/>
                      </a:moveTo>
                      <a:lnTo>
                        <a:pt x="112" y="20"/>
                      </a:lnTo>
                      <a:lnTo>
                        <a:pt x="118" y="29"/>
                      </a:lnTo>
                      <a:lnTo>
                        <a:pt x="121" y="33"/>
                      </a:lnTo>
                      <a:lnTo>
                        <a:pt x="117" y="47"/>
                      </a:lnTo>
                      <a:lnTo>
                        <a:pt x="121" y="57"/>
                      </a:lnTo>
                      <a:lnTo>
                        <a:pt x="115" y="63"/>
                      </a:lnTo>
                      <a:lnTo>
                        <a:pt x="120" y="69"/>
                      </a:lnTo>
                      <a:lnTo>
                        <a:pt x="124" y="81"/>
                      </a:lnTo>
                      <a:lnTo>
                        <a:pt x="138" y="92"/>
                      </a:lnTo>
                      <a:lnTo>
                        <a:pt x="143" y="90"/>
                      </a:lnTo>
                      <a:lnTo>
                        <a:pt x="150" y="84"/>
                      </a:lnTo>
                      <a:lnTo>
                        <a:pt x="150" y="75"/>
                      </a:lnTo>
                      <a:lnTo>
                        <a:pt x="149" y="72"/>
                      </a:lnTo>
                      <a:lnTo>
                        <a:pt x="150" y="63"/>
                      </a:lnTo>
                      <a:lnTo>
                        <a:pt x="159" y="60"/>
                      </a:lnTo>
                      <a:lnTo>
                        <a:pt x="153" y="50"/>
                      </a:lnTo>
                      <a:lnTo>
                        <a:pt x="149" y="40"/>
                      </a:lnTo>
                      <a:lnTo>
                        <a:pt x="146" y="35"/>
                      </a:lnTo>
                      <a:lnTo>
                        <a:pt x="147" y="32"/>
                      </a:lnTo>
                      <a:lnTo>
                        <a:pt x="143" y="26"/>
                      </a:lnTo>
                      <a:lnTo>
                        <a:pt x="144" y="23"/>
                      </a:lnTo>
                      <a:lnTo>
                        <a:pt x="149" y="24"/>
                      </a:lnTo>
                      <a:lnTo>
                        <a:pt x="143" y="18"/>
                      </a:lnTo>
                      <a:lnTo>
                        <a:pt x="144" y="9"/>
                      </a:lnTo>
                      <a:lnTo>
                        <a:pt x="150" y="12"/>
                      </a:lnTo>
                      <a:lnTo>
                        <a:pt x="152" y="10"/>
                      </a:lnTo>
                      <a:lnTo>
                        <a:pt x="153" y="15"/>
                      </a:lnTo>
                      <a:lnTo>
                        <a:pt x="158" y="17"/>
                      </a:lnTo>
                      <a:lnTo>
                        <a:pt x="167" y="20"/>
                      </a:lnTo>
                      <a:lnTo>
                        <a:pt x="169" y="18"/>
                      </a:lnTo>
                      <a:lnTo>
                        <a:pt x="175" y="23"/>
                      </a:lnTo>
                      <a:lnTo>
                        <a:pt x="176" y="20"/>
                      </a:lnTo>
                      <a:lnTo>
                        <a:pt x="179" y="21"/>
                      </a:lnTo>
                      <a:lnTo>
                        <a:pt x="184" y="15"/>
                      </a:lnTo>
                      <a:lnTo>
                        <a:pt x="193" y="20"/>
                      </a:lnTo>
                      <a:lnTo>
                        <a:pt x="204" y="21"/>
                      </a:lnTo>
                      <a:lnTo>
                        <a:pt x="210" y="18"/>
                      </a:lnTo>
                      <a:lnTo>
                        <a:pt x="213" y="29"/>
                      </a:lnTo>
                      <a:lnTo>
                        <a:pt x="218" y="30"/>
                      </a:lnTo>
                      <a:lnTo>
                        <a:pt x="230" y="29"/>
                      </a:lnTo>
                      <a:lnTo>
                        <a:pt x="236" y="26"/>
                      </a:lnTo>
                      <a:lnTo>
                        <a:pt x="239" y="27"/>
                      </a:lnTo>
                      <a:lnTo>
                        <a:pt x="239" y="21"/>
                      </a:lnTo>
                      <a:lnTo>
                        <a:pt x="247" y="15"/>
                      </a:lnTo>
                      <a:lnTo>
                        <a:pt x="245" y="9"/>
                      </a:lnTo>
                      <a:lnTo>
                        <a:pt x="247" y="4"/>
                      </a:lnTo>
                      <a:lnTo>
                        <a:pt x="255" y="3"/>
                      </a:lnTo>
                      <a:lnTo>
                        <a:pt x="256" y="0"/>
                      </a:lnTo>
                      <a:lnTo>
                        <a:pt x="258" y="0"/>
                      </a:lnTo>
                      <a:lnTo>
                        <a:pt x="256" y="10"/>
                      </a:lnTo>
                      <a:lnTo>
                        <a:pt x="258" y="13"/>
                      </a:lnTo>
                      <a:lnTo>
                        <a:pt x="271" y="7"/>
                      </a:lnTo>
                      <a:lnTo>
                        <a:pt x="275" y="10"/>
                      </a:lnTo>
                      <a:lnTo>
                        <a:pt x="279" y="9"/>
                      </a:lnTo>
                      <a:lnTo>
                        <a:pt x="284" y="17"/>
                      </a:lnTo>
                      <a:lnTo>
                        <a:pt x="294" y="13"/>
                      </a:lnTo>
                      <a:lnTo>
                        <a:pt x="299" y="32"/>
                      </a:lnTo>
                      <a:lnTo>
                        <a:pt x="310" y="26"/>
                      </a:lnTo>
                      <a:lnTo>
                        <a:pt x="314" y="35"/>
                      </a:lnTo>
                      <a:lnTo>
                        <a:pt x="321" y="33"/>
                      </a:lnTo>
                      <a:lnTo>
                        <a:pt x="337" y="27"/>
                      </a:lnTo>
                      <a:lnTo>
                        <a:pt x="350" y="27"/>
                      </a:lnTo>
                      <a:lnTo>
                        <a:pt x="353" y="30"/>
                      </a:lnTo>
                      <a:lnTo>
                        <a:pt x="353" y="30"/>
                      </a:lnTo>
                      <a:lnTo>
                        <a:pt x="356" y="35"/>
                      </a:lnTo>
                      <a:lnTo>
                        <a:pt x="351" y="35"/>
                      </a:lnTo>
                      <a:lnTo>
                        <a:pt x="350" y="38"/>
                      </a:lnTo>
                      <a:lnTo>
                        <a:pt x="348" y="38"/>
                      </a:lnTo>
                      <a:lnTo>
                        <a:pt x="350" y="40"/>
                      </a:lnTo>
                      <a:lnTo>
                        <a:pt x="350" y="43"/>
                      </a:lnTo>
                      <a:lnTo>
                        <a:pt x="351" y="44"/>
                      </a:lnTo>
                      <a:lnTo>
                        <a:pt x="350" y="46"/>
                      </a:lnTo>
                      <a:lnTo>
                        <a:pt x="350" y="49"/>
                      </a:lnTo>
                      <a:lnTo>
                        <a:pt x="347" y="47"/>
                      </a:lnTo>
                      <a:lnTo>
                        <a:pt x="345" y="49"/>
                      </a:lnTo>
                      <a:lnTo>
                        <a:pt x="344" y="49"/>
                      </a:lnTo>
                      <a:lnTo>
                        <a:pt x="342" y="55"/>
                      </a:lnTo>
                      <a:lnTo>
                        <a:pt x="347" y="57"/>
                      </a:lnTo>
                      <a:lnTo>
                        <a:pt x="345" y="60"/>
                      </a:lnTo>
                      <a:lnTo>
                        <a:pt x="342" y="60"/>
                      </a:lnTo>
                      <a:lnTo>
                        <a:pt x="344" y="63"/>
                      </a:lnTo>
                      <a:lnTo>
                        <a:pt x="348" y="63"/>
                      </a:lnTo>
                      <a:lnTo>
                        <a:pt x="347" y="67"/>
                      </a:lnTo>
                      <a:lnTo>
                        <a:pt x="348" y="69"/>
                      </a:lnTo>
                      <a:lnTo>
                        <a:pt x="345" y="69"/>
                      </a:lnTo>
                      <a:lnTo>
                        <a:pt x="344" y="72"/>
                      </a:lnTo>
                      <a:lnTo>
                        <a:pt x="342" y="81"/>
                      </a:lnTo>
                      <a:lnTo>
                        <a:pt x="345" y="84"/>
                      </a:lnTo>
                      <a:lnTo>
                        <a:pt x="341" y="89"/>
                      </a:lnTo>
                      <a:lnTo>
                        <a:pt x="350" y="100"/>
                      </a:lnTo>
                      <a:lnTo>
                        <a:pt x="347" y="106"/>
                      </a:lnTo>
                      <a:lnTo>
                        <a:pt x="350" y="106"/>
                      </a:lnTo>
                      <a:lnTo>
                        <a:pt x="348" y="109"/>
                      </a:lnTo>
                      <a:lnTo>
                        <a:pt x="351" y="112"/>
                      </a:lnTo>
                      <a:lnTo>
                        <a:pt x="350" y="115"/>
                      </a:lnTo>
                      <a:lnTo>
                        <a:pt x="353" y="118"/>
                      </a:lnTo>
                      <a:lnTo>
                        <a:pt x="354" y="126"/>
                      </a:lnTo>
                      <a:lnTo>
                        <a:pt x="353" y="130"/>
                      </a:lnTo>
                      <a:lnTo>
                        <a:pt x="357" y="138"/>
                      </a:lnTo>
                      <a:lnTo>
                        <a:pt x="354" y="146"/>
                      </a:lnTo>
                      <a:lnTo>
                        <a:pt x="354" y="150"/>
                      </a:lnTo>
                      <a:lnTo>
                        <a:pt x="353" y="152"/>
                      </a:lnTo>
                      <a:lnTo>
                        <a:pt x="354" y="158"/>
                      </a:lnTo>
                      <a:lnTo>
                        <a:pt x="353" y="161"/>
                      </a:lnTo>
                      <a:lnTo>
                        <a:pt x="356" y="161"/>
                      </a:lnTo>
                      <a:lnTo>
                        <a:pt x="359" y="160"/>
                      </a:lnTo>
                      <a:lnTo>
                        <a:pt x="359" y="163"/>
                      </a:lnTo>
                      <a:lnTo>
                        <a:pt x="359" y="164"/>
                      </a:lnTo>
                      <a:lnTo>
                        <a:pt x="360" y="164"/>
                      </a:lnTo>
                      <a:lnTo>
                        <a:pt x="359" y="172"/>
                      </a:lnTo>
                      <a:lnTo>
                        <a:pt x="350" y="175"/>
                      </a:lnTo>
                      <a:lnTo>
                        <a:pt x="353" y="180"/>
                      </a:lnTo>
                      <a:lnTo>
                        <a:pt x="350" y="184"/>
                      </a:lnTo>
                      <a:lnTo>
                        <a:pt x="353" y="189"/>
                      </a:lnTo>
                      <a:lnTo>
                        <a:pt x="351" y="190"/>
                      </a:lnTo>
                      <a:lnTo>
                        <a:pt x="353" y="197"/>
                      </a:lnTo>
                      <a:lnTo>
                        <a:pt x="351" y="200"/>
                      </a:lnTo>
                      <a:lnTo>
                        <a:pt x="354" y="200"/>
                      </a:lnTo>
                      <a:lnTo>
                        <a:pt x="356" y="209"/>
                      </a:lnTo>
                      <a:lnTo>
                        <a:pt x="356" y="212"/>
                      </a:lnTo>
                      <a:lnTo>
                        <a:pt x="353" y="210"/>
                      </a:lnTo>
                      <a:lnTo>
                        <a:pt x="353" y="212"/>
                      </a:lnTo>
                      <a:lnTo>
                        <a:pt x="360" y="221"/>
                      </a:lnTo>
                      <a:lnTo>
                        <a:pt x="368" y="218"/>
                      </a:lnTo>
                      <a:lnTo>
                        <a:pt x="370" y="223"/>
                      </a:lnTo>
                      <a:lnTo>
                        <a:pt x="367" y="224"/>
                      </a:lnTo>
                      <a:lnTo>
                        <a:pt x="367" y="229"/>
                      </a:lnTo>
                      <a:lnTo>
                        <a:pt x="365" y="230"/>
                      </a:lnTo>
                      <a:lnTo>
                        <a:pt x="368" y="235"/>
                      </a:lnTo>
                      <a:lnTo>
                        <a:pt x="368" y="241"/>
                      </a:lnTo>
                      <a:lnTo>
                        <a:pt x="374" y="246"/>
                      </a:lnTo>
                      <a:lnTo>
                        <a:pt x="371" y="252"/>
                      </a:lnTo>
                      <a:lnTo>
                        <a:pt x="374" y="253"/>
                      </a:lnTo>
                      <a:lnTo>
                        <a:pt x="373" y="256"/>
                      </a:lnTo>
                      <a:lnTo>
                        <a:pt x="376" y="260"/>
                      </a:lnTo>
                      <a:lnTo>
                        <a:pt x="371" y="264"/>
                      </a:lnTo>
                      <a:lnTo>
                        <a:pt x="373" y="272"/>
                      </a:lnTo>
                      <a:lnTo>
                        <a:pt x="376" y="278"/>
                      </a:lnTo>
                      <a:lnTo>
                        <a:pt x="373" y="287"/>
                      </a:lnTo>
                      <a:lnTo>
                        <a:pt x="373" y="292"/>
                      </a:lnTo>
                      <a:lnTo>
                        <a:pt x="371" y="293"/>
                      </a:lnTo>
                      <a:lnTo>
                        <a:pt x="376" y="295"/>
                      </a:lnTo>
                      <a:lnTo>
                        <a:pt x="376" y="296"/>
                      </a:lnTo>
                      <a:lnTo>
                        <a:pt x="370" y="301"/>
                      </a:lnTo>
                      <a:lnTo>
                        <a:pt x="368" y="304"/>
                      </a:lnTo>
                      <a:lnTo>
                        <a:pt x="371" y="307"/>
                      </a:lnTo>
                      <a:lnTo>
                        <a:pt x="370" y="309"/>
                      </a:lnTo>
                      <a:lnTo>
                        <a:pt x="368" y="306"/>
                      </a:lnTo>
                      <a:lnTo>
                        <a:pt x="365" y="310"/>
                      </a:lnTo>
                      <a:lnTo>
                        <a:pt x="364" y="307"/>
                      </a:lnTo>
                      <a:lnTo>
                        <a:pt x="359" y="309"/>
                      </a:lnTo>
                      <a:lnTo>
                        <a:pt x="359" y="312"/>
                      </a:lnTo>
                      <a:lnTo>
                        <a:pt x="356" y="307"/>
                      </a:lnTo>
                      <a:lnTo>
                        <a:pt x="353" y="307"/>
                      </a:lnTo>
                      <a:lnTo>
                        <a:pt x="344" y="316"/>
                      </a:lnTo>
                      <a:lnTo>
                        <a:pt x="344" y="320"/>
                      </a:lnTo>
                      <a:lnTo>
                        <a:pt x="345" y="324"/>
                      </a:lnTo>
                      <a:lnTo>
                        <a:pt x="353" y="330"/>
                      </a:lnTo>
                      <a:lnTo>
                        <a:pt x="356" y="338"/>
                      </a:lnTo>
                      <a:lnTo>
                        <a:pt x="357" y="336"/>
                      </a:lnTo>
                      <a:lnTo>
                        <a:pt x="357" y="338"/>
                      </a:lnTo>
                      <a:lnTo>
                        <a:pt x="359" y="336"/>
                      </a:lnTo>
                      <a:lnTo>
                        <a:pt x="360" y="338"/>
                      </a:lnTo>
                      <a:lnTo>
                        <a:pt x="362" y="335"/>
                      </a:lnTo>
                      <a:lnTo>
                        <a:pt x="362" y="335"/>
                      </a:lnTo>
                      <a:lnTo>
                        <a:pt x="365" y="341"/>
                      </a:lnTo>
                      <a:lnTo>
                        <a:pt x="370" y="336"/>
                      </a:lnTo>
                      <a:lnTo>
                        <a:pt x="370" y="341"/>
                      </a:lnTo>
                      <a:lnTo>
                        <a:pt x="367" y="344"/>
                      </a:lnTo>
                      <a:lnTo>
                        <a:pt x="371" y="344"/>
                      </a:lnTo>
                      <a:lnTo>
                        <a:pt x="370" y="347"/>
                      </a:lnTo>
                      <a:lnTo>
                        <a:pt x="373" y="353"/>
                      </a:lnTo>
                      <a:lnTo>
                        <a:pt x="373" y="360"/>
                      </a:lnTo>
                      <a:lnTo>
                        <a:pt x="373" y="364"/>
                      </a:lnTo>
                      <a:lnTo>
                        <a:pt x="370" y="366"/>
                      </a:lnTo>
                      <a:lnTo>
                        <a:pt x="373" y="369"/>
                      </a:lnTo>
                      <a:lnTo>
                        <a:pt x="371" y="372"/>
                      </a:lnTo>
                      <a:lnTo>
                        <a:pt x="370" y="373"/>
                      </a:lnTo>
                      <a:lnTo>
                        <a:pt x="373" y="373"/>
                      </a:lnTo>
                      <a:lnTo>
                        <a:pt x="373" y="378"/>
                      </a:lnTo>
                      <a:lnTo>
                        <a:pt x="376" y="380"/>
                      </a:lnTo>
                      <a:lnTo>
                        <a:pt x="382" y="393"/>
                      </a:lnTo>
                      <a:lnTo>
                        <a:pt x="394" y="398"/>
                      </a:lnTo>
                      <a:lnTo>
                        <a:pt x="394" y="398"/>
                      </a:lnTo>
                      <a:lnTo>
                        <a:pt x="388" y="401"/>
                      </a:lnTo>
                      <a:lnTo>
                        <a:pt x="385" y="407"/>
                      </a:lnTo>
                      <a:lnTo>
                        <a:pt x="385" y="426"/>
                      </a:lnTo>
                      <a:lnTo>
                        <a:pt x="382" y="427"/>
                      </a:lnTo>
                      <a:lnTo>
                        <a:pt x="377" y="427"/>
                      </a:lnTo>
                      <a:lnTo>
                        <a:pt x="362" y="415"/>
                      </a:lnTo>
                      <a:lnTo>
                        <a:pt x="354" y="412"/>
                      </a:lnTo>
                      <a:lnTo>
                        <a:pt x="345" y="412"/>
                      </a:lnTo>
                      <a:lnTo>
                        <a:pt x="331" y="420"/>
                      </a:lnTo>
                      <a:lnTo>
                        <a:pt x="322" y="427"/>
                      </a:lnTo>
                      <a:lnTo>
                        <a:pt x="319" y="433"/>
                      </a:lnTo>
                      <a:lnTo>
                        <a:pt x="319" y="433"/>
                      </a:lnTo>
                      <a:lnTo>
                        <a:pt x="308" y="436"/>
                      </a:lnTo>
                      <a:lnTo>
                        <a:pt x="304" y="435"/>
                      </a:lnTo>
                      <a:lnTo>
                        <a:pt x="301" y="441"/>
                      </a:lnTo>
                      <a:lnTo>
                        <a:pt x="290" y="433"/>
                      </a:lnTo>
                      <a:lnTo>
                        <a:pt x="284" y="432"/>
                      </a:lnTo>
                      <a:lnTo>
                        <a:pt x="275" y="432"/>
                      </a:lnTo>
                      <a:lnTo>
                        <a:pt x="267" y="426"/>
                      </a:lnTo>
                      <a:lnTo>
                        <a:pt x="261" y="424"/>
                      </a:lnTo>
                      <a:lnTo>
                        <a:pt x="261" y="427"/>
                      </a:lnTo>
                      <a:lnTo>
                        <a:pt x="256" y="426"/>
                      </a:lnTo>
                      <a:lnTo>
                        <a:pt x="255" y="432"/>
                      </a:lnTo>
                      <a:lnTo>
                        <a:pt x="250" y="433"/>
                      </a:lnTo>
                      <a:lnTo>
                        <a:pt x="255" y="435"/>
                      </a:lnTo>
                      <a:lnTo>
                        <a:pt x="253" y="436"/>
                      </a:lnTo>
                      <a:lnTo>
                        <a:pt x="245" y="435"/>
                      </a:lnTo>
                      <a:lnTo>
                        <a:pt x="233" y="438"/>
                      </a:lnTo>
                      <a:lnTo>
                        <a:pt x="233" y="433"/>
                      </a:lnTo>
                      <a:lnTo>
                        <a:pt x="221" y="430"/>
                      </a:lnTo>
                      <a:lnTo>
                        <a:pt x="222" y="427"/>
                      </a:lnTo>
                      <a:lnTo>
                        <a:pt x="221" y="423"/>
                      </a:lnTo>
                      <a:lnTo>
                        <a:pt x="204" y="427"/>
                      </a:lnTo>
                      <a:lnTo>
                        <a:pt x="204" y="424"/>
                      </a:lnTo>
                      <a:lnTo>
                        <a:pt x="207" y="409"/>
                      </a:lnTo>
                      <a:lnTo>
                        <a:pt x="201" y="412"/>
                      </a:lnTo>
                      <a:lnTo>
                        <a:pt x="199" y="406"/>
                      </a:lnTo>
                      <a:lnTo>
                        <a:pt x="193" y="409"/>
                      </a:lnTo>
                      <a:lnTo>
                        <a:pt x="192" y="407"/>
                      </a:lnTo>
                      <a:lnTo>
                        <a:pt x="195" y="404"/>
                      </a:lnTo>
                      <a:lnTo>
                        <a:pt x="195" y="401"/>
                      </a:lnTo>
                      <a:lnTo>
                        <a:pt x="181" y="400"/>
                      </a:lnTo>
                      <a:lnTo>
                        <a:pt x="181" y="398"/>
                      </a:lnTo>
                      <a:lnTo>
                        <a:pt x="186" y="393"/>
                      </a:lnTo>
                      <a:lnTo>
                        <a:pt x="184" y="389"/>
                      </a:lnTo>
                      <a:lnTo>
                        <a:pt x="172" y="395"/>
                      </a:lnTo>
                      <a:lnTo>
                        <a:pt x="172" y="392"/>
                      </a:lnTo>
                      <a:lnTo>
                        <a:pt x="173" y="386"/>
                      </a:lnTo>
                      <a:lnTo>
                        <a:pt x="172" y="384"/>
                      </a:lnTo>
                      <a:lnTo>
                        <a:pt x="159" y="393"/>
                      </a:lnTo>
                      <a:lnTo>
                        <a:pt x="161" y="398"/>
                      </a:lnTo>
                      <a:lnTo>
                        <a:pt x="153" y="400"/>
                      </a:lnTo>
                      <a:lnTo>
                        <a:pt x="153" y="396"/>
                      </a:lnTo>
                      <a:lnTo>
                        <a:pt x="149" y="387"/>
                      </a:lnTo>
                      <a:lnTo>
                        <a:pt x="136" y="386"/>
                      </a:lnTo>
                      <a:lnTo>
                        <a:pt x="133" y="383"/>
                      </a:lnTo>
                      <a:lnTo>
                        <a:pt x="130" y="387"/>
                      </a:lnTo>
                      <a:lnTo>
                        <a:pt x="130" y="387"/>
                      </a:lnTo>
                      <a:lnTo>
                        <a:pt x="126" y="383"/>
                      </a:lnTo>
                      <a:lnTo>
                        <a:pt x="127" y="380"/>
                      </a:lnTo>
                      <a:lnTo>
                        <a:pt x="123" y="383"/>
                      </a:lnTo>
                      <a:lnTo>
                        <a:pt x="118" y="381"/>
                      </a:lnTo>
                      <a:lnTo>
                        <a:pt x="121" y="376"/>
                      </a:lnTo>
                      <a:lnTo>
                        <a:pt x="124" y="375"/>
                      </a:lnTo>
                      <a:lnTo>
                        <a:pt x="117" y="364"/>
                      </a:lnTo>
                      <a:lnTo>
                        <a:pt x="120" y="353"/>
                      </a:lnTo>
                      <a:lnTo>
                        <a:pt x="117" y="349"/>
                      </a:lnTo>
                      <a:lnTo>
                        <a:pt x="110" y="344"/>
                      </a:lnTo>
                      <a:lnTo>
                        <a:pt x="110" y="341"/>
                      </a:lnTo>
                      <a:lnTo>
                        <a:pt x="112" y="336"/>
                      </a:lnTo>
                      <a:lnTo>
                        <a:pt x="121" y="335"/>
                      </a:lnTo>
                      <a:lnTo>
                        <a:pt x="123" y="333"/>
                      </a:lnTo>
                      <a:lnTo>
                        <a:pt x="121" y="332"/>
                      </a:lnTo>
                      <a:lnTo>
                        <a:pt x="117" y="329"/>
                      </a:lnTo>
                      <a:lnTo>
                        <a:pt x="115" y="320"/>
                      </a:lnTo>
                      <a:lnTo>
                        <a:pt x="112" y="318"/>
                      </a:lnTo>
                      <a:lnTo>
                        <a:pt x="107" y="320"/>
                      </a:lnTo>
                      <a:lnTo>
                        <a:pt x="113" y="315"/>
                      </a:lnTo>
                      <a:lnTo>
                        <a:pt x="113" y="312"/>
                      </a:lnTo>
                      <a:lnTo>
                        <a:pt x="109" y="307"/>
                      </a:lnTo>
                      <a:lnTo>
                        <a:pt x="104" y="309"/>
                      </a:lnTo>
                      <a:lnTo>
                        <a:pt x="106" y="306"/>
                      </a:lnTo>
                      <a:lnTo>
                        <a:pt x="103" y="304"/>
                      </a:lnTo>
                      <a:lnTo>
                        <a:pt x="103" y="300"/>
                      </a:lnTo>
                      <a:lnTo>
                        <a:pt x="95" y="303"/>
                      </a:lnTo>
                      <a:lnTo>
                        <a:pt x="95" y="298"/>
                      </a:lnTo>
                      <a:lnTo>
                        <a:pt x="92" y="296"/>
                      </a:lnTo>
                      <a:lnTo>
                        <a:pt x="89" y="292"/>
                      </a:lnTo>
                      <a:lnTo>
                        <a:pt x="92" y="289"/>
                      </a:lnTo>
                      <a:lnTo>
                        <a:pt x="87" y="286"/>
                      </a:lnTo>
                      <a:lnTo>
                        <a:pt x="87" y="278"/>
                      </a:lnTo>
                      <a:lnTo>
                        <a:pt x="81" y="280"/>
                      </a:lnTo>
                      <a:lnTo>
                        <a:pt x="80" y="284"/>
                      </a:lnTo>
                      <a:lnTo>
                        <a:pt x="78" y="283"/>
                      </a:lnTo>
                      <a:lnTo>
                        <a:pt x="70" y="276"/>
                      </a:lnTo>
                      <a:lnTo>
                        <a:pt x="54" y="249"/>
                      </a:lnTo>
                      <a:lnTo>
                        <a:pt x="52" y="243"/>
                      </a:lnTo>
                      <a:lnTo>
                        <a:pt x="54" y="236"/>
                      </a:lnTo>
                      <a:lnTo>
                        <a:pt x="52" y="227"/>
                      </a:lnTo>
                      <a:lnTo>
                        <a:pt x="47" y="221"/>
                      </a:lnTo>
                      <a:lnTo>
                        <a:pt x="47" y="215"/>
                      </a:lnTo>
                      <a:lnTo>
                        <a:pt x="43" y="215"/>
                      </a:lnTo>
                      <a:lnTo>
                        <a:pt x="40" y="212"/>
                      </a:lnTo>
                      <a:lnTo>
                        <a:pt x="38" y="193"/>
                      </a:lnTo>
                      <a:lnTo>
                        <a:pt x="34" y="186"/>
                      </a:lnTo>
                      <a:lnTo>
                        <a:pt x="29" y="167"/>
                      </a:lnTo>
                      <a:lnTo>
                        <a:pt x="24" y="161"/>
                      </a:lnTo>
                      <a:lnTo>
                        <a:pt x="23" y="155"/>
                      </a:lnTo>
                      <a:lnTo>
                        <a:pt x="20" y="147"/>
                      </a:lnTo>
                      <a:lnTo>
                        <a:pt x="14" y="130"/>
                      </a:lnTo>
                      <a:lnTo>
                        <a:pt x="11" y="129"/>
                      </a:lnTo>
                      <a:lnTo>
                        <a:pt x="11" y="126"/>
                      </a:lnTo>
                      <a:lnTo>
                        <a:pt x="8" y="126"/>
                      </a:lnTo>
                      <a:lnTo>
                        <a:pt x="8" y="115"/>
                      </a:lnTo>
                      <a:lnTo>
                        <a:pt x="3" y="109"/>
                      </a:lnTo>
                      <a:lnTo>
                        <a:pt x="0" y="95"/>
                      </a:lnTo>
                      <a:lnTo>
                        <a:pt x="1" y="92"/>
                      </a:lnTo>
                      <a:lnTo>
                        <a:pt x="0" y="86"/>
                      </a:lnTo>
                      <a:lnTo>
                        <a:pt x="0" y="83"/>
                      </a:lnTo>
                      <a:lnTo>
                        <a:pt x="8" y="80"/>
                      </a:lnTo>
                      <a:lnTo>
                        <a:pt x="11" y="73"/>
                      </a:lnTo>
                      <a:lnTo>
                        <a:pt x="15" y="73"/>
                      </a:lnTo>
                      <a:lnTo>
                        <a:pt x="21" y="70"/>
                      </a:lnTo>
                      <a:lnTo>
                        <a:pt x="23" y="69"/>
                      </a:lnTo>
                      <a:lnTo>
                        <a:pt x="20" y="61"/>
                      </a:lnTo>
                      <a:lnTo>
                        <a:pt x="23" y="60"/>
                      </a:lnTo>
                      <a:lnTo>
                        <a:pt x="29" y="50"/>
                      </a:lnTo>
                      <a:lnTo>
                        <a:pt x="43" y="49"/>
                      </a:lnTo>
                      <a:lnTo>
                        <a:pt x="55" y="49"/>
                      </a:lnTo>
                      <a:lnTo>
                        <a:pt x="63" y="47"/>
                      </a:lnTo>
                      <a:lnTo>
                        <a:pt x="63" y="44"/>
                      </a:lnTo>
                      <a:lnTo>
                        <a:pt x="78" y="43"/>
                      </a:lnTo>
                      <a:lnTo>
                        <a:pt x="80" y="38"/>
                      </a:lnTo>
                      <a:lnTo>
                        <a:pt x="78" y="27"/>
                      </a:lnTo>
                      <a:lnTo>
                        <a:pt x="75" y="20"/>
                      </a:lnTo>
                      <a:lnTo>
                        <a:pt x="77" y="18"/>
                      </a:lnTo>
                      <a:lnTo>
                        <a:pt x="80" y="15"/>
                      </a:lnTo>
                      <a:lnTo>
                        <a:pt x="98" y="29"/>
                      </a:lnTo>
                      <a:lnTo>
                        <a:pt x="101" y="24"/>
                      </a:lnTo>
                      <a:lnTo>
                        <a:pt x="101" y="18"/>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95" name="Giurgiu" descr="{&quot;Key&quot;:&quot;giurgiu&quot;,&quot;Name&quot;:&quot;Giurgiu&quot;,&quot;Value&quot;:1.0,&quot;Formula&quot;:&quot;&quot;,&quot;Text&quot;:&quot;1&quot;,&quot;OfficeApplication&quot;:0,&quot;HasValue&quot;:true}">
                  <a:extLst>
                    <a:ext uri="{FF2B5EF4-FFF2-40B4-BE49-F238E27FC236}">
                      <a16:creationId xmlns:a16="http://schemas.microsoft.com/office/drawing/2014/main" id="{CCDEE013-D8CC-0491-9493-31B64DEAD449}"/>
                    </a:ext>
                  </a:extLst>
                </p:cNvPr>
                <p:cNvSpPr>
                  <a:spLocks/>
                </p:cNvSpPr>
                <p:nvPr/>
              </p:nvSpPr>
              <p:spPr bwMode="auto">
                <a:xfrm>
                  <a:off x="6392863" y="4716463"/>
                  <a:ext cx="611188" cy="762000"/>
                </a:xfrm>
                <a:custGeom>
                  <a:avLst/>
                  <a:gdLst>
                    <a:gd name="T0" fmla="*/ 48 w 385"/>
                    <a:gd name="T1" fmla="*/ 12 h 480"/>
                    <a:gd name="T2" fmla="*/ 63 w 385"/>
                    <a:gd name="T3" fmla="*/ 4 h 480"/>
                    <a:gd name="T4" fmla="*/ 77 w 385"/>
                    <a:gd name="T5" fmla="*/ 7 h 480"/>
                    <a:gd name="T6" fmla="*/ 89 w 385"/>
                    <a:gd name="T7" fmla="*/ 18 h 480"/>
                    <a:gd name="T8" fmla="*/ 126 w 385"/>
                    <a:gd name="T9" fmla="*/ 14 h 480"/>
                    <a:gd name="T10" fmla="*/ 146 w 385"/>
                    <a:gd name="T11" fmla="*/ 7 h 480"/>
                    <a:gd name="T12" fmla="*/ 167 w 385"/>
                    <a:gd name="T13" fmla="*/ 12 h 480"/>
                    <a:gd name="T14" fmla="*/ 175 w 385"/>
                    <a:gd name="T15" fmla="*/ 41 h 480"/>
                    <a:gd name="T16" fmla="*/ 164 w 385"/>
                    <a:gd name="T17" fmla="*/ 55 h 480"/>
                    <a:gd name="T18" fmla="*/ 157 w 385"/>
                    <a:gd name="T19" fmla="*/ 49 h 480"/>
                    <a:gd name="T20" fmla="*/ 158 w 385"/>
                    <a:gd name="T21" fmla="*/ 67 h 480"/>
                    <a:gd name="T22" fmla="*/ 146 w 385"/>
                    <a:gd name="T23" fmla="*/ 92 h 480"/>
                    <a:gd name="T24" fmla="*/ 174 w 385"/>
                    <a:gd name="T25" fmla="*/ 110 h 480"/>
                    <a:gd name="T26" fmla="*/ 204 w 385"/>
                    <a:gd name="T27" fmla="*/ 127 h 480"/>
                    <a:gd name="T28" fmla="*/ 215 w 385"/>
                    <a:gd name="T29" fmla="*/ 143 h 480"/>
                    <a:gd name="T30" fmla="*/ 229 w 385"/>
                    <a:gd name="T31" fmla="*/ 154 h 480"/>
                    <a:gd name="T32" fmla="*/ 250 w 385"/>
                    <a:gd name="T33" fmla="*/ 170 h 480"/>
                    <a:gd name="T34" fmla="*/ 279 w 385"/>
                    <a:gd name="T35" fmla="*/ 178 h 480"/>
                    <a:gd name="T36" fmla="*/ 296 w 385"/>
                    <a:gd name="T37" fmla="*/ 161 h 480"/>
                    <a:gd name="T38" fmla="*/ 301 w 385"/>
                    <a:gd name="T39" fmla="*/ 163 h 480"/>
                    <a:gd name="T40" fmla="*/ 315 w 385"/>
                    <a:gd name="T41" fmla="*/ 146 h 480"/>
                    <a:gd name="T42" fmla="*/ 333 w 385"/>
                    <a:gd name="T43" fmla="*/ 166 h 480"/>
                    <a:gd name="T44" fmla="*/ 350 w 385"/>
                    <a:gd name="T45" fmla="*/ 174 h 480"/>
                    <a:gd name="T46" fmla="*/ 375 w 385"/>
                    <a:gd name="T47" fmla="*/ 195 h 480"/>
                    <a:gd name="T48" fmla="*/ 373 w 385"/>
                    <a:gd name="T49" fmla="*/ 206 h 480"/>
                    <a:gd name="T50" fmla="*/ 385 w 385"/>
                    <a:gd name="T51" fmla="*/ 224 h 480"/>
                    <a:gd name="T52" fmla="*/ 353 w 385"/>
                    <a:gd name="T53" fmla="*/ 253 h 480"/>
                    <a:gd name="T54" fmla="*/ 324 w 385"/>
                    <a:gd name="T55" fmla="*/ 303 h 480"/>
                    <a:gd name="T56" fmla="*/ 247 w 385"/>
                    <a:gd name="T57" fmla="*/ 338 h 480"/>
                    <a:gd name="T58" fmla="*/ 197 w 385"/>
                    <a:gd name="T59" fmla="*/ 384 h 480"/>
                    <a:gd name="T60" fmla="*/ 140 w 385"/>
                    <a:gd name="T61" fmla="*/ 447 h 480"/>
                    <a:gd name="T62" fmla="*/ 85 w 385"/>
                    <a:gd name="T63" fmla="*/ 480 h 480"/>
                    <a:gd name="T64" fmla="*/ 63 w 385"/>
                    <a:gd name="T65" fmla="*/ 403 h 480"/>
                    <a:gd name="T66" fmla="*/ 63 w 385"/>
                    <a:gd name="T67" fmla="*/ 373 h 480"/>
                    <a:gd name="T68" fmla="*/ 63 w 385"/>
                    <a:gd name="T69" fmla="*/ 327 h 480"/>
                    <a:gd name="T70" fmla="*/ 55 w 385"/>
                    <a:gd name="T71" fmla="*/ 283 h 480"/>
                    <a:gd name="T72" fmla="*/ 63 w 385"/>
                    <a:gd name="T73" fmla="*/ 267 h 480"/>
                    <a:gd name="T74" fmla="*/ 78 w 385"/>
                    <a:gd name="T75" fmla="*/ 255 h 480"/>
                    <a:gd name="T76" fmla="*/ 80 w 385"/>
                    <a:gd name="T77" fmla="*/ 247 h 480"/>
                    <a:gd name="T78" fmla="*/ 86 w 385"/>
                    <a:gd name="T79" fmla="*/ 247 h 480"/>
                    <a:gd name="T80" fmla="*/ 101 w 385"/>
                    <a:gd name="T81" fmla="*/ 238 h 480"/>
                    <a:gd name="T82" fmla="*/ 82 w 385"/>
                    <a:gd name="T83" fmla="*/ 194 h 480"/>
                    <a:gd name="T84" fmla="*/ 88 w 385"/>
                    <a:gd name="T85" fmla="*/ 160 h 480"/>
                    <a:gd name="T86" fmla="*/ 83 w 385"/>
                    <a:gd name="T87" fmla="*/ 147 h 480"/>
                    <a:gd name="T88" fmla="*/ 65 w 385"/>
                    <a:gd name="T89" fmla="*/ 149 h 480"/>
                    <a:gd name="T90" fmla="*/ 52 w 385"/>
                    <a:gd name="T91" fmla="*/ 134 h 480"/>
                    <a:gd name="T92" fmla="*/ 39 w 385"/>
                    <a:gd name="T93" fmla="*/ 134 h 480"/>
                    <a:gd name="T94" fmla="*/ 14 w 385"/>
                    <a:gd name="T95" fmla="*/ 103 h 480"/>
                    <a:gd name="T96" fmla="*/ 20 w 385"/>
                    <a:gd name="T97" fmla="*/ 90 h 480"/>
                    <a:gd name="T98" fmla="*/ 12 w 385"/>
                    <a:gd name="T99" fmla="*/ 81 h 480"/>
                    <a:gd name="T100" fmla="*/ 5 w 385"/>
                    <a:gd name="T101" fmla="*/ 69 h 480"/>
                    <a:gd name="T102" fmla="*/ 8 w 385"/>
                    <a:gd name="T103" fmla="*/ 54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5" h="480">
                      <a:moveTo>
                        <a:pt x="0" y="47"/>
                      </a:moveTo>
                      <a:lnTo>
                        <a:pt x="14" y="26"/>
                      </a:lnTo>
                      <a:lnTo>
                        <a:pt x="43" y="10"/>
                      </a:lnTo>
                      <a:lnTo>
                        <a:pt x="48" y="12"/>
                      </a:lnTo>
                      <a:lnTo>
                        <a:pt x="51" y="17"/>
                      </a:lnTo>
                      <a:lnTo>
                        <a:pt x="52" y="18"/>
                      </a:lnTo>
                      <a:lnTo>
                        <a:pt x="57" y="15"/>
                      </a:lnTo>
                      <a:lnTo>
                        <a:pt x="63" y="4"/>
                      </a:lnTo>
                      <a:lnTo>
                        <a:pt x="69" y="0"/>
                      </a:lnTo>
                      <a:lnTo>
                        <a:pt x="72" y="4"/>
                      </a:lnTo>
                      <a:lnTo>
                        <a:pt x="75" y="3"/>
                      </a:lnTo>
                      <a:lnTo>
                        <a:pt x="77" y="7"/>
                      </a:lnTo>
                      <a:lnTo>
                        <a:pt x="80" y="9"/>
                      </a:lnTo>
                      <a:lnTo>
                        <a:pt x="83" y="14"/>
                      </a:lnTo>
                      <a:lnTo>
                        <a:pt x="86" y="14"/>
                      </a:lnTo>
                      <a:lnTo>
                        <a:pt x="89" y="18"/>
                      </a:lnTo>
                      <a:lnTo>
                        <a:pt x="101" y="6"/>
                      </a:lnTo>
                      <a:lnTo>
                        <a:pt x="108" y="10"/>
                      </a:lnTo>
                      <a:lnTo>
                        <a:pt x="117" y="9"/>
                      </a:lnTo>
                      <a:lnTo>
                        <a:pt x="126" y="14"/>
                      </a:lnTo>
                      <a:lnTo>
                        <a:pt x="129" y="12"/>
                      </a:lnTo>
                      <a:lnTo>
                        <a:pt x="134" y="12"/>
                      </a:lnTo>
                      <a:lnTo>
                        <a:pt x="135" y="10"/>
                      </a:lnTo>
                      <a:lnTo>
                        <a:pt x="146" y="7"/>
                      </a:lnTo>
                      <a:lnTo>
                        <a:pt x="155" y="17"/>
                      </a:lnTo>
                      <a:lnTo>
                        <a:pt x="158" y="10"/>
                      </a:lnTo>
                      <a:lnTo>
                        <a:pt x="158" y="10"/>
                      </a:lnTo>
                      <a:lnTo>
                        <a:pt x="167" y="12"/>
                      </a:lnTo>
                      <a:lnTo>
                        <a:pt x="172" y="9"/>
                      </a:lnTo>
                      <a:lnTo>
                        <a:pt x="178" y="17"/>
                      </a:lnTo>
                      <a:lnTo>
                        <a:pt x="184" y="24"/>
                      </a:lnTo>
                      <a:lnTo>
                        <a:pt x="175" y="41"/>
                      </a:lnTo>
                      <a:lnTo>
                        <a:pt x="181" y="44"/>
                      </a:lnTo>
                      <a:lnTo>
                        <a:pt x="174" y="58"/>
                      </a:lnTo>
                      <a:lnTo>
                        <a:pt x="167" y="55"/>
                      </a:lnTo>
                      <a:lnTo>
                        <a:pt x="164" y="55"/>
                      </a:lnTo>
                      <a:lnTo>
                        <a:pt x="163" y="49"/>
                      </a:lnTo>
                      <a:lnTo>
                        <a:pt x="164" y="46"/>
                      </a:lnTo>
                      <a:lnTo>
                        <a:pt x="163" y="44"/>
                      </a:lnTo>
                      <a:lnTo>
                        <a:pt x="157" y="49"/>
                      </a:lnTo>
                      <a:lnTo>
                        <a:pt x="158" y="49"/>
                      </a:lnTo>
                      <a:lnTo>
                        <a:pt x="161" y="58"/>
                      </a:lnTo>
                      <a:lnTo>
                        <a:pt x="161" y="64"/>
                      </a:lnTo>
                      <a:lnTo>
                        <a:pt x="158" y="67"/>
                      </a:lnTo>
                      <a:lnTo>
                        <a:pt x="161" y="70"/>
                      </a:lnTo>
                      <a:lnTo>
                        <a:pt x="163" y="78"/>
                      </a:lnTo>
                      <a:lnTo>
                        <a:pt x="147" y="87"/>
                      </a:lnTo>
                      <a:lnTo>
                        <a:pt x="146" y="92"/>
                      </a:lnTo>
                      <a:lnTo>
                        <a:pt x="151" y="97"/>
                      </a:lnTo>
                      <a:lnTo>
                        <a:pt x="158" y="98"/>
                      </a:lnTo>
                      <a:lnTo>
                        <a:pt x="160" y="104"/>
                      </a:lnTo>
                      <a:lnTo>
                        <a:pt x="174" y="110"/>
                      </a:lnTo>
                      <a:lnTo>
                        <a:pt x="172" y="117"/>
                      </a:lnTo>
                      <a:lnTo>
                        <a:pt x="177" y="120"/>
                      </a:lnTo>
                      <a:lnTo>
                        <a:pt x="192" y="126"/>
                      </a:lnTo>
                      <a:lnTo>
                        <a:pt x="204" y="127"/>
                      </a:lnTo>
                      <a:lnTo>
                        <a:pt x="212" y="134"/>
                      </a:lnTo>
                      <a:lnTo>
                        <a:pt x="213" y="141"/>
                      </a:lnTo>
                      <a:lnTo>
                        <a:pt x="206" y="160"/>
                      </a:lnTo>
                      <a:lnTo>
                        <a:pt x="215" y="143"/>
                      </a:lnTo>
                      <a:lnTo>
                        <a:pt x="218" y="143"/>
                      </a:lnTo>
                      <a:lnTo>
                        <a:pt x="223" y="146"/>
                      </a:lnTo>
                      <a:lnTo>
                        <a:pt x="227" y="147"/>
                      </a:lnTo>
                      <a:lnTo>
                        <a:pt x="229" y="154"/>
                      </a:lnTo>
                      <a:lnTo>
                        <a:pt x="232" y="154"/>
                      </a:lnTo>
                      <a:lnTo>
                        <a:pt x="240" y="161"/>
                      </a:lnTo>
                      <a:lnTo>
                        <a:pt x="250" y="161"/>
                      </a:lnTo>
                      <a:lnTo>
                        <a:pt x="250" y="170"/>
                      </a:lnTo>
                      <a:lnTo>
                        <a:pt x="250" y="170"/>
                      </a:lnTo>
                      <a:lnTo>
                        <a:pt x="272" y="180"/>
                      </a:lnTo>
                      <a:lnTo>
                        <a:pt x="279" y="178"/>
                      </a:lnTo>
                      <a:lnTo>
                        <a:pt x="279" y="178"/>
                      </a:lnTo>
                      <a:lnTo>
                        <a:pt x="284" y="172"/>
                      </a:lnTo>
                      <a:lnTo>
                        <a:pt x="284" y="172"/>
                      </a:lnTo>
                      <a:lnTo>
                        <a:pt x="287" y="174"/>
                      </a:lnTo>
                      <a:lnTo>
                        <a:pt x="296" y="161"/>
                      </a:lnTo>
                      <a:lnTo>
                        <a:pt x="296" y="161"/>
                      </a:lnTo>
                      <a:lnTo>
                        <a:pt x="298" y="161"/>
                      </a:lnTo>
                      <a:lnTo>
                        <a:pt x="299" y="164"/>
                      </a:lnTo>
                      <a:lnTo>
                        <a:pt x="301" y="163"/>
                      </a:lnTo>
                      <a:lnTo>
                        <a:pt x="306" y="155"/>
                      </a:lnTo>
                      <a:lnTo>
                        <a:pt x="307" y="157"/>
                      </a:lnTo>
                      <a:lnTo>
                        <a:pt x="307" y="157"/>
                      </a:lnTo>
                      <a:lnTo>
                        <a:pt x="315" y="146"/>
                      </a:lnTo>
                      <a:lnTo>
                        <a:pt x="315" y="146"/>
                      </a:lnTo>
                      <a:lnTo>
                        <a:pt x="329" y="154"/>
                      </a:lnTo>
                      <a:lnTo>
                        <a:pt x="329" y="157"/>
                      </a:lnTo>
                      <a:lnTo>
                        <a:pt x="333" y="166"/>
                      </a:lnTo>
                      <a:lnTo>
                        <a:pt x="336" y="170"/>
                      </a:lnTo>
                      <a:lnTo>
                        <a:pt x="342" y="170"/>
                      </a:lnTo>
                      <a:lnTo>
                        <a:pt x="348" y="175"/>
                      </a:lnTo>
                      <a:lnTo>
                        <a:pt x="350" y="174"/>
                      </a:lnTo>
                      <a:lnTo>
                        <a:pt x="356" y="177"/>
                      </a:lnTo>
                      <a:lnTo>
                        <a:pt x="359" y="186"/>
                      </a:lnTo>
                      <a:lnTo>
                        <a:pt x="375" y="187"/>
                      </a:lnTo>
                      <a:lnTo>
                        <a:pt x="375" y="195"/>
                      </a:lnTo>
                      <a:lnTo>
                        <a:pt x="379" y="198"/>
                      </a:lnTo>
                      <a:lnTo>
                        <a:pt x="379" y="201"/>
                      </a:lnTo>
                      <a:lnTo>
                        <a:pt x="375" y="203"/>
                      </a:lnTo>
                      <a:lnTo>
                        <a:pt x="373" y="206"/>
                      </a:lnTo>
                      <a:lnTo>
                        <a:pt x="379" y="209"/>
                      </a:lnTo>
                      <a:lnTo>
                        <a:pt x="381" y="220"/>
                      </a:lnTo>
                      <a:lnTo>
                        <a:pt x="382" y="220"/>
                      </a:lnTo>
                      <a:lnTo>
                        <a:pt x="385" y="224"/>
                      </a:lnTo>
                      <a:lnTo>
                        <a:pt x="385" y="230"/>
                      </a:lnTo>
                      <a:lnTo>
                        <a:pt x="381" y="238"/>
                      </a:lnTo>
                      <a:lnTo>
                        <a:pt x="379" y="238"/>
                      </a:lnTo>
                      <a:lnTo>
                        <a:pt x="353" y="253"/>
                      </a:lnTo>
                      <a:lnTo>
                        <a:pt x="361" y="287"/>
                      </a:lnTo>
                      <a:lnTo>
                        <a:pt x="361" y="287"/>
                      </a:lnTo>
                      <a:lnTo>
                        <a:pt x="338" y="293"/>
                      </a:lnTo>
                      <a:lnTo>
                        <a:pt x="324" y="303"/>
                      </a:lnTo>
                      <a:lnTo>
                        <a:pt x="296" y="315"/>
                      </a:lnTo>
                      <a:lnTo>
                        <a:pt x="275" y="315"/>
                      </a:lnTo>
                      <a:lnTo>
                        <a:pt x="258" y="326"/>
                      </a:lnTo>
                      <a:lnTo>
                        <a:pt x="247" y="338"/>
                      </a:lnTo>
                      <a:lnTo>
                        <a:pt x="238" y="358"/>
                      </a:lnTo>
                      <a:lnTo>
                        <a:pt x="233" y="363"/>
                      </a:lnTo>
                      <a:lnTo>
                        <a:pt x="218" y="369"/>
                      </a:lnTo>
                      <a:lnTo>
                        <a:pt x="197" y="384"/>
                      </a:lnTo>
                      <a:lnTo>
                        <a:pt x="186" y="397"/>
                      </a:lnTo>
                      <a:lnTo>
                        <a:pt x="167" y="430"/>
                      </a:lnTo>
                      <a:lnTo>
                        <a:pt x="155" y="441"/>
                      </a:lnTo>
                      <a:lnTo>
                        <a:pt x="140" y="447"/>
                      </a:lnTo>
                      <a:lnTo>
                        <a:pt x="129" y="467"/>
                      </a:lnTo>
                      <a:lnTo>
                        <a:pt x="108" y="478"/>
                      </a:lnTo>
                      <a:lnTo>
                        <a:pt x="85" y="480"/>
                      </a:lnTo>
                      <a:lnTo>
                        <a:pt x="85" y="480"/>
                      </a:lnTo>
                      <a:lnTo>
                        <a:pt x="82" y="460"/>
                      </a:lnTo>
                      <a:lnTo>
                        <a:pt x="77" y="407"/>
                      </a:lnTo>
                      <a:lnTo>
                        <a:pt x="68" y="407"/>
                      </a:lnTo>
                      <a:lnTo>
                        <a:pt x="63" y="403"/>
                      </a:lnTo>
                      <a:lnTo>
                        <a:pt x="65" y="393"/>
                      </a:lnTo>
                      <a:lnTo>
                        <a:pt x="55" y="378"/>
                      </a:lnTo>
                      <a:lnTo>
                        <a:pt x="62" y="377"/>
                      </a:lnTo>
                      <a:lnTo>
                        <a:pt x="63" y="373"/>
                      </a:lnTo>
                      <a:lnTo>
                        <a:pt x="62" y="349"/>
                      </a:lnTo>
                      <a:lnTo>
                        <a:pt x="66" y="343"/>
                      </a:lnTo>
                      <a:lnTo>
                        <a:pt x="58" y="330"/>
                      </a:lnTo>
                      <a:lnTo>
                        <a:pt x="63" y="327"/>
                      </a:lnTo>
                      <a:lnTo>
                        <a:pt x="62" y="323"/>
                      </a:lnTo>
                      <a:lnTo>
                        <a:pt x="58" y="321"/>
                      </a:lnTo>
                      <a:lnTo>
                        <a:pt x="54" y="284"/>
                      </a:lnTo>
                      <a:lnTo>
                        <a:pt x="55" y="283"/>
                      </a:lnTo>
                      <a:lnTo>
                        <a:pt x="68" y="281"/>
                      </a:lnTo>
                      <a:lnTo>
                        <a:pt x="68" y="278"/>
                      </a:lnTo>
                      <a:lnTo>
                        <a:pt x="63" y="275"/>
                      </a:lnTo>
                      <a:lnTo>
                        <a:pt x="63" y="267"/>
                      </a:lnTo>
                      <a:lnTo>
                        <a:pt x="71" y="257"/>
                      </a:lnTo>
                      <a:lnTo>
                        <a:pt x="72" y="252"/>
                      </a:lnTo>
                      <a:lnTo>
                        <a:pt x="75" y="255"/>
                      </a:lnTo>
                      <a:lnTo>
                        <a:pt x="78" y="255"/>
                      </a:lnTo>
                      <a:lnTo>
                        <a:pt x="75" y="250"/>
                      </a:lnTo>
                      <a:lnTo>
                        <a:pt x="80" y="244"/>
                      </a:lnTo>
                      <a:lnTo>
                        <a:pt x="82" y="244"/>
                      </a:lnTo>
                      <a:lnTo>
                        <a:pt x="80" y="247"/>
                      </a:lnTo>
                      <a:lnTo>
                        <a:pt x="82" y="252"/>
                      </a:lnTo>
                      <a:lnTo>
                        <a:pt x="86" y="255"/>
                      </a:lnTo>
                      <a:lnTo>
                        <a:pt x="88" y="253"/>
                      </a:lnTo>
                      <a:lnTo>
                        <a:pt x="86" y="247"/>
                      </a:lnTo>
                      <a:lnTo>
                        <a:pt x="88" y="246"/>
                      </a:lnTo>
                      <a:lnTo>
                        <a:pt x="91" y="247"/>
                      </a:lnTo>
                      <a:lnTo>
                        <a:pt x="91" y="241"/>
                      </a:lnTo>
                      <a:lnTo>
                        <a:pt x="101" y="238"/>
                      </a:lnTo>
                      <a:lnTo>
                        <a:pt x="94" y="229"/>
                      </a:lnTo>
                      <a:lnTo>
                        <a:pt x="78" y="218"/>
                      </a:lnTo>
                      <a:lnTo>
                        <a:pt x="83" y="200"/>
                      </a:lnTo>
                      <a:lnTo>
                        <a:pt x="82" y="194"/>
                      </a:lnTo>
                      <a:lnTo>
                        <a:pt x="88" y="186"/>
                      </a:lnTo>
                      <a:lnTo>
                        <a:pt x="94" y="169"/>
                      </a:lnTo>
                      <a:lnTo>
                        <a:pt x="92" y="164"/>
                      </a:lnTo>
                      <a:lnTo>
                        <a:pt x="88" y="160"/>
                      </a:lnTo>
                      <a:lnTo>
                        <a:pt x="83" y="160"/>
                      </a:lnTo>
                      <a:lnTo>
                        <a:pt x="85" y="157"/>
                      </a:lnTo>
                      <a:lnTo>
                        <a:pt x="83" y="155"/>
                      </a:lnTo>
                      <a:lnTo>
                        <a:pt x="83" y="147"/>
                      </a:lnTo>
                      <a:lnTo>
                        <a:pt x="78" y="146"/>
                      </a:lnTo>
                      <a:lnTo>
                        <a:pt x="77" y="157"/>
                      </a:lnTo>
                      <a:lnTo>
                        <a:pt x="75" y="157"/>
                      </a:lnTo>
                      <a:lnTo>
                        <a:pt x="65" y="149"/>
                      </a:lnTo>
                      <a:lnTo>
                        <a:pt x="68" y="141"/>
                      </a:lnTo>
                      <a:lnTo>
                        <a:pt x="55" y="135"/>
                      </a:lnTo>
                      <a:lnTo>
                        <a:pt x="52" y="137"/>
                      </a:lnTo>
                      <a:lnTo>
                        <a:pt x="52" y="134"/>
                      </a:lnTo>
                      <a:lnTo>
                        <a:pt x="51" y="137"/>
                      </a:lnTo>
                      <a:lnTo>
                        <a:pt x="48" y="135"/>
                      </a:lnTo>
                      <a:lnTo>
                        <a:pt x="45" y="138"/>
                      </a:lnTo>
                      <a:lnTo>
                        <a:pt x="39" y="134"/>
                      </a:lnTo>
                      <a:lnTo>
                        <a:pt x="19" y="135"/>
                      </a:lnTo>
                      <a:lnTo>
                        <a:pt x="5" y="129"/>
                      </a:lnTo>
                      <a:lnTo>
                        <a:pt x="6" y="115"/>
                      </a:lnTo>
                      <a:lnTo>
                        <a:pt x="14" y="103"/>
                      </a:lnTo>
                      <a:lnTo>
                        <a:pt x="11" y="98"/>
                      </a:lnTo>
                      <a:lnTo>
                        <a:pt x="16" y="94"/>
                      </a:lnTo>
                      <a:lnTo>
                        <a:pt x="17" y="90"/>
                      </a:lnTo>
                      <a:lnTo>
                        <a:pt x="20" y="90"/>
                      </a:lnTo>
                      <a:lnTo>
                        <a:pt x="22" y="87"/>
                      </a:lnTo>
                      <a:lnTo>
                        <a:pt x="20" y="84"/>
                      </a:lnTo>
                      <a:lnTo>
                        <a:pt x="12" y="83"/>
                      </a:lnTo>
                      <a:lnTo>
                        <a:pt x="12" y="81"/>
                      </a:lnTo>
                      <a:lnTo>
                        <a:pt x="11" y="81"/>
                      </a:lnTo>
                      <a:lnTo>
                        <a:pt x="9" y="75"/>
                      </a:lnTo>
                      <a:lnTo>
                        <a:pt x="2" y="74"/>
                      </a:lnTo>
                      <a:lnTo>
                        <a:pt x="5" y="69"/>
                      </a:lnTo>
                      <a:lnTo>
                        <a:pt x="3" y="67"/>
                      </a:lnTo>
                      <a:lnTo>
                        <a:pt x="9" y="60"/>
                      </a:lnTo>
                      <a:lnTo>
                        <a:pt x="5" y="57"/>
                      </a:lnTo>
                      <a:lnTo>
                        <a:pt x="8" y="54"/>
                      </a:lnTo>
                      <a:lnTo>
                        <a:pt x="0" y="47"/>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96" name="Hunedoara" descr="{&quot;Key&quot;:&quot;hunedoara&quot;,&quot;Name&quot;:&quot;Hunedoara&quot;,&quot;Value&quot;:1.0,&quot;Formula&quot;:&quot;&quot;,&quot;Text&quot;:&quot;1&quot;,&quot;OfficeApplication&quot;:0,&quot;HasValue&quot;:true}">
                  <a:extLst>
                    <a:ext uri="{FF2B5EF4-FFF2-40B4-BE49-F238E27FC236}">
                      <a16:creationId xmlns:a16="http://schemas.microsoft.com/office/drawing/2014/main" id="{7EF04E6B-7CF7-EE64-A582-08E1133EAA5C}"/>
                    </a:ext>
                  </a:extLst>
                </p:cNvPr>
                <p:cNvSpPr>
                  <a:spLocks/>
                </p:cNvSpPr>
                <p:nvPr/>
              </p:nvSpPr>
              <p:spPr bwMode="auto">
                <a:xfrm>
                  <a:off x="4424363" y="3103563"/>
                  <a:ext cx="796925" cy="1019175"/>
                </a:xfrm>
                <a:custGeom>
                  <a:avLst/>
                  <a:gdLst>
                    <a:gd name="T0" fmla="*/ 188 w 502"/>
                    <a:gd name="T1" fmla="*/ 16 h 642"/>
                    <a:gd name="T2" fmla="*/ 237 w 502"/>
                    <a:gd name="T3" fmla="*/ 14 h 642"/>
                    <a:gd name="T4" fmla="*/ 241 w 502"/>
                    <a:gd name="T5" fmla="*/ 50 h 642"/>
                    <a:gd name="T6" fmla="*/ 263 w 502"/>
                    <a:gd name="T7" fmla="*/ 80 h 642"/>
                    <a:gd name="T8" fmla="*/ 281 w 502"/>
                    <a:gd name="T9" fmla="*/ 80 h 642"/>
                    <a:gd name="T10" fmla="*/ 294 w 502"/>
                    <a:gd name="T11" fmla="*/ 91 h 642"/>
                    <a:gd name="T12" fmla="*/ 294 w 502"/>
                    <a:gd name="T13" fmla="*/ 116 h 642"/>
                    <a:gd name="T14" fmla="*/ 298 w 502"/>
                    <a:gd name="T15" fmla="*/ 145 h 642"/>
                    <a:gd name="T16" fmla="*/ 303 w 502"/>
                    <a:gd name="T17" fmla="*/ 170 h 642"/>
                    <a:gd name="T18" fmla="*/ 321 w 502"/>
                    <a:gd name="T19" fmla="*/ 177 h 642"/>
                    <a:gd name="T20" fmla="*/ 332 w 502"/>
                    <a:gd name="T21" fmla="*/ 185 h 642"/>
                    <a:gd name="T22" fmla="*/ 347 w 502"/>
                    <a:gd name="T23" fmla="*/ 193 h 642"/>
                    <a:gd name="T24" fmla="*/ 378 w 502"/>
                    <a:gd name="T25" fmla="*/ 247 h 642"/>
                    <a:gd name="T26" fmla="*/ 392 w 502"/>
                    <a:gd name="T27" fmla="*/ 285 h 642"/>
                    <a:gd name="T28" fmla="*/ 402 w 502"/>
                    <a:gd name="T29" fmla="*/ 328 h 642"/>
                    <a:gd name="T30" fmla="*/ 410 w 502"/>
                    <a:gd name="T31" fmla="*/ 371 h 642"/>
                    <a:gd name="T32" fmla="*/ 433 w 502"/>
                    <a:gd name="T33" fmla="*/ 414 h 642"/>
                    <a:gd name="T34" fmla="*/ 441 w 502"/>
                    <a:gd name="T35" fmla="*/ 437 h 642"/>
                    <a:gd name="T36" fmla="*/ 464 w 502"/>
                    <a:gd name="T37" fmla="*/ 445 h 642"/>
                    <a:gd name="T38" fmla="*/ 484 w 502"/>
                    <a:gd name="T39" fmla="*/ 468 h 642"/>
                    <a:gd name="T40" fmla="*/ 501 w 502"/>
                    <a:gd name="T41" fmla="*/ 503 h 642"/>
                    <a:gd name="T42" fmla="*/ 498 w 502"/>
                    <a:gd name="T43" fmla="*/ 542 h 642"/>
                    <a:gd name="T44" fmla="*/ 498 w 502"/>
                    <a:gd name="T45" fmla="*/ 570 h 642"/>
                    <a:gd name="T46" fmla="*/ 467 w 502"/>
                    <a:gd name="T47" fmla="*/ 583 h 642"/>
                    <a:gd name="T48" fmla="*/ 436 w 502"/>
                    <a:gd name="T49" fmla="*/ 597 h 642"/>
                    <a:gd name="T50" fmla="*/ 402 w 502"/>
                    <a:gd name="T51" fmla="*/ 579 h 642"/>
                    <a:gd name="T52" fmla="*/ 379 w 502"/>
                    <a:gd name="T53" fmla="*/ 596 h 642"/>
                    <a:gd name="T54" fmla="*/ 330 w 502"/>
                    <a:gd name="T55" fmla="*/ 614 h 642"/>
                    <a:gd name="T56" fmla="*/ 297 w 502"/>
                    <a:gd name="T57" fmla="*/ 627 h 642"/>
                    <a:gd name="T58" fmla="*/ 261 w 502"/>
                    <a:gd name="T59" fmla="*/ 620 h 642"/>
                    <a:gd name="T60" fmla="*/ 215 w 502"/>
                    <a:gd name="T61" fmla="*/ 616 h 642"/>
                    <a:gd name="T62" fmla="*/ 157 w 502"/>
                    <a:gd name="T63" fmla="*/ 623 h 642"/>
                    <a:gd name="T64" fmla="*/ 117 w 502"/>
                    <a:gd name="T65" fmla="*/ 633 h 642"/>
                    <a:gd name="T66" fmla="*/ 105 w 502"/>
                    <a:gd name="T67" fmla="*/ 607 h 642"/>
                    <a:gd name="T68" fmla="*/ 132 w 502"/>
                    <a:gd name="T69" fmla="*/ 573 h 642"/>
                    <a:gd name="T70" fmla="*/ 145 w 502"/>
                    <a:gd name="T71" fmla="*/ 531 h 642"/>
                    <a:gd name="T72" fmla="*/ 123 w 502"/>
                    <a:gd name="T73" fmla="*/ 465 h 642"/>
                    <a:gd name="T74" fmla="*/ 102 w 502"/>
                    <a:gd name="T75" fmla="*/ 451 h 642"/>
                    <a:gd name="T76" fmla="*/ 79 w 502"/>
                    <a:gd name="T77" fmla="*/ 443 h 642"/>
                    <a:gd name="T78" fmla="*/ 62 w 502"/>
                    <a:gd name="T79" fmla="*/ 420 h 642"/>
                    <a:gd name="T80" fmla="*/ 34 w 502"/>
                    <a:gd name="T81" fmla="*/ 391 h 642"/>
                    <a:gd name="T82" fmla="*/ 50 w 502"/>
                    <a:gd name="T83" fmla="*/ 360 h 642"/>
                    <a:gd name="T84" fmla="*/ 83 w 502"/>
                    <a:gd name="T85" fmla="*/ 328 h 642"/>
                    <a:gd name="T86" fmla="*/ 54 w 502"/>
                    <a:gd name="T87" fmla="*/ 296 h 642"/>
                    <a:gd name="T88" fmla="*/ 30 w 502"/>
                    <a:gd name="T89" fmla="*/ 287 h 642"/>
                    <a:gd name="T90" fmla="*/ 19 w 502"/>
                    <a:gd name="T91" fmla="*/ 260 h 642"/>
                    <a:gd name="T92" fmla="*/ 37 w 502"/>
                    <a:gd name="T93" fmla="*/ 233 h 642"/>
                    <a:gd name="T94" fmla="*/ 7 w 502"/>
                    <a:gd name="T95" fmla="*/ 219 h 642"/>
                    <a:gd name="T96" fmla="*/ 19 w 502"/>
                    <a:gd name="T97" fmla="*/ 204 h 642"/>
                    <a:gd name="T98" fmla="*/ 30 w 502"/>
                    <a:gd name="T99" fmla="*/ 196 h 642"/>
                    <a:gd name="T100" fmla="*/ 37 w 502"/>
                    <a:gd name="T101" fmla="*/ 171 h 642"/>
                    <a:gd name="T102" fmla="*/ 28 w 502"/>
                    <a:gd name="T103" fmla="*/ 145 h 642"/>
                    <a:gd name="T104" fmla="*/ 48 w 502"/>
                    <a:gd name="T105" fmla="*/ 119 h 642"/>
                    <a:gd name="T106" fmla="*/ 50 w 502"/>
                    <a:gd name="T107" fmla="*/ 105 h 642"/>
                    <a:gd name="T108" fmla="*/ 46 w 502"/>
                    <a:gd name="T109" fmla="*/ 76 h 642"/>
                    <a:gd name="T110" fmla="*/ 68 w 502"/>
                    <a:gd name="T111" fmla="*/ 76 h 642"/>
                    <a:gd name="T112" fmla="*/ 88 w 502"/>
                    <a:gd name="T113" fmla="*/ 70 h 642"/>
                    <a:gd name="T114" fmla="*/ 119 w 502"/>
                    <a:gd name="T115" fmla="*/ 73 h 642"/>
                    <a:gd name="T116" fmla="*/ 134 w 502"/>
                    <a:gd name="T117" fmla="*/ 39 h 642"/>
                    <a:gd name="T118" fmla="*/ 135 w 502"/>
                    <a:gd name="T119" fmla="*/ 17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02" h="642">
                      <a:moveTo>
                        <a:pt x="165" y="0"/>
                      </a:moveTo>
                      <a:lnTo>
                        <a:pt x="175" y="0"/>
                      </a:lnTo>
                      <a:lnTo>
                        <a:pt x="177" y="5"/>
                      </a:lnTo>
                      <a:lnTo>
                        <a:pt x="183" y="8"/>
                      </a:lnTo>
                      <a:lnTo>
                        <a:pt x="188" y="16"/>
                      </a:lnTo>
                      <a:lnTo>
                        <a:pt x="205" y="13"/>
                      </a:lnTo>
                      <a:lnTo>
                        <a:pt x="211" y="16"/>
                      </a:lnTo>
                      <a:lnTo>
                        <a:pt x="215" y="13"/>
                      </a:lnTo>
                      <a:lnTo>
                        <a:pt x="229" y="11"/>
                      </a:lnTo>
                      <a:lnTo>
                        <a:pt x="237" y="14"/>
                      </a:lnTo>
                      <a:lnTo>
                        <a:pt x="237" y="22"/>
                      </a:lnTo>
                      <a:lnTo>
                        <a:pt x="240" y="28"/>
                      </a:lnTo>
                      <a:lnTo>
                        <a:pt x="247" y="37"/>
                      </a:lnTo>
                      <a:lnTo>
                        <a:pt x="247" y="40"/>
                      </a:lnTo>
                      <a:lnTo>
                        <a:pt x="241" y="50"/>
                      </a:lnTo>
                      <a:lnTo>
                        <a:pt x="244" y="53"/>
                      </a:lnTo>
                      <a:lnTo>
                        <a:pt x="244" y="57"/>
                      </a:lnTo>
                      <a:lnTo>
                        <a:pt x="251" y="62"/>
                      </a:lnTo>
                      <a:lnTo>
                        <a:pt x="257" y="74"/>
                      </a:lnTo>
                      <a:lnTo>
                        <a:pt x="263" y="80"/>
                      </a:lnTo>
                      <a:lnTo>
                        <a:pt x="267" y="79"/>
                      </a:lnTo>
                      <a:lnTo>
                        <a:pt x="274" y="80"/>
                      </a:lnTo>
                      <a:lnTo>
                        <a:pt x="275" y="84"/>
                      </a:lnTo>
                      <a:lnTo>
                        <a:pt x="277" y="85"/>
                      </a:lnTo>
                      <a:lnTo>
                        <a:pt x="281" y="80"/>
                      </a:lnTo>
                      <a:lnTo>
                        <a:pt x="284" y="80"/>
                      </a:lnTo>
                      <a:lnTo>
                        <a:pt x="290" y="88"/>
                      </a:lnTo>
                      <a:lnTo>
                        <a:pt x="292" y="90"/>
                      </a:lnTo>
                      <a:lnTo>
                        <a:pt x="292" y="93"/>
                      </a:lnTo>
                      <a:lnTo>
                        <a:pt x="294" y="91"/>
                      </a:lnTo>
                      <a:lnTo>
                        <a:pt x="300" y="96"/>
                      </a:lnTo>
                      <a:lnTo>
                        <a:pt x="300" y="105"/>
                      </a:lnTo>
                      <a:lnTo>
                        <a:pt x="303" y="119"/>
                      </a:lnTo>
                      <a:lnTo>
                        <a:pt x="301" y="120"/>
                      </a:lnTo>
                      <a:lnTo>
                        <a:pt x="294" y="116"/>
                      </a:lnTo>
                      <a:lnTo>
                        <a:pt x="292" y="117"/>
                      </a:lnTo>
                      <a:lnTo>
                        <a:pt x="286" y="120"/>
                      </a:lnTo>
                      <a:lnTo>
                        <a:pt x="292" y="125"/>
                      </a:lnTo>
                      <a:lnTo>
                        <a:pt x="292" y="136"/>
                      </a:lnTo>
                      <a:lnTo>
                        <a:pt x="298" y="145"/>
                      </a:lnTo>
                      <a:lnTo>
                        <a:pt x="297" y="153"/>
                      </a:lnTo>
                      <a:lnTo>
                        <a:pt x="294" y="153"/>
                      </a:lnTo>
                      <a:lnTo>
                        <a:pt x="298" y="156"/>
                      </a:lnTo>
                      <a:lnTo>
                        <a:pt x="298" y="170"/>
                      </a:lnTo>
                      <a:lnTo>
                        <a:pt x="303" y="170"/>
                      </a:lnTo>
                      <a:lnTo>
                        <a:pt x="303" y="174"/>
                      </a:lnTo>
                      <a:lnTo>
                        <a:pt x="306" y="174"/>
                      </a:lnTo>
                      <a:lnTo>
                        <a:pt x="310" y="176"/>
                      </a:lnTo>
                      <a:lnTo>
                        <a:pt x="320" y="174"/>
                      </a:lnTo>
                      <a:lnTo>
                        <a:pt x="321" y="177"/>
                      </a:lnTo>
                      <a:lnTo>
                        <a:pt x="326" y="177"/>
                      </a:lnTo>
                      <a:lnTo>
                        <a:pt x="327" y="182"/>
                      </a:lnTo>
                      <a:lnTo>
                        <a:pt x="332" y="182"/>
                      </a:lnTo>
                      <a:lnTo>
                        <a:pt x="332" y="185"/>
                      </a:lnTo>
                      <a:lnTo>
                        <a:pt x="332" y="185"/>
                      </a:lnTo>
                      <a:lnTo>
                        <a:pt x="338" y="185"/>
                      </a:lnTo>
                      <a:lnTo>
                        <a:pt x="343" y="180"/>
                      </a:lnTo>
                      <a:lnTo>
                        <a:pt x="350" y="182"/>
                      </a:lnTo>
                      <a:lnTo>
                        <a:pt x="349" y="184"/>
                      </a:lnTo>
                      <a:lnTo>
                        <a:pt x="347" y="193"/>
                      </a:lnTo>
                      <a:lnTo>
                        <a:pt x="355" y="202"/>
                      </a:lnTo>
                      <a:lnTo>
                        <a:pt x="358" y="210"/>
                      </a:lnTo>
                      <a:lnTo>
                        <a:pt x="363" y="216"/>
                      </a:lnTo>
                      <a:lnTo>
                        <a:pt x="369" y="239"/>
                      </a:lnTo>
                      <a:lnTo>
                        <a:pt x="378" y="247"/>
                      </a:lnTo>
                      <a:lnTo>
                        <a:pt x="381" y="247"/>
                      </a:lnTo>
                      <a:lnTo>
                        <a:pt x="386" y="248"/>
                      </a:lnTo>
                      <a:lnTo>
                        <a:pt x="395" y="267"/>
                      </a:lnTo>
                      <a:lnTo>
                        <a:pt x="395" y="276"/>
                      </a:lnTo>
                      <a:lnTo>
                        <a:pt x="392" y="285"/>
                      </a:lnTo>
                      <a:lnTo>
                        <a:pt x="395" y="300"/>
                      </a:lnTo>
                      <a:lnTo>
                        <a:pt x="398" y="304"/>
                      </a:lnTo>
                      <a:lnTo>
                        <a:pt x="401" y="317"/>
                      </a:lnTo>
                      <a:lnTo>
                        <a:pt x="401" y="324"/>
                      </a:lnTo>
                      <a:lnTo>
                        <a:pt x="402" y="328"/>
                      </a:lnTo>
                      <a:lnTo>
                        <a:pt x="412" y="334"/>
                      </a:lnTo>
                      <a:lnTo>
                        <a:pt x="415" y="342"/>
                      </a:lnTo>
                      <a:lnTo>
                        <a:pt x="410" y="351"/>
                      </a:lnTo>
                      <a:lnTo>
                        <a:pt x="407" y="367"/>
                      </a:lnTo>
                      <a:lnTo>
                        <a:pt x="410" y="371"/>
                      </a:lnTo>
                      <a:lnTo>
                        <a:pt x="424" y="380"/>
                      </a:lnTo>
                      <a:lnTo>
                        <a:pt x="430" y="388"/>
                      </a:lnTo>
                      <a:lnTo>
                        <a:pt x="416" y="407"/>
                      </a:lnTo>
                      <a:lnTo>
                        <a:pt x="421" y="413"/>
                      </a:lnTo>
                      <a:lnTo>
                        <a:pt x="433" y="414"/>
                      </a:lnTo>
                      <a:lnTo>
                        <a:pt x="430" y="420"/>
                      </a:lnTo>
                      <a:lnTo>
                        <a:pt x="432" y="425"/>
                      </a:lnTo>
                      <a:lnTo>
                        <a:pt x="430" y="430"/>
                      </a:lnTo>
                      <a:lnTo>
                        <a:pt x="432" y="436"/>
                      </a:lnTo>
                      <a:lnTo>
                        <a:pt x="441" y="437"/>
                      </a:lnTo>
                      <a:lnTo>
                        <a:pt x="444" y="442"/>
                      </a:lnTo>
                      <a:lnTo>
                        <a:pt x="450" y="440"/>
                      </a:lnTo>
                      <a:lnTo>
                        <a:pt x="455" y="443"/>
                      </a:lnTo>
                      <a:lnTo>
                        <a:pt x="462" y="442"/>
                      </a:lnTo>
                      <a:lnTo>
                        <a:pt x="464" y="445"/>
                      </a:lnTo>
                      <a:lnTo>
                        <a:pt x="464" y="451"/>
                      </a:lnTo>
                      <a:lnTo>
                        <a:pt x="467" y="454"/>
                      </a:lnTo>
                      <a:lnTo>
                        <a:pt x="467" y="457"/>
                      </a:lnTo>
                      <a:lnTo>
                        <a:pt x="475" y="457"/>
                      </a:lnTo>
                      <a:lnTo>
                        <a:pt x="484" y="468"/>
                      </a:lnTo>
                      <a:lnTo>
                        <a:pt x="490" y="473"/>
                      </a:lnTo>
                      <a:lnTo>
                        <a:pt x="493" y="482"/>
                      </a:lnTo>
                      <a:lnTo>
                        <a:pt x="499" y="491"/>
                      </a:lnTo>
                      <a:lnTo>
                        <a:pt x="501" y="503"/>
                      </a:lnTo>
                      <a:lnTo>
                        <a:pt x="501" y="503"/>
                      </a:lnTo>
                      <a:lnTo>
                        <a:pt x="499" y="514"/>
                      </a:lnTo>
                      <a:lnTo>
                        <a:pt x="496" y="523"/>
                      </a:lnTo>
                      <a:lnTo>
                        <a:pt x="491" y="528"/>
                      </a:lnTo>
                      <a:lnTo>
                        <a:pt x="499" y="531"/>
                      </a:lnTo>
                      <a:lnTo>
                        <a:pt x="498" y="542"/>
                      </a:lnTo>
                      <a:lnTo>
                        <a:pt x="502" y="550"/>
                      </a:lnTo>
                      <a:lnTo>
                        <a:pt x="502" y="556"/>
                      </a:lnTo>
                      <a:lnTo>
                        <a:pt x="496" y="563"/>
                      </a:lnTo>
                      <a:lnTo>
                        <a:pt x="498" y="570"/>
                      </a:lnTo>
                      <a:lnTo>
                        <a:pt x="498" y="570"/>
                      </a:lnTo>
                      <a:lnTo>
                        <a:pt x="490" y="571"/>
                      </a:lnTo>
                      <a:lnTo>
                        <a:pt x="487" y="574"/>
                      </a:lnTo>
                      <a:lnTo>
                        <a:pt x="478" y="577"/>
                      </a:lnTo>
                      <a:lnTo>
                        <a:pt x="475" y="582"/>
                      </a:lnTo>
                      <a:lnTo>
                        <a:pt x="467" y="583"/>
                      </a:lnTo>
                      <a:lnTo>
                        <a:pt x="453" y="593"/>
                      </a:lnTo>
                      <a:lnTo>
                        <a:pt x="450" y="599"/>
                      </a:lnTo>
                      <a:lnTo>
                        <a:pt x="441" y="602"/>
                      </a:lnTo>
                      <a:lnTo>
                        <a:pt x="438" y="600"/>
                      </a:lnTo>
                      <a:lnTo>
                        <a:pt x="436" y="597"/>
                      </a:lnTo>
                      <a:lnTo>
                        <a:pt x="430" y="596"/>
                      </a:lnTo>
                      <a:lnTo>
                        <a:pt x="419" y="588"/>
                      </a:lnTo>
                      <a:lnTo>
                        <a:pt x="413" y="576"/>
                      </a:lnTo>
                      <a:lnTo>
                        <a:pt x="412" y="582"/>
                      </a:lnTo>
                      <a:lnTo>
                        <a:pt x="402" y="579"/>
                      </a:lnTo>
                      <a:lnTo>
                        <a:pt x="396" y="582"/>
                      </a:lnTo>
                      <a:lnTo>
                        <a:pt x="393" y="594"/>
                      </a:lnTo>
                      <a:lnTo>
                        <a:pt x="389" y="599"/>
                      </a:lnTo>
                      <a:lnTo>
                        <a:pt x="387" y="599"/>
                      </a:lnTo>
                      <a:lnTo>
                        <a:pt x="379" y="596"/>
                      </a:lnTo>
                      <a:lnTo>
                        <a:pt x="363" y="594"/>
                      </a:lnTo>
                      <a:lnTo>
                        <a:pt x="350" y="600"/>
                      </a:lnTo>
                      <a:lnTo>
                        <a:pt x="347" y="607"/>
                      </a:lnTo>
                      <a:lnTo>
                        <a:pt x="336" y="610"/>
                      </a:lnTo>
                      <a:lnTo>
                        <a:pt x="330" y="614"/>
                      </a:lnTo>
                      <a:lnTo>
                        <a:pt x="326" y="614"/>
                      </a:lnTo>
                      <a:lnTo>
                        <a:pt x="309" y="605"/>
                      </a:lnTo>
                      <a:lnTo>
                        <a:pt x="298" y="605"/>
                      </a:lnTo>
                      <a:lnTo>
                        <a:pt x="295" y="617"/>
                      </a:lnTo>
                      <a:lnTo>
                        <a:pt x="297" y="627"/>
                      </a:lnTo>
                      <a:lnTo>
                        <a:pt x="278" y="642"/>
                      </a:lnTo>
                      <a:lnTo>
                        <a:pt x="272" y="640"/>
                      </a:lnTo>
                      <a:lnTo>
                        <a:pt x="269" y="625"/>
                      </a:lnTo>
                      <a:lnTo>
                        <a:pt x="263" y="623"/>
                      </a:lnTo>
                      <a:lnTo>
                        <a:pt x="261" y="620"/>
                      </a:lnTo>
                      <a:lnTo>
                        <a:pt x="261" y="617"/>
                      </a:lnTo>
                      <a:lnTo>
                        <a:pt x="257" y="605"/>
                      </a:lnTo>
                      <a:lnTo>
                        <a:pt x="255" y="605"/>
                      </a:lnTo>
                      <a:lnTo>
                        <a:pt x="246" y="614"/>
                      </a:lnTo>
                      <a:lnTo>
                        <a:pt x="215" y="616"/>
                      </a:lnTo>
                      <a:lnTo>
                        <a:pt x="209" y="620"/>
                      </a:lnTo>
                      <a:lnTo>
                        <a:pt x="194" y="608"/>
                      </a:lnTo>
                      <a:lnTo>
                        <a:pt x="185" y="614"/>
                      </a:lnTo>
                      <a:lnTo>
                        <a:pt x="163" y="620"/>
                      </a:lnTo>
                      <a:lnTo>
                        <a:pt x="157" y="623"/>
                      </a:lnTo>
                      <a:lnTo>
                        <a:pt x="146" y="623"/>
                      </a:lnTo>
                      <a:lnTo>
                        <a:pt x="135" y="628"/>
                      </a:lnTo>
                      <a:lnTo>
                        <a:pt x="123" y="637"/>
                      </a:lnTo>
                      <a:lnTo>
                        <a:pt x="123" y="637"/>
                      </a:lnTo>
                      <a:lnTo>
                        <a:pt x="117" y="633"/>
                      </a:lnTo>
                      <a:lnTo>
                        <a:pt x="114" y="631"/>
                      </a:lnTo>
                      <a:lnTo>
                        <a:pt x="100" y="631"/>
                      </a:lnTo>
                      <a:lnTo>
                        <a:pt x="103" y="625"/>
                      </a:lnTo>
                      <a:lnTo>
                        <a:pt x="106" y="616"/>
                      </a:lnTo>
                      <a:lnTo>
                        <a:pt x="105" y="607"/>
                      </a:lnTo>
                      <a:lnTo>
                        <a:pt x="102" y="600"/>
                      </a:lnTo>
                      <a:lnTo>
                        <a:pt x="114" y="585"/>
                      </a:lnTo>
                      <a:lnTo>
                        <a:pt x="122" y="582"/>
                      </a:lnTo>
                      <a:lnTo>
                        <a:pt x="128" y="574"/>
                      </a:lnTo>
                      <a:lnTo>
                        <a:pt x="132" y="573"/>
                      </a:lnTo>
                      <a:lnTo>
                        <a:pt x="129" y="570"/>
                      </a:lnTo>
                      <a:lnTo>
                        <a:pt x="131" y="567"/>
                      </a:lnTo>
                      <a:lnTo>
                        <a:pt x="148" y="536"/>
                      </a:lnTo>
                      <a:lnTo>
                        <a:pt x="148" y="534"/>
                      </a:lnTo>
                      <a:lnTo>
                        <a:pt x="145" y="531"/>
                      </a:lnTo>
                      <a:lnTo>
                        <a:pt x="139" y="493"/>
                      </a:lnTo>
                      <a:lnTo>
                        <a:pt x="131" y="482"/>
                      </a:lnTo>
                      <a:lnTo>
                        <a:pt x="132" y="477"/>
                      </a:lnTo>
                      <a:lnTo>
                        <a:pt x="131" y="474"/>
                      </a:lnTo>
                      <a:lnTo>
                        <a:pt x="123" y="465"/>
                      </a:lnTo>
                      <a:lnTo>
                        <a:pt x="116" y="467"/>
                      </a:lnTo>
                      <a:lnTo>
                        <a:pt x="120" y="451"/>
                      </a:lnTo>
                      <a:lnTo>
                        <a:pt x="117" y="447"/>
                      </a:lnTo>
                      <a:lnTo>
                        <a:pt x="116" y="448"/>
                      </a:lnTo>
                      <a:lnTo>
                        <a:pt x="102" y="451"/>
                      </a:lnTo>
                      <a:lnTo>
                        <a:pt x="102" y="443"/>
                      </a:lnTo>
                      <a:lnTo>
                        <a:pt x="97" y="439"/>
                      </a:lnTo>
                      <a:lnTo>
                        <a:pt x="86" y="442"/>
                      </a:lnTo>
                      <a:lnTo>
                        <a:pt x="83" y="440"/>
                      </a:lnTo>
                      <a:lnTo>
                        <a:pt x="79" y="443"/>
                      </a:lnTo>
                      <a:lnTo>
                        <a:pt x="74" y="445"/>
                      </a:lnTo>
                      <a:lnTo>
                        <a:pt x="70" y="440"/>
                      </a:lnTo>
                      <a:lnTo>
                        <a:pt x="65" y="427"/>
                      </a:lnTo>
                      <a:lnTo>
                        <a:pt x="60" y="423"/>
                      </a:lnTo>
                      <a:lnTo>
                        <a:pt x="62" y="420"/>
                      </a:lnTo>
                      <a:lnTo>
                        <a:pt x="57" y="417"/>
                      </a:lnTo>
                      <a:lnTo>
                        <a:pt x="54" y="417"/>
                      </a:lnTo>
                      <a:lnTo>
                        <a:pt x="46" y="403"/>
                      </a:lnTo>
                      <a:lnTo>
                        <a:pt x="46" y="396"/>
                      </a:lnTo>
                      <a:lnTo>
                        <a:pt x="34" y="391"/>
                      </a:lnTo>
                      <a:lnTo>
                        <a:pt x="34" y="391"/>
                      </a:lnTo>
                      <a:lnTo>
                        <a:pt x="37" y="387"/>
                      </a:lnTo>
                      <a:lnTo>
                        <a:pt x="42" y="385"/>
                      </a:lnTo>
                      <a:lnTo>
                        <a:pt x="51" y="370"/>
                      </a:lnTo>
                      <a:lnTo>
                        <a:pt x="50" y="360"/>
                      </a:lnTo>
                      <a:lnTo>
                        <a:pt x="53" y="356"/>
                      </a:lnTo>
                      <a:lnTo>
                        <a:pt x="59" y="354"/>
                      </a:lnTo>
                      <a:lnTo>
                        <a:pt x="63" y="350"/>
                      </a:lnTo>
                      <a:lnTo>
                        <a:pt x="71" y="350"/>
                      </a:lnTo>
                      <a:lnTo>
                        <a:pt x="83" y="328"/>
                      </a:lnTo>
                      <a:lnTo>
                        <a:pt x="74" y="317"/>
                      </a:lnTo>
                      <a:lnTo>
                        <a:pt x="63" y="325"/>
                      </a:lnTo>
                      <a:lnTo>
                        <a:pt x="57" y="322"/>
                      </a:lnTo>
                      <a:lnTo>
                        <a:pt x="54" y="300"/>
                      </a:lnTo>
                      <a:lnTo>
                        <a:pt x="54" y="296"/>
                      </a:lnTo>
                      <a:lnTo>
                        <a:pt x="53" y="296"/>
                      </a:lnTo>
                      <a:lnTo>
                        <a:pt x="50" y="288"/>
                      </a:lnTo>
                      <a:lnTo>
                        <a:pt x="43" y="288"/>
                      </a:lnTo>
                      <a:lnTo>
                        <a:pt x="39" y="284"/>
                      </a:lnTo>
                      <a:lnTo>
                        <a:pt x="30" y="287"/>
                      </a:lnTo>
                      <a:lnTo>
                        <a:pt x="30" y="282"/>
                      </a:lnTo>
                      <a:lnTo>
                        <a:pt x="25" y="279"/>
                      </a:lnTo>
                      <a:lnTo>
                        <a:pt x="20" y="270"/>
                      </a:lnTo>
                      <a:lnTo>
                        <a:pt x="16" y="267"/>
                      </a:lnTo>
                      <a:lnTo>
                        <a:pt x="19" y="260"/>
                      </a:lnTo>
                      <a:lnTo>
                        <a:pt x="27" y="256"/>
                      </a:lnTo>
                      <a:lnTo>
                        <a:pt x="30" y="251"/>
                      </a:lnTo>
                      <a:lnTo>
                        <a:pt x="28" y="248"/>
                      </a:lnTo>
                      <a:lnTo>
                        <a:pt x="28" y="248"/>
                      </a:lnTo>
                      <a:lnTo>
                        <a:pt x="37" y="233"/>
                      </a:lnTo>
                      <a:lnTo>
                        <a:pt x="34" y="228"/>
                      </a:lnTo>
                      <a:lnTo>
                        <a:pt x="28" y="225"/>
                      </a:lnTo>
                      <a:lnTo>
                        <a:pt x="23" y="228"/>
                      </a:lnTo>
                      <a:lnTo>
                        <a:pt x="11" y="225"/>
                      </a:lnTo>
                      <a:lnTo>
                        <a:pt x="7" y="219"/>
                      </a:lnTo>
                      <a:lnTo>
                        <a:pt x="0" y="213"/>
                      </a:lnTo>
                      <a:lnTo>
                        <a:pt x="0" y="208"/>
                      </a:lnTo>
                      <a:lnTo>
                        <a:pt x="2" y="204"/>
                      </a:lnTo>
                      <a:lnTo>
                        <a:pt x="4" y="202"/>
                      </a:lnTo>
                      <a:lnTo>
                        <a:pt x="19" y="204"/>
                      </a:lnTo>
                      <a:lnTo>
                        <a:pt x="19" y="199"/>
                      </a:lnTo>
                      <a:lnTo>
                        <a:pt x="22" y="196"/>
                      </a:lnTo>
                      <a:lnTo>
                        <a:pt x="27" y="199"/>
                      </a:lnTo>
                      <a:lnTo>
                        <a:pt x="31" y="197"/>
                      </a:lnTo>
                      <a:lnTo>
                        <a:pt x="30" y="196"/>
                      </a:lnTo>
                      <a:lnTo>
                        <a:pt x="36" y="194"/>
                      </a:lnTo>
                      <a:lnTo>
                        <a:pt x="37" y="196"/>
                      </a:lnTo>
                      <a:lnTo>
                        <a:pt x="40" y="185"/>
                      </a:lnTo>
                      <a:lnTo>
                        <a:pt x="36" y="182"/>
                      </a:lnTo>
                      <a:lnTo>
                        <a:pt x="37" y="171"/>
                      </a:lnTo>
                      <a:lnTo>
                        <a:pt x="36" y="164"/>
                      </a:lnTo>
                      <a:lnTo>
                        <a:pt x="36" y="157"/>
                      </a:lnTo>
                      <a:lnTo>
                        <a:pt x="34" y="156"/>
                      </a:lnTo>
                      <a:lnTo>
                        <a:pt x="36" y="151"/>
                      </a:lnTo>
                      <a:lnTo>
                        <a:pt x="28" y="145"/>
                      </a:lnTo>
                      <a:lnTo>
                        <a:pt x="31" y="140"/>
                      </a:lnTo>
                      <a:lnTo>
                        <a:pt x="37" y="140"/>
                      </a:lnTo>
                      <a:lnTo>
                        <a:pt x="39" y="133"/>
                      </a:lnTo>
                      <a:lnTo>
                        <a:pt x="48" y="128"/>
                      </a:lnTo>
                      <a:lnTo>
                        <a:pt x="48" y="119"/>
                      </a:lnTo>
                      <a:lnTo>
                        <a:pt x="57" y="119"/>
                      </a:lnTo>
                      <a:lnTo>
                        <a:pt x="62" y="116"/>
                      </a:lnTo>
                      <a:lnTo>
                        <a:pt x="62" y="113"/>
                      </a:lnTo>
                      <a:lnTo>
                        <a:pt x="60" y="110"/>
                      </a:lnTo>
                      <a:lnTo>
                        <a:pt x="50" y="105"/>
                      </a:lnTo>
                      <a:lnTo>
                        <a:pt x="46" y="100"/>
                      </a:lnTo>
                      <a:lnTo>
                        <a:pt x="40" y="80"/>
                      </a:lnTo>
                      <a:lnTo>
                        <a:pt x="42" y="80"/>
                      </a:lnTo>
                      <a:lnTo>
                        <a:pt x="43" y="77"/>
                      </a:lnTo>
                      <a:lnTo>
                        <a:pt x="46" y="76"/>
                      </a:lnTo>
                      <a:lnTo>
                        <a:pt x="51" y="71"/>
                      </a:lnTo>
                      <a:lnTo>
                        <a:pt x="59" y="67"/>
                      </a:lnTo>
                      <a:lnTo>
                        <a:pt x="62" y="64"/>
                      </a:lnTo>
                      <a:lnTo>
                        <a:pt x="65" y="68"/>
                      </a:lnTo>
                      <a:lnTo>
                        <a:pt x="68" y="76"/>
                      </a:lnTo>
                      <a:lnTo>
                        <a:pt x="71" y="77"/>
                      </a:lnTo>
                      <a:lnTo>
                        <a:pt x="76" y="74"/>
                      </a:lnTo>
                      <a:lnTo>
                        <a:pt x="82" y="76"/>
                      </a:lnTo>
                      <a:lnTo>
                        <a:pt x="86" y="74"/>
                      </a:lnTo>
                      <a:lnTo>
                        <a:pt x="88" y="70"/>
                      </a:lnTo>
                      <a:lnTo>
                        <a:pt x="89" y="70"/>
                      </a:lnTo>
                      <a:lnTo>
                        <a:pt x="94" y="70"/>
                      </a:lnTo>
                      <a:lnTo>
                        <a:pt x="103" y="73"/>
                      </a:lnTo>
                      <a:lnTo>
                        <a:pt x="109" y="70"/>
                      </a:lnTo>
                      <a:lnTo>
                        <a:pt x="119" y="73"/>
                      </a:lnTo>
                      <a:lnTo>
                        <a:pt x="126" y="70"/>
                      </a:lnTo>
                      <a:lnTo>
                        <a:pt x="128" y="67"/>
                      </a:lnTo>
                      <a:lnTo>
                        <a:pt x="129" y="59"/>
                      </a:lnTo>
                      <a:lnTo>
                        <a:pt x="128" y="48"/>
                      </a:lnTo>
                      <a:lnTo>
                        <a:pt x="134" y="39"/>
                      </a:lnTo>
                      <a:lnTo>
                        <a:pt x="132" y="36"/>
                      </a:lnTo>
                      <a:lnTo>
                        <a:pt x="135" y="30"/>
                      </a:lnTo>
                      <a:lnTo>
                        <a:pt x="135" y="24"/>
                      </a:lnTo>
                      <a:lnTo>
                        <a:pt x="134" y="20"/>
                      </a:lnTo>
                      <a:lnTo>
                        <a:pt x="135" y="17"/>
                      </a:lnTo>
                      <a:lnTo>
                        <a:pt x="143" y="16"/>
                      </a:lnTo>
                      <a:lnTo>
                        <a:pt x="152" y="13"/>
                      </a:lnTo>
                      <a:lnTo>
                        <a:pt x="165" y="0"/>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97" name="Harghita" descr="{&quot;Key&quot;:&quot;harghita&quot;,&quot;Name&quot;:&quot;Harghita&quot;,&quot;Value&quot;:1.0,&quot;Formula&quot;:&quot;&quot;,&quot;Text&quot;:&quot;1&quot;,&quot;OfficeApplication&quot;:0,&quot;HasValue&quot;:true}">
                  <a:extLst>
                    <a:ext uri="{FF2B5EF4-FFF2-40B4-BE49-F238E27FC236}">
                      <a16:creationId xmlns:a16="http://schemas.microsoft.com/office/drawing/2014/main" id="{0BAB6DAC-B788-9381-332A-6C748FCB3C86}"/>
                    </a:ext>
                  </a:extLst>
                </p:cNvPr>
                <p:cNvSpPr>
                  <a:spLocks/>
                </p:cNvSpPr>
                <p:nvPr/>
              </p:nvSpPr>
              <p:spPr bwMode="auto">
                <a:xfrm>
                  <a:off x="6003925" y="2381251"/>
                  <a:ext cx="912813" cy="938213"/>
                </a:xfrm>
                <a:custGeom>
                  <a:avLst/>
                  <a:gdLst>
                    <a:gd name="T0" fmla="*/ 179 w 575"/>
                    <a:gd name="T1" fmla="*/ 16 h 591"/>
                    <a:gd name="T2" fmla="*/ 221 w 575"/>
                    <a:gd name="T3" fmla="*/ 26 h 591"/>
                    <a:gd name="T4" fmla="*/ 248 w 575"/>
                    <a:gd name="T5" fmla="*/ 0 h 591"/>
                    <a:gd name="T6" fmla="*/ 276 w 575"/>
                    <a:gd name="T7" fmla="*/ 31 h 591"/>
                    <a:gd name="T8" fmla="*/ 311 w 575"/>
                    <a:gd name="T9" fmla="*/ 25 h 591"/>
                    <a:gd name="T10" fmla="*/ 359 w 575"/>
                    <a:gd name="T11" fmla="*/ 49 h 591"/>
                    <a:gd name="T12" fmla="*/ 368 w 575"/>
                    <a:gd name="T13" fmla="*/ 71 h 591"/>
                    <a:gd name="T14" fmla="*/ 399 w 575"/>
                    <a:gd name="T15" fmla="*/ 94 h 591"/>
                    <a:gd name="T16" fmla="*/ 399 w 575"/>
                    <a:gd name="T17" fmla="*/ 108 h 591"/>
                    <a:gd name="T18" fmla="*/ 382 w 575"/>
                    <a:gd name="T19" fmla="*/ 128 h 591"/>
                    <a:gd name="T20" fmla="*/ 371 w 575"/>
                    <a:gd name="T21" fmla="*/ 166 h 591"/>
                    <a:gd name="T22" fmla="*/ 385 w 575"/>
                    <a:gd name="T23" fmla="*/ 183 h 591"/>
                    <a:gd name="T24" fmla="*/ 380 w 575"/>
                    <a:gd name="T25" fmla="*/ 231 h 591"/>
                    <a:gd name="T26" fmla="*/ 380 w 575"/>
                    <a:gd name="T27" fmla="*/ 245 h 591"/>
                    <a:gd name="T28" fmla="*/ 422 w 575"/>
                    <a:gd name="T29" fmla="*/ 271 h 591"/>
                    <a:gd name="T30" fmla="*/ 437 w 575"/>
                    <a:gd name="T31" fmla="*/ 254 h 591"/>
                    <a:gd name="T32" fmla="*/ 460 w 575"/>
                    <a:gd name="T33" fmla="*/ 271 h 591"/>
                    <a:gd name="T34" fmla="*/ 458 w 575"/>
                    <a:gd name="T35" fmla="*/ 291 h 591"/>
                    <a:gd name="T36" fmla="*/ 485 w 575"/>
                    <a:gd name="T37" fmla="*/ 349 h 591"/>
                    <a:gd name="T38" fmla="*/ 471 w 575"/>
                    <a:gd name="T39" fmla="*/ 380 h 591"/>
                    <a:gd name="T40" fmla="*/ 455 w 575"/>
                    <a:gd name="T41" fmla="*/ 405 h 591"/>
                    <a:gd name="T42" fmla="*/ 528 w 575"/>
                    <a:gd name="T43" fmla="*/ 434 h 591"/>
                    <a:gd name="T44" fmla="*/ 524 w 575"/>
                    <a:gd name="T45" fmla="*/ 462 h 591"/>
                    <a:gd name="T46" fmla="*/ 552 w 575"/>
                    <a:gd name="T47" fmla="*/ 471 h 591"/>
                    <a:gd name="T48" fmla="*/ 575 w 575"/>
                    <a:gd name="T49" fmla="*/ 468 h 591"/>
                    <a:gd name="T50" fmla="*/ 563 w 575"/>
                    <a:gd name="T51" fmla="*/ 512 h 591"/>
                    <a:gd name="T52" fmla="*/ 563 w 575"/>
                    <a:gd name="T53" fmla="*/ 532 h 591"/>
                    <a:gd name="T54" fmla="*/ 532 w 575"/>
                    <a:gd name="T55" fmla="*/ 552 h 591"/>
                    <a:gd name="T56" fmla="*/ 506 w 575"/>
                    <a:gd name="T57" fmla="*/ 563 h 591"/>
                    <a:gd name="T58" fmla="*/ 468 w 575"/>
                    <a:gd name="T59" fmla="*/ 583 h 591"/>
                    <a:gd name="T60" fmla="*/ 428 w 575"/>
                    <a:gd name="T61" fmla="*/ 582 h 591"/>
                    <a:gd name="T62" fmla="*/ 394 w 575"/>
                    <a:gd name="T63" fmla="*/ 574 h 591"/>
                    <a:gd name="T64" fmla="*/ 377 w 575"/>
                    <a:gd name="T65" fmla="*/ 549 h 591"/>
                    <a:gd name="T66" fmla="*/ 359 w 575"/>
                    <a:gd name="T67" fmla="*/ 525 h 591"/>
                    <a:gd name="T68" fmla="*/ 342 w 575"/>
                    <a:gd name="T69" fmla="*/ 495 h 591"/>
                    <a:gd name="T70" fmla="*/ 300 w 575"/>
                    <a:gd name="T71" fmla="*/ 520 h 591"/>
                    <a:gd name="T72" fmla="*/ 265 w 575"/>
                    <a:gd name="T73" fmla="*/ 552 h 591"/>
                    <a:gd name="T74" fmla="*/ 244 w 575"/>
                    <a:gd name="T75" fmla="*/ 591 h 591"/>
                    <a:gd name="T76" fmla="*/ 211 w 575"/>
                    <a:gd name="T77" fmla="*/ 580 h 591"/>
                    <a:gd name="T78" fmla="*/ 204 w 575"/>
                    <a:gd name="T79" fmla="*/ 566 h 591"/>
                    <a:gd name="T80" fmla="*/ 182 w 575"/>
                    <a:gd name="T81" fmla="*/ 552 h 591"/>
                    <a:gd name="T82" fmla="*/ 138 w 575"/>
                    <a:gd name="T83" fmla="*/ 559 h 591"/>
                    <a:gd name="T84" fmla="*/ 115 w 575"/>
                    <a:gd name="T85" fmla="*/ 548 h 591"/>
                    <a:gd name="T86" fmla="*/ 90 w 575"/>
                    <a:gd name="T87" fmla="*/ 515 h 591"/>
                    <a:gd name="T88" fmla="*/ 67 w 575"/>
                    <a:gd name="T89" fmla="*/ 514 h 591"/>
                    <a:gd name="T90" fmla="*/ 43 w 575"/>
                    <a:gd name="T91" fmla="*/ 515 h 591"/>
                    <a:gd name="T92" fmla="*/ 17 w 575"/>
                    <a:gd name="T93" fmla="*/ 489 h 591"/>
                    <a:gd name="T94" fmla="*/ 7 w 575"/>
                    <a:gd name="T95" fmla="*/ 463 h 591"/>
                    <a:gd name="T96" fmla="*/ 4 w 575"/>
                    <a:gd name="T97" fmla="*/ 437 h 591"/>
                    <a:gd name="T98" fmla="*/ 52 w 575"/>
                    <a:gd name="T99" fmla="*/ 439 h 591"/>
                    <a:gd name="T100" fmla="*/ 41 w 575"/>
                    <a:gd name="T101" fmla="*/ 409 h 591"/>
                    <a:gd name="T102" fmla="*/ 64 w 575"/>
                    <a:gd name="T103" fmla="*/ 372 h 591"/>
                    <a:gd name="T104" fmla="*/ 72 w 575"/>
                    <a:gd name="T105" fmla="*/ 346 h 591"/>
                    <a:gd name="T106" fmla="*/ 122 w 575"/>
                    <a:gd name="T107" fmla="*/ 326 h 591"/>
                    <a:gd name="T108" fmla="*/ 156 w 575"/>
                    <a:gd name="T109" fmla="*/ 280 h 591"/>
                    <a:gd name="T110" fmla="*/ 182 w 575"/>
                    <a:gd name="T111" fmla="*/ 222 h 591"/>
                    <a:gd name="T112" fmla="*/ 176 w 575"/>
                    <a:gd name="T113" fmla="*/ 177 h 591"/>
                    <a:gd name="T114" fmla="*/ 172 w 575"/>
                    <a:gd name="T115" fmla="*/ 140 h 591"/>
                    <a:gd name="T116" fmla="*/ 176 w 575"/>
                    <a:gd name="T117" fmla="*/ 117 h 591"/>
                    <a:gd name="T118" fmla="*/ 172 w 575"/>
                    <a:gd name="T119" fmla="*/ 85 h 591"/>
                    <a:gd name="T120" fmla="*/ 158 w 575"/>
                    <a:gd name="T121" fmla="*/ 28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5" h="591">
                      <a:moveTo>
                        <a:pt x="158" y="28"/>
                      </a:moveTo>
                      <a:lnTo>
                        <a:pt x="162" y="26"/>
                      </a:lnTo>
                      <a:lnTo>
                        <a:pt x="167" y="20"/>
                      </a:lnTo>
                      <a:lnTo>
                        <a:pt x="175" y="20"/>
                      </a:lnTo>
                      <a:lnTo>
                        <a:pt x="179" y="16"/>
                      </a:lnTo>
                      <a:lnTo>
                        <a:pt x="182" y="9"/>
                      </a:lnTo>
                      <a:lnTo>
                        <a:pt x="185" y="9"/>
                      </a:lnTo>
                      <a:lnTo>
                        <a:pt x="201" y="19"/>
                      </a:lnTo>
                      <a:lnTo>
                        <a:pt x="211" y="20"/>
                      </a:lnTo>
                      <a:lnTo>
                        <a:pt x="221" y="26"/>
                      </a:lnTo>
                      <a:lnTo>
                        <a:pt x="224" y="23"/>
                      </a:lnTo>
                      <a:lnTo>
                        <a:pt x="222" y="17"/>
                      </a:lnTo>
                      <a:lnTo>
                        <a:pt x="225" y="16"/>
                      </a:lnTo>
                      <a:lnTo>
                        <a:pt x="228" y="6"/>
                      </a:lnTo>
                      <a:lnTo>
                        <a:pt x="248" y="0"/>
                      </a:lnTo>
                      <a:lnTo>
                        <a:pt x="256" y="2"/>
                      </a:lnTo>
                      <a:lnTo>
                        <a:pt x="264" y="11"/>
                      </a:lnTo>
                      <a:lnTo>
                        <a:pt x="268" y="11"/>
                      </a:lnTo>
                      <a:lnTo>
                        <a:pt x="273" y="14"/>
                      </a:lnTo>
                      <a:lnTo>
                        <a:pt x="276" y="31"/>
                      </a:lnTo>
                      <a:lnTo>
                        <a:pt x="284" y="32"/>
                      </a:lnTo>
                      <a:lnTo>
                        <a:pt x="288" y="31"/>
                      </a:lnTo>
                      <a:lnTo>
                        <a:pt x="302" y="36"/>
                      </a:lnTo>
                      <a:lnTo>
                        <a:pt x="305" y="34"/>
                      </a:lnTo>
                      <a:lnTo>
                        <a:pt x="311" y="25"/>
                      </a:lnTo>
                      <a:lnTo>
                        <a:pt x="325" y="28"/>
                      </a:lnTo>
                      <a:lnTo>
                        <a:pt x="325" y="28"/>
                      </a:lnTo>
                      <a:lnTo>
                        <a:pt x="331" y="28"/>
                      </a:lnTo>
                      <a:lnTo>
                        <a:pt x="354" y="39"/>
                      </a:lnTo>
                      <a:lnTo>
                        <a:pt x="359" y="49"/>
                      </a:lnTo>
                      <a:lnTo>
                        <a:pt x="368" y="59"/>
                      </a:lnTo>
                      <a:lnTo>
                        <a:pt x="368" y="62"/>
                      </a:lnTo>
                      <a:lnTo>
                        <a:pt x="371" y="62"/>
                      </a:lnTo>
                      <a:lnTo>
                        <a:pt x="371" y="66"/>
                      </a:lnTo>
                      <a:lnTo>
                        <a:pt x="368" y="71"/>
                      </a:lnTo>
                      <a:lnTo>
                        <a:pt x="374" y="76"/>
                      </a:lnTo>
                      <a:lnTo>
                        <a:pt x="382" y="100"/>
                      </a:lnTo>
                      <a:lnTo>
                        <a:pt x="385" y="100"/>
                      </a:lnTo>
                      <a:lnTo>
                        <a:pt x="388" y="92"/>
                      </a:lnTo>
                      <a:lnTo>
                        <a:pt x="399" y="94"/>
                      </a:lnTo>
                      <a:lnTo>
                        <a:pt x="400" y="96"/>
                      </a:lnTo>
                      <a:lnTo>
                        <a:pt x="400" y="100"/>
                      </a:lnTo>
                      <a:lnTo>
                        <a:pt x="408" y="106"/>
                      </a:lnTo>
                      <a:lnTo>
                        <a:pt x="403" y="109"/>
                      </a:lnTo>
                      <a:lnTo>
                        <a:pt x="399" y="108"/>
                      </a:lnTo>
                      <a:lnTo>
                        <a:pt x="399" y="117"/>
                      </a:lnTo>
                      <a:lnTo>
                        <a:pt x="391" y="125"/>
                      </a:lnTo>
                      <a:lnTo>
                        <a:pt x="386" y="122"/>
                      </a:lnTo>
                      <a:lnTo>
                        <a:pt x="382" y="122"/>
                      </a:lnTo>
                      <a:lnTo>
                        <a:pt x="382" y="128"/>
                      </a:lnTo>
                      <a:lnTo>
                        <a:pt x="373" y="139"/>
                      </a:lnTo>
                      <a:lnTo>
                        <a:pt x="369" y="145"/>
                      </a:lnTo>
                      <a:lnTo>
                        <a:pt x="365" y="148"/>
                      </a:lnTo>
                      <a:lnTo>
                        <a:pt x="373" y="157"/>
                      </a:lnTo>
                      <a:lnTo>
                        <a:pt x="371" y="166"/>
                      </a:lnTo>
                      <a:lnTo>
                        <a:pt x="366" y="168"/>
                      </a:lnTo>
                      <a:lnTo>
                        <a:pt x="366" y="172"/>
                      </a:lnTo>
                      <a:lnTo>
                        <a:pt x="369" y="176"/>
                      </a:lnTo>
                      <a:lnTo>
                        <a:pt x="377" y="177"/>
                      </a:lnTo>
                      <a:lnTo>
                        <a:pt x="385" y="183"/>
                      </a:lnTo>
                      <a:lnTo>
                        <a:pt x="383" y="199"/>
                      </a:lnTo>
                      <a:lnTo>
                        <a:pt x="388" y="208"/>
                      </a:lnTo>
                      <a:lnTo>
                        <a:pt x="386" y="217"/>
                      </a:lnTo>
                      <a:lnTo>
                        <a:pt x="388" y="223"/>
                      </a:lnTo>
                      <a:lnTo>
                        <a:pt x="380" y="231"/>
                      </a:lnTo>
                      <a:lnTo>
                        <a:pt x="383" y="232"/>
                      </a:lnTo>
                      <a:lnTo>
                        <a:pt x="382" y="236"/>
                      </a:lnTo>
                      <a:lnTo>
                        <a:pt x="376" y="239"/>
                      </a:lnTo>
                      <a:lnTo>
                        <a:pt x="379" y="245"/>
                      </a:lnTo>
                      <a:lnTo>
                        <a:pt x="380" y="245"/>
                      </a:lnTo>
                      <a:lnTo>
                        <a:pt x="383" y="251"/>
                      </a:lnTo>
                      <a:lnTo>
                        <a:pt x="408" y="282"/>
                      </a:lnTo>
                      <a:lnTo>
                        <a:pt x="422" y="282"/>
                      </a:lnTo>
                      <a:lnTo>
                        <a:pt x="425" y="279"/>
                      </a:lnTo>
                      <a:lnTo>
                        <a:pt x="422" y="271"/>
                      </a:lnTo>
                      <a:lnTo>
                        <a:pt x="414" y="260"/>
                      </a:lnTo>
                      <a:lnTo>
                        <a:pt x="417" y="254"/>
                      </a:lnTo>
                      <a:lnTo>
                        <a:pt x="420" y="256"/>
                      </a:lnTo>
                      <a:lnTo>
                        <a:pt x="423" y="252"/>
                      </a:lnTo>
                      <a:lnTo>
                        <a:pt x="437" y="254"/>
                      </a:lnTo>
                      <a:lnTo>
                        <a:pt x="443" y="256"/>
                      </a:lnTo>
                      <a:lnTo>
                        <a:pt x="449" y="256"/>
                      </a:lnTo>
                      <a:lnTo>
                        <a:pt x="452" y="259"/>
                      </a:lnTo>
                      <a:lnTo>
                        <a:pt x="452" y="259"/>
                      </a:lnTo>
                      <a:lnTo>
                        <a:pt x="460" y="271"/>
                      </a:lnTo>
                      <a:lnTo>
                        <a:pt x="463" y="276"/>
                      </a:lnTo>
                      <a:lnTo>
                        <a:pt x="462" y="280"/>
                      </a:lnTo>
                      <a:lnTo>
                        <a:pt x="465" y="285"/>
                      </a:lnTo>
                      <a:lnTo>
                        <a:pt x="463" y="288"/>
                      </a:lnTo>
                      <a:lnTo>
                        <a:pt x="458" y="291"/>
                      </a:lnTo>
                      <a:lnTo>
                        <a:pt x="457" y="300"/>
                      </a:lnTo>
                      <a:lnTo>
                        <a:pt x="458" y="309"/>
                      </a:lnTo>
                      <a:lnTo>
                        <a:pt x="466" y="319"/>
                      </a:lnTo>
                      <a:lnTo>
                        <a:pt x="474" y="332"/>
                      </a:lnTo>
                      <a:lnTo>
                        <a:pt x="485" y="349"/>
                      </a:lnTo>
                      <a:lnTo>
                        <a:pt x="486" y="360"/>
                      </a:lnTo>
                      <a:lnTo>
                        <a:pt x="489" y="365"/>
                      </a:lnTo>
                      <a:lnTo>
                        <a:pt x="486" y="372"/>
                      </a:lnTo>
                      <a:lnTo>
                        <a:pt x="477" y="374"/>
                      </a:lnTo>
                      <a:lnTo>
                        <a:pt x="471" y="380"/>
                      </a:lnTo>
                      <a:lnTo>
                        <a:pt x="466" y="388"/>
                      </a:lnTo>
                      <a:lnTo>
                        <a:pt x="469" y="392"/>
                      </a:lnTo>
                      <a:lnTo>
                        <a:pt x="465" y="392"/>
                      </a:lnTo>
                      <a:lnTo>
                        <a:pt x="462" y="402"/>
                      </a:lnTo>
                      <a:lnTo>
                        <a:pt x="455" y="405"/>
                      </a:lnTo>
                      <a:lnTo>
                        <a:pt x="463" y="414"/>
                      </a:lnTo>
                      <a:lnTo>
                        <a:pt x="483" y="419"/>
                      </a:lnTo>
                      <a:lnTo>
                        <a:pt x="485" y="423"/>
                      </a:lnTo>
                      <a:lnTo>
                        <a:pt x="534" y="425"/>
                      </a:lnTo>
                      <a:lnTo>
                        <a:pt x="528" y="434"/>
                      </a:lnTo>
                      <a:lnTo>
                        <a:pt x="532" y="435"/>
                      </a:lnTo>
                      <a:lnTo>
                        <a:pt x="532" y="437"/>
                      </a:lnTo>
                      <a:lnTo>
                        <a:pt x="529" y="443"/>
                      </a:lnTo>
                      <a:lnTo>
                        <a:pt x="526" y="445"/>
                      </a:lnTo>
                      <a:lnTo>
                        <a:pt x="524" y="462"/>
                      </a:lnTo>
                      <a:lnTo>
                        <a:pt x="520" y="474"/>
                      </a:lnTo>
                      <a:lnTo>
                        <a:pt x="521" y="477"/>
                      </a:lnTo>
                      <a:lnTo>
                        <a:pt x="534" y="479"/>
                      </a:lnTo>
                      <a:lnTo>
                        <a:pt x="543" y="477"/>
                      </a:lnTo>
                      <a:lnTo>
                        <a:pt x="552" y="471"/>
                      </a:lnTo>
                      <a:lnTo>
                        <a:pt x="557" y="465"/>
                      </a:lnTo>
                      <a:lnTo>
                        <a:pt x="563" y="460"/>
                      </a:lnTo>
                      <a:lnTo>
                        <a:pt x="567" y="460"/>
                      </a:lnTo>
                      <a:lnTo>
                        <a:pt x="574" y="465"/>
                      </a:lnTo>
                      <a:lnTo>
                        <a:pt x="575" y="468"/>
                      </a:lnTo>
                      <a:lnTo>
                        <a:pt x="572" y="485"/>
                      </a:lnTo>
                      <a:lnTo>
                        <a:pt x="561" y="500"/>
                      </a:lnTo>
                      <a:lnTo>
                        <a:pt x="561" y="506"/>
                      </a:lnTo>
                      <a:lnTo>
                        <a:pt x="564" y="509"/>
                      </a:lnTo>
                      <a:lnTo>
                        <a:pt x="563" y="512"/>
                      </a:lnTo>
                      <a:lnTo>
                        <a:pt x="564" y="514"/>
                      </a:lnTo>
                      <a:lnTo>
                        <a:pt x="564" y="514"/>
                      </a:lnTo>
                      <a:lnTo>
                        <a:pt x="564" y="520"/>
                      </a:lnTo>
                      <a:lnTo>
                        <a:pt x="561" y="523"/>
                      </a:lnTo>
                      <a:lnTo>
                        <a:pt x="563" y="532"/>
                      </a:lnTo>
                      <a:lnTo>
                        <a:pt x="558" y="539"/>
                      </a:lnTo>
                      <a:lnTo>
                        <a:pt x="549" y="540"/>
                      </a:lnTo>
                      <a:lnTo>
                        <a:pt x="543" y="555"/>
                      </a:lnTo>
                      <a:lnTo>
                        <a:pt x="535" y="552"/>
                      </a:lnTo>
                      <a:lnTo>
                        <a:pt x="532" y="552"/>
                      </a:lnTo>
                      <a:lnTo>
                        <a:pt x="529" y="555"/>
                      </a:lnTo>
                      <a:lnTo>
                        <a:pt x="529" y="563"/>
                      </a:lnTo>
                      <a:lnTo>
                        <a:pt x="528" y="565"/>
                      </a:lnTo>
                      <a:lnTo>
                        <a:pt x="512" y="559"/>
                      </a:lnTo>
                      <a:lnTo>
                        <a:pt x="506" y="563"/>
                      </a:lnTo>
                      <a:lnTo>
                        <a:pt x="498" y="562"/>
                      </a:lnTo>
                      <a:lnTo>
                        <a:pt x="494" y="566"/>
                      </a:lnTo>
                      <a:lnTo>
                        <a:pt x="474" y="563"/>
                      </a:lnTo>
                      <a:lnTo>
                        <a:pt x="472" y="577"/>
                      </a:lnTo>
                      <a:lnTo>
                        <a:pt x="468" y="583"/>
                      </a:lnTo>
                      <a:lnTo>
                        <a:pt x="460" y="582"/>
                      </a:lnTo>
                      <a:lnTo>
                        <a:pt x="457" y="585"/>
                      </a:lnTo>
                      <a:lnTo>
                        <a:pt x="452" y="580"/>
                      </a:lnTo>
                      <a:lnTo>
                        <a:pt x="435" y="583"/>
                      </a:lnTo>
                      <a:lnTo>
                        <a:pt x="428" y="582"/>
                      </a:lnTo>
                      <a:lnTo>
                        <a:pt x="417" y="588"/>
                      </a:lnTo>
                      <a:lnTo>
                        <a:pt x="402" y="588"/>
                      </a:lnTo>
                      <a:lnTo>
                        <a:pt x="399" y="586"/>
                      </a:lnTo>
                      <a:lnTo>
                        <a:pt x="396" y="582"/>
                      </a:lnTo>
                      <a:lnTo>
                        <a:pt x="394" y="574"/>
                      </a:lnTo>
                      <a:lnTo>
                        <a:pt x="382" y="562"/>
                      </a:lnTo>
                      <a:lnTo>
                        <a:pt x="380" y="557"/>
                      </a:lnTo>
                      <a:lnTo>
                        <a:pt x="377" y="557"/>
                      </a:lnTo>
                      <a:lnTo>
                        <a:pt x="380" y="551"/>
                      </a:lnTo>
                      <a:lnTo>
                        <a:pt x="377" y="549"/>
                      </a:lnTo>
                      <a:lnTo>
                        <a:pt x="377" y="546"/>
                      </a:lnTo>
                      <a:lnTo>
                        <a:pt x="368" y="534"/>
                      </a:lnTo>
                      <a:lnTo>
                        <a:pt x="365" y="532"/>
                      </a:lnTo>
                      <a:lnTo>
                        <a:pt x="365" y="528"/>
                      </a:lnTo>
                      <a:lnTo>
                        <a:pt x="359" y="525"/>
                      </a:lnTo>
                      <a:lnTo>
                        <a:pt x="360" y="522"/>
                      </a:lnTo>
                      <a:lnTo>
                        <a:pt x="351" y="512"/>
                      </a:lnTo>
                      <a:lnTo>
                        <a:pt x="357" y="505"/>
                      </a:lnTo>
                      <a:lnTo>
                        <a:pt x="346" y="495"/>
                      </a:lnTo>
                      <a:lnTo>
                        <a:pt x="342" y="495"/>
                      </a:lnTo>
                      <a:lnTo>
                        <a:pt x="336" y="494"/>
                      </a:lnTo>
                      <a:lnTo>
                        <a:pt x="331" y="505"/>
                      </a:lnTo>
                      <a:lnTo>
                        <a:pt x="328" y="508"/>
                      </a:lnTo>
                      <a:lnTo>
                        <a:pt x="313" y="517"/>
                      </a:lnTo>
                      <a:lnTo>
                        <a:pt x="300" y="520"/>
                      </a:lnTo>
                      <a:lnTo>
                        <a:pt x="290" y="535"/>
                      </a:lnTo>
                      <a:lnTo>
                        <a:pt x="279" y="540"/>
                      </a:lnTo>
                      <a:lnTo>
                        <a:pt x="276" y="546"/>
                      </a:lnTo>
                      <a:lnTo>
                        <a:pt x="265" y="551"/>
                      </a:lnTo>
                      <a:lnTo>
                        <a:pt x="265" y="552"/>
                      </a:lnTo>
                      <a:lnTo>
                        <a:pt x="265" y="555"/>
                      </a:lnTo>
                      <a:lnTo>
                        <a:pt x="262" y="560"/>
                      </a:lnTo>
                      <a:lnTo>
                        <a:pt x="264" y="566"/>
                      </a:lnTo>
                      <a:lnTo>
                        <a:pt x="256" y="585"/>
                      </a:lnTo>
                      <a:lnTo>
                        <a:pt x="244" y="591"/>
                      </a:lnTo>
                      <a:lnTo>
                        <a:pt x="244" y="591"/>
                      </a:lnTo>
                      <a:lnTo>
                        <a:pt x="242" y="585"/>
                      </a:lnTo>
                      <a:lnTo>
                        <a:pt x="236" y="582"/>
                      </a:lnTo>
                      <a:lnTo>
                        <a:pt x="231" y="583"/>
                      </a:lnTo>
                      <a:lnTo>
                        <a:pt x="211" y="580"/>
                      </a:lnTo>
                      <a:lnTo>
                        <a:pt x="207" y="574"/>
                      </a:lnTo>
                      <a:lnTo>
                        <a:pt x="210" y="568"/>
                      </a:lnTo>
                      <a:lnTo>
                        <a:pt x="207" y="569"/>
                      </a:lnTo>
                      <a:lnTo>
                        <a:pt x="207" y="566"/>
                      </a:lnTo>
                      <a:lnTo>
                        <a:pt x="204" y="566"/>
                      </a:lnTo>
                      <a:lnTo>
                        <a:pt x="198" y="557"/>
                      </a:lnTo>
                      <a:lnTo>
                        <a:pt x="195" y="559"/>
                      </a:lnTo>
                      <a:lnTo>
                        <a:pt x="193" y="557"/>
                      </a:lnTo>
                      <a:lnTo>
                        <a:pt x="191" y="559"/>
                      </a:lnTo>
                      <a:lnTo>
                        <a:pt x="182" y="552"/>
                      </a:lnTo>
                      <a:lnTo>
                        <a:pt x="168" y="560"/>
                      </a:lnTo>
                      <a:lnTo>
                        <a:pt x="165" y="575"/>
                      </a:lnTo>
                      <a:lnTo>
                        <a:pt x="164" y="577"/>
                      </a:lnTo>
                      <a:lnTo>
                        <a:pt x="150" y="569"/>
                      </a:lnTo>
                      <a:lnTo>
                        <a:pt x="138" y="559"/>
                      </a:lnTo>
                      <a:lnTo>
                        <a:pt x="135" y="562"/>
                      </a:lnTo>
                      <a:lnTo>
                        <a:pt x="132" y="560"/>
                      </a:lnTo>
                      <a:lnTo>
                        <a:pt x="132" y="560"/>
                      </a:lnTo>
                      <a:lnTo>
                        <a:pt x="126" y="555"/>
                      </a:lnTo>
                      <a:lnTo>
                        <a:pt x="115" y="548"/>
                      </a:lnTo>
                      <a:lnTo>
                        <a:pt x="112" y="543"/>
                      </a:lnTo>
                      <a:lnTo>
                        <a:pt x="104" y="523"/>
                      </a:lnTo>
                      <a:lnTo>
                        <a:pt x="93" y="523"/>
                      </a:lnTo>
                      <a:lnTo>
                        <a:pt x="93" y="517"/>
                      </a:lnTo>
                      <a:lnTo>
                        <a:pt x="90" y="515"/>
                      </a:lnTo>
                      <a:lnTo>
                        <a:pt x="84" y="515"/>
                      </a:lnTo>
                      <a:lnTo>
                        <a:pt x="78" y="519"/>
                      </a:lnTo>
                      <a:lnTo>
                        <a:pt x="75" y="515"/>
                      </a:lnTo>
                      <a:lnTo>
                        <a:pt x="70" y="515"/>
                      </a:lnTo>
                      <a:lnTo>
                        <a:pt x="67" y="514"/>
                      </a:lnTo>
                      <a:lnTo>
                        <a:pt x="63" y="515"/>
                      </a:lnTo>
                      <a:lnTo>
                        <a:pt x="58" y="514"/>
                      </a:lnTo>
                      <a:lnTo>
                        <a:pt x="50" y="514"/>
                      </a:lnTo>
                      <a:lnTo>
                        <a:pt x="49" y="514"/>
                      </a:lnTo>
                      <a:lnTo>
                        <a:pt x="43" y="515"/>
                      </a:lnTo>
                      <a:lnTo>
                        <a:pt x="37" y="512"/>
                      </a:lnTo>
                      <a:lnTo>
                        <a:pt x="37" y="509"/>
                      </a:lnTo>
                      <a:lnTo>
                        <a:pt x="35" y="499"/>
                      </a:lnTo>
                      <a:lnTo>
                        <a:pt x="21" y="491"/>
                      </a:lnTo>
                      <a:lnTo>
                        <a:pt x="17" y="489"/>
                      </a:lnTo>
                      <a:lnTo>
                        <a:pt x="12" y="492"/>
                      </a:lnTo>
                      <a:lnTo>
                        <a:pt x="6" y="480"/>
                      </a:lnTo>
                      <a:lnTo>
                        <a:pt x="9" y="477"/>
                      </a:lnTo>
                      <a:lnTo>
                        <a:pt x="17" y="465"/>
                      </a:lnTo>
                      <a:lnTo>
                        <a:pt x="7" y="463"/>
                      </a:lnTo>
                      <a:lnTo>
                        <a:pt x="4" y="457"/>
                      </a:lnTo>
                      <a:lnTo>
                        <a:pt x="4" y="452"/>
                      </a:lnTo>
                      <a:lnTo>
                        <a:pt x="1" y="449"/>
                      </a:lnTo>
                      <a:lnTo>
                        <a:pt x="0" y="443"/>
                      </a:lnTo>
                      <a:lnTo>
                        <a:pt x="4" y="437"/>
                      </a:lnTo>
                      <a:lnTo>
                        <a:pt x="20" y="442"/>
                      </a:lnTo>
                      <a:lnTo>
                        <a:pt x="26" y="437"/>
                      </a:lnTo>
                      <a:lnTo>
                        <a:pt x="30" y="439"/>
                      </a:lnTo>
                      <a:lnTo>
                        <a:pt x="38" y="446"/>
                      </a:lnTo>
                      <a:lnTo>
                        <a:pt x="52" y="439"/>
                      </a:lnTo>
                      <a:lnTo>
                        <a:pt x="53" y="434"/>
                      </a:lnTo>
                      <a:lnTo>
                        <a:pt x="49" y="426"/>
                      </a:lnTo>
                      <a:lnTo>
                        <a:pt x="44" y="425"/>
                      </a:lnTo>
                      <a:lnTo>
                        <a:pt x="38" y="414"/>
                      </a:lnTo>
                      <a:lnTo>
                        <a:pt x="41" y="409"/>
                      </a:lnTo>
                      <a:lnTo>
                        <a:pt x="64" y="395"/>
                      </a:lnTo>
                      <a:lnTo>
                        <a:pt x="69" y="383"/>
                      </a:lnTo>
                      <a:lnTo>
                        <a:pt x="75" y="377"/>
                      </a:lnTo>
                      <a:lnTo>
                        <a:pt x="70" y="372"/>
                      </a:lnTo>
                      <a:lnTo>
                        <a:pt x="64" y="372"/>
                      </a:lnTo>
                      <a:lnTo>
                        <a:pt x="60" y="385"/>
                      </a:lnTo>
                      <a:lnTo>
                        <a:pt x="55" y="375"/>
                      </a:lnTo>
                      <a:lnTo>
                        <a:pt x="56" y="368"/>
                      </a:lnTo>
                      <a:lnTo>
                        <a:pt x="67" y="360"/>
                      </a:lnTo>
                      <a:lnTo>
                        <a:pt x="72" y="346"/>
                      </a:lnTo>
                      <a:lnTo>
                        <a:pt x="81" y="340"/>
                      </a:lnTo>
                      <a:lnTo>
                        <a:pt x="89" y="339"/>
                      </a:lnTo>
                      <a:lnTo>
                        <a:pt x="98" y="326"/>
                      </a:lnTo>
                      <a:lnTo>
                        <a:pt x="119" y="328"/>
                      </a:lnTo>
                      <a:lnTo>
                        <a:pt x="122" y="326"/>
                      </a:lnTo>
                      <a:lnTo>
                        <a:pt x="127" y="317"/>
                      </a:lnTo>
                      <a:lnTo>
                        <a:pt x="133" y="311"/>
                      </a:lnTo>
                      <a:lnTo>
                        <a:pt x="139" y="299"/>
                      </a:lnTo>
                      <a:lnTo>
                        <a:pt x="150" y="289"/>
                      </a:lnTo>
                      <a:lnTo>
                        <a:pt x="156" y="280"/>
                      </a:lnTo>
                      <a:lnTo>
                        <a:pt x="178" y="266"/>
                      </a:lnTo>
                      <a:lnTo>
                        <a:pt x="179" y="263"/>
                      </a:lnTo>
                      <a:lnTo>
                        <a:pt x="176" y="249"/>
                      </a:lnTo>
                      <a:lnTo>
                        <a:pt x="181" y="232"/>
                      </a:lnTo>
                      <a:lnTo>
                        <a:pt x="182" y="222"/>
                      </a:lnTo>
                      <a:lnTo>
                        <a:pt x="181" y="214"/>
                      </a:lnTo>
                      <a:lnTo>
                        <a:pt x="187" y="203"/>
                      </a:lnTo>
                      <a:lnTo>
                        <a:pt x="176" y="197"/>
                      </a:lnTo>
                      <a:lnTo>
                        <a:pt x="175" y="188"/>
                      </a:lnTo>
                      <a:lnTo>
                        <a:pt x="176" y="177"/>
                      </a:lnTo>
                      <a:lnTo>
                        <a:pt x="167" y="172"/>
                      </a:lnTo>
                      <a:lnTo>
                        <a:pt x="164" y="171"/>
                      </a:lnTo>
                      <a:lnTo>
                        <a:pt x="165" y="163"/>
                      </a:lnTo>
                      <a:lnTo>
                        <a:pt x="170" y="148"/>
                      </a:lnTo>
                      <a:lnTo>
                        <a:pt x="172" y="140"/>
                      </a:lnTo>
                      <a:lnTo>
                        <a:pt x="173" y="140"/>
                      </a:lnTo>
                      <a:lnTo>
                        <a:pt x="173" y="134"/>
                      </a:lnTo>
                      <a:lnTo>
                        <a:pt x="172" y="128"/>
                      </a:lnTo>
                      <a:lnTo>
                        <a:pt x="175" y="125"/>
                      </a:lnTo>
                      <a:lnTo>
                        <a:pt x="176" y="117"/>
                      </a:lnTo>
                      <a:lnTo>
                        <a:pt x="173" y="111"/>
                      </a:lnTo>
                      <a:lnTo>
                        <a:pt x="175" y="102"/>
                      </a:lnTo>
                      <a:lnTo>
                        <a:pt x="172" y="100"/>
                      </a:lnTo>
                      <a:lnTo>
                        <a:pt x="172" y="99"/>
                      </a:lnTo>
                      <a:lnTo>
                        <a:pt x="172" y="85"/>
                      </a:lnTo>
                      <a:lnTo>
                        <a:pt x="173" y="82"/>
                      </a:lnTo>
                      <a:lnTo>
                        <a:pt x="170" y="71"/>
                      </a:lnTo>
                      <a:lnTo>
                        <a:pt x="172" y="62"/>
                      </a:lnTo>
                      <a:lnTo>
                        <a:pt x="156" y="45"/>
                      </a:lnTo>
                      <a:lnTo>
                        <a:pt x="158" y="28"/>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98" name="Ilfov" descr="{&quot;Key&quot;:&quot;ilfov&quot;,&quot;Name&quot;:&quot;Ilfov&quot;,&quot;Value&quot;:1.0,&quot;Formula&quot;:&quot;&quot;,&quot;Text&quot;:&quot;1&quot;,&quot;OfficeApplication&quot;:0,&quot;HasValue&quot;:true}">
                  <a:extLst>
                    <a:ext uri="{FF2B5EF4-FFF2-40B4-BE49-F238E27FC236}">
                      <a16:creationId xmlns:a16="http://schemas.microsoft.com/office/drawing/2014/main" id="{F7D544A7-5923-FCC7-3C7F-808AE470B044}"/>
                    </a:ext>
                  </a:extLst>
                </p:cNvPr>
                <p:cNvSpPr>
                  <a:spLocks noEditPoints="1"/>
                </p:cNvSpPr>
                <p:nvPr/>
              </p:nvSpPr>
              <p:spPr bwMode="auto">
                <a:xfrm>
                  <a:off x="6624638" y="4527551"/>
                  <a:ext cx="401638" cy="474663"/>
                </a:xfrm>
                <a:custGeom>
                  <a:avLst/>
                  <a:gdLst>
                    <a:gd name="T0" fmla="*/ 249 w 253"/>
                    <a:gd name="T1" fmla="*/ 171 h 299"/>
                    <a:gd name="T2" fmla="*/ 225 w 253"/>
                    <a:gd name="T3" fmla="*/ 174 h 299"/>
                    <a:gd name="T4" fmla="*/ 219 w 253"/>
                    <a:gd name="T5" fmla="*/ 166 h 299"/>
                    <a:gd name="T6" fmla="*/ 230 w 253"/>
                    <a:gd name="T7" fmla="*/ 146 h 299"/>
                    <a:gd name="T8" fmla="*/ 222 w 253"/>
                    <a:gd name="T9" fmla="*/ 133 h 299"/>
                    <a:gd name="T10" fmla="*/ 207 w 253"/>
                    <a:gd name="T11" fmla="*/ 122 h 299"/>
                    <a:gd name="T12" fmla="*/ 216 w 253"/>
                    <a:gd name="T13" fmla="*/ 100 h 299"/>
                    <a:gd name="T14" fmla="*/ 249 w 253"/>
                    <a:gd name="T15" fmla="*/ 88 h 299"/>
                    <a:gd name="T16" fmla="*/ 249 w 253"/>
                    <a:gd name="T17" fmla="*/ 74 h 299"/>
                    <a:gd name="T18" fmla="*/ 207 w 253"/>
                    <a:gd name="T19" fmla="*/ 56 h 299"/>
                    <a:gd name="T20" fmla="*/ 215 w 253"/>
                    <a:gd name="T21" fmla="*/ 34 h 299"/>
                    <a:gd name="T22" fmla="*/ 189 w 253"/>
                    <a:gd name="T23" fmla="*/ 2 h 299"/>
                    <a:gd name="T24" fmla="*/ 170 w 253"/>
                    <a:gd name="T25" fmla="*/ 19 h 299"/>
                    <a:gd name="T26" fmla="*/ 140 w 253"/>
                    <a:gd name="T27" fmla="*/ 6 h 299"/>
                    <a:gd name="T28" fmla="*/ 126 w 253"/>
                    <a:gd name="T29" fmla="*/ 6 h 299"/>
                    <a:gd name="T30" fmla="*/ 113 w 253"/>
                    <a:gd name="T31" fmla="*/ 8 h 299"/>
                    <a:gd name="T32" fmla="*/ 103 w 253"/>
                    <a:gd name="T33" fmla="*/ 3 h 299"/>
                    <a:gd name="T34" fmla="*/ 100 w 253"/>
                    <a:gd name="T35" fmla="*/ 13 h 299"/>
                    <a:gd name="T36" fmla="*/ 89 w 253"/>
                    <a:gd name="T37" fmla="*/ 16 h 299"/>
                    <a:gd name="T38" fmla="*/ 74 w 253"/>
                    <a:gd name="T39" fmla="*/ 14 h 299"/>
                    <a:gd name="T40" fmla="*/ 57 w 253"/>
                    <a:gd name="T41" fmla="*/ 16 h 299"/>
                    <a:gd name="T42" fmla="*/ 58 w 253"/>
                    <a:gd name="T43" fmla="*/ 37 h 299"/>
                    <a:gd name="T44" fmla="*/ 60 w 253"/>
                    <a:gd name="T45" fmla="*/ 43 h 299"/>
                    <a:gd name="T46" fmla="*/ 58 w 253"/>
                    <a:gd name="T47" fmla="*/ 60 h 299"/>
                    <a:gd name="T48" fmla="*/ 63 w 253"/>
                    <a:gd name="T49" fmla="*/ 80 h 299"/>
                    <a:gd name="T50" fmla="*/ 24 w 253"/>
                    <a:gd name="T51" fmla="*/ 106 h 299"/>
                    <a:gd name="T52" fmla="*/ 12 w 253"/>
                    <a:gd name="T53" fmla="*/ 129 h 299"/>
                    <a:gd name="T54" fmla="*/ 38 w 253"/>
                    <a:gd name="T55" fmla="*/ 143 h 299"/>
                    <a:gd name="T56" fmla="*/ 21 w 253"/>
                    <a:gd name="T57" fmla="*/ 174 h 299"/>
                    <a:gd name="T58" fmla="*/ 17 w 253"/>
                    <a:gd name="T59" fmla="*/ 162 h 299"/>
                    <a:gd name="T60" fmla="*/ 15 w 253"/>
                    <a:gd name="T61" fmla="*/ 183 h 299"/>
                    <a:gd name="T62" fmla="*/ 1 w 253"/>
                    <a:gd name="T63" fmla="*/ 206 h 299"/>
                    <a:gd name="T64" fmla="*/ 12 w 253"/>
                    <a:gd name="T65" fmla="*/ 223 h 299"/>
                    <a:gd name="T66" fmla="*/ 46 w 253"/>
                    <a:gd name="T67" fmla="*/ 245 h 299"/>
                    <a:gd name="T68" fmla="*/ 58 w 253"/>
                    <a:gd name="T69" fmla="*/ 279 h 299"/>
                    <a:gd name="T70" fmla="*/ 81 w 253"/>
                    <a:gd name="T71" fmla="*/ 266 h 299"/>
                    <a:gd name="T72" fmla="*/ 104 w 253"/>
                    <a:gd name="T73" fmla="*/ 280 h 299"/>
                    <a:gd name="T74" fmla="*/ 138 w 253"/>
                    <a:gd name="T75" fmla="*/ 289 h 299"/>
                    <a:gd name="T76" fmla="*/ 153 w 253"/>
                    <a:gd name="T77" fmla="*/ 283 h 299"/>
                    <a:gd name="T78" fmla="*/ 169 w 253"/>
                    <a:gd name="T79" fmla="*/ 265 h 299"/>
                    <a:gd name="T80" fmla="*/ 183 w 253"/>
                    <a:gd name="T81" fmla="*/ 237 h 299"/>
                    <a:gd name="T82" fmla="*/ 193 w 253"/>
                    <a:gd name="T83" fmla="*/ 228 h 299"/>
                    <a:gd name="T84" fmla="*/ 195 w 253"/>
                    <a:gd name="T85" fmla="*/ 211 h 299"/>
                    <a:gd name="T86" fmla="*/ 204 w 253"/>
                    <a:gd name="T87" fmla="*/ 205 h 299"/>
                    <a:gd name="T88" fmla="*/ 218 w 253"/>
                    <a:gd name="T89" fmla="*/ 194 h 299"/>
                    <a:gd name="T90" fmla="*/ 235 w 253"/>
                    <a:gd name="T91" fmla="*/ 191 h 299"/>
                    <a:gd name="T92" fmla="*/ 160 w 253"/>
                    <a:gd name="T93" fmla="*/ 206 h 299"/>
                    <a:gd name="T94" fmla="*/ 144 w 253"/>
                    <a:gd name="T95" fmla="*/ 213 h 299"/>
                    <a:gd name="T96" fmla="*/ 130 w 253"/>
                    <a:gd name="T97" fmla="*/ 248 h 299"/>
                    <a:gd name="T98" fmla="*/ 120 w 253"/>
                    <a:gd name="T99" fmla="*/ 231 h 299"/>
                    <a:gd name="T100" fmla="*/ 112 w 253"/>
                    <a:gd name="T101" fmla="*/ 233 h 299"/>
                    <a:gd name="T102" fmla="*/ 80 w 253"/>
                    <a:gd name="T103" fmla="*/ 213 h 299"/>
                    <a:gd name="T104" fmla="*/ 63 w 253"/>
                    <a:gd name="T105" fmla="*/ 209 h 299"/>
                    <a:gd name="T106" fmla="*/ 78 w 253"/>
                    <a:gd name="T107" fmla="*/ 180 h 299"/>
                    <a:gd name="T108" fmla="*/ 74 w 253"/>
                    <a:gd name="T109" fmla="*/ 154 h 299"/>
                    <a:gd name="T110" fmla="*/ 94 w 253"/>
                    <a:gd name="T111" fmla="*/ 136 h 299"/>
                    <a:gd name="T112" fmla="*/ 117 w 253"/>
                    <a:gd name="T113" fmla="*/ 154 h 299"/>
                    <a:gd name="T114" fmla="*/ 140 w 253"/>
                    <a:gd name="T115" fmla="*/ 182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3" h="299">
                      <a:moveTo>
                        <a:pt x="252" y="177"/>
                      </a:moveTo>
                      <a:lnTo>
                        <a:pt x="249" y="177"/>
                      </a:lnTo>
                      <a:lnTo>
                        <a:pt x="252" y="174"/>
                      </a:lnTo>
                      <a:lnTo>
                        <a:pt x="249" y="171"/>
                      </a:lnTo>
                      <a:lnTo>
                        <a:pt x="247" y="176"/>
                      </a:lnTo>
                      <a:lnTo>
                        <a:pt x="242" y="173"/>
                      </a:lnTo>
                      <a:lnTo>
                        <a:pt x="239" y="174"/>
                      </a:lnTo>
                      <a:lnTo>
                        <a:pt x="225" y="174"/>
                      </a:lnTo>
                      <a:lnTo>
                        <a:pt x="225" y="171"/>
                      </a:lnTo>
                      <a:lnTo>
                        <a:pt x="222" y="169"/>
                      </a:lnTo>
                      <a:lnTo>
                        <a:pt x="221" y="166"/>
                      </a:lnTo>
                      <a:lnTo>
                        <a:pt x="219" y="166"/>
                      </a:lnTo>
                      <a:lnTo>
                        <a:pt x="218" y="163"/>
                      </a:lnTo>
                      <a:lnTo>
                        <a:pt x="213" y="159"/>
                      </a:lnTo>
                      <a:lnTo>
                        <a:pt x="227" y="145"/>
                      </a:lnTo>
                      <a:lnTo>
                        <a:pt x="230" y="146"/>
                      </a:lnTo>
                      <a:lnTo>
                        <a:pt x="235" y="140"/>
                      </a:lnTo>
                      <a:lnTo>
                        <a:pt x="230" y="134"/>
                      </a:lnTo>
                      <a:lnTo>
                        <a:pt x="225" y="142"/>
                      </a:lnTo>
                      <a:lnTo>
                        <a:pt x="222" y="133"/>
                      </a:lnTo>
                      <a:lnTo>
                        <a:pt x="213" y="136"/>
                      </a:lnTo>
                      <a:lnTo>
                        <a:pt x="210" y="131"/>
                      </a:lnTo>
                      <a:lnTo>
                        <a:pt x="212" y="128"/>
                      </a:lnTo>
                      <a:lnTo>
                        <a:pt x="207" y="122"/>
                      </a:lnTo>
                      <a:lnTo>
                        <a:pt x="212" y="117"/>
                      </a:lnTo>
                      <a:lnTo>
                        <a:pt x="210" y="114"/>
                      </a:lnTo>
                      <a:lnTo>
                        <a:pt x="219" y="105"/>
                      </a:lnTo>
                      <a:lnTo>
                        <a:pt x="216" y="100"/>
                      </a:lnTo>
                      <a:lnTo>
                        <a:pt x="230" y="86"/>
                      </a:lnTo>
                      <a:lnTo>
                        <a:pt x="232" y="86"/>
                      </a:lnTo>
                      <a:lnTo>
                        <a:pt x="239" y="96"/>
                      </a:lnTo>
                      <a:lnTo>
                        <a:pt x="249" y="88"/>
                      </a:lnTo>
                      <a:lnTo>
                        <a:pt x="250" y="82"/>
                      </a:lnTo>
                      <a:lnTo>
                        <a:pt x="247" y="79"/>
                      </a:lnTo>
                      <a:lnTo>
                        <a:pt x="250" y="77"/>
                      </a:lnTo>
                      <a:lnTo>
                        <a:pt x="249" y="74"/>
                      </a:lnTo>
                      <a:lnTo>
                        <a:pt x="247" y="73"/>
                      </a:lnTo>
                      <a:lnTo>
                        <a:pt x="232" y="80"/>
                      </a:lnTo>
                      <a:lnTo>
                        <a:pt x="218" y="82"/>
                      </a:lnTo>
                      <a:lnTo>
                        <a:pt x="207" y="56"/>
                      </a:lnTo>
                      <a:lnTo>
                        <a:pt x="202" y="53"/>
                      </a:lnTo>
                      <a:lnTo>
                        <a:pt x="206" y="48"/>
                      </a:lnTo>
                      <a:lnTo>
                        <a:pt x="215" y="43"/>
                      </a:lnTo>
                      <a:lnTo>
                        <a:pt x="215" y="34"/>
                      </a:lnTo>
                      <a:lnTo>
                        <a:pt x="210" y="28"/>
                      </a:lnTo>
                      <a:lnTo>
                        <a:pt x="207" y="19"/>
                      </a:lnTo>
                      <a:lnTo>
                        <a:pt x="195" y="5"/>
                      </a:lnTo>
                      <a:lnTo>
                        <a:pt x="189" y="2"/>
                      </a:lnTo>
                      <a:lnTo>
                        <a:pt x="183" y="0"/>
                      </a:lnTo>
                      <a:lnTo>
                        <a:pt x="178" y="6"/>
                      </a:lnTo>
                      <a:lnTo>
                        <a:pt x="175" y="8"/>
                      </a:lnTo>
                      <a:lnTo>
                        <a:pt x="170" y="19"/>
                      </a:lnTo>
                      <a:lnTo>
                        <a:pt x="155" y="11"/>
                      </a:lnTo>
                      <a:lnTo>
                        <a:pt x="146" y="9"/>
                      </a:lnTo>
                      <a:lnTo>
                        <a:pt x="143" y="6"/>
                      </a:lnTo>
                      <a:lnTo>
                        <a:pt x="140" y="6"/>
                      </a:lnTo>
                      <a:lnTo>
                        <a:pt x="141" y="9"/>
                      </a:lnTo>
                      <a:lnTo>
                        <a:pt x="138" y="11"/>
                      </a:lnTo>
                      <a:lnTo>
                        <a:pt x="129" y="5"/>
                      </a:lnTo>
                      <a:lnTo>
                        <a:pt x="126" y="6"/>
                      </a:lnTo>
                      <a:lnTo>
                        <a:pt x="124" y="5"/>
                      </a:lnTo>
                      <a:lnTo>
                        <a:pt x="126" y="8"/>
                      </a:lnTo>
                      <a:lnTo>
                        <a:pt x="120" y="11"/>
                      </a:lnTo>
                      <a:lnTo>
                        <a:pt x="113" y="8"/>
                      </a:lnTo>
                      <a:lnTo>
                        <a:pt x="110" y="2"/>
                      </a:lnTo>
                      <a:lnTo>
                        <a:pt x="109" y="3"/>
                      </a:lnTo>
                      <a:lnTo>
                        <a:pt x="106" y="2"/>
                      </a:lnTo>
                      <a:lnTo>
                        <a:pt x="103" y="3"/>
                      </a:lnTo>
                      <a:lnTo>
                        <a:pt x="107" y="16"/>
                      </a:lnTo>
                      <a:lnTo>
                        <a:pt x="103" y="14"/>
                      </a:lnTo>
                      <a:lnTo>
                        <a:pt x="103" y="13"/>
                      </a:lnTo>
                      <a:lnTo>
                        <a:pt x="100" y="13"/>
                      </a:lnTo>
                      <a:lnTo>
                        <a:pt x="98" y="9"/>
                      </a:lnTo>
                      <a:lnTo>
                        <a:pt x="94" y="11"/>
                      </a:lnTo>
                      <a:lnTo>
                        <a:pt x="94" y="14"/>
                      </a:lnTo>
                      <a:lnTo>
                        <a:pt x="89" y="16"/>
                      </a:lnTo>
                      <a:lnTo>
                        <a:pt x="89" y="19"/>
                      </a:lnTo>
                      <a:lnTo>
                        <a:pt x="87" y="17"/>
                      </a:lnTo>
                      <a:lnTo>
                        <a:pt x="87" y="14"/>
                      </a:lnTo>
                      <a:lnTo>
                        <a:pt x="74" y="14"/>
                      </a:lnTo>
                      <a:lnTo>
                        <a:pt x="69" y="17"/>
                      </a:lnTo>
                      <a:lnTo>
                        <a:pt x="63" y="14"/>
                      </a:lnTo>
                      <a:lnTo>
                        <a:pt x="60" y="17"/>
                      </a:lnTo>
                      <a:lnTo>
                        <a:pt x="57" y="16"/>
                      </a:lnTo>
                      <a:lnTo>
                        <a:pt x="55" y="16"/>
                      </a:lnTo>
                      <a:lnTo>
                        <a:pt x="58" y="23"/>
                      </a:lnTo>
                      <a:lnTo>
                        <a:pt x="58" y="26"/>
                      </a:lnTo>
                      <a:lnTo>
                        <a:pt x="58" y="37"/>
                      </a:lnTo>
                      <a:lnTo>
                        <a:pt x="60" y="39"/>
                      </a:lnTo>
                      <a:lnTo>
                        <a:pt x="63" y="37"/>
                      </a:lnTo>
                      <a:lnTo>
                        <a:pt x="64" y="40"/>
                      </a:lnTo>
                      <a:lnTo>
                        <a:pt x="60" y="43"/>
                      </a:lnTo>
                      <a:lnTo>
                        <a:pt x="61" y="45"/>
                      </a:lnTo>
                      <a:lnTo>
                        <a:pt x="58" y="46"/>
                      </a:lnTo>
                      <a:lnTo>
                        <a:pt x="61" y="56"/>
                      </a:lnTo>
                      <a:lnTo>
                        <a:pt x="58" y="60"/>
                      </a:lnTo>
                      <a:lnTo>
                        <a:pt x="54" y="62"/>
                      </a:lnTo>
                      <a:lnTo>
                        <a:pt x="46" y="60"/>
                      </a:lnTo>
                      <a:lnTo>
                        <a:pt x="44" y="68"/>
                      </a:lnTo>
                      <a:lnTo>
                        <a:pt x="63" y="80"/>
                      </a:lnTo>
                      <a:lnTo>
                        <a:pt x="66" y="85"/>
                      </a:lnTo>
                      <a:lnTo>
                        <a:pt x="49" y="103"/>
                      </a:lnTo>
                      <a:lnTo>
                        <a:pt x="32" y="114"/>
                      </a:lnTo>
                      <a:lnTo>
                        <a:pt x="24" y="106"/>
                      </a:lnTo>
                      <a:lnTo>
                        <a:pt x="20" y="102"/>
                      </a:lnTo>
                      <a:lnTo>
                        <a:pt x="15" y="108"/>
                      </a:lnTo>
                      <a:lnTo>
                        <a:pt x="18" y="111"/>
                      </a:lnTo>
                      <a:lnTo>
                        <a:pt x="12" y="129"/>
                      </a:lnTo>
                      <a:lnTo>
                        <a:pt x="21" y="131"/>
                      </a:lnTo>
                      <a:lnTo>
                        <a:pt x="26" y="128"/>
                      </a:lnTo>
                      <a:lnTo>
                        <a:pt x="32" y="136"/>
                      </a:lnTo>
                      <a:lnTo>
                        <a:pt x="38" y="143"/>
                      </a:lnTo>
                      <a:lnTo>
                        <a:pt x="29" y="160"/>
                      </a:lnTo>
                      <a:lnTo>
                        <a:pt x="35" y="162"/>
                      </a:lnTo>
                      <a:lnTo>
                        <a:pt x="28" y="177"/>
                      </a:lnTo>
                      <a:lnTo>
                        <a:pt x="21" y="174"/>
                      </a:lnTo>
                      <a:lnTo>
                        <a:pt x="18" y="174"/>
                      </a:lnTo>
                      <a:lnTo>
                        <a:pt x="17" y="168"/>
                      </a:lnTo>
                      <a:lnTo>
                        <a:pt x="18" y="165"/>
                      </a:lnTo>
                      <a:lnTo>
                        <a:pt x="17" y="162"/>
                      </a:lnTo>
                      <a:lnTo>
                        <a:pt x="11" y="168"/>
                      </a:lnTo>
                      <a:lnTo>
                        <a:pt x="12" y="168"/>
                      </a:lnTo>
                      <a:lnTo>
                        <a:pt x="15" y="176"/>
                      </a:lnTo>
                      <a:lnTo>
                        <a:pt x="15" y="183"/>
                      </a:lnTo>
                      <a:lnTo>
                        <a:pt x="12" y="186"/>
                      </a:lnTo>
                      <a:lnTo>
                        <a:pt x="15" y="189"/>
                      </a:lnTo>
                      <a:lnTo>
                        <a:pt x="17" y="197"/>
                      </a:lnTo>
                      <a:lnTo>
                        <a:pt x="1" y="206"/>
                      </a:lnTo>
                      <a:lnTo>
                        <a:pt x="0" y="211"/>
                      </a:lnTo>
                      <a:lnTo>
                        <a:pt x="5" y="214"/>
                      </a:lnTo>
                      <a:lnTo>
                        <a:pt x="12" y="217"/>
                      </a:lnTo>
                      <a:lnTo>
                        <a:pt x="12" y="223"/>
                      </a:lnTo>
                      <a:lnTo>
                        <a:pt x="28" y="229"/>
                      </a:lnTo>
                      <a:lnTo>
                        <a:pt x="26" y="236"/>
                      </a:lnTo>
                      <a:lnTo>
                        <a:pt x="31" y="239"/>
                      </a:lnTo>
                      <a:lnTo>
                        <a:pt x="46" y="245"/>
                      </a:lnTo>
                      <a:lnTo>
                        <a:pt x="58" y="245"/>
                      </a:lnTo>
                      <a:lnTo>
                        <a:pt x="66" y="253"/>
                      </a:lnTo>
                      <a:lnTo>
                        <a:pt x="67" y="260"/>
                      </a:lnTo>
                      <a:lnTo>
                        <a:pt x="58" y="279"/>
                      </a:lnTo>
                      <a:lnTo>
                        <a:pt x="69" y="262"/>
                      </a:lnTo>
                      <a:lnTo>
                        <a:pt x="72" y="262"/>
                      </a:lnTo>
                      <a:lnTo>
                        <a:pt x="77" y="265"/>
                      </a:lnTo>
                      <a:lnTo>
                        <a:pt x="81" y="266"/>
                      </a:lnTo>
                      <a:lnTo>
                        <a:pt x="83" y="273"/>
                      </a:lnTo>
                      <a:lnTo>
                        <a:pt x="86" y="273"/>
                      </a:lnTo>
                      <a:lnTo>
                        <a:pt x="94" y="280"/>
                      </a:lnTo>
                      <a:lnTo>
                        <a:pt x="104" y="280"/>
                      </a:lnTo>
                      <a:lnTo>
                        <a:pt x="104" y="289"/>
                      </a:lnTo>
                      <a:lnTo>
                        <a:pt x="126" y="299"/>
                      </a:lnTo>
                      <a:lnTo>
                        <a:pt x="133" y="297"/>
                      </a:lnTo>
                      <a:lnTo>
                        <a:pt x="138" y="289"/>
                      </a:lnTo>
                      <a:lnTo>
                        <a:pt x="141" y="293"/>
                      </a:lnTo>
                      <a:lnTo>
                        <a:pt x="150" y="280"/>
                      </a:lnTo>
                      <a:lnTo>
                        <a:pt x="152" y="280"/>
                      </a:lnTo>
                      <a:lnTo>
                        <a:pt x="153" y="283"/>
                      </a:lnTo>
                      <a:lnTo>
                        <a:pt x="155" y="282"/>
                      </a:lnTo>
                      <a:lnTo>
                        <a:pt x="160" y="274"/>
                      </a:lnTo>
                      <a:lnTo>
                        <a:pt x="161" y="276"/>
                      </a:lnTo>
                      <a:lnTo>
                        <a:pt x="169" y="265"/>
                      </a:lnTo>
                      <a:lnTo>
                        <a:pt x="179" y="253"/>
                      </a:lnTo>
                      <a:lnTo>
                        <a:pt x="170" y="245"/>
                      </a:lnTo>
                      <a:lnTo>
                        <a:pt x="181" y="236"/>
                      </a:lnTo>
                      <a:lnTo>
                        <a:pt x="183" y="237"/>
                      </a:lnTo>
                      <a:lnTo>
                        <a:pt x="189" y="233"/>
                      </a:lnTo>
                      <a:lnTo>
                        <a:pt x="192" y="234"/>
                      </a:lnTo>
                      <a:lnTo>
                        <a:pt x="198" y="228"/>
                      </a:lnTo>
                      <a:lnTo>
                        <a:pt x="193" y="228"/>
                      </a:lnTo>
                      <a:lnTo>
                        <a:pt x="199" y="222"/>
                      </a:lnTo>
                      <a:lnTo>
                        <a:pt x="195" y="222"/>
                      </a:lnTo>
                      <a:lnTo>
                        <a:pt x="192" y="211"/>
                      </a:lnTo>
                      <a:lnTo>
                        <a:pt x="195" y="211"/>
                      </a:lnTo>
                      <a:lnTo>
                        <a:pt x="196" y="214"/>
                      </a:lnTo>
                      <a:lnTo>
                        <a:pt x="201" y="213"/>
                      </a:lnTo>
                      <a:lnTo>
                        <a:pt x="198" y="208"/>
                      </a:lnTo>
                      <a:lnTo>
                        <a:pt x="204" y="205"/>
                      </a:lnTo>
                      <a:lnTo>
                        <a:pt x="207" y="206"/>
                      </a:lnTo>
                      <a:lnTo>
                        <a:pt x="207" y="202"/>
                      </a:lnTo>
                      <a:lnTo>
                        <a:pt x="213" y="197"/>
                      </a:lnTo>
                      <a:lnTo>
                        <a:pt x="218" y="194"/>
                      </a:lnTo>
                      <a:lnTo>
                        <a:pt x="221" y="196"/>
                      </a:lnTo>
                      <a:lnTo>
                        <a:pt x="225" y="194"/>
                      </a:lnTo>
                      <a:lnTo>
                        <a:pt x="229" y="196"/>
                      </a:lnTo>
                      <a:lnTo>
                        <a:pt x="235" y="191"/>
                      </a:lnTo>
                      <a:lnTo>
                        <a:pt x="253" y="180"/>
                      </a:lnTo>
                      <a:lnTo>
                        <a:pt x="252" y="177"/>
                      </a:lnTo>
                      <a:close/>
                      <a:moveTo>
                        <a:pt x="160" y="205"/>
                      </a:moveTo>
                      <a:lnTo>
                        <a:pt x="160" y="206"/>
                      </a:lnTo>
                      <a:lnTo>
                        <a:pt x="158" y="208"/>
                      </a:lnTo>
                      <a:lnTo>
                        <a:pt x="155" y="206"/>
                      </a:lnTo>
                      <a:lnTo>
                        <a:pt x="152" y="211"/>
                      </a:lnTo>
                      <a:lnTo>
                        <a:pt x="144" y="213"/>
                      </a:lnTo>
                      <a:lnTo>
                        <a:pt x="140" y="211"/>
                      </a:lnTo>
                      <a:lnTo>
                        <a:pt x="132" y="226"/>
                      </a:lnTo>
                      <a:lnTo>
                        <a:pt x="141" y="243"/>
                      </a:lnTo>
                      <a:lnTo>
                        <a:pt x="130" y="248"/>
                      </a:lnTo>
                      <a:lnTo>
                        <a:pt x="126" y="237"/>
                      </a:lnTo>
                      <a:lnTo>
                        <a:pt x="123" y="237"/>
                      </a:lnTo>
                      <a:lnTo>
                        <a:pt x="118" y="234"/>
                      </a:lnTo>
                      <a:lnTo>
                        <a:pt x="120" y="231"/>
                      </a:lnTo>
                      <a:lnTo>
                        <a:pt x="115" y="231"/>
                      </a:lnTo>
                      <a:lnTo>
                        <a:pt x="115" y="236"/>
                      </a:lnTo>
                      <a:lnTo>
                        <a:pt x="113" y="236"/>
                      </a:lnTo>
                      <a:lnTo>
                        <a:pt x="112" y="233"/>
                      </a:lnTo>
                      <a:lnTo>
                        <a:pt x="94" y="226"/>
                      </a:lnTo>
                      <a:lnTo>
                        <a:pt x="89" y="219"/>
                      </a:lnTo>
                      <a:lnTo>
                        <a:pt x="87" y="220"/>
                      </a:lnTo>
                      <a:lnTo>
                        <a:pt x="80" y="213"/>
                      </a:lnTo>
                      <a:lnTo>
                        <a:pt x="77" y="214"/>
                      </a:lnTo>
                      <a:lnTo>
                        <a:pt x="72" y="214"/>
                      </a:lnTo>
                      <a:lnTo>
                        <a:pt x="71" y="209"/>
                      </a:lnTo>
                      <a:lnTo>
                        <a:pt x="63" y="209"/>
                      </a:lnTo>
                      <a:lnTo>
                        <a:pt x="57" y="197"/>
                      </a:lnTo>
                      <a:lnTo>
                        <a:pt x="58" y="189"/>
                      </a:lnTo>
                      <a:lnTo>
                        <a:pt x="80" y="189"/>
                      </a:lnTo>
                      <a:lnTo>
                        <a:pt x="78" y="180"/>
                      </a:lnTo>
                      <a:lnTo>
                        <a:pt x="63" y="173"/>
                      </a:lnTo>
                      <a:lnTo>
                        <a:pt x="64" y="159"/>
                      </a:lnTo>
                      <a:lnTo>
                        <a:pt x="71" y="154"/>
                      </a:lnTo>
                      <a:lnTo>
                        <a:pt x="74" y="154"/>
                      </a:lnTo>
                      <a:lnTo>
                        <a:pt x="74" y="145"/>
                      </a:lnTo>
                      <a:lnTo>
                        <a:pt x="75" y="145"/>
                      </a:lnTo>
                      <a:lnTo>
                        <a:pt x="77" y="146"/>
                      </a:lnTo>
                      <a:lnTo>
                        <a:pt x="94" y="136"/>
                      </a:lnTo>
                      <a:lnTo>
                        <a:pt x="104" y="136"/>
                      </a:lnTo>
                      <a:lnTo>
                        <a:pt x="113" y="137"/>
                      </a:lnTo>
                      <a:lnTo>
                        <a:pt x="117" y="134"/>
                      </a:lnTo>
                      <a:lnTo>
                        <a:pt x="117" y="154"/>
                      </a:lnTo>
                      <a:lnTo>
                        <a:pt x="121" y="165"/>
                      </a:lnTo>
                      <a:lnTo>
                        <a:pt x="149" y="169"/>
                      </a:lnTo>
                      <a:lnTo>
                        <a:pt x="144" y="174"/>
                      </a:lnTo>
                      <a:lnTo>
                        <a:pt x="140" y="182"/>
                      </a:lnTo>
                      <a:lnTo>
                        <a:pt x="167" y="191"/>
                      </a:lnTo>
                      <a:lnTo>
                        <a:pt x="160" y="205"/>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99" name="Ialomita" descr="{&quot;Key&quot;:&quot;ialomita&quot;,&quot;Name&quot;:&quot;Ialomita&quot;,&quot;Value&quot;:1.0,&quot;Formula&quot;:&quot;&quot;,&quot;Text&quot;:&quot;1&quot;,&quot;OfficeApplication&quot;:0,&quot;HasValue&quot;:true}">
                  <a:extLst>
                    <a:ext uri="{FF2B5EF4-FFF2-40B4-BE49-F238E27FC236}">
                      <a16:creationId xmlns:a16="http://schemas.microsoft.com/office/drawing/2014/main" id="{37874B8F-4B73-344F-AF0C-3C92AD544C28}"/>
                    </a:ext>
                  </a:extLst>
                </p:cNvPr>
                <p:cNvSpPr>
                  <a:spLocks/>
                </p:cNvSpPr>
                <p:nvPr/>
              </p:nvSpPr>
              <p:spPr bwMode="auto">
                <a:xfrm>
                  <a:off x="6924675" y="4446588"/>
                  <a:ext cx="1139825" cy="466725"/>
                </a:xfrm>
                <a:custGeom>
                  <a:avLst/>
                  <a:gdLst>
                    <a:gd name="T0" fmla="*/ 136 w 718"/>
                    <a:gd name="T1" fmla="*/ 24 h 294"/>
                    <a:gd name="T2" fmla="*/ 165 w 718"/>
                    <a:gd name="T3" fmla="*/ 30 h 294"/>
                    <a:gd name="T4" fmla="*/ 195 w 718"/>
                    <a:gd name="T5" fmla="*/ 34 h 294"/>
                    <a:gd name="T6" fmla="*/ 219 w 718"/>
                    <a:gd name="T7" fmla="*/ 33 h 294"/>
                    <a:gd name="T8" fmla="*/ 231 w 718"/>
                    <a:gd name="T9" fmla="*/ 30 h 294"/>
                    <a:gd name="T10" fmla="*/ 237 w 718"/>
                    <a:gd name="T11" fmla="*/ 30 h 294"/>
                    <a:gd name="T12" fmla="*/ 279 w 718"/>
                    <a:gd name="T13" fmla="*/ 40 h 294"/>
                    <a:gd name="T14" fmla="*/ 322 w 718"/>
                    <a:gd name="T15" fmla="*/ 45 h 294"/>
                    <a:gd name="T16" fmla="*/ 349 w 718"/>
                    <a:gd name="T17" fmla="*/ 73 h 294"/>
                    <a:gd name="T18" fmla="*/ 360 w 718"/>
                    <a:gd name="T19" fmla="*/ 37 h 294"/>
                    <a:gd name="T20" fmla="*/ 368 w 718"/>
                    <a:gd name="T21" fmla="*/ 51 h 294"/>
                    <a:gd name="T22" fmla="*/ 422 w 718"/>
                    <a:gd name="T23" fmla="*/ 33 h 294"/>
                    <a:gd name="T24" fmla="*/ 448 w 718"/>
                    <a:gd name="T25" fmla="*/ 40 h 294"/>
                    <a:gd name="T26" fmla="*/ 485 w 718"/>
                    <a:gd name="T27" fmla="*/ 50 h 294"/>
                    <a:gd name="T28" fmla="*/ 609 w 718"/>
                    <a:gd name="T29" fmla="*/ 47 h 294"/>
                    <a:gd name="T30" fmla="*/ 624 w 718"/>
                    <a:gd name="T31" fmla="*/ 74 h 294"/>
                    <a:gd name="T32" fmla="*/ 662 w 718"/>
                    <a:gd name="T33" fmla="*/ 102 h 294"/>
                    <a:gd name="T34" fmla="*/ 686 w 718"/>
                    <a:gd name="T35" fmla="*/ 145 h 294"/>
                    <a:gd name="T36" fmla="*/ 695 w 718"/>
                    <a:gd name="T37" fmla="*/ 193 h 294"/>
                    <a:gd name="T38" fmla="*/ 715 w 718"/>
                    <a:gd name="T39" fmla="*/ 227 h 294"/>
                    <a:gd name="T40" fmla="*/ 699 w 718"/>
                    <a:gd name="T41" fmla="*/ 259 h 294"/>
                    <a:gd name="T42" fmla="*/ 682 w 718"/>
                    <a:gd name="T43" fmla="*/ 291 h 294"/>
                    <a:gd name="T44" fmla="*/ 613 w 718"/>
                    <a:gd name="T45" fmla="*/ 276 h 294"/>
                    <a:gd name="T46" fmla="*/ 598 w 718"/>
                    <a:gd name="T47" fmla="*/ 290 h 294"/>
                    <a:gd name="T48" fmla="*/ 577 w 718"/>
                    <a:gd name="T49" fmla="*/ 279 h 294"/>
                    <a:gd name="T50" fmla="*/ 572 w 718"/>
                    <a:gd name="T51" fmla="*/ 251 h 294"/>
                    <a:gd name="T52" fmla="*/ 538 w 718"/>
                    <a:gd name="T53" fmla="*/ 240 h 294"/>
                    <a:gd name="T54" fmla="*/ 527 w 718"/>
                    <a:gd name="T55" fmla="*/ 220 h 294"/>
                    <a:gd name="T56" fmla="*/ 504 w 718"/>
                    <a:gd name="T57" fmla="*/ 170 h 294"/>
                    <a:gd name="T58" fmla="*/ 486 w 718"/>
                    <a:gd name="T59" fmla="*/ 177 h 294"/>
                    <a:gd name="T60" fmla="*/ 434 w 718"/>
                    <a:gd name="T61" fmla="*/ 199 h 294"/>
                    <a:gd name="T62" fmla="*/ 419 w 718"/>
                    <a:gd name="T63" fmla="*/ 210 h 294"/>
                    <a:gd name="T64" fmla="*/ 382 w 718"/>
                    <a:gd name="T65" fmla="*/ 208 h 294"/>
                    <a:gd name="T66" fmla="*/ 368 w 718"/>
                    <a:gd name="T67" fmla="*/ 194 h 294"/>
                    <a:gd name="T68" fmla="*/ 360 w 718"/>
                    <a:gd name="T69" fmla="*/ 210 h 294"/>
                    <a:gd name="T70" fmla="*/ 330 w 718"/>
                    <a:gd name="T71" fmla="*/ 211 h 294"/>
                    <a:gd name="T72" fmla="*/ 288 w 718"/>
                    <a:gd name="T73" fmla="*/ 185 h 294"/>
                    <a:gd name="T74" fmla="*/ 236 w 718"/>
                    <a:gd name="T75" fmla="*/ 188 h 294"/>
                    <a:gd name="T76" fmla="*/ 222 w 718"/>
                    <a:gd name="T77" fmla="*/ 190 h 294"/>
                    <a:gd name="T78" fmla="*/ 201 w 718"/>
                    <a:gd name="T79" fmla="*/ 196 h 294"/>
                    <a:gd name="T80" fmla="*/ 178 w 718"/>
                    <a:gd name="T81" fmla="*/ 188 h 294"/>
                    <a:gd name="T82" fmla="*/ 152 w 718"/>
                    <a:gd name="T83" fmla="*/ 162 h 294"/>
                    <a:gd name="T84" fmla="*/ 129 w 718"/>
                    <a:gd name="T85" fmla="*/ 174 h 294"/>
                    <a:gd name="T86" fmla="*/ 86 w 718"/>
                    <a:gd name="T87" fmla="*/ 170 h 294"/>
                    <a:gd name="T88" fmla="*/ 66 w 718"/>
                    <a:gd name="T89" fmla="*/ 176 h 294"/>
                    <a:gd name="T90" fmla="*/ 46 w 718"/>
                    <a:gd name="T91" fmla="*/ 191 h 294"/>
                    <a:gd name="T92" fmla="*/ 24 w 718"/>
                    <a:gd name="T93" fmla="*/ 187 h 294"/>
                    <a:gd name="T94" fmla="*/ 23 w 718"/>
                    <a:gd name="T95" fmla="*/ 168 h 294"/>
                    <a:gd name="T96" fmla="*/ 41 w 718"/>
                    <a:gd name="T97" fmla="*/ 137 h 294"/>
                    <a:gd name="T98" fmla="*/ 61 w 718"/>
                    <a:gd name="T99" fmla="*/ 133 h 294"/>
                    <a:gd name="T100" fmla="*/ 58 w 718"/>
                    <a:gd name="T101" fmla="*/ 122 h 294"/>
                    <a:gd name="T102" fmla="*/ 13 w 718"/>
                    <a:gd name="T103" fmla="*/ 104 h 294"/>
                    <a:gd name="T104" fmla="*/ 21 w 718"/>
                    <a:gd name="T105" fmla="*/ 79 h 294"/>
                    <a:gd name="T106" fmla="*/ 0 w 718"/>
                    <a:gd name="T107" fmla="*/ 53 h 294"/>
                    <a:gd name="T108" fmla="*/ 15 w 718"/>
                    <a:gd name="T109" fmla="*/ 42 h 294"/>
                    <a:gd name="T110" fmla="*/ 63 w 718"/>
                    <a:gd name="T111" fmla="*/ 28 h 294"/>
                    <a:gd name="T112" fmla="*/ 95 w 718"/>
                    <a:gd name="T113" fmla="*/ 31 h 294"/>
                    <a:gd name="T114" fmla="*/ 110 w 718"/>
                    <a:gd name="T115" fmla="*/ 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18" h="294">
                      <a:moveTo>
                        <a:pt x="122" y="0"/>
                      </a:moveTo>
                      <a:lnTo>
                        <a:pt x="125" y="17"/>
                      </a:lnTo>
                      <a:lnTo>
                        <a:pt x="130" y="27"/>
                      </a:lnTo>
                      <a:lnTo>
                        <a:pt x="136" y="24"/>
                      </a:lnTo>
                      <a:lnTo>
                        <a:pt x="139" y="28"/>
                      </a:lnTo>
                      <a:lnTo>
                        <a:pt x="161" y="28"/>
                      </a:lnTo>
                      <a:lnTo>
                        <a:pt x="165" y="27"/>
                      </a:lnTo>
                      <a:lnTo>
                        <a:pt x="165" y="30"/>
                      </a:lnTo>
                      <a:lnTo>
                        <a:pt x="187" y="25"/>
                      </a:lnTo>
                      <a:lnTo>
                        <a:pt x="191" y="28"/>
                      </a:lnTo>
                      <a:lnTo>
                        <a:pt x="190" y="31"/>
                      </a:lnTo>
                      <a:lnTo>
                        <a:pt x="195" y="34"/>
                      </a:lnTo>
                      <a:lnTo>
                        <a:pt x="195" y="39"/>
                      </a:lnTo>
                      <a:lnTo>
                        <a:pt x="208" y="44"/>
                      </a:lnTo>
                      <a:lnTo>
                        <a:pt x="214" y="34"/>
                      </a:lnTo>
                      <a:lnTo>
                        <a:pt x="219" y="33"/>
                      </a:lnTo>
                      <a:lnTo>
                        <a:pt x="224" y="34"/>
                      </a:lnTo>
                      <a:lnTo>
                        <a:pt x="225" y="33"/>
                      </a:lnTo>
                      <a:lnTo>
                        <a:pt x="228" y="34"/>
                      </a:lnTo>
                      <a:lnTo>
                        <a:pt x="231" y="30"/>
                      </a:lnTo>
                      <a:lnTo>
                        <a:pt x="233" y="24"/>
                      </a:lnTo>
                      <a:lnTo>
                        <a:pt x="237" y="25"/>
                      </a:lnTo>
                      <a:lnTo>
                        <a:pt x="236" y="28"/>
                      </a:lnTo>
                      <a:lnTo>
                        <a:pt x="237" y="30"/>
                      </a:lnTo>
                      <a:lnTo>
                        <a:pt x="242" y="30"/>
                      </a:lnTo>
                      <a:lnTo>
                        <a:pt x="268" y="39"/>
                      </a:lnTo>
                      <a:lnTo>
                        <a:pt x="277" y="45"/>
                      </a:lnTo>
                      <a:lnTo>
                        <a:pt x="279" y="40"/>
                      </a:lnTo>
                      <a:lnTo>
                        <a:pt x="276" y="37"/>
                      </a:lnTo>
                      <a:lnTo>
                        <a:pt x="285" y="25"/>
                      </a:lnTo>
                      <a:lnTo>
                        <a:pt x="303" y="37"/>
                      </a:lnTo>
                      <a:lnTo>
                        <a:pt x="322" y="45"/>
                      </a:lnTo>
                      <a:lnTo>
                        <a:pt x="317" y="65"/>
                      </a:lnTo>
                      <a:lnTo>
                        <a:pt x="331" y="70"/>
                      </a:lnTo>
                      <a:lnTo>
                        <a:pt x="333" y="67"/>
                      </a:lnTo>
                      <a:lnTo>
                        <a:pt x="349" y="73"/>
                      </a:lnTo>
                      <a:lnTo>
                        <a:pt x="356" y="60"/>
                      </a:lnTo>
                      <a:lnTo>
                        <a:pt x="337" y="53"/>
                      </a:lnTo>
                      <a:lnTo>
                        <a:pt x="339" y="40"/>
                      </a:lnTo>
                      <a:lnTo>
                        <a:pt x="360" y="37"/>
                      </a:lnTo>
                      <a:lnTo>
                        <a:pt x="360" y="37"/>
                      </a:lnTo>
                      <a:lnTo>
                        <a:pt x="365" y="44"/>
                      </a:lnTo>
                      <a:lnTo>
                        <a:pt x="363" y="48"/>
                      </a:lnTo>
                      <a:lnTo>
                        <a:pt x="368" y="51"/>
                      </a:lnTo>
                      <a:lnTo>
                        <a:pt x="385" y="65"/>
                      </a:lnTo>
                      <a:lnTo>
                        <a:pt x="403" y="31"/>
                      </a:lnTo>
                      <a:lnTo>
                        <a:pt x="420" y="33"/>
                      </a:lnTo>
                      <a:lnTo>
                        <a:pt x="422" y="33"/>
                      </a:lnTo>
                      <a:lnTo>
                        <a:pt x="419" y="39"/>
                      </a:lnTo>
                      <a:lnTo>
                        <a:pt x="434" y="48"/>
                      </a:lnTo>
                      <a:lnTo>
                        <a:pt x="442" y="40"/>
                      </a:lnTo>
                      <a:lnTo>
                        <a:pt x="448" y="40"/>
                      </a:lnTo>
                      <a:lnTo>
                        <a:pt x="449" y="45"/>
                      </a:lnTo>
                      <a:lnTo>
                        <a:pt x="474" y="45"/>
                      </a:lnTo>
                      <a:lnTo>
                        <a:pt x="477" y="50"/>
                      </a:lnTo>
                      <a:lnTo>
                        <a:pt x="485" y="50"/>
                      </a:lnTo>
                      <a:lnTo>
                        <a:pt x="486" y="44"/>
                      </a:lnTo>
                      <a:lnTo>
                        <a:pt x="508" y="44"/>
                      </a:lnTo>
                      <a:lnTo>
                        <a:pt x="561" y="54"/>
                      </a:lnTo>
                      <a:lnTo>
                        <a:pt x="609" y="47"/>
                      </a:lnTo>
                      <a:lnTo>
                        <a:pt x="626" y="48"/>
                      </a:lnTo>
                      <a:lnTo>
                        <a:pt x="627" y="56"/>
                      </a:lnTo>
                      <a:lnTo>
                        <a:pt x="627" y="56"/>
                      </a:lnTo>
                      <a:lnTo>
                        <a:pt x="624" y="74"/>
                      </a:lnTo>
                      <a:lnTo>
                        <a:pt x="629" y="85"/>
                      </a:lnTo>
                      <a:lnTo>
                        <a:pt x="643" y="93"/>
                      </a:lnTo>
                      <a:lnTo>
                        <a:pt x="650" y="102"/>
                      </a:lnTo>
                      <a:lnTo>
                        <a:pt x="662" y="102"/>
                      </a:lnTo>
                      <a:lnTo>
                        <a:pt x="681" y="117"/>
                      </a:lnTo>
                      <a:lnTo>
                        <a:pt x="684" y="122"/>
                      </a:lnTo>
                      <a:lnTo>
                        <a:pt x="689" y="136"/>
                      </a:lnTo>
                      <a:lnTo>
                        <a:pt x="686" y="145"/>
                      </a:lnTo>
                      <a:lnTo>
                        <a:pt x="681" y="154"/>
                      </a:lnTo>
                      <a:lnTo>
                        <a:pt x="679" y="160"/>
                      </a:lnTo>
                      <a:lnTo>
                        <a:pt x="690" y="176"/>
                      </a:lnTo>
                      <a:lnTo>
                        <a:pt x="695" y="193"/>
                      </a:lnTo>
                      <a:lnTo>
                        <a:pt x="698" y="197"/>
                      </a:lnTo>
                      <a:lnTo>
                        <a:pt x="709" y="205"/>
                      </a:lnTo>
                      <a:lnTo>
                        <a:pt x="712" y="208"/>
                      </a:lnTo>
                      <a:lnTo>
                        <a:pt x="715" y="227"/>
                      </a:lnTo>
                      <a:lnTo>
                        <a:pt x="718" y="233"/>
                      </a:lnTo>
                      <a:lnTo>
                        <a:pt x="716" y="240"/>
                      </a:lnTo>
                      <a:lnTo>
                        <a:pt x="704" y="250"/>
                      </a:lnTo>
                      <a:lnTo>
                        <a:pt x="699" y="259"/>
                      </a:lnTo>
                      <a:lnTo>
                        <a:pt x="690" y="270"/>
                      </a:lnTo>
                      <a:lnTo>
                        <a:pt x="684" y="279"/>
                      </a:lnTo>
                      <a:lnTo>
                        <a:pt x="682" y="291"/>
                      </a:lnTo>
                      <a:lnTo>
                        <a:pt x="682" y="291"/>
                      </a:lnTo>
                      <a:lnTo>
                        <a:pt x="669" y="287"/>
                      </a:lnTo>
                      <a:lnTo>
                        <a:pt x="656" y="279"/>
                      </a:lnTo>
                      <a:lnTo>
                        <a:pt x="618" y="270"/>
                      </a:lnTo>
                      <a:lnTo>
                        <a:pt x="613" y="276"/>
                      </a:lnTo>
                      <a:lnTo>
                        <a:pt x="610" y="288"/>
                      </a:lnTo>
                      <a:lnTo>
                        <a:pt x="606" y="293"/>
                      </a:lnTo>
                      <a:lnTo>
                        <a:pt x="601" y="294"/>
                      </a:lnTo>
                      <a:lnTo>
                        <a:pt x="598" y="290"/>
                      </a:lnTo>
                      <a:lnTo>
                        <a:pt x="597" y="291"/>
                      </a:lnTo>
                      <a:lnTo>
                        <a:pt x="592" y="284"/>
                      </a:lnTo>
                      <a:lnTo>
                        <a:pt x="586" y="290"/>
                      </a:lnTo>
                      <a:lnTo>
                        <a:pt x="577" y="279"/>
                      </a:lnTo>
                      <a:lnTo>
                        <a:pt x="580" y="276"/>
                      </a:lnTo>
                      <a:lnTo>
                        <a:pt x="575" y="268"/>
                      </a:lnTo>
                      <a:lnTo>
                        <a:pt x="583" y="260"/>
                      </a:lnTo>
                      <a:lnTo>
                        <a:pt x="572" y="251"/>
                      </a:lnTo>
                      <a:lnTo>
                        <a:pt x="567" y="250"/>
                      </a:lnTo>
                      <a:lnTo>
                        <a:pt x="567" y="248"/>
                      </a:lnTo>
                      <a:lnTo>
                        <a:pt x="547" y="245"/>
                      </a:lnTo>
                      <a:lnTo>
                        <a:pt x="538" y="240"/>
                      </a:lnTo>
                      <a:lnTo>
                        <a:pt x="538" y="237"/>
                      </a:lnTo>
                      <a:lnTo>
                        <a:pt x="537" y="236"/>
                      </a:lnTo>
                      <a:lnTo>
                        <a:pt x="537" y="220"/>
                      </a:lnTo>
                      <a:lnTo>
                        <a:pt x="527" y="220"/>
                      </a:lnTo>
                      <a:lnTo>
                        <a:pt x="527" y="216"/>
                      </a:lnTo>
                      <a:lnTo>
                        <a:pt x="508" y="216"/>
                      </a:lnTo>
                      <a:lnTo>
                        <a:pt x="508" y="188"/>
                      </a:lnTo>
                      <a:lnTo>
                        <a:pt x="504" y="170"/>
                      </a:lnTo>
                      <a:lnTo>
                        <a:pt x="500" y="167"/>
                      </a:lnTo>
                      <a:lnTo>
                        <a:pt x="495" y="167"/>
                      </a:lnTo>
                      <a:lnTo>
                        <a:pt x="494" y="179"/>
                      </a:lnTo>
                      <a:lnTo>
                        <a:pt x="486" y="177"/>
                      </a:lnTo>
                      <a:lnTo>
                        <a:pt x="486" y="193"/>
                      </a:lnTo>
                      <a:lnTo>
                        <a:pt x="483" y="204"/>
                      </a:lnTo>
                      <a:lnTo>
                        <a:pt x="434" y="205"/>
                      </a:lnTo>
                      <a:lnTo>
                        <a:pt x="434" y="199"/>
                      </a:lnTo>
                      <a:lnTo>
                        <a:pt x="426" y="199"/>
                      </a:lnTo>
                      <a:lnTo>
                        <a:pt x="426" y="194"/>
                      </a:lnTo>
                      <a:lnTo>
                        <a:pt x="422" y="193"/>
                      </a:lnTo>
                      <a:lnTo>
                        <a:pt x="419" y="210"/>
                      </a:lnTo>
                      <a:lnTo>
                        <a:pt x="394" y="207"/>
                      </a:lnTo>
                      <a:lnTo>
                        <a:pt x="394" y="196"/>
                      </a:lnTo>
                      <a:lnTo>
                        <a:pt x="388" y="194"/>
                      </a:lnTo>
                      <a:lnTo>
                        <a:pt x="382" y="208"/>
                      </a:lnTo>
                      <a:lnTo>
                        <a:pt x="368" y="207"/>
                      </a:lnTo>
                      <a:lnTo>
                        <a:pt x="369" y="197"/>
                      </a:lnTo>
                      <a:lnTo>
                        <a:pt x="368" y="197"/>
                      </a:lnTo>
                      <a:lnTo>
                        <a:pt x="368" y="194"/>
                      </a:lnTo>
                      <a:lnTo>
                        <a:pt x="363" y="194"/>
                      </a:lnTo>
                      <a:lnTo>
                        <a:pt x="360" y="200"/>
                      </a:lnTo>
                      <a:lnTo>
                        <a:pt x="362" y="200"/>
                      </a:lnTo>
                      <a:lnTo>
                        <a:pt x="360" y="210"/>
                      </a:lnTo>
                      <a:lnTo>
                        <a:pt x="354" y="208"/>
                      </a:lnTo>
                      <a:lnTo>
                        <a:pt x="354" y="207"/>
                      </a:lnTo>
                      <a:lnTo>
                        <a:pt x="333" y="200"/>
                      </a:lnTo>
                      <a:lnTo>
                        <a:pt x="330" y="211"/>
                      </a:lnTo>
                      <a:lnTo>
                        <a:pt x="313" y="210"/>
                      </a:lnTo>
                      <a:lnTo>
                        <a:pt x="313" y="196"/>
                      </a:lnTo>
                      <a:lnTo>
                        <a:pt x="288" y="197"/>
                      </a:lnTo>
                      <a:lnTo>
                        <a:pt x="288" y="185"/>
                      </a:lnTo>
                      <a:lnTo>
                        <a:pt x="261" y="185"/>
                      </a:lnTo>
                      <a:lnTo>
                        <a:pt x="256" y="188"/>
                      </a:lnTo>
                      <a:lnTo>
                        <a:pt x="236" y="193"/>
                      </a:lnTo>
                      <a:lnTo>
                        <a:pt x="236" y="188"/>
                      </a:lnTo>
                      <a:lnTo>
                        <a:pt x="234" y="188"/>
                      </a:lnTo>
                      <a:lnTo>
                        <a:pt x="228" y="187"/>
                      </a:lnTo>
                      <a:lnTo>
                        <a:pt x="227" y="191"/>
                      </a:lnTo>
                      <a:lnTo>
                        <a:pt x="222" y="190"/>
                      </a:lnTo>
                      <a:lnTo>
                        <a:pt x="214" y="193"/>
                      </a:lnTo>
                      <a:lnTo>
                        <a:pt x="216" y="187"/>
                      </a:lnTo>
                      <a:lnTo>
                        <a:pt x="210" y="185"/>
                      </a:lnTo>
                      <a:lnTo>
                        <a:pt x="201" y="196"/>
                      </a:lnTo>
                      <a:lnTo>
                        <a:pt x="187" y="191"/>
                      </a:lnTo>
                      <a:lnTo>
                        <a:pt x="188" y="174"/>
                      </a:lnTo>
                      <a:lnTo>
                        <a:pt x="181" y="173"/>
                      </a:lnTo>
                      <a:lnTo>
                        <a:pt x="178" y="188"/>
                      </a:lnTo>
                      <a:lnTo>
                        <a:pt x="164" y="184"/>
                      </a:lnTo>
                      <a:lnTo>
                        <a:pt x="158" y="177"/>
                      </a:lnTo>
                      <a:lnTo>
                        <a:pt x="159" y="164"/>
                      </a:lnTo>
                      <a:lnTo>
                        <a:pt x="152" y="162"/>
                      </a:lnTo>
                      <a:lnTo>
                        <a:pt x="145" y="159"/>
                      </a:lnTo>
                      <a:lnTo>
                        <a:pt x="148" y="151"/>
                      </a:lnTo>
                      <a:lnTo>
                        <a:pt x="142" y="148"/>
                      </a:lnTo>
                      <a:lnTo>
                        <a:pt x="129" y="174"/>
                      </a:lnTo>
                      <a:lnTo>
                        <a:pt x="125" y="174"/>
                      </a:lnTo>
                      <a:lnTo>
                        <a:pt x="115" y="190"/>
                      </a:lnTo>
                      <a:lnTo>
                        <a:pt x="96" y="184"/>
                      </a:lnTo>
                      <a:lnTo>
                        <a:pt x="86" y="170"/>
                      </a:lnTo>
                      <a:lnTo>
                        <a:pt x="84" y="164"/>
                      </a:lnTo>
                      <a:lnTo>
                        <a:pt x="72" y="154"/>
                      </a:lnTo>
                      <a:lnTo>
                        <a:pt x="53" y="174"/>
                      </a:lnTo>
                      <a:lnTo>
                        <a:pt x="66" y="176"/>
                      </a:lnTo>
                      <a:lnTo>
                        <a:pt x="46" y="191"/>
                      </a:lnTo>
                      <a:lnTo>
                        <a:pt x="46" y="191"/>
                      </a:lnTo>
                      <a:lnTo>
                        <a:pt x="46" y="191"/>
                      </a:lnTo>
                      <a:lnTo>
                        <a:pt x="46" y="191"/>
                      </a:lnTo>
                      <a:lnTo>
                        <a:pt x="41" y="185"/>
                      </a:lnTo>
                      <a:lnTo>
                        <a:pt x="36" y="193"/>
                      </a:lnTo>
                      <a:lnTo>
                        <a:pt x="33" y="184"/>
                      </a:lnTo>
                      <a:lnTo>
                        <a:pt x="24" y="187"/>
                      </a:lnTo>
                      <a:lnTo>
                        <a:pt x="21" y="182"/>
                      </a:lnTo>
                      <a:lnTo>
                        <a:pt x="23" y="179"/>
                      </a:lnTo>
                      <a:lnTo>
                        <a:pt x="18" y="173"/>
                      </a:lnTo>
                      <a:lnTo>
                        <a:pt x="23" y="168"/>
                      </a:lnTo>
                      <a:lnTo>
                        <a:pt x="21" y="165"/>
                      </a:lnTo>
                      <a:lnTo>
                        <a:pt x="30" y="156"/>
                      </a:lnTo>
                      <a:lnTo>
                        <a:pt x="27" y="151"/>
                      </a:lnTo>
                      <a:lnTo>
                        <a:pt x="41" y="137"/>
                      </a:lnTo>
                      <a:lnTo>
                        <a:pt x="43" y="137"/>
                      </a:lnTo>
                      <a:lnTo>
                        <a:pt x="50" y="147"/>
                      </a:lnTo>
                      <a:lnTo>
                        <a:pt x="60" y="139"/>
                      </a:lnTo>
                      <a:lnTo>
                        <a:pt x="61" y="133"/>
                      </a:lnTo>
                      <a:lnTo>
                        <a:pt x="58" y="130"/>
                      </a:lnTo>
                      <a:lnTo>
                        <a:pt x="61" y="128"/>
                      </a:lnTo>
                      <a:lnTo>
                        <a:pt x="60" y="125"/>
                      </a:lnTo>
                      <a:lnTo>
                        <a:pt x="58" y="122"/>
                      </a:lnTo>
                      <a:lnTo>
                        <a:pt x="43" y="131"/>
                      </a:lnTo>
                      <a:lnTo>
                        <a:pt x="29" y="133"/>
                      </a:lnTo>
                      <a:lnTo>
                        <a:pt x="18" y="107"/>
                      </a:lnTo>
                      <a:lnTo>
                        <a:pt x="13" y="104"/>
                      </a:lnTo>
                      <a:lnTo>
                        <a:pt x="17" y="99"/>
                      </a:lnTo>
                      <a:lnTo>
                        <a:pt x="26" y="94"/>
                      </a:lnTo>
                      <a:lnTo>
                        <a:pt x="26" y="85"/>
                      </a:lnTo>
                      <a:lnTo>
                        <a:pt x="21" y="79"/>
                      </a:lnTo>
                      <a:lnTo>
                        <a:pt x="18" y="70"/>
                      </a:lnTo>
                      <a:lnTo>
                        <a:pt x="6" y="56"/>
                      </a:lnTo>
                      <a:lnTo>
                        <a:pt x="0" y="53"/>
                      </a:lnTo>
                      <a:lnTo>
                        <a:pt x="0" y="53"/>
                      </a:lnTo>
                      <a:lnTo>
                        <a:pt x="6" y="45"/>
                      </a:lnTo>
                      <a:lnTo>
                        <a:pt x="13" y="42"/>
                      </a:lnTo>
                      <a:lnTo>
                        <a:pt x="13" y="37"/>
                      </a:lnTo>
                      <a:lnTo>
                        <a:pt x="15" y="42"/>
                      </a:lnTo>
                      <a:lnTo>
                        <a:pt x="15" y="47"/>
                      </a:lnTo>
                      <a:lnTo>
                        <a:pt x="26" y="44"/>
                      </a:lnTo>
                      <a:lnTo>
                        <a:pt x="38" y="51"/>
                      </a:lnTo>
                      <a:lnTo>
                        <a:pt x="63" y="28"/>
                      </a:lnTo>
                      <a:lnTo>
                        <a:pt x="76" y="37"/>
                      </a:lnTo>
                      <a:lnTo>
                        <a:pt x="81" y="36"/>
                      </a:lnTo>
                      <a:lnTo>
                        <a:pt x="89" y="27"/>
                      </a:lnTo>
                      <a:lnTo>
                        <a:pt x="95" y="31"/>
                      </a:lnTo>
                      <a:lnTo>
                        <a:pt x="98" y="25"/>
                      </a:lnTo>
                      <a:lnTo>
                        <a:pt x="98" y="22"/>
                      </a:lnTo>
                      <a:lnTo>
                        <a:pt x="106" y="11"/>
                      </a:lnTo>
                      <a:lnTo>
                        <a:pt x="110" y="11"/>
                      </a:lnTo>
                      <a:lnTo>
                        <a:pt x="122" y="0"/>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00" name="Iasi" descr="{&quot;Key&quot;:&quot;iasi&quot;,&quot;Name&quot;:&quot;Iasi&quot;,&quot;Value&quot;:1.0,&quot;Formula&quot;:&quot;&quot;,&quot;Text&quot;:&quot;1&quot;,&quot;OfficeApplication&quot;:0,&quot;HasValue&quot;:true}">
                  <a:extLst>
                    <a:ext uri="{FF2B5EF4-FFF2-40B4-BE49-F238E27FC236}">
                      <a16:creationId xmlns:a16="http://schemas.microsoft.com/office/drawing/2014/main" id="{8EBE187F-0A8E-FC80-137D-3425342DDBBF}"/>
                    </a:ext>
                  </a:extLst>
                </p:cNvPr>
                <p:cNvSpPr>
                  <a:spLocks/>
                </p:cNvSpPr>
                <p:nvPr/>
              </p:nvSpPr>
              <p:spPr bwMode="auto">
                <a:xfrm>
                  <a:off x="7043738" y="1958976"/>
                  <a:ext cx="1030288" cy="712788"/>
                </a:xfrm>
                <a:custGeom>
                  <a:avLst/>
                  <a:gdLst>
                    <a:gd name="T0" fmla="*/ 377 w 649"/>
                    <a:gd name="T1" fmla="*/ 25 h 449"/>
                    <a:gd name="T2" fmla="*/ 386 w 649"/>
                    <a:gd name="T3" fmla="*/ 37 h 449"/>
                    <a:gd name="T4" fmla="*/ 403 w 649"/>
                    <a:gd name="T5" fmla="*/ 66 h 449"/>
                    <a:gd name="T6" fmla="*/ 417 w 649"/>
                    <a:gd name="T7" fmla="*/ 60 h 449"/>
                    <a:gd name="T8" fmla="*/ 422 w 649"/>
                    <a:gd name="T9" fmla="*/ 92 h 449"/>
                    <a:gd name="T10" fmla="*/ 429 w 649"/>
                    <a:gd name="T11" fmla="*/ 114 h 449"/>
                    <a:gd name="T12" fmla="*/ 440 w 649"/>
                    <a:gd name="T13" fmla="*/ 128 h 449"/>
                    <a:gd name="T14" fmla="*/ 436 w 649"/>
                    <a:gd name="T15" fmla="*/ 151 h 449"/>
                    <a:gd name="T16" fmla="*/ 448 w 649"/>
                    <a:gd name="T17" fmla="*/ 159 h 449"/>
                    <a:gd name="T18" fmla="*/ 462 w 649"/>
                    <a:gd name="T19" fmla="*/ 165 h 449"/>
                    <a:gd name="T20" fmla="*/ 477 w 649"/>
                    <a:gd name="T21" fmla="*/ 174 h 449"/>
                    <a:gd name="T22" fmla="*/ 499 w 649"/>
                    <a:gd name="T23" fmla="*/ 191 h 449"/>
                    <a:gd name="T24" fmla="*/ 502 w 649"/>
                    <a:gd name="T25" fmla="*/ 206 h 449"/>
                    <a:gd name="T26" fmla="*/ 515 w 649"/>
                    <a:gd name="T27" fmla="*/ 234 h 449"/>
                    <a:gd name="T28" fmla="*/ 515 w 649"/>
                    <a:gd name="T29" fmla="*/ 257 h 449"/>
                    <a:gd name="T30" fmla="*/ 534 w 649"/>
                    <a:gd name="T31" fmla="*/ 268 h 449"/>
                    <a:gd name="T32" fmla="*/ 534 w 649"/>
                    <a:gd name="T33" fmla="*/ 277 h 449"/>
                    <a:gd name="T34" fmla="*/ 551 w 649"/>
                    <a:gd name="T35" fmla="*/ 285 h 449"/>
                    <a:gd name="T36" fmla="*/ 574 w 649"/>
                    <a:gd name="T37" fmla="*/ 309 h 449"/>
                    <a:gd name="T38" fmla="*/ 581 w 649"/>
                    <a:gd name="T39" fmla="*/ 318 h 449"/>
                    <a:gd name="T40" fmla="*/ 611 w 649"/>
                    <a:gd name="T41" fmla="*/ 331 h 449"/>
                    <a:gd name="T42" fmla="*/ 620 w 649"/>
                    <a:gd name="T43" fmla="*/ 345 h 449"/>
                    <a:gd name="T44" fmla="*/ 634 w 649"/>
                    <a:gd name="T45" fmla="*/ 362 h 449"/>
                    <a:gd name="T46" fmla="*/ 638 w 649"/>
                    <a:gd name="T47" fmla="*/ 380 h 449"/>
                    <a:gd name="T48" fmla="*/ 644 w 649"/>
                    <a:gd name="T49" fmla="*/ 391 h 449"/>
                    <a:gd name="T50" fmla="*/ 637 w 649"/>
                    <a:gd name="T51" fmla="*/ 406 h 449"/>
                    <a:gd name="T52" fmla="*/ 640 w 649"/>
                    <a:gd name="T53" fmla="*/ 422 h 449"/>
                    <a:gd name="T54" fmla="*/ 646 w 649"/>
                    <a:gd name="T55" fmla="*/ 435 h 449"/>
                    <a:gd name="T56" fmla="*/ 611 w 649"/>
                    <a:gd name="T57" fmla="*/ 440 h 449"/>
                    <a:gd name="T58" fmla="*/ 574 w 649"/>
                    <a:gd name="T59" fmla="*/ 437 h 449"/>
                    <a:gd name="T60" fmla="*/ 529 w 649"/>
                    <a:gd name="T61" fmla="*/ 423 h 449"/>
                    <a:gd name="T62" fmla="*/ 472 w 649"/>
                    <a:gd name="T63" fmla="*/ 371 h 449"/>
                    <a:gd name="T64" fmla="*/ 445 w 649"/>
                    <a:gd name="T65" fmla="*/ 368 h 449"/>
                    <a:gd name="T66" fmla="*/ 440 w 649"/>
                    <a:gd name="T67" fmla="*/ 409 h 449"/>
                    <a:gd name="T68" fmla="*/ 393 w 649"/>
                    <a:gd name="T69" fmla="*/ 428 h 449"/>
                    <a:gd name="T70" fmla="*/ 333 w 649"/>
                    <a:gd name="T71" fmla="*/ 423 h 449"/>
                    <a:gd name="T72" fmla="*/ 281 w 649"/>
                    <a:gd name="T73" fmla="*/ 414 h 449"/>
                    <a:gd name="T74" fmla="*/ 270 w 649"/>
                    <a:gd name="T75" fmla="*/ 358 h 449"/>
                    <a:gd name="T76" fmla="*/ 290 w 649"/>
                    <a:gd name="T77" fmla="*/ 335 h 449"/>
                    <a:gd name="T78" fmla="*/ 271 w 649"/>
                    <a:gd name="T79" fmla="*/ 298 h 449"/>
                    <a:gd name="T80" fmla="*/ 216 w 649"/>
                    <a:gd name="T81" fmla="*/ 323 h 449"/>
                    <a:gd name="T82" fmla="*/ 187 w 649"/>
                    <a:gd name="T83" fmla="*/ 318 h 449"/>
                    <a:gd name="T84" fmla="*/ 78 w 649"/>
                    <a:gd name="T85" fmla="*/ 280 h 449"/>
                    <a:gd name="T86" fmla="*/ 50 w 649"/>
                    <a:gd name="T87" fmla="*/ 251 h 449"/>
                    <a:gd name="T88" fmla="*/ 15 w 649"/>
                    <a:gd name="T89" fmla="*/ 198 h 449"/>
                    <a:gd name="T90" fmla="*/ 35 w 649"/>
                    <a:gd name="T91" fmla="*/ 172 h 449"/>
                    <a:gd name="T92" fmla="*/ 9 w 649"/>
                    <a:gd name="T93" fmla="*/ 151 h 449"/>
                    <a:gd name="T94" fmla="*/ 14 w 649"/>
                    <a:gd name="T95" fmla="*/ 111 h 449"/>
                    <a:gd name="T96" fmla="*/ 60 w 649"/>
                    <a:gd name="T97" fmla="*/ 135 h 449"/>
                    <a:gd name="T98" fmla="*/ 70 w 649"/>
                    <a:gd name="T99" fmla="*/ 119 h 449"/>
                    <a:gd name="T100" fmla="*/ 72 w 649"/>
                    <a:gd name="T101" fmla="*/ 100 h 449"/>
                    <a:gd name="T102" fmla="*/ 90 w 649"/>
                    <a:gd name="T103" fmla="*/ 60 h 449"/>
                    <a:gd name="T104" fmla="*/ 130 w 649"/>
                    <a:gd name="T105" fmla="*/ 48 h 449"/>
                    <a:gd name="T106" fmla="*/ 190 w 649"/>
                    <a:gd name="T107" fmla="*/ 54 h 449"/>
                    <a:gd name="T108" fmla="*/ 228 w 649"/>
                    <a:gd name="T109" fmla="*/ 79 h 449"/>
                    <a:gd name="T110" fmla="*/ 250 w 649"/>
                    <a:gd name="T111" fmla="*/ 26 h 449"/>
                    <a:gd name="T112" fmla="*/ 307 w 649"/>
                    <a:gd name="T113" fmla="*/ 34 h 449"/>
                    <a:gd name="T114" fmla="*/ 333 w 649"/>
                    <a:gd name="T115" fmla="*/ 8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9" h="449">
                      <a:moveTo>
                        <a:pt x="363" y="5"/>
                      </a:moveTo>
                      <a:lnTo>
                        <a:pt x="371" y="3"/>
                      </a:lnTo>
                      <a:lnTo>
                        <a:pt x="373" y="6"/>
                      </a:lnTo>
                      <a:lnTo>
                        <a:pt x="368" y="11"/>
                      </a:lnTo>
                      <a:lnTo>
                        <a:pt x="368" y="15"/>
                      </a:lnTo>
                      <a:lnTo>
                        <a:pt x="374" y="17"/>
                      </a:lnTo>
                      <a:lnTo>
                        <a:pt x="371" y="22"/>
                      </a:lnTo>
                      <a:lnTo>
                        <a:pt x="377" y="25"/>
                      </a:lnTo>
                      <a:lnTo>
                        <a:pt x="374" y="25"/>
                      </a:lnTo>
                      <a:lnTo>
                        <a:pt x="374" y="28"/>
                      </a:lnTo>
                      <a:lnTo>
                        <a:pt x="379" y="32"/>
                      </a:lnTo>
                      <a:lnTo>
                        <a:pt x="383" y="31"/>
                      </a:lnTo>
                      <a:lnTo>
                        <a:pt x="383" y="34"/>
                      </a:lnTo>
                      <a:lnTo>
                        <a:pt x="379" y="35"/>
                      </a:lnTo>
                      <a:lnTo>
                        <a:pt x="382" y="40"/>
                      </a:lnTo>
                      <a:lnTo>
                        <a:pt x="386" y="37"/>
                      </a:lnTo>
                      <a:lnTo>
                        <a:pt x="388" y="37"/>
                      </a:lnTo>
                      <a:lnTo>
                        <a:pt x="383" y="43"/>
                      </a:lnTo>
                      <a:lnTo>
                        <a:pt x="383" y="48"/>
                      </a:lnTo>
                      <a:lnTo>
                        <a:pt x="388" y="54"/>
                      </a:lnTo>
                      <a:lnTo>
                        <a:pt x="391" y="62"/>
                      </a:lnTo>
                      <a:lnTo>
                        <a:pt x="399" y="60"/>
                      </a:lnTo>
                      <a:lnTo>
                        <a:pt x="399" y="65"/>
                      </a:lnTo>
                      <a:lnTo>
                        <a:pt x="403" y="66"/>
                      </a:lnTo>
                      <a:lnTo>
                        <a:pt x="405" y="65"/>
                      </a:lnTo>
                      <a:lnTo>
                        <a:pt x="403" y="62"/>
                      </a:lnTo>
                      <a:lnTo>
                        <a:pt x="408" y="59"/>
                      </a:lnTo>
                      <a:lnTo>
                        <a:pt x="408" y="68"/>
                      </a:lnTo>
                      <a:lnTo>
                        <a:pt x="410" y="63"/>
                      </a:lnTo>
                      <a:lnTo>
                        <a:pt x="416" y="66"/>
                      </a:lnTo>
                      <a:lnTo>
                        <a:pt x="414" y="62"/>
                      </a:lnTo>
                      <a:lnTo>
                        <a:pt x="417" y="60"/>
                      </a:lnTo>
                      <a:lnTo>
                        <a:pt x="419" y="66"/>
                      </a:lnTo>
                      <a:lnTo>
                        <a:pt x="423" y="71"/>
                      </a:lnTo>
                      <a:lnTo>
                        <a:pt x="425" y="74"/>
                      </a:lnTo>
                      <a:lnTo>
                        <a:pt x="431" y="74"/>
                      </a:lnTo>
                      <a:lnTo>
                        <a:pt x="429" y="82"/>
                      </a:lnTo>
                      <a:lnTo>
                        <a:pt x="425" y="83"/>
                      </a:lnTo>
                      <a:lnTo>
                        <a:pt x="425" y="89"/>
                      </a:lnTo>
                      <a:lnTo>
                        <a:pt x="422" y="92"/>
                      </a:lnTo>
                      <a:lnTo>
                        <a:pt x="423" y="95"/>
                      </a:lnTo>
                      <a:lnTo>
                        <a:pt x="426" y="97"/>
                      </a:lnTo>
                      <a:lnTo>
                        <a:pt x="429" y="97"/>
                      </a:lnTo>
                      <a:lnTo>
                        <a:pt x="431" y="100"/>
                      </a:lnTo>
                      <a:lnTo>
                        <a:pt x="431" y="106"/>
                      </a:lnTo>
                      <a:lnTo>
                        <a:pt x="436" y="106"/>
                      </a:lnTo>
                      <a:lnTo>
                        <a:pt x="434" y="111"/>
                      </a:lnTo>
                      <a:lnTo>
                        <a:pt x="429" y="114"/>
                      </a:lnTo>
                      <a:lnTo>
                        <a:pt x="429" y="126"/>
                      </a:lnTo>
                      <a:lnTo>
                        <a:pt x="431" y="126"/>
                      </a:lnTo>
                      <a:lnTo>
                        <a:pt x="434" y="123"/>
                      </a:lnTo>
                      <a:lnTo>
                        <a:pt x="434" y="126"/>
                      </a:lnTo>
                      <a:lnTo>
                        <a:pt x="431" y="129"/>
                      </a:lnTo>
                      <a:lnTo>
                        <a:pt x="434" y="129"/>
                      </a:lnTo>
                      <a:lnTo>
                        <a:pt x="437" y="131"/>
                      </a:lnTo>
                      <a:lnTo>
                        <a:pt x="440" y="128"/>
                      </a:lnTo>
                      <a:lnTo>
                        <a:pt x="442" y="131"/>
                      </a:lnTo>
                      <a:lnTo>
                        <a:pt x="439" y="142"/>
                      </a:lnTo>
                      <a:lnTo>
                        <a:pt x="443" y="140"/>
                      </a:lnTo>
                      <a:lnTo>
                        <a:pt x="443" y="146"/>
                      </a:lnTo>
                      <a:lnTo>
                        <a:pt x="446" y="145"/>
                      </a:lnTo>
                      <a:lnTo>
                        <a:pt x="448" y="146"/>
                      </a:lnTo>
                      <a:lnTo>
                        <a:pt x="442" y="152"/>
                      </a:lnTo>
                      <a:lnTo>
                        <a:pt x="436" y="151"/>
                      </a:lnTo>
                      <a:lnTo>
                        <a:pt x="434" y="154"/>
                      </a:lnTo>
                      <a:lnTo>
                        <a:pt x="439" y="154"/>
                      </a:lnTo>
                      <a:lnTo>
                        <a:pt x="439" y="157"/>
                      </a:lnTo>
                      <a:lnTo>
                        <a:pt x="442" y="160"/>
                      </a:lnTo>
                      <a:lnTo>
                        <a:pt x="443" y="152"/>
                      </a:lnTo>
                      <a:lnTo>
                        <a:pt x="446" y="155"/>
                      </a:lnTo>
                      <a:lnTo>
                        <a:pt x="443" y="160"/>
                      </a:lnTo>
                      <a:lnTo>
                        <a:pt x="448" y="159"/>
                      </a:lnTo>
                      <a:lnTo>
                        <a:pt x="449" y="154"/>
                      </a:lnTo>
                      <a:lnTo>
                        <a:pt x="452" y="163"/>
                      </a:lnTo>
                      <a:lnTo>
                        <a:pt x="457" y="163"/>
                      </a:lnTo>
                      <a:lnTo>
                        <a:pt x="454" y="168"/>
                      </a:lnTo>
                      <a:lnTo>
                        <a:pt x="460" y="169"/>
                      </a:lnTo>
                      <a:lnTo>
                        <a:pt x="462" y="168"/>
                      </a:lnTo>
                      <a:lnTo>
                        <a:pt x="460" y="166"/>
                      </a:lnTo>
                      <a:lnTo>
                        <a:pt x="462" y="165"/>
                      </a:lnTo>
                      <a:lnTo>
                        <a:pt x="465" y="166"/>
                      </a:lnTo>
                      <a:lnTo>
                        <a:pt x="466" y="165"/>
                      </a:lnTo>
                      <a:lnTo>
                        <a:pt x="469" y="169"/>
                      </a:lnTo>
                      <a:lnTo>
                        <a:pt x="471" y="169"/>
                      </a:lnTo>
                      <a:lnTo>
                        <a:pt x="471" y="165"/>
                      </a:lnTo>
                      <a:lnTo>
                        <a:pt x="472" y="163"/>
                      </a:lnTo>
                      <a:lnTo>
                        <a:pt x="475" y="178"/>
                      </a:lnTo>
                      <a:lnTo>
                        <a:pt x="477" y="174"/>
                      </a:lnTo>
                      <a:lnTo>
                        <a:pt x="483" y="175"/>
                      </a:lnTo>
                      <a:lnTo>
                        <a:pt x="483" y="169"/>
                      </a:lnTo>
                      <a:lnTo>
                        <a:pt x="488" y="172"/>
                      </a:lnTo>
                      <a:lnTo>
                        <a:pt x="492" y="172"/>
                      </a:lnTo>
                      <a:lnTo>
                        <a:pt x="495" y="178"/>
                      </a:lnTo>
                      <a:lnTo>
                        <a:pt x="495" y="183"/>
                      </a:lnTo>
                      <a:lnTo>
                        <a:pt x="500" y="183"/>
                      </a:lnTo>
                      <a:lnTo>
                        <a:pt x="499" y="191"/>
                      </a:lnTo>
                      <a:lnTo>
                        <a:pt x="505" y="194"/>
                      </a:lnTo>
                      <a:lnTo>
                        <a:pt x="499" y="195"/>
                      </a:lnTo>
                      <a:lnTo>
                        <a:pt x="499" y="198"/>
                      </a:lnTo>
                      <a:lnTo>
                        <a:pt x="502" y="197"/>
                      </a:lnTo>
                      <a:lnTo>
                        <a:pt x="503" y="198"/>
                      </a:lnTo>
                      <a:lnTo>
                        <a:pt x="500" y="202"/>
                      </a:lnTo>
                      <a:lnTo>
                        <a:pt x="499" y="203"/>
                      </a:lnTo>
                      <a:lnTo>
                        <a:pt x="502" y="206"/>
                      </a:lnTo>
                      <a:lnTo>
                        <a:pt x="505" y="205"/>
                      </a:lnTo>
                      <a:lnTo>
                        <a:pt x="503" y="211"/>
                      </a:lnTo>
                      <a:lnTo>
                        <a:pt x="511" y="211"/>
                      </a:lnTo>
                      <a:lnTo>
                        <a:pt x="509" y="215"/>
                      </a:lnTo>
                      <a:lnTo>
                        <a:pt x="515" y="217"/>
                      </a:lnTo>
                      <a:lnTo>
                        <a:pt x="512" y="226"/>
                      </a:lnTo>
                      <a:lnTo>
                        <a:pt x="517" y="225"/>
                      </a:lnTo>
                      <a:lnTo>
                        <a:pt x="515" y="234"/>
                      </a:lnTo>
                      <a:lnTo>
                        <a:pt x="518" y="235"/>
                      </a:lnTo>
                      <a:lnTo>
                        <a:pt x="522" y="234"/>
                      </a:lnTo>
                      <a:lnTo>
                        <a:pt x="520" y="246"/>
                      </a:lnTo>
                      <a:lnTo>
                        <a:pt x="526" y="249"/>
                      </a:lnTo>
                      <a:lnTo>
                        <a:pt x="522" y="254"/>
                      </a:lnTo>
                      <a:lnTo>
                        <a:pt x="522" y="257"/>
                      </a:lnTo>
                      <a:lnTo>
                        <a:pt x="517" y="255"/>
                      </a:lnTo>
                      <a:lnTo>
                        <a:pt x="515" y="257"/>
                      </a:lnTo>
                      <a:lnTo>
                        <a:pt x="515" y="260"/>
                      </a:lnTo>
                      <a:lnTo>
                        <a:pt x="518" y="258"/>
                      </a:lnTo>
                      <a:lnTo>
                        <a:pt x="522" y="262"/>
                      </a:lnTo>
                      <a:lnTo>
                        <a:pt x="514" y="262"/>
                      </a:lnTo>
                      <a:lnTo>
                        <a:pt x="514" y="263"/>
                      </a:lnTo>
                      <a:lnTo>
                        <a:pt x="529" y="266"/>
                      </a:lnTo>
                      <a:lnTo>
                        <a:pt x="532" y="265"/>
                      </a:lnTo>
                      <a:lnTo>
                        <a:pt x="534" y="268"/>
                      </a:lnTo>
                      <a:lnTo>
                        <a:pt x="538" y="266"/>
                      </a:lnTo>
                      <a:lnTo>
                        <a:pt x="541" y="269"/>
                      </a:lnTo>
                      <a:lnTo>
                        <a:pt x="541" y="272"/>
                      </a:lnTo>
                      <a:lnTo>
                        <a:pt x="538" y="274"/>
                      </a:lnTo>
                      <a:lnTo>
                        <a:pt x="537" y="269"/>
                      </a:lnTo>
                      <a:lnTo>
                        <a:pt x="535" y="272"/>
                      </a:lnTo>
                      <a:lnTo>
                        <a:pt x="531" y="274"/>
                      </a:lnTo>
                      <a:lnTo>
                        <a:pt x="534" y="277"/>
                      </a:lnTo>
                      <a:lnTo>
                        <a:pt x="543" y="280"/>
                      </a:lnTo>
                      <a:lnTo>
                        <a:pt x="543" y="283"/>
                      </a:lnTo>
                      <a:lnTo>
                        <a:pt x="545" y="285"/>
                      </a:lnTo>
                      <a:lnTo>
                        <a:pt x="546" y="282"/>
                      </a:lnTo>
                      <a:lnTo>
                        <a:pt x="551" y="282"/>
                      </a:lnTo>
                      <a:lnTo>
                        <a:pt x="551" y="283"/>
                      </a:lnTo>
                      <a:lnTo>
                        <a:pt x="548" y="286"/>
                      </a:lnTo>
                      <a:lnTo>
                        <a:pt x="551" y="285"/>
                      </a:lnTo>
                      <a:lnTo>
                        <a:pt x="554" y="288"/>
                      </a:lnTo>
                      <a:lnTo>
                        <a:pt x="554" y="291"/>
                      </a:lnTo>
                      <a:lnTo>
                        <a:pt x="558" y="295"/>
                      </a:lnTo>
                      <a:lnTo>
                        <a:pt x="560" y="302"/>
                      </a:lnTo>
                      <a:lnTo>
                        <a:pt x="563" y="300"/>
                      </a:lnTo>
                      <a:lnTo>
                        <a:pt x="566" y="306"/>
                      </a:lnTo>
                      <a:lnTo>
                        <a:pt x="571" y="306"/>
                      </a:lnTo>
                      <a:lnTo>
                        <a:pt x="574" y="309"/>
                      </a:lnTo>
                      <a:lnTo>
                        <a:pt x="575" y="309"/>
                      </a:lnTo>
                      <a:lnTo>
                        <a:pt x="577" y="306"/>
                      </a:lnTo>
                      <a:lnTo>
                        <a:pt x="578" y="309"/>
                      </a:lnTo>
                      <a:lnTo>
                        <a:pt x="583" y="311"/>
                      </a:lnTo>
                      <a:lnTo>
                        <a:pt x="584" y="314"/>
                      </a:lnTo>
                      <a:lnTo>
                        <a:pt x="580" y="314"/>
                      </a:lnTo>
                      <a:lnTo>
                        <a:pt x="578" y="315"/>
                      </a:lnTo>
                      <a:lnTo>
                        <a:pt x="581" y="318"/>
                      </a:lnTo>
                      <a:lnTo>
                        <a:pt x="586" y="317"/>
                      </a:lnTo>
                      <a:lnTo>
                        <a:pt x="584" y="322"/>
                      </a:lnTo>
                      <a:lnTo>
                        <a:pt x="589" y="320"/>
                      </a:lnTo>
                      <a:lnTo>
                        <a:pt x="594" y="325"/>
                      </a:lnTo>
                      <a:lnTo>
                        <a:pt x="598" y="323"/>
                      </a:lnTo>
                      <a:lnTo>
                        <a:pt x="598" y="329"/>
                      </a:lnTo>
                      <a:lnTo>
                        <a:pt x="607" y="332"/>
                      </a:lnTo>
                      <a:lnTo>
                        <a:pt x="611" y="331"/>
                      </a:lnTo>
                      <a:lnTo>
                        <a:pt x="615" y="332"/>
                      </a:lnTo>
                      <a:lnTo>
                        <a:pt x="617" y="334"/>
                      </a:lnTo>
                      <a:lnTo>
                        <a:pt x="620" y="331"/>
                      </a:lnTo>
                      <a:lnTo>
                        <a:pt x="621" y="338"/>
                      </a:lnTo>
                      <a:lnTo>
                        <a:pt x="617" y="334"/>
                      </a:lnTo>
                      <a:lnTo>
                        <a:pt x="612" y="340"/>
                      </a:lnTo>
                      <a:lnTo>
                        <a:pt x="617" y="340"/>
                      </a:lnTo>
                      <a:lnTo>
                        <a:pt x="620" y="345"/>
                      </a:lnTo>
                      <a:lnTo>
                        <a:pt x="621" y="342"/>
                      </a:lnTo>
                      <a:lnTo>
                        <a:pt x="623" y="346"/>
                      </a:lnTo>
                      <a:lnTo>
                        <a:pt x="632" y="351"/>
                      </a:lnTo>
                      <a:lnTo>
                        <a:pt x="632" y="354"/>
                      </a:lnTo>
                      <a:lnTo>
                        <a:pt x="634" y="354"/>
                      </a:lnTo>
                      <a:lnTo>
                        <a:pt x="638" y="358"/>
                      </a:lnTo>
                      <a:lnTo>
                        <a:pt x="638" y="360"/>
                      </a:lnTo>
                      <a:lnTo>
                        <a:pt x="634" y="362"/>
                      </a:lnTo>
                      <a:lnTo>
                        <a:pt x="634" y="366"/>
                      </a:lnTo>
                      <a:lnTo>
                        <a:pt x="632" y="368"/>
                      </a:lnTo>
                      <a:lnTo>
                        <a:pt x="634" y="371"/>
                      </a:lnTo>
                      <a:lnTo>
                        <a:pt x="637" y="371"/>
                      </a:lnTo>
                      <a:lnTo>
                        <a:pt x="637" y="375"/>
                      </a:lnTo>
                      <a:lnTo>
                        <a:pt x="638" y="374"/>
                      </a:lnTo>
                      <a:lnTo>
                        <a:pt x="640" y="377"/>
                      </a:lnTo>
                      <a:lnTo>
                        <a:pt x="638" y="380"/>
                      </a:lnTo>
                      <a:lnTo>
                        <a:pt x="635" y="380"/>
                      </a:lnTo>
                      <a:lnTo>
                        <a:pt x="635" y="383"/>
                      </a:lnTo>
                      <a:lnTo>
                        <a:pt x="632" y="382"/>
                      </a:lnTo>
                      <a:lnTo>
                        <a:pt x="634" y="385"/>
                      </a:lnTo>
                      <a:lnTo>
                        <a:pt x="641" y="385"/>
                      </a:lnTo>
                      <a:lnTo>
                        <a:pt x="643" y="386"/>
                      </a:lnTo>
                      <a:lnTo>
                        <a:pt x="638" y="388"/>
                      </a:lnTo>
                      <a:lnTo>
                        <a:pt x="644" y="391"/>
                      </a:lnTo>
                      <a:lnTo>
                        <a:pt x="641" y="398"/>
                      </a:lnTo>
                      <a:lnTo>
                        <a:pt x="638" y="397"/>
                      </a:lnTo>
                      <a:lnTo>
                        <a:pt x="638" y="402"/>
                      </a:lnTo>
                      <a:lnTo>
                        <a:pt x="635" y="400"/>
                      </a:lnTo>
                      <a:lnTo>
                        <a:pt x="634" y="403"/>
                      </a:lnTo>
                      <a:lnTo>
                        <a:pt x="635" y="405"/>
                      </a:lnTo>
                      <a:lnTo>
                        <a:pt x="634" y="406"/>
                      </a:lnTo>
                      <a:lnTo>
                        <a:pt x="637" y="406"/>
                      </a:lnTo>
                      <a:lnTo>
                        <a:pt x="638" y="408"/>
                      </a:lnTo>
                      <a:lnTo>
                        <a:pt x="641" y="406"/>
                      </a:lnTo>
                      <a:lnTo>
                        <a:pt x="643" y="409"/>
                      </a:lnTo>
                      <a:lnTo>
                        <a:pt x="644" y="408"/>
                      </a:lnTo>
                      <a:lnTo>
                        <a:pt x="644" y="408"/>
                      </a:lnTo>
                      <a:lnTo>
                        <a:pt x="644" y="414"/>
                      </a:lnTo>
                      <a:lnTo>
                        <a:pt x="647" y="417"/>
                      </a:lnTo>
                      <a:lnTo>
                        <a:pt x="640" y="422"/>
                      </a:lnTo>
                      <a:lnTo>
                        <a:pt x="644" y="422"/>
                      </a:lnTo>
                      <a:lnTo>
                        <a:pt x="643" y="425"/>
                      </a:lnTo>
                      <a:lnTo>
                        <a:pt x="649" y="429"/>
                      </a:lnTo>
                      <a:lnTo>
                        <a:pt x="647" y="431"/>
                      </a:lnTo>
                      <a:lnTo>
                        <a:pt x="649" y="431"/>
                      </a:lnTo>
                      <a:lnTo>
                        <a:pt x="649" y="434"/>
                      </a:lnTo>
                      <a:lnTo>
                        <a:pt x="647" y="434"/>
                      </a:lnTo>
                      <a:lnTo>
                        <a:pt x="646" y="435"/>
                      </a:lnTo>
                      <a:lnTo>
                        <a:pt x="646" y="435"/>
                      </a:lnTo>
                      <a:lnTo>
                        <a:pt x="643" y="434"/>
                      </a:lnTo>
                      <a:lnTo>
                        <a:pt x="640" y="435"/>
                      </a:lnTo>
                      <a:lnTo>
                        <a:pt x="635" y="434"/>
                      </a:lnTo>
                      <a:lnTo>
                        <a:pt x="630" y="437"/>
                      </a:lnTo>
                      <a:lnTo>
                        <a:pt x="627" y="435"/>
                      </a:lnTo>
                      <a:lnTo>
                        <a:pt x="617" y="437"/>
                      </a:lnTo>
                      <a:lnTo>
                        <a:pt x="611" y="440"/>
                      </a:lnTo>
                      <a:lnTo>
                        <a:pt x="606" y="440"/>
                      </a:lnTo>
                      <a:lnTo>
                        <a:pt x="601" y="437"/>
                      </a:lnTo>
                      <a:lnTo>
                        <a:pt x="597" y="438"/>
                      </a:lnTo>
                      <a:lnTo>
                        <a:pt x="592" y="428"/>
                      </a:lnTo>
                      <a:lnTo>
                        <a:pt x="578" y="429"/>
                      </a:lnTo>
                      <a:lnTo>
                        <a:pt x="575" y="426"/>
                      </a:lnTo>
                      <a:lnTo>
                        <a:pt x="569" y="431"/>
                      </a:lnTo>
                      <a:lnTo>
                        <a:pt x="574" y="437"/>
                      </a:lnTo>
                      <a:lnTo>
                        <a:pt x="574" y="440"/>
                      </a:lnTo>
                      <a:lnTo>
                        <a:pt x="578" y="449"/>
                      </a:lnTo>
                      <a:lnTo>
                        <a:pt x="572" y="449"/>
                      </a:lnTo>
                      <a:lnTo>
                        <a:pt x="569" y="445"/>
                      </a:lnTo>
                      <a:lnTo>
                        <a:pt x="563" y="442"/>
                      </a:lnTo>
                      <a:lnTo>
                        <a:pt x="558" y="435"/>
                      </a:lnTo>
                      <a:lnTo>
                        <a:pt x="540" y="423"/>
                      </a:lnTo>
                      <a:lnTo>
                        <a:pt x="529" y="423"/>
                      </a:lnTo>
                      <a:lnTo>
                        <a:pt x="529" y="414"/>
                      </a:lnTo>
                      <a:lnTo>
                        <a:pt x="529" y="412"/>
                      </a:lnTo>
                      <a:lnTo>
                        <a:pt x="517" y="409"/>
                      </a:lnTo>
                      <a:lnTo>
                        <a:pt x="514" y="411"/>
                      </a:lnTo>
                      <a:lnTo>
                        <a:pt x="509" y="409"/>
                      </a:lnTo>
                      <a:lnTo>
                        <a:pt x="502" y="411"/>
                      </a:lnTo>
                      <a:lnTo>
                        <a:pt x="492" y="392"/>
                      </a:lnTo>
                      <a:lnTo>
                        <a:pt x="472" y="371"/>
                      </a:lnTo>
                      <a:lnTo>
                        <a:pt x="472" y="365"/>
                      </a:lnTo>
                      <a:lnTo>
                        <a:pt x="466" y="363"/>
                      </a:lnTo>
                      <a:lnTo>
                        <a:pt x="465" y="360"/>
                      </a:lnTo>
                      <a:lnTo>
                        <a:pt x="459" y="357"/>
                      </a:lnTo>
                      <a:lnTo>
                        <a:pt x="454" y="352"/>
                      </a:lnTo>
                      <a:lnTo>
                        <a:pt x="449" y="358"/>
                      </a:lnTo>
                      <a:lnTo>
                        <a:pt x="448" y="363"/>
                      </a:lnTo>
                      <a:lnTo>
                        <a:pt x="445" y="368"/>
                      </a:lnTo>
                      <a:lnTo>
                        <a:pt x="448" y="386"/>
                      </a:lnTo>
                      <a:lnTo>
                        <a:pt x="446" y="391"/>
                      </a:lnTo>
                      <a:lnTo>
                        <a:pt x="452" y="389"/>
                      </a:lnTo>
                      <a:lnTo>
                        <a:pt x="456" y="395"/>
                      </a:lnTo>
                      <a:lnTo>
                        <a:pt x="460" y="398"/>
                      </a:lnTo>
                      <a:lnTo>
                        <a:pt x="459" y="402"/>
                      </a:lnTo>
                      <a:lnTo>
                        <a:pt x="446" y="408"/>
                      </a:lnTo>
                      <a:lnTo>
                        <a:pt x="440" y="409"/>
                      </a:lnTo>
                      <a:lnTo>
                        <a:pt x="411" y="403"/>
                      </a:lnTo>
                      <a:lnTo>
                        <a:pt x="411" y="408"/>
                      </a:lnTo>
                      <a:lnTo>
                        <a:pt x="414" y="415"/>
                      </a:lnTo>
                      <a:lnTo>
                        <a:pt x="413" y="417"/>
                      </a:lnTo>
                      <a:lnTo>
                        <a:pt x="396" y="417"/>
                      </a:lnTo>
                      <a:lnTo>
                        <a:pt x="399" y="425"/>
                      </a:lnTo>
                      <a:lnTo>
                        <a:pt x="396" y="428"/>
                      </a:lnTo>
                      <a:lnTo>
                        <a:pt x="393" y="428"/>
                      </a:lnTo>
                      <a:lnTo>
                        <a:pt x="388" y="418"/>
                      </a:lnTo>
                      <a:lnTo>
                        <a:pt x="379" y="422"/>
                      </a:lnTo>
                      <a:lnTo>
                        <a:pt x="376" y="417"/>
                      </a:lnTo>
                      <a:lnTo>
                        <a:pt x="365" y="418"/>
                      </a:lnTo>
                      <a:lnTo>
                        <a:pt x="362" y="414"/>
                      </a:lnTo>
                      <a:lnTo>
                        <a:pt x="356" y="411"/>
                      </a:lnTo>
                      <a:lnTo>
                        <a:pt x="334" y="415"/>
                      </a:lnTo>
                      <a:lnTo>
                        <a:pt x="333" y="423"/>
                      </a:lnTo>
                      <a:lnTo>
                        <a:pt x="325" y="426"/>
                      </a:lnTo>
                      <a:lnTo>
                        <a:pt x="321" y="418"/>
                      </a:lnTo>
                      <a:lnTo>
                        <a:pt x="305" y="418"/>
                      </a:lnTo>
                      <a:lnTo>
                        <a:pt x="302" y="417"/>
                      </a:lnTo>
                      <a:lnTo>
                        <a:pt x="299" y="420"/>
                      </a:lnTo>
                      <a:lnTo>
                        <a:pt x="290" y="420"/>
                      </a:lnTo>
                      <a:lnTo>
                        <a:pt x="281" y="414"/>
                      </a:lnTo>
                      <a:lnTo>
                        <a:pt x="281" y="414"/>
                      </a:lnTo>
                      <a:lnTo>
                        <a:pt x="276" y="397"/>
                      </a:lnTo>
                      <a:lnTo>
                        <a:pt x="262" y="383"/>
                      </a:lnTo>
                      <a:lnTo>
                        <a:pt x="250" y="375"/>
                      </a:lnTo>
                      <a:lnTo>
                        <a:pt x="250" y="372"/>
                      </a:lnTo>
                      <a:lnTo>
                        <a:pt x="255" y="368"/>
                      </a:lnTo>
                      <a:lnTo>
                        <a:pt x="262" y="368"/>
                      </a:lnTo>
                      <a:lnTo>
                        <a:pt x="262" y="362"/>
                      </a:lnTo>
                      <a:lnTo>
                        <a:pt x="270" y="358"/>
                      </a:lnTo>
                      <a:lnTo>
                        <a:pt x="274" y="351"/>
                      </a:lnTo>
                      <a:lnTo>
                        <a:pt x="276" y="345"/>
                      </a:lnTo>
                      <a:lnTo>
                        <a:pt x="279" y="348"/>
                      </a:lnTo>
                      <a:lnTo>
                        <a:pt x="284" y="352"/>
                      </a:lnTo>
                      <a:lnTo>
                        <a:pt x="296" y="348"/>
                      </a:lnTo>
                      <a:lnTo>
                        <a:pt x="299" y="343"/>
                      </a:lnTo>
                      <a:lnTo>
                        <a:pt x="298" y="340"/>
                      </a:lnTo>
                      <a:lnTo>
                        <a:pt x="290" y="335"/>
                      </a:lnTo>
                      <a:lnTo>
                        <a:pt x="287" y="332"/>
                      </a:lnTo>
                      <a:lnTo>
                        <a:pt x="276" y="328"/>
                      </a:lnTo>
                      <a:lnTo>
                        <a:pt x="274" y="323"/>
                      </a:lnTo>
                      <a:lnTo>
                        <a:pt x="276" y="317"/>
                      </a:lnTo>
                      <a:lnTo>
                        <a:pt x="276" y="311"/>
                      </a:lnTo>
                      <a:lnTo>
                        <a:pt x="274" y="308"/>
                      </a:lnTo>
                      <a:lnTo>
                        <a:pt x="270" y="306"/>
                      </a:lnTo>
                      <a:lnTo>
                        <a:pt x="271" y="298"/>
                      </a:lnTo>
                      <a:lnTo>
                        <a:pt x="262" y="297"/>
                      </a:lnTo>
                      <a:lnTo>
                        <a:pt x="256" y="302"/>
                      </a:lnTo>
                      <a:lnTo>
                        <a:pt x="248" y="294"/>
                      </a:lnTo>
                      <a:lnTo>
                        <a:pt x="225" y="297"/>
                      </a:lnTo>
                      <a:lnTo>
                        <a:pt x="224" y="306"/>
                      </a:lnTo>
                      <a:lnTo>
                        <a:pt x="216" y="318"/>
                      </a:lnTo>
                      <a:lnTo>
                        <a:pt x="218" y="322"/>
                      </a:lnTo>
                      <a:lnTo>
                        <a:pt x="216" y="323"/>
                      </a:lnTo>
                      <a:lnTo>
                        <a:pt x="204" y="322"/>
                      </a:lnTo>
                      <a:lnTo>
                        <a:pt x="196" y="300"/>
                      </a:lnTo>
                      <a:lnTo>
                        <a:pt x="193" y="300"/>
                      </a:lnTo>
                      <a:lnTo>
                        <a:pt x="192" y="302"/>
                      </a:lnTo>
                      <a:lnTo>
                        <a:pt x="190" y="306"/>
                      </a:lnTo>
                      <a:lnTo>
                        <a:pt x="189" y="308"/>
                      </a:lnTo>
                      <a:lnTo>
                        <a:pt x="187" y="312"/>
                      </a:lnTo>
                      <a:lnTo>
                        <a:pt x="187" y="318"/>
                      </a:lnTo>
                      <a:lnTo>
                        <a:pt x="178" y="318"/>
                      </a:lnTo>
                      <a:lnTo>
                        <a:pt x="159" y="329"/>
                      </a:lnTo>
                      <a:lnTo>
                        <a:pt x="132" y="323"/>
                      </a:lnTo>
                      <a:lnTo>
                        <a:pt x="126" y="308"/>
                      </a:lnTo>
                      <a:lnTo>
                        <a:pt x="103" y="283"/>
                      </a:lnTo>
                      <a:lnTo>
                        <a:pt x="98" y="283"/>
                      </a:lnTo>
                      <a:lnTo>
                        <a:pt x="87" y="291"/>
                      </a:lnTo>
                      <a:lnTo>
                        <a:pt x="78" y="280"/>
                      </a:lnTo>
                      <a:lnTo>
                        <a:pt x="61" y="291"/>
                      </a:lnTo>
                      <a:lnTo>
                        <a:pt x="61" y="294"/>
                      </a:lnTo>
                      <a:lnTo>
                        <a:pt x="60" y="294"/>
                      </a:lnTo>
                      <a:lnTo>
                        <a:pt x="57" y="291"/>
                      </a:lnTo>
                      <a:lnTo>
                        <a:pt x="55" y="269"/>
                      </a:lnTo>
                      <a:lnTo>
                        <a:pt x="50" y="265"/>
                      </a:lnTo>
                      <a:lnTo>
                        <a:pt x="57" y="262"/>
                      </a:lnTo>
                      <a:lnTo>
                        <a:pt x="50" y="251"/>
                      </a:lnTo>
                      <a:lnTo>
                        <a:pt x="52" y="243"/>
                      </a:lnTo>
                      <a:lnTo>
                        <a:pt x="49" y="240"/>
                      </a:lnTo>
                      <a:lnTo>
                        <a:pt x="49" y="231"/>
                      </a:lnTo>
                      <a:lnTo>
                        <a:pt x="43" y="222"/>
                      </a:lnTo>
                      <a:lnTo>
                        <a:pt x="34" y="218"/>
                      </a:lnTo>
                      <a:lnTo>
                        <a:pt x="32" y="211"/>
                      </a:lnTo>
                      <a:lnTo>
                        <a:pt x="27" y="205"/>
                      </a:lnTo>
                      <a:lnTo>
                        <a:pt x="15" y="198"/>
                      </a:lnTo>
                      <a:lnTo>
                        <a:pt x="15" y="195"/>
                      </a:lnTo>
                      <a:lnTo>
                        <a:pt x="15" y="195"/>
                      </a:lnTo>
                      <a:lnTo>
                        <a:pt x="17" y="191"/>
                      </a:lnTo>
                      <a:lnTo>
                        <a:pt x="21" y="188"/>
                      </a:lnTo>
                      <a:lnTo>
                        <a:pt x="24" y="180"/>
                      </a:lnTo>
                      <a:lnTo>
                        <a:pt x="27" y="175"/>
                      </a:lnTo>
                      <a:lnTo>
                        <a:pt x="34" y="175"/>
                      </a:lnTo>
                      <a:lnTo>
                        <a:pt x="35" y="172"/>
                      </a:lnTo>
                      <a:lnTo>
                        <a:pt x="32" y="172"/>
                      </a:lnTo>
                      <a:lnTo>
                        <a:pt x="32" y="165"/>
                      </a:lnTo>
                      <a:lnTo>
                        <a:pt x="31" y="162"/>
                      </a:lnTo>
                      <a:lnTo>
                        <a:pt x="26" y="162"/>
                      </a:lnTo>
                      <a:lnTo>
                        <a:pt x="20" y="154"/>
                      </a:lnTo>
                      <a:lnTo>
                        <a:pt x="15" y="154"/>
                      </a:lnTo>
                      <a:lnTo>
                        <a:pt x="14" y="149"/>
                      </a:lnTo>
                      <a:lnTo>
                        <a:pt x="9" y="151"/>
                      </a:lnTo>
                      <a:lnTo>
                        <a:pt x="9" y="148"/>
                      </a:lnTo>
                      <a:lnTo>
                        <a:pt x="8" y="148"/>
                      </a:lnTo>
                      <a:lnTo>
                        <a:pt x="4" y="139"/>
                      </a:lnTo>
                      <a:lnTo>
                        <a:pt x="6" y="131"/>
                      </a:lnTo>
                      <a:lnTo>
                        <a:pt x="3" y="122"/>
                      </a:lnTo>
                      <a:lnTo>
                        <a:pt x="0" y="119"/>
                      </a:lnTo>
                      <a:lnTo>
                        <a:pt x="1" y="117"/>
                      </a:lnTo>
                      <a:lnTo>
                        <a:pt x="14" y="111"/>
                      </a:lnTo>
                      <a:lnTo>
                        <a:pt x="15" y="112"/>
                      </a:lnTo>
                      <a:lnTo>
                        <a:pt x="20" y="125"/>
                      </a:lnTo>
                      <a:lnTo>
                        <a:pt x="29" y="126"/>
                      </a:lnTo>
                      <a:lnTo>
                        <a:pt x="32" y="123"/>
                      </a:lnTo>
                      <a:lnTo>
                        <a:pt x="41" y="129"/>
                      </a:lnTo>
                      <a:lnTo>
                        <a:pt x="49" y="137"/>
                      </a:lnTo>
                      <a:lnTo>
                        <a:pt x="57" y="137"/>
                      </a:lnTo>
                      <a:lnTo>
                        <a:pt x="60" y="135"/>
                      </a:lnTo>
                      <a:lnTo>
                        <a:pt x="64" y="134"/>
                      </a:lnTo>
                      <a:lnTo>
                        <a:pt x="73" y="135"/>
                      </a:lnTo>
                      <a:lnTo>
                        <a:pt x="75" y="132"/>
                      </a:lnTo>
                      <a:lnTo>
                        <a:pt x="70" y="129"/>
                      </a:lnTo>
                      <a:lnTo>
                        <a:pt x="75" y="128"/>
                      </a:lnTo>
                      <a:lnTo>
                        <a:pt x="75" y="123"/>
                      </a:lnTo>
                      <a:lnTo>
                        <a:pt x="72" y="122"/>
                      </a:lnTo>
                      <a:lnTo>
                        <a:pt x="70" y="119"/>
                      </a:lnTo>
                      <a:lnTo>
                        <a:pt x="67" y="115"/>
                      </a:lnTo>
                      <a:lnTo>
                        <a:pt x="63" y="115"/>
                      </a:lnTo>
                      <a:lnTo>
                        <a:pt x="64" y="112"/>
                      </a:lnTo>
                      <a:lnTo>
                        <a:pt x="61" y="111"/>
                      </a:lnTo>
                      <a:lnTo>
                        <a:pt x="72" y="108"/>
                      </a:lnTo>
                      <a:lnTo>
                        <a:pt x="75" y="103"/>
                      </a:lnTo>
                      <a:lnTo>
                        <a:pt x="75" y="100"/>
                      </a:lnTo>
                      <a:lnTo>
                        <a:pt x="72" y="100"/>
                      </a:lnTo>
                      <a:lnTo>
                        <a:pt x="70" y="94"/>
                      </a:lnTo>
                      <a:lnTo>
                        <a:pt x="72" y="89"/>
                      </a:lnTo>
                      <a:lnTo>
                        <a:pt x="75" y="88"/>
                      </a:lnTo>
                      <a:lnTo>
                        <a:pt x="75" y="71"/>
                      </a:lnTo>
                      <a:lnTo>
                        <a:pt x="75" y="71"/>
                      </a:lnTo>
                      <a:lnTo>
                        <a:pt x="83" y="65"/>
                      </a:lnTo>
                      <a:lnTo>
                        <a:pt x="83" y="57"/>
                      </a:lnTo>
                      <a:lnTo>
                        <a:pt x="90" y="60"/>
                      </a:lnTo>
                      <a:lnTo>
                        <a:pt x="97" y="57"/>
                      </a:lnTo>
                      <a:lnTo>
                        <a:pt x="100" y="52"/>
                      </a:lnTo>
                      <a:lnTo>
                        <a:pt x="93" y="46"/>
                      </a:lnTo>
                      <a:lnTo>
                        <a:pt x="101" y="40"/>
                      </a:lnTo>
                      <a:lnTo>
                        <a:pt x="113" y="45"/>
                      </a:lnTo>
                      <a:lnTo>
                        <a:pt x="123" y="51"/>
                      </a:lnTo>
                      <a:lnTo>
                        <a:pt x="127" y="51"/>
                      </a:lnTo>
                      <a:lnTo>
                        <a:pt x="130" y="48"/>
                      </a:lnTo>
                      <a:lnTo>
                        <a:pt x="141" y="55"/>
                      </a:lnTo>
                      <a:lnTo>
                        <a:pt x="147" y="54"/>
                      </a:lnTo>
                      <a:lnTo>
                        <a:pt x="155" y="57"/>
                      </a:lnTo>
                      <a:lnTo>
                        <a:pt x="161" y="59"/>
                      </a:lnTo>
                      <a:lnTo>
                        <a:pt x="172" y="57"/>
                      </a:lnTo>
                      <a:lnTo>
                        <a:pt x="175" y="54"/>
                      </a:lnTo>
                      <a:lnTo>
                        <a:pt x="187" y="57"/>
                      </a:lnTo>
                      <a:lnTo>
                        <a:pt x="190" y="54"/>
                      </a:lnTo>
                      <a:lnTo>
                        <a:pt x="196" y="57"/>
                      </a:lnTo>
                      <a:lnTo>
                        <a:pt x="202" y="59"/>
                      </a:lnTo>
                      <a:lnTo>
                        <a:pt x="209" y="71"/>
                      </a:lnTo>
                      <a:lnTo>
                        <a:pt x="213" y="75"/>
                      </a:lnTo>
                      <a:lnTo>
                        <a:pt x="213" y="80"/>
                      </a:lnTo>
                      <a:lnTo>
                        <a:pt x="219" y="88"/>
                      </a:lnTo>
                      <a:lnTo>
                        <a:pt x="224" y="80"/>
                      </a:lnTo>
                      <a:lnTo>
                        <a:pt x="228" y="79"/>
                      </a:lnTo>
                      <a:lnTo>
                        <a:pt x="228" y="71"/>
                      </a:lnTo>
                      <a:lnTo>
                        <a:pt x="235" y="74"/>
                      </a:lnTo>
                      <a:lnTo>
                        <a:pt x="235" y="55"/>
                      </a:lnTo>
                      <a:lnTo>
                        <a:pt x="233" y="51"/>
                      </a:lnTo>
                      <a:lnTo>
                        <a:pt x="238" y="31"/>
                      </a:lnTo>
                      <a:lnTo>
                        <a:pt x="242" y="23"/>
                      </a:lnTo>
                      <a:lnTo>
                        <a:pt x="245" y="23"/>
                      </a:lnTo>
                      <a:lnTo>
                        <a:pt x="250" y="26"/>
                      </a:lnTo>
                      <a:lnTo>
                        <a:pt x="259" y="37"/>
                      </a:lnTo>
                      <a:lnTo>
                        <a:pt x="265" y="34"/>
                      </a:lnTo>
                      <a:lnTo>
                        <a:pt x="268" y="29"/>
                      </a:lnTo>
                      <a:lnTo>
                        <a:pt x="270" y="39"/>
                      </a:lnTo>
                      <a:lnTo>
                        <a:pt x="293" y="39"/>
                      </a:lnTo>
                      <a:lnTo>
                        <a:pt x="298" y="37"/>
                      </a:lnTo>
                      <a:lnTo>
                        <a:pt x="304" y="32"/>
                      </a:lnTo>
                      <a:lnTo>
                        <a:pt x="307" y="34"/>
                      </a:lnTo>
                      <a:lnTo>
                        <a:pt x="308" y="32"/>
                      </a:lnTo>
                      <a:lnTo>
                        <a:pt x="304" y="19"/>
                      </a:lnTo>
                      <a:lnTo>
                        <a:pt x="302" y="17"/>
                      </a:lnTo>
                      <a:lnTo>
                        <a:pt x="305" y="12"/>
                      </a:lnTo>
                      <a:lnTo>
                        <a:pt x="311" y="12"/>
                      </a:lnTo>
                      <a:lnTo>
                        <a:pt x="317" y="17"/>
                      </a:lnTo>
                      <a:lnTo>
                        <a:pt x="331" y="6"/>
                      </a:lnTo>
                      <a:lnTo>
                        <a:pt x="333" y="8"/>
                      </a:lnTo>
                      <a:lnTo>
                        <a:pt x="345" y="3"/>
                      </a:lnTo>
                      <a:lnTo>
                        <a:pt x="353" y="5"/>
                      </a:lnTo>
                      <a:lnTo>
                        <a:pt x="357" y="0"/>
                      </a:lnTo>
                      <a:lnTo>
                        <a:pt x="357" y="0"/>
                      </a:lnTo>
                      <a:lnTo>
                        <a:pt x="363" y="5"/>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01" name="Mehedinti" descr="{&quot;Key&quot;:&quot;mehedinti&quot;,&quot;Name&quot;:&quot;Mehedinti&quot;,&quot;Value&quot;:1.0,&quot;Formula&quot;:&quot;&quot;,&quot;Text&quot;:&quot;1&quot;,&quot;OfficeApplication&quot;:0,&quot;HasValue&quot;:true}">
                  <a:extLst>
                    <a:ext uri="{FF2B5EF4-FFF2-40B4-BE49-F238E27FC236}">
                      <a16:creationId xmlns:a16="http://schemas.microsoft.com/office/drawing/2014/main" id="{B9A4E859-98B1-56C0-09A2-6E165A97DAB8}"/>
                    </a:ext>
                  </a:extLst>
                </p:cNvPr>
                <p:cNvSpPr>
                  <a:spLocks/>
                </p:cNvSpPr>
                <p:nvPr/>
              </p:nvSpPr>
              <p:spPr bwMode="auto">
                <a:xfrm>
                  <a:off x="4216400" y="4227513"/>
                  <a:ext cx="912813" cy="890588"/>
                </a:xfrm>
                <a:custGeom>
                  <a:avLst/>
                  <a:gdLst>
                    <a:gd name="T0" fmla="*/ 21 w 575"/>
                    <a:gd name="T1" fmla="*/ 282 h 561"/>
                    <a:gd name="T2" fmla="*/ 39 w 575"/>
                    <a:gd name="T3" fmla="*/ 286 h 561"/>
                    <a:gd name="T4" fmla="*/ 55 w 575"/>
                    <a:gd name="T5" fmla="*/ 292 h 561"/>
                    <a:gd name="T6" fmla="*/ 62 w 575"/>
                    <a:gd name="T7" fmla="*/ 275 h 561"/>
                    <a:gd name="T8" fmla="*/ 64 w 575"/>
                    <a:gd name="T9" fmla="*/ 255 h 561"/>
                    <a:gd name="T10" fmla="*/ 59 w 575"/>
                    <a:gd name="T11" fmla="*/ 206 h 561"/>
                    <a:gd name="T12" fmla="*/ 73 w 575"/>
                    <a:gd name="T13" fmla="*/ 198 h 561"/>
                    <a:gd name="T14" fmla="*/ 78 w 575"/>
                    <a:gd name="T15" fmla="*/ 174 h 561"/>
                    <a:gd name="T16" fmla="*/ 104 w 575"/>
                    <a:gd name="T17" fmla="*/ 182 h 561"/>
                    <a:gd name="T18" fmla="*/ 145 w 575"/>
                    <a:gd name="T19" fmla="*/ 183 h 561"/>
                    <a:gd name="T20" fmla="*/ 170 w 575"/>
                    <a:gd name="T21" fmla="*/ 165 h 561"/>
                    <a:gd name="T22" fmla="*/ 184 w 575"/>
                    <a:gd name="T23" fmla="*/ 135 h 561"/>
                    <a:gd name="T24" fmla="*/ 193 w 575"/>
                    <a:gd name="T25" fmla="*/ 100 h 561"/>
                    <a:gd name="T26" fmla="*/ 199 w 575"/>
                    <a:gd name="T27" fmla="*/ 80 h 561"/>
                    <a:gd name="T28" fmla="*/ 219 w 575"/>
                    <a:gd name="T29" fmla="*/ 52 h 561"/>
                    <a:gd name="T30" fmla="*/ 254 w 575"/>
                    <a:gd name="T31" fmla="*/ 5 h 561"/>
                    <a:gd name="T32" fmla="*/ 259 w 575"/>
                    <a:gd name="T33" fmla="*/ 0 h 561"/>
                    <a:gd name="T34" fmla="*/ 268 w 575"/>
                    <a:gd name="T35" fmla="*/ 2 h 561"/>
                    <a:gd name="T36" fmla="*/ 293 w 575"/>
                    <a:gd name="T37" fmla="*/ 28 h 561"/>
                    <a:gd name="T38" fmla="*/ 326 w 575"/>
                    <a:gd name="T39" fmla="*/ 46 h 561"/>
                    <a:gd name="T40" fmla="*/ 345 w 575"/>
                    <a:gd name="T41" fmla="*/ 65 h 561"/>
                    <a:gd name="T42" fmla="*/ 349 w 575"/>
                    <a:gd name="T43" fmla="*/ 86 h 561"/>
                    <a:gd name="T44" fmla="*/ 348 w 575"/>
                    <a:gd name="T45" fmla="*/ 108 h 561"/>
                    <a:gd name="T46" fmla="*/ 357 w 575"/>
                    <a:gd name="T47" fmla="*/ 160 h 561"/>
                    <a:gd name="T48" fmla="*/ 372 w 575"/>
                    <a:gd name="T49" fmla="*/ 183 h 561"/>
                    <a:gd name="T50" fmla="*/ 392 w 575"/>
                    <a:gd name="T51" fmla="*/ 194 h 561"/>
                    <a:gd name="T52" fmla="*/ 414 w 575"/>
                    <a:gd name="T53" fmla="*/ 209 h 561"/>
                    <a:gd name="T54" fmla="*/ 420 w 575"/>
                    <a:gd name="T55" fmla="*/ 211 h 561"/>
                    <a:gd name="T56" fmla="*/ 420 w 575"/>
                    <a:gd name="T57" fmla="*/ 220 h 561"/>
                    <a:gd name="T58" fmla="*/ 429 w 575"/>
                    <a:gd name="T59" fmla="*/ 231 h 561"/>
                    <a:gd name="T60" fmla="*/ 471 w 575"/>
                    <a:gd name="T61" fmla="*/ 240 h 561"/>
                    <a:gd name="T62" fmla="*/ 515 w 575"/>
                    <a:gd name="T63" fmla="*/ 254 h 561"/>
                    <a:gd name="T64" fmla="*/ 558 w 575"/>
                    <a:gd name="T65" fmla="*/ 278 h 561"/>
                    <a:gd name="T66" fmla="*/ 569 w 575"/>
                    <a:gd name="T67" fmla="*/ 297 h 561"/>
                    <a:gd name="T68" fmla="*/ 570 w 575"/>
                    <a:gd name="T69" fmla="*/ 315 h 561"/>
                    <a:gd name="T70" fmla="*/ 550 w 575"/>
                    <a:gd name="T71" fmla="*/ 317 h 561"/>
                    <a:gd name="T72" fmla="*/ 529 w 575"/>
                    <a:gd name="T73" fmla="*/ 326 h 561"/>
                    <a:gd name="T74" fmla="*/ 501 w 575"/>
                    <a:gd name="T75" fmla="*/ 331 h 561"/>
                    <a:gd name="T76" fmla="*/ 489 w 575"/>
                    <a:gd name="T77" fmla="*/ 348 h 561"/>
                    <a:gd name="T78" fmla="*/ 463 w 575"/>
                    <a:gd name="T79" fmla="*/ 377 h 561"/>
                    <a:gd name="T80" fmla="*/ 460 w 575"/>
                    <a:gd name="T81" fmla="*/ 389 h 561"/>
                    <a:gd name="T82" fmla="*/ 490 w 575"/>
                    <a:gd name="T83" fmla="*/ 411 h 561"/>
                    <a:gd name="T84" fmla="*/ 469 w 575"/>
                    <a:gd name="T85" fmla="*/ 417 h 561"/>
                    <a:gd name="T86" fmla="*/ 448 w 575"/>
                    <a:gd name="T87" fmla="*/ 438 h 561"/>
                    <a:gd name="T88" fmla="*/ 426 w 575"/>
                    <a:gd name="T89" fmla="*/ 480 h 561"/>
                    <a:gd name="T90" fmla="*/ 420 w 575"/>
                    <a:gd name="T91" fmla="*/ 529 h 561"/>
                    <a:gd name="T92" fmla="*/ 382 w 575"/>
                    <a:gd name="T93" fmla="*/ 561 h 561"/>
                    <a:gd name="T94" fmla="*/ 317 w 575"/>
                    <a:gd name="T95" fmla="*/ 529 h 561"/>
                    <a:gd name="T96" fmla="*/ 263 w 575"/>
                    <a:gd name="T97" fmla="*/ 492 h 561"/>
                    <a:gd name="T98" fmla="*/ 257 w 575"/>
                    <a:gd name="T99" fmla="*/ 457 h 561"/>
                    <a:gd name="T100" fmla="*/ 196 w 575"/>
                    <a:gd name="T101" fmla="*/ 403 h 561"/>
                    <a:gd name="T102" fmla="*/ 179 w 575"/>
                    <a:gd name="T103" fmla="*/ 357 h 561"/>
                    <a:gd name="T104" fmla="*/ 210 w 575"/>
                    <a:gd name="T105" fmla="*/ 354 h 561"/>
                    <a:gd name="T106" fmla="*/ 230 w 575"/>
                    <a:gd name="T107" fmla="*/ 312 h 561"/>
                    <a:gd name="T108" fmla="*/ 297 w 575"/>
                    <a:gd name="T109" fmla="*/ 320 h 561"/>
                    <a:gd name="T110" fmla="*/ 270 w 575"/>
                    <a:gd name="T111" fmla="*/ 280 h 561"/>
                    <a:gd name="T112" fmla="*/ 220 w 575"/>
                    <a:gd name="T113" fmla="*/ 262 h 561"/>
                    <a:gd name="T114" fmla="*/ 162 w 575"/>
                    <a:gd name="T115" fmla="*/ 225 h 561"/>
                    <a:gd name="T116" fmla="*/ 131 w 575"/>
                    <a:gd name="T117" fmla="*/ 240 h 561"/>
                    <a:gd name="T118" fmla="*/ 105 w 575"/>
                    <a:gd name="T119" fmla="*/ 269 h 561"/>
                    <a:gd name="T120" fmla="*/ 76 w 575"/>
                    <a:gd name="T121" fmla="*/ 331 h 561"/>
                    <a:gd name="T122" fmla="*/ 46 w 575"/>
                    <a:gd name="T123" fmla="*/ 352 h 561"/>
                    <a:gd name="T124" fmla="*/ 10 w 575"/>
                    <a:gd name="T125" fmla="*/ 315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5" h="561">
                      <a:moveTo>
                        <a:pt x="0" y="280"/>
                      </a:moveTo>
                      <a:lnTo>
                        <a:pt x="3" y="275"/>
                      </a:lnTo>
                      <a:lnTo>
                        <a:pt x="16" y="285"/>
                      </a:lnTo>
                      <a:lnTo>
                        <a:pt x="21" y="282"/>
                      </a:lnTo>
                      <a:lnTo>
                        <a:pt x="23" y="275"/>
                      </a:lnTo>
                      <a:lnTo>
                        <a:pt x="29" y="271"/>
                      </a:lnTo>
                      <a:lnTo>
                        <a:pt x="33" y="274"/>
                      </a:lnTo>
                      <a:lnTo>
                        <a:pt x="39" y="286"/>
                      </a:lnTo>
                      <a:lnTo>
                        <a:pt x="46" y="288"/>
                      </a:lnTo>
                      <a:lnTo>
                        <a:pt x="50" y="283"/>
                      </a:lnTo>
                      <a:lnTo>
                        <a:pt x="53" y="291"/>
                      </a:lnTo>
                      <a:lnTo>
                        <a:pt x="55" y="292"/>
                      </a:lnTo>
                      <a:lnTo>
                        <a:pt x="61" y="289"/>
                      </a:lnTo>
                      <a:lnTo>
                        <a:pt x="59" y="285"/>
                      </a:lnTo>
                      <a:lnTo>
                        <a:pt x="64" y="280"/>
                      </a:lnTo>
                      <a:lnTo>
                        <a:pt x="62" y="275"/>
                      </a:lnTo>
                      <a:lnTo>
                        <a:pt x="65" y="271"/>
                      </a:lnTo>
                      <a:lnTo>
                        <a:pt x="65" y="266"/>
                      </a:lnTo>
                      <a:lnTo>
                        <a:pt x="67" y="262"/>
                      </a:lnTo>
                      <a:lnTo>
                        <a:pt x="64" y="255"/>
                      </a:lnTo>
                      <a:lnTo>
                        <a:pt x="53" y="252"/>
                      </a:lnTo>
                      <a:lnTo>
                        <a:pt x="52" y="249"/>
                      </a:lnTo>
                      <a:lnTo>
                        <a:pt x="56" y="238"/>
                      </a:lnTo>
                      <a:lnTo>
                        <a:pt x="59" y="206"/>
                      </a:lnTo>
                      <a:lnTo>
                        <a:pt x="70" y="205"/>
                      </a:lnTo>
                      <a:lnTo>
                        <a:pt x="72" y="203"/>
                      </a:lnTo>
                      <a:lnTo>
                        <a:pt x="73" y="203"/>
                      </a:lnTo>
                      <a:lnTo>
                        <a:pt x="73" y="198"/>
                      </a:lnTo>
                      <a:lnTo>
                        <a:pt x="76" y="195"/>
                      </a:lnTo>
                      <a:lnTo>
                        <a:pt x="75" y="191"/>
                      </a:lnTo>
                      <a:lnTo>
                        <a:pt x="73" y="178"/>
                      </a:lnTo>
                      <a:lnTo>
                        <a:pt x="78" y="174"/>
                      </a:lnTo>
                      <a:lnTo>
                        <a:pt x="81" y="163"/>
                      </a:lnTo>
                      <a:lnTo>
                        <a:pt x="84" y="163"/>
                      </a:lnTo>
                      <a:lnTo>
                        <a:pt x="90" y="168"/>
                      </a:lnTo>
                      <a:lnTo>
                        <a:pt x="104" y="182"/>
                      </a:lnTo>
                      <a:lnTo>
                        <a:pt x="122" y="185"/>
                      </a:lnTo>
                      <a:lnTo>
                        <a:pt x="131" y="185"/>
                      </a:lnTo>
                      <a:lnTo>
                        <a:pt x="142" y="180"/>
                      </a:lnTo>
                      <a:lnTo>
                        <a:pt x="145" y="183"/>
                      </a:lnTo>
                      <a:lnTo>
                        <a:pt x="156" y="185"/>
                      </a:lnTo>
                      <a:lnTo>
                        <a:pt x="161" y="171"/>
                      </a:lnTo>
                      <a:lnTo>
                        <a:pt x="165" y="171"/>
                      </a:lnTo>
                      <a:lnTo>
                        <a:pt x="170" y="165"/>
                      </a:lnTo>
                      <a:lnTo>
                        <a:pt x="174" y="162"/>
                      </a:lnTo>
                      <a:lnTo>
                        <a:pt x="174" y="155"/>
                      </a:lnTo>
                      <a:lnTo>
                        <a:pt x="179" y="148"/>
                      </a:lnTo>
                      <a:lnTo>
                        <a:pt x="184" y="135"/>
                      </a:lnTo>
                      <a:lnTo>
                        <a:pt x="187" y="131"/>
                      </a:lnTo>
                      <a:lnTo>
                        <a:pt x="191" y="129"/>
                      </a:lnTo>
                      <a:lnTo>
                        <a:pt x="190" y="115"/>
                      </a:lnTo>
                      <a:lnTo>
                        <a:pt x="193" y="100"/>
                      </a:lnTo>
                      <a:lnTo>
                        <a:pt x="191" y="92"/>
                      </a:lnTo>
                      <a:lnTo>
                        <a:pt x="196" y="86"/>
                      </a:lnTo>
                      <a:lnTo>
                        <a:pt x="202" y="83"/>
                      </a:lnTo>
                      <a:lnTo>
                        <a:pt x="199" y="80"/>
                      </a:lnTo>
                      <a:lnTo>
                        <a:pt x="191" y="77"/>
                      </a:lnTo>
                      <a:lnTo>
                        <a:pt x="191" y="75"/>
                      </a:lnTo>
                      <a:lnTo>
                        <a:pt x="211" y="57"/>
                      </a:lnTo>
                      <a:lnTo>
                        <a:pt x="219" y="52"/>
                      </a:lnTo>
                      <a:lnTo>
                        <a:pt x="227" y="39"/>
                      </a:lnTo>
                      <a:lnTo>
                        <a:pt x="236" y="29"/>
                      </a:lnTo>
                      <a:lnTo>
                        <a:pt x="251" y="8"/>
                      </a:lnTo>
                      <a:lnTo>
                        <a:pt x="254" y="5"/>
                      </a:lnTo>
                      <a:lnTo>
                        <a:pt x="256" y="2"/>
                      </a:lnTo>
                      <a:lnTo>
                        <a:pt x="257" y="0"/>
                      </a:lnTo>
                      <a:lnTo>
                        <a:pt x="257" y="3"/>
                      </a:lnTo>
                      <a:lnTo>
                        <a:pt x="259" y="0"/>
                      </a:lnTo>
                      <a:lnTo>
                        <a:pt x="259" y="0"/>
                      </a:lnTo>
                      <a:lnTo>
                        <a:pt x="262" y="2"/>
                      </a:lnTo>
                      <a:lnTo>
                        <a:pt x="263" y="3"/>
                      </a:lnTo>
                      <a:lnTo>
                        <a:pt x="268" y="2"/>
                      </a:lnTo>
                      <a:lnTo>
                        <a:pt x="270" y="3"/>
                      </a:lnTo>
                      <a:lnTo>
                        <a:pt x="279" y="22"/>
                      </a:lnTo>
                      <a:lnTo>
                        <a:pt x="283" y="22"/>
                      </a:lnTo>
                      <a:lnTo>
                        <a:pt x="293" y="28"/>
                      </a:lnTo>
                      <a:lnTo>
                        <a:pt x="303" y="28"/>
                      </a:lnTo>
                      <a:lnTo>
                        <a:pt x="308" y="35"/>
                      </a:lnTo>
                      <a:lnTo>
                        <a:pt x="316" y="39"/>
                      </a:lnTo>
                      <a:lnTo>
                        <a:pt x="326" y="46"/>
                      </a:lnTo>
                      <a:lnTo>
                        <a:pt x="328" y="52"/>
                      </a:lnTo>
                      <a:lnTo>
                        <a:pt x="334" y="59"/>
                      </a:lnTo>
                      <a:lnTo>
                        <a:pt x="336" y="65"/>
                      </a:lnTo>
                      <a:lnTo>
                        <a:pt x="345" y="65"/>
                      </a:lnTo>
                      <a:lnTo>
                        <a:pt x="351" y="72"/>
                      </a:lnTo>
                      <a:lnTo>
                        <a:pt x="352" y="80"/>
                      </a:lnTo>
                      <a:lnTo>
                        <a:pt x="351" y="82"/>
                      </a:lnTo>
                      <a:lnTo>
                        <a:pt x="349" y="86"/>
                      </a:lnTo>
                      <a:lnTo>
                        <a:pt x="345" y="89"/>
                      </a:lnTo>
                      <a:lnTo>
                        <a:pt x="343" y="92"/>
                      </a:lnTo>
                      <a:lnTo>
                        <a:pt x="345" y="94"/>
                      </a:lnTo>
                      <a:lnTo>
                        <a:pt x="348" y="108"/>
                      </a:lnTo>
                      <a:lnTo>
                        <a:pt x="351" y="114"/>
                      </a:lnTo>
                      <a:lnTo>
                        <a:pt x="352" y="128"/>
                      </a:lnTo>
                      <a:lnTo>
                        <a:pt x="352" y="140"/>
                      </a:lnTo>
                      <a:lnTo>
                        <a:pt x="357" y="160"/>
                      </a:lnTo>
                      <a:lnTo>
                        <a:pt x="371" y="169"/>
                      </a:lnTo>
                      <a:lnTo>
                        <a:pt x="366" y="172"/>
                      </a:lnTo>
                      <a:lnTo>
                        <a:pt x="366" y="178"/>
                      </a:lnTo>
                      <a:lnTo>
                        <a:pt x="372" y="183"/>
                      </a:lnTo>
                      <a:lnTo>
                        <a:pt x="378" y="175"/>
                      </a:lnTo>
                      <a:lnTo>
                        <a:pt x="383" y="178"/>
                      </a:lnTo>
                      <a:lnTo>
                        <a:pt x="388" y="183"/>
                      </a:lnTo>
                      <a:lnTo>
                        <a:pt x="392" y="194"/>
                      </a:lnTo>
                      <a:lnTo>
                        <a:pt x="395" y="195"/>
                      </a:lnTo>
                      <a:lnTo>
                        <a:pt x="395" y="202"/>
                      </a:lnTo>
                      <a:lnTo>
                        <a:pt x="405" y="208"/>
                      </a:lnTo>
                      <a:lnTo>
                        <a:pt x="414" y="209"/>
                      </a:lnTo>
                      <a:lnTo>
                        <a:pt x="415" y="214"/>
                      </a:lnTo>
                      <a:lnTo>
                        <a:pt x="417" y="211"/>
                      </a:lnTo>
                      <a:lnTo>
                        <a:pt x="418" y="212"/>
                      </a:lnTo>
                      <a:lnTo>
                        <a:pt x="420" y="211"/>
                      </a:lnTo>
                      <a:lnTo>
                        <a:pt x="421" y="214"/>
                      </a:lnTo>
                      <a:lnTo>
                        <a:pt x="418" y="215"/>
                      </a:lnTo>
                      <a:lnTo>
                        <a:pt x="421" y="218"/>
                      </a:lnTo>
                      <a:lnTo>
                        <a:pt x="420" y="220"/>
                      </a:lnTo>
                      <a:lnTo>
                        <a:pt x="420" y="222"/>
                      </a:lnTo>
                      <a:lnTo>
                        <a:pt x="425" y="226"/>
                      </a:lnTo>
                      <a:lnTo>
                        <a:pt x="428" y="228"/>
                      </a:lnTo>
                      <a:lnTo>
                        <a:pt x="429" y="231"/>
                      </a:lnTo>
                      <a:lnTo>
                        <a:pt x="446" y="234"/>
                      </a:lnTo>
                      <a:lnTo>
                        <a:pt x="448" y="235"/>
                      </a:lnTo>
                      <a:lnTo>
                        <a:pt x="451" y="232"/>
                      </a:lnTo>
                      <a:lnTo>
                        <a:pt x="471" y="240"/>
                      </a:lnTo>
                      <a:lnTo>
                        <a:pt x="484" y="240"/>
                      </a:lnTo>
                      <a:lnTo>
                        <a:pt x="489" y="243"/>
                      </a:lnTo>
                      <a:lnTo>
                        <a:pt x="492" y="243"/>
                      </a:lnTo>
                      <a:lnTo>
                        <a:pt x="515" y="254"/>
                      </a:lnTo>
                      <a:lnTo>
                        <a:pt x="520" y="255"/>
                      </a:lnTo>
                      <a:lnTo>
                        <a:pt x="537" y="268"/>
                      </a:lnTo>
                      <a:lnTo>
                        <a:pt x="543" y="269"/>
                      </a:lnTo>
                      <a:lnTo>
                        <a:pt x="558" y="278"/>
                      </a:lnTo>
                      <a:lnTo>
                        <a:pt x="558" y="283"/>
                      </a:lnTo>
                      <a:lnTo>
                        <a:pt x="553" y="288"/>
                      </a:lnTo>
                      <a:lnTo>
                        <a:pt x="563" y="291"/>
                      </a:lnTo>
                      <a:lnTo>
                        <a:pt x="569" y="297"/>
                      </a:lnTo>
                      <a:lnTo>
                        <a:pt x="575" y="300"/>
                      </a:lnTo>
                      <a:lnTo>
                        <a:pt x="575" y="300"/>
                      </a:lnTo>
                      <a:lnTo>
                        <a:pt x="573" y="309"/>
                      </a:lnTo>
                      <a:lnTo>
                        <a:pt x="570" y="315"/>
                      </a:lnTo>
                      <a:lnTo>
                        <a:pt x="566" y="322"/>
                      </a:lnTo>
                      <a:lnTo>
                        <a:pt x="561" y="322"/>
                      </a:lnTo>
                      <a:lnTo>
                        <a:pt x="560" y="325"/>
                      </a:lnTo>
                      <a:lnTo>
                        <a:pt x="550" y="317"/>
                      </a:lnTo>
                      <a:lnTo>
                        <a:pt x="543" y="323"/>
                      </a:lnTo>
                      <a:lnTo>
                        <a:pt x="541" y="320"/>
                      </a:lnTo>
                      <a:lnTo>
                        <a:pt x="535" y="318"/>
                      </a:lnTo>
                      <a:lnTo>
                        <a:pt x="529" y="326"/>
                      </a:lnTo>
                      <a:lnTo>
                        <a:pt x="514" y="323"/>
                      </a:lnTo>
                      <a:lnTo>
                        <a:pt x="495" y="325"/>
                      </a:lnTo>
                      <a:lnTo>
                        <a:pt x="495" y="331"/>
                      </a:lnTo>
                      <a:lnTo>
                        <a:pt x="501" y="331"/>
                      </a:lnTo>
                      <a:lnTo>
                        <a:pt x="504" y="334"/>
                      </a:lnTo>
                      <a:lnTo>
                        <a:pt x="504" y="338"/>
                      </a:lnTo>
                      <a:lnTo>
                        <a:pt x="489" y="343"/>
                      </a:lnTo>
                      <a:lnTo>
                        <a:pt x="489" y="348"/>
                      </a:lnTo>
                      <a:lnTo>
                        <a:pt x="472" y="358"/>
                      </a:lnTo>
                      <a:lnTo>
                        <a:pt x="472" y="369"/>
                      </a:lnTo>
                      <a:lnTo>
                        <a:pt x="467" y="378"/>
                      </a:lnTo>
                      <a:lnTo>
                        <a:pt x="463" y="377"/>
                      </a:lnTo>
                      <a:lnTo>
                        <a:pt x="461" y="380"/>
                      </a:lnTo>
                      <a:lnTo>
                        <a:pt x="458" y="378"/>
                      </a:lnTo>
                      <a:lnTo>
                        <a:pt x="455" y="383"/>
                      </a:lnTo>
                      <a:lnTo>
                        <a:pt x="460" y="389"/>
                      </a:lnTo>
                      <a:lnTo>
                        <a:pt x="463" y="389"/>
                      </a:lnTo>
                      <a:lnTo>
                        <a:pt x="472" y="392"/>
                      </a:lnTo>
                      <a:lnTo>
                        <a:pt x="489" y="403"/>
                      </a:lnTo>
                      <a:lnTo>
                        <a:pt x="490" y="411"/>
                      </a:lnTo>
                      <a:lnTo>
                        <a:pt x="480" y="411"/>
                      </a:lnTo>
                      <a:lnTo>
                        <a:pt x="477" y="414"/>
                      </a:lnTo>
                      <a:lnTo>
                        <a:pt x="471" y="414"/>
                      </a:lnTo>
                      <a:lnTo>
                        <a:pt x="469" y="417"/>
                      </a:lnTo>
                      <a:lnTo>
                        <a:pt x="471" y="426"/>
                      </a:lnTo>
                      <a:lnTo>
                        <a:pt x="467" y="428"/>
                      </a:lnTo>
                      <a:lnTo>
                        <a:pt x="466" y="434"/>
                      </a:lnTo>
                      <a:lnTo>
                        <a:pt x="448" y="438"/>
                      </a:lnTo>
                      <a:lnTo>
                        <a:pt x="441" y="449"/>
                      </a:lnTo>
                      <a:lnTo>
                        <a:pt x="437" y="471"/>
                      </a:lnTo>
                      <a:lnTo>
                        <a:pt x="428" y="474"/>
                      </a:lnTo>
                      <a:lnTo>
                        <a:pt x="426" y="480"/>
                      </a:lnTo>
                      <a:lnTo>
                        <a:pt x="441" y="488"/>
                      </a:lnTo>
                      <a:lnTo>
                        <a:pt x="434" y="534"/>
                      </a:lnTo>
                      <a:lnTo>
                        <a:pt x="431" y="535"/>
                      </a:lnTo>
                      <a:lnTo>
                        <a:pt x="420" y="529"/>
                      </a:lnTo>
                      <a:lnTo>
                        <a:pt x="409" y="525"/>
                      </a:lnTo>
                      <a:lnTo>
                        <a:pt x="386" y="548"/>
                      </a:lnTo>
                      <a:lnTo>
                        <a:pt x="382" y="561"/>
                      </a:lnTo>
                      <a:lnTo>
                        <a:pt x="382" y="561"/>
                      </a:lnTo>
                      <a:lnTo>
                        <a:pt x="369" y="560"/>
                      </a:lnTo>
                      <a:lnTo>
                        <a:pt x="362" y="558"/>
                      </a:lnTo>
                      <a:lnTo>
                        <a:pt x="342" y="541"/>
                      </a:lnTo>
                      <a:lnTo>
                        <a:pt x="317" y="529"/>
                      </a:lnTo>
                      <a:lnTo>
                        <a:pt x="293" y="506"/>
                      </a:lnTo>
                      <a:lnTo>
                        <a:pt x="273" y="503"/>
                      </a:lnTo>
                      <a:lnTo>
                        <a:pt x="266" y="498"/>
                      </a:lnTo>
                      <a:lnTo>
                        <a:pt x="263" y="492"/>
                      </a:lnTo>
                      <a:lnTo>
                        <a:pt x="270" y="475"/>
                      </a:lnTo>
                      <a:lnTo>
                        <a:pt x="270" y="468"/>
                      </a:lnTo>
                      <a:lnTo>
                        <a:pt x="266" y="463"/>
                      </a:lnTo>
                      <a:lnTo>
                        <a:pt x="257" y="457"/>
                      </a:lnTo>
                      <a:lnTo>
                        <a:pt x="230" y="451"/>
                      </a:lnTo>
                      <a:lnTo>
                        <a:pt x="219" y="446"/>
                      </a:lnTo>
                      <a:lnTo>
                        <a:pt x="205" y="426"/>
                      </a:lnTo>
                      <a:lnTo>
                        <a:pt x="196" y="403"/>
                      </a:lnTo>
                      <a:lnTo>
                        <a:pt x="196" y="385"/>
                      </a:lnTo>
                      <a:lnTo>
                        <a:pt x="184" y="375"/>
                      </a:lnTo>
                      <a:lnTo>
                        <a:pt x="179" y="366"/>
                      </a:lnTo>
                      <a:lnTo>
                        <a:pt x="179" y="357"/>
                      </a:lnTo>
                      <a:lnTo>
                        <a:pt x="182" y="352"/>
                      </a:lnTo>
                      <a:lnTo>
                        <a:pt x="193" y="352"/>
                      </a:lnTo>
                      <a:lnTo>
                        <a:pt x="204" y="355"/>
                      </a:lnTo>
                      <a:lnTo>
                        <a:pt x="210" y="354"/>
                      </a:lnTo>
                      <a:lnTo>
                        <a:pt x="214" y="351"/>
                      </a:lnTo>
                      <a:lnTo>
                        <a:pt x="219" y="345"/>
                      </a:lnTo>
                      <a:lnTo>
                        <a:pt x="220" y="322"/>
                      </a:lnTo>
                      <a:lnTo>
                        <a:pt x="230" y="312"/>
                      </a:lnTo>
                      <a:lnTo>
                        <a:pt x="247" y="312"/>
                      </a:lnTo>
                      <a:lnTo>
                        <a:pt x="273" y="331"/>
                      </a:lnTo>
                      <a:lnTo>
                        <a:pt x="280" y="329"/>
                      </a:lnTo>
                      <a:lnTo>
                        <a:pt x="297" y="320"/>
                      </a:lnTo>
                      <a:lnTo>
                        <a:pt x="300" y="314"/>
                      </a:lnTo>
                      <a:lnTo>
                        <a:pt x="297" y="305"/>
                      </a:lnTo>
                      <a:lnTo>
                        <a:pt x="279" y="283"/>
                      </a:lnTo>
                      <a:lnTo>
                        <a:pt x="270" y="280"/>
                      </a:lnTo>
                      <a:lnTo>
                        <a:pt x="263" y="274"/>
                      </a:lnTo>
                      <a:lnTo>
                        <a:pt x="245" y="275"/>
                      </a:lnTo>
                      <a:lnTo>
                        <a:pt x="237" y="272"/>
                      </a:lnTo>
                      <a:lnTo>
                        <a:pt x="220" y="262"/>
                      </a:lnTo>
                      <a:lnTo>
                        <a:pt x="210" y="246"/>
                      </a:lnTo>
                      <a:lnTo>
                        <a:pt x="185" y="220"/>
                      </a:lnTo>
                      <a:lnTo>
                        <a:pt x="177" y="218"/>
                      </a:lnTo>
                      <a:lnTo>
                        <a:pt x="162" y="225"/>
                      </a:lnTo>
                      <a:lnTo>
                        <a:pt x="158" y="234"/>
                      </a:lnTo>
                      <a:lnTo>
                        <a:pt x="151" y="238"/>
                      </a:lnTo>
                      <a:lnTo>
                        <a:pt x="145" y="240"/>
                      </a:lnTo>
                      <a:lnTo>
                        <a:pt x="131" y="240"/>
                      </a:lnTo>
                      <a:lnTo>
                        <a:pt x="121" y="248"/>
                      </a:lnTo>
                      <a:lnTo>
                        <a:pt x="118" y="252"/>
                      </a:lnTo>
                      <a:lnTo>
                        <a:pt x="116" y="262"/>
                      </a:lnTo>
                      <a:lnTo>
                        <a:pt x="105" y="269"/>
                      </a:lnTo>
                      <a:lnTo>
                        <a:pt x="104" y="280"/>
                      </a:lnTo>
                      <a:lnTo>
                        <a:pt x="101" y="288"/>
                      </a:lnTo>
                      <a:lnTo>
                        <a:pt x="92" y="302"/>
                      </a:lnTo>
                      <a:lnTo>
                        <a:pt x="76" y="331"/>
                      </a:lnTo>
                      <a:lnTo>
                        <a:pt x="70" y="351"/>
                      </a:lnTo>
                      <a:lnTo>
                        <a:pt x="67" y="352"/>
                      </a:lnTo>
                      <a:lnTo>
                        <a:pt x="55" y="355"/>
                      </a:lnTo>
                      <a:lnTo>
                        <a:pt x="46" y="352"/>
                      </a:lnTo>
                      <a:lnTo>
                        <a:pt x="29" y="342"/>
                      </a:lnTo>
                      <a:lnTo>
                        <a:pt x="26" y="335"/>
                      </a:lnTo>
                      <a:lnTo>
                        <a:pt x="24" y="323"/>
                      </a:lnTo>
                      <a:lnTo>
                        <a:pt x="10" y="315"/>
                      </a:lnTo>
                      <a:lnTo>
                        <a:pt x="7" y="302"/>
                      </a:lnTo>
                      <a:lnTo>
                        <a:pt x="7" y="288"/>
                      </a:lnTo>
                      <a:lnTo>
                        <a:pt x="0" y="280"/>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02" name="Maramures" descr="{&quot;Key&quot;:&quot;maramures&quot;,&quot;Name&quot;:&quot;Maramures&quot;,&quot;Value&quot;:1.0,&quot;Formula&quot;:&quot;&quot;,&quot;Text&quot;:&quot;1&quot;,&quot;OfficeApplication&quot;:0,&quot;HasValue&quot;:true}">
                  <a:extLst>
                    <a:ext uri="{FF2B5EF4-FFF2-40B4-BE49-F238E27FC236}">
                      <a16:creationId xmlns:a16="http://schemas.microsoft.com/office/drawing/2014/main" id="{7C275896-F2B5-766F-D3E1-B226D4DB9052}"/>
                    </a:ext>
                  </a:extLst>
                </p:cNvPr>
                <p:cNvSpPr>
                  <a:spLocks/>
                </p:cNvSpPr>
                <p:nvPr/>
              </p:nvSpPr>
              <p:spPr bwMode="auto">
                <a:xfrm>
                  <a:off x="4819650" y="1554163"/>
                  <a:ext cx="1320800" cy="646113"/>
                </a:xfrm>
                <a:custGeom>
                  <a:avLst/>
                  <a:gdLst>
                    <a:gd name="T0" fmla="*/ 265 w 832"/>
                    <a:gd name="T1" fmla="*/ 9 h 407"/>
                    <a:gd name="T2" fmla="*/ 302 w 832"/>
                    <a:gd name="T3" fmla="*/ 15 h 407"/>
                    <a:gd name="T4" fmla="*/ 336 w 832"/>
                    <a:gd name="T5" fmla="*/ 20 h 407"/>
                    <a:gd name="T6" fmla="*/ 388 w 832"/>
                    <a:gd name="T7" fmla="*/ 43 h 407"/>
                    <a:gd name="T8" fmla="*/ 425 w 832"/>
                    <a:gd name="T9" fmla="*/ 41 h 407"/>
                    <a:gd name="T10" fmla="*/ 480 w 832"/>
                    <a:gd name="T11" fmla="*/ 61 h 407"/>
                    <a:gd name="T12" fmla="*/ 540 w 832"/>
                    <a:gd name="T13" fmla="*/ 55 h 407"/>
                    <a:gd name="T14" fmla="*/ 568 w 832"/>
                    <a:gd name="T15" fmla="*/ 38 h 407"/>
                    <a:gd name="T16" fmla="*/ 615 w 832"/>
                    <a:gd name="T17" fmla="*/ 40 h 407"/>
                    <a:gd name="T18" fmla="*/ 643 w 832"/>
                    <a:gd name="T19" fmla="*/ 32 h 407"/>
                    <a:gd name="T20" fmla="*/ 671 w 832"/>
                    <a:gd name="T21" fmla="*/ 58 h 407"/>
                    <a:gd name="T22" fmla="*/ 690 w 832"/>
                    <a:gd name="T23" fmla="*/ 98 h 407"/>
                    <a:gd name="T24" fmla="*/ 717 w 832"/>
                    <a:gd name="T25" fmla="*/ 106 h 407"/>
                    <a:gd name="T26" fmla="*/ 744 w 832"/>
                    <a:gd name="T27" fmla="*/ 141 h 407"/>
                    <a:gd name="T28" fmla="*/ 787 w 832"/>
                    <a:gd name="T29" fmla="*/ 172 h 407"/>
                    <a:gd name="T30" fmla="*/ 801 w 832"/>
                    <a:gd name="T31" fmla="*/ 192 h 407"/>
                    <a:gd name="T32" fmla="*/ 795 w 832"/>
                    <a:gd name="T33" fmla="*/ 243 h 407"/>
                    <a:gd name="T34" fmla="*/ 752 w 832"/>
                    <a:gd name="T35" fmla="*/ 246 h 407"/>
                    <a:gd name="T36" fmla="*/ 732 w 832"/>
                    <a:gd name="T37" fmla="*/ 266 h 407"/>
                    <a:gd name="T38" fmla="*/ 686 w 832"/>
                    <a:gd name="T39" fmla="*/ 274 h 407"/>
                    <a:gd name="T40" fmla="*/ 649 w 832"/>
                    <a:gd name="T41" fmla="*/ 267 h 407"/>
                    <a:gd name="T42" fmla="*/ 618 w 832"/>
                    <a:gd name="T43" fmla="*/ 263 h 407"/>
                    <a:gd name="T44" fmla="*/ 572 w 832"/>
                    <a:gd name="T45" fmla="*/ 247 h 407"/>
                    <a:gd name="T46" fmla="*/ 522 w 832"/>
                    <a:gd name="T47" fmla="*/ 283 h 407"/>
                    <a:gd name="T48" fmla="*/ 508 w 832"/>
                    <a:gd name="T49" fmla="*/ 307 h 407"/>
                    <a:gd name="T50" fmla="*/ 470 w 832"/>
                    <a:gd name="T51" fmla="*/ 307 h 407"/>
                    <a:gd name="T52" fmla="*/ 445 w 832"/>
                    <a:gd name="T53" fmla="*/ 360 h 407"/>
                    <a:gd name="T54" fmla="*/ 420 w 832"/>
                    <a:gd name="T55" fmla="*/ 389 h 407"/>
                    <a:gd name="T56" fmla="*/ 390 w 832"/>
                    <a:gd name="T57" fmla="*/ 389 h 407"/>
                    <a:gd name="T58" fmla="*/ 354 w 832"/>
                    <a:gd name="T59" fmla="*/ 384 h 407"/>
                    <a:gd name="T60" fmla="*/ 335 w 832"/>
                    <a:gd name="T61" fmla="*/ 398 h 407"/>
                    <a:gd name="T62" fmla="*/ 296 w 832"/>
                    <a:gd name="T63" fmla="*/ 406 h 407"/>
                    <a:gd name="T64" fmla="*/ 282 w 832"/>
                    <a:gd name="T65" fmla="*/ 380 h 407"/>
                    <a:gd name="T66" fmla="*/ 238 w 832"/>
                    <a:gd name="T67" fmla="*/ 386 h 407"/>
                    <a:gd name="T68" fmla="*/ 187 w 832"/>
                    <a:gd name="T69" fmla="*/ 378 h 407"/>
                    <a:gd name="T70" fmla="*/ 153 w 832"/>
                    <a:gd name="T71" fmla="*/ 360 h 407"/>
                    <a:gd name="T72" fmla="*/ 127 w 832"/>
                    <a:gd name="T73" fmla="*/ 347 h 407"/>
                    <a:gd name="T74" fmla="*/ 100 w 832"/>
                    <a:gd name="T75" fmla="*/ 338 h 407"/>
                    <a:gd name="T76" fmla="*/ 77 w 832"/>
                    <a:gd name="T77" fmla="*/ 341 h 407"/>
                    <a:gd name="T78" fmla="*/ 45 w 832"/>
                    <a:gd name="T79" fmla="*/ 341 h 407"/>
                    <a:gd name="T80" fmla="*/ 0 w 832"/>
                    <a:gd name="T81" fmla="*/ 329 h 407"/>
                    <a:gd name="T82" fmla="*/ 18 w 832"/>
                    <a:gd name="T83" fmla="*/ 312 h 407"/>
                    <a:gd name="T84" fmla="*/ 35 w 832"/>
                    <a:gd name="T85" fmla="*/ 275 h 407"/>
                    <a:gd name="T86" fmla="*/ 95 w 832"/>
                    <a:gd name="T87" fmla="*/ 263 h 407"/>
                    <a:gd name="T88" fmla="*/ 130 w 832"/>
                    <a:gd name="T89" fmla="*/ 270 h 407"/>
                    <a:gd name="T90" fmla="*/ 132 w 832"/>
                    <a:gd name="T91" fmla="*/ 221 h 407"/>
                    <a:gd name="T92" fmla="*/ 164 w 832"/>
                    <a:gd name="T93" fmla="*/ 206 h 407"/>
                    <a:gd name="T94" fmla="*/ 155 w 832"/>
                    <a:gd name="T95" fmla="*/ 186 h 407"/>
                    <a:gd name="T96" fmla="*/ 130 w 832"/>
                    <a:gd name="T97" fmla="*/ 172 h 407"/>
                    <a:gd name="T98" fmla="*/ 107 w 832"/>
                    <a:gd name="T99" fmla="*/ 163 h 407"/>
                    <a:gd name="T100" fmla="*/ 127 w 832"/>
                    <a:gd name="T101" fmla="*/ 130 h 407"/>
                    <a:gd name="T102" fmla="*/ 170 w 832"/>
                    <a:gd name="T103" fmla="*/ 141 h 407"/>
                    <a:gd name="T104" fmla="*/ 195 w 832"/>
                    <a:gd name="T105" fmla="*/ 152 h 407"/>
                    <a:gd name="T106" fmla="*/ 238 w 832"/>
                    <a:gd name="T107" fmla="*/ 127 h 407"/>
                    <a:gd name="T108" fmla="*/ 256 w 832"/>
                    <a:gd name="T109" fmla="*/ 100 h 407"/>
                    <a:gd name="T110" fmla="*/ 269 w 832"/>
                    <a:gd name="T111" fmla="*/ 87 h 407"/>
                    <a:gd name="T112" fmla="*/ 246 w 832"/>
                    <a:gd name="T113" fmla="*/ 55 h 407"/>
                    <a:gd name="T114" fmla="*/ 213 w 832"/>
                    <a:gd name="T115" fmla="*/ 30 h 407"/>
                    <a:gd name="T116" fmla="*/ 230 w 832"/>
                    <a:gd name="T117" fmla="*/ 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32" h="407">
                      <a:moveTo>
                        <a:pt x="239" y="9"/>
                      </a:moveTo>
                      <a:lnTo>
                        <a:pt x="247" y="9"/>
                      </a:lnTo>
                      <a:lnTo>
                        <a:pt x="250" y="6"/>
                      </a:lnTo>
                      <a:lnTo>
                        <a:pt x="259" y="6"/>
                      </a:lnTo>
                      <a:lnTo>
                        <a:pt x="262" y="10"/>
                      </a:lnTo>
                      <a:lnTo>
                        <a:pt x="265" y="9"/>
                      </a:lnTo>
                      <a:lnTo>
                        <a:pt x="269" y="10"/>
                      </a:lnTo>
                      <a:lnTo>
                        <a:pt x="272" y="17"/>
                      </a:lnTo>
                      <a:lnTo>
                        <a:pt x="279" y="21"/>
                      </a:lnTo>
                      <a:lnTo>
                        <a:pt x="296" y="17"/>
                      </a:lnTo>
                      <a:lnTo>
                        <a:pt x="301" y="18"/>
                      </a:lnTo>
                      <a:lnTo>
                        <a:pt x="302" y="15"/>
                      </a:lnTo>
                      <a:lnTo>
                        <a:pt x="311" y="14"/>
                      </a:lnTo>
                      <a:lnTo>
                        <a:pt x="318" y="17"/>
                      </a:lnTo>
                      <a:lnTo>
                        <a:pt x="321" y="14"/>
                      </a:lnTo>
                      <a:lnTo>
                        <a:pt x="324" y="15"/>
                      </a:lnTo>
                      <a:lnTo>
                        <a:pt x="327" y="18"/>
                      </a:lnTo>
                      <a:lnTo>
                        <a:pt x="336" y="20"/>
                      </a:lnTo>
                      <a:lnTo>
                        <a:pt x="342" y="24"/>
                      </a:lnTo>
                      <a:lnTo>
                        <a:pt x="347" y="32"/>
                      </a:lnTo>
                      <a:lnTo>
                        <a:pt x="351" y="46"/>
                      </a:lnTo>
                      <a:lnTo>
                        <a:pt x="359" y="52"/>
                      </a:lnTo>
                      <a:lnTo>
                        <a:pt x="365" y="46"/>
                      </a:lnTo>
                      <a:lnTo>
                        <a:pt x="388" y="43"/>
                      </a:lnTo>
                      <a:lnTo>
                        <a:pt x="393" y="34"/>
                      </a:lnTo>
                      <a:lnTo>
                        <a:pt x="399" y="34"/>
                      </a:lnTo>
                      <a:lnTo>
                        <a:pt x="404" y="32"/>
                      </a:lnTo>
                      <a:lnTo>
                        <a:pt x="405" y="35"/>
                      </a:lnTo>
                      <a:lnTo>
                        <a:pt x="416" y="30"/>
                      </a:lnTo>
                      <a:lnTo>
                        <a:pt x="425" y="41"/>
                      </a:lnTo>
                      <a:lnTo>
                        <a:pt x="436" y="40"/>
                      </a:lnTo>
                      <a:lnTo>
                        <a:pt x="450" y="49"/>
                      </a:lnTo>
                      <a:lnTo>
                        <a:pt x="456" y="61"/>
                      </a:lnTo>
                      <a:lnTo>
                        <a:pt x="468" y="63"/>
                      </a:lnTo>
                      <a:lnTo>
                        <a:pt x="477" y="60"/>
                      </a:lnTo>
                      <a:lnTo>
                        <a:pt x="480" y="61"/>
                      </a:lnTo>
                      <a:lnTo>
                        <a:pt x="488" y="60"/>
                      </a:lnTo>
                      <a:lnTo>
                        <a:pt x="499" y="72"/>
                      </a:lnTo>
                      <a:lnTo>
                        <a:pt x="503" y="72"/>
                      </a:lnTo>
                      <a:lnTo>
                        <a:pt x="514" y="66"/>
                      </a:lnTo>
                      <a:lnTo>
                        <a:pt x="523" y="66"/>
                      </a:lnTo>
                      <a:lnTo>
                        <a:pt x="540" y="55"/>
                      </a:lnTo>
                      <a:lnTo>
                        <a:pt x="543" y="58"/>
                      </a:lnTo>
                      <a:lnTo>
                        <a:pt x="551" y="61"/>
                      </a:lnTo>
                      <a:lnTo>
                        <a:pt x="563" y="55"/>
                      </a:lnTo>
                      <a:lnTo>
                        <a:pt x="563" y="49"/>
                      </a:lnTo>
                      <a:lnTo>
                        <a:pt x="568" y="43"/>
                      </a:lnTo>
                      <a:lnTo>
                        <a:pt x="568" y="38"/>
                      </a:lnTo>
                      <a:lnTo>
                        <a:pt x="574" y="35"/>
                      </a:lnTo>
                      <a:lnTo>
                        <a:pt x="578" y="35"/>
                      </a:lnTo>
                      <a:lnTo>
                        <a:pt x="585" y="29"/>
                      </a:lnTo>
                      <a:lnTo>
                        <a:pt x="591" y="34"/>
                      </a:lnTo>
                      <a:lnTo>
                        <a:pt x="600" y="34"/>
                      </a:lnTo>
                      <a:lnTo>
                        <a:pt x="615" y="40"/>
                      </a:lnTo>
                      <a:lnTo>
                        <a:pt x="621" y="35"/>
                      </a:lnTo>
                      <a:lnTo>
                        <a:pt x="629" y="34"/>
                      </a:lnTo>
                      <a:lnTo>
                        <a:pt x="632" y="35"/>
                      </a:lnTo>
                      <a:lnTo>
                        <a:pt x="635" y="30"/>
                      </a:lnTo>
                      <a:lnTo>
                        <a:pt x="640" y="30"/>
                      </a:lnTo>
                      <a:lnTo>
                        <a:pt x="643" y="32"/>
                      </a:lnTo>
                      <a:lnTo>
                        <a:pt x="649" y="40"/>
                      </a:lnTo>
                      <a:lnTo>
                        <a:pt x="651" y="43"/>
                      </a:lnTo>
                      <a:lnTo>
                        <a:pt x="654" y="40"/>
                      </a:lnTo>
                      <a:lnTo>
                        <a:pt x="661" y="41"/>
                      </a:lnTo>
                      <a:lnTo>
                        <a:pt x="664" y="57"/>
                      </a:lnTo>
                      <a:lnTo>
                        <a:pt x="671" y="58"/>
                      </a:lnTo>
                      <a:lnTo>
                        <a:pt x="672" y="64"/>
                      </a:lnTo>
                      <a:lnTo>
                        <a:pt x="675" y="67"/>
                      </a:lnTo>
                      <a:lnTo>
                        <a:pt x="680" y="74"/>
                      </a:lnTo>
                      <a:lnTo>
                        <a:pt x="677" y="84"/>
                      </a:lnTo>
                      <a:lnTo>
                        <a:pt x="678" y="92"/>
                      </a:lnTo>
                      <a:lnTo>
                        <a:pt x="690" y="98"/>
                      </a:lnTo>
                      <a:lnTo>
                        <a:pt x="692" y="106"/>
                      </a:lnTo>
                      <a:lnTo>
                        <a:pt x="698" y="106"/>
                      </a:lnTo>
                      <a:lnTo>
                        <a:pt x="704" y="104"/>
                      </a:lnTo>
                      <a:lnTo>
                        <a:pt x="710" y="112"/>
                      </a:lnTo>
                      <a:lnTo>
                        <a:pt x="713" y="107"/>
                      </a:lnTo>
                      <a:lnTo>
                        <a:pt x="717" y="106"/>
                      </a:lnTo>
                      <a:lnTo>
                        <a:pt x="721" y="107"/>
                      </a:lnTo>
                      <a:lnTo>
                        <a:pt x="723" y="115"/>
                      </a:lnTo>
                      <a:lnTo>
                        <a:pt x="741" y="118"/>
                      </a:lnTo>
                      <a:lnTo>
                        <a:pt x="738" y="126"/>
                      </a:lnTo>
                      <a:lnTo>
                        <a:pt x="744" y="134"/>
                      </a:lnTo>
                      <a:lnTo>
                        <a:pt x="744" y="141"/>
                      </a:lnTo>
                      <a:lnTo>
                        <a:pt x="750" y="144"/>
                      </a:lnTo>
                      <a:lnTo>
                        <a:pt x="752" y="150"/>
                      </a:lnTo>
                      <a:lnTo>
                        <a:pt x="760" y="157"/>
                      </a:lnTo>
                      <a:lnTo>
                        <a:pt x="764" y="169"/>
                      </a:lnTo>
                      <a:lnTo>
                        <a:pt x="763" y="175"/>
                      </a:lnTo>
                      <a:lnTo>
                        <a:pt x="787" y="172"/>
                      </a:lnTo>
                      <a:lnTo>
                        <a:pt x="787" y="172"/>
                      </a:lnTo>
                      <a:lnTo>
                        <a:pt x="787" y="180"/>
                      </a:lnTo>
                      <a:lnTo>
                        <a:pt x="789" y="183"/>
                      </a:lnTo>
                      <a:lnTo>
                        <a:pt x="790" y="187"/>
                      </a:lnTo>
                      <a:lnTo>
                        <a:pt x="796" y="189"/>
                      </a:lnTo>
                      <a:lnTo>
                        <a:pt x="801" y="192"/>
                      </a:lnTo>
                      <a:lnTo>
                        <a:pt x="813" y="206"/>
                      </a:lnTo>
                      <a:lnTo>
                        <a:pt x="830" y="215"/>
                      </a:lnTo>
                      <a:lnTo>
                        <a:pt x="832" y="221"/>
                      </a:lnTo>
                      <a:lnTo>
                        <a:pt x="830" y="226"/>
                      </a:lnTo>
                      <a:lnTo>
                        <a:pt x="812" y="229"/>
                      </a:lnTo>
                      <a:lnTo>
                        <a:pt x="795" y="243"/>
                      </a:lnTo>
                      <a:lnTo>
                        <a:pt x="789" y="252"/>
                      </a:lnTo>
                      <a:lnTo>
                        <a:pt x="789" y="252"/>
                      </a:lnTo>
                      <a:lnTo>
                        <a:pt x="767" y="247"/>
                      </a:lnTo>
                      <a:lnTo>
                        <a:pt x="760" y="252"/>
                      </a:lnTo>
                      <a:lnTo>
                        <a:pt x="755" y="254"/>
                      </a:lnTo>
                      <a:lnTo>
                        <a:pt x="752" y="246"/>
                      </a:lnTo>
                      <a:lnTo>
                        <a:pt x="749" y="246"/>
                      </a:lnTo>
                      <a:lnTo>
                        <a:pt x="740" y="249"/>
                      </a:lnTo>
                      <a:lnTo>
                        <a:pt x="735" y="252"/>
                      </a:lnTo>
                      <a:lnTo>
                        <a:pt x="732" y="257"/>
                      </a:lnTo>
                      <a:lnTo>
                        <a:pt x="733" y="261"/>
                      </a:lnTo>
                      <a:lnTo>
                        <a:pt x="732" y="266"/>
                      </a:lnTo>
                      <a:lnTo>
                        <a:pt x="729" y="266"/>
                      </a:lnTo>
                      <a:lnTo>
                        <a:pt x="724" y="264"/>
                      </a:lnTo>
                      <a:lnTo>
                        <a:pt x="721" y="266"/>
                      </a:lnTo>
                      <a:lnTo>
                        <a:pt x="710" y="266"/>
                      </a:lnTo>
                      <a:lnTo>
                        <a:pt x="698" y="264"/>
                      </a:lnTo>
                      <a:lnTo>
                        <a:pt x="686" y="274"/>
                      </a:lnTo>
                      <a:lnTo>
                        <a:pt x="680" y="275"/>
                      </a:lnTo>
                      <a:lnTo>
                        <a:pt x="671" y="272"/>
                      </a:lnTo>
                      <a:lnTo>
                        <a:pt x="669" y="267"/>
                      </a:lnTo>
                      <a:lnTo>
                        <a:pt x="661" y="266"/>
                      </a:lnTo>
                      <a:lnTo>
                        <a:pt x="652" y="269"/>
                      </a:lnTo>
                      <a:lnTo>
                        <a:pt x="649" y="267"/>
                      </a:lnTo>
                      <a:lnTo>
                        <a:pt x="643" y="266"/>
                      </a:lnTo>
                      <a:lnTo>
                        <a:pt x="638" y="270"/>
                      </a:lnTo>
                      <a:lnTo>
                        <a:pt x="632" y="270"/>
                      </a:lnTo>
                      <a:lnTo>
                        <a:pt x="628" y="269"/>
                      </a:lnTo>
                      <a:lnTo>
                        <a:pt x="623" y="263"/>
                      </a:lnTo>
                      <a:lnTo>
                        <a:pt x="618" y="263"/>
                      </a:lnTo>
                      <a:lnTo>
                        <a:pt x="605" y="257"/>
                      </a:lnTo>
                      <a:lnTo>
                        <a:pt x="600" y="257"/>
                      </a:lnTo>
                      <a:lnTo>
                        <a:pt x="592" y="252"/>
                      </a:lnTo>
                      <a:lnTo>
                        <a:pt x="585" y="254"/>
                      </a:lnTo>
                      <a:lnTo>
                        <a:pt x="577" y="250"/>
                      </a:lnTo>
                      <a:lnTo>
                        <a:pt x="572" y="247"/>
                      </a:lnTo>
                      <a:lnTo>
                        <a:pt x="565" y="246"/>
                      </a:lnTo>
                      <a:lnTo>
                        <a:pt x="552" y="266"/>
                      </a:lnTo>
                      <a:lnTo>
                        <a:pt x="546" y="269"/>
                      </a:lnTo>
                      <a:lnTo>
                        <a:pt x="531" y="263"/>
                      </a:lnTo>
                      <a:lnTo>
                        <a:pt x="531" y="274"/>
                      </a:lnTo>
                      <a:lnTo>
                        <a:pt x="522" y="283"/>
                      </a:lnTo>
                      <a:lnTo>
                        <a:pt x="522" y="292"/>
                      </a:lnTo>
                      <a:lnTo>
                        <a:pt x="519" y="294"/>
                      </a:lnTo>
                      <a:lnTo>
                        <a:pt x="517" y="298"/>
                      </a:lnTo>
                      <a:lnTo>
                        <a:pt x="514" y="297"/>
                      </a:lnTo>
                      <a:lnTo>
                        <a:pt x="511" y="298"/>
                      </a:lnTo>
                      <a:lnTo>
                        <a:pt x="508" y="307"/>
                      </a:lnTo>
                      <a:lnTo>
                        <a:pt x="494" y="304"/>
                      </a:lnTo>
                      <a:lnTo>
                        <a:pt x="493" y="306"/>
                      </a:lnTo>
                      <a:lnTo>
                        <a:pt x="489" y="303"/>
                      </a:lnTo>
                      <a:lnTo>
                        <a:pt x="486" y="306"/>
                      </a:lnTo>
                      <a:lnTo>
                        <a:pt x="477" y="304"/>
                      </a:lnTo>
                      <a:lnTo>
                        <a:pt x="470" y="307"/>
                      </a:lnTo>
                      <a:lnTo>
                        <a:pt x="462" y="307"/>
                      </a:lnTo>
                      <a:lnTo>
                        <a:pt x="457" y="314"/>
                      </a:lnTo>
                      <a:lnTo>
                        <a:pt x="456" y="326"/>
                      </a:lnTo>
                      <a:lnTo>
                        <a:pt x="460" y="334"/>
                      </a:lnTo>
                      <a:lnTo>
                        <a:pt x="454" y="350"/>
                      </a:lnTo>
                      <a:lnTo>
                        <a:pt x="445" y="360"/>
                      </a:lnTo>
                      <a:lnTo>
                        <a:pt x="440" y="360"/>
                      </a:lnTo>
                      <a:lnTo>
                        <a:pt x="440" y="366"/>
                      </a:lnTo>
                      <a:lnTo>
                        <a:pt x="434" y="378"/>
                      </a:lnTo>
                      <a:lnTo>
                        <a:pt x="425" y="381"/>
                      </a:lnTo>
                      <a:lnTo>
                        <a:pt x="422" y="387"/>
                      </a:lnTo>
                      <a:lnTo>
                        <a:pt x="420" y="389"/>
                      </a:lnTo>
                      <a:lnTo>
                        <a:pt x="420" y="389"/>
                      </a:lnTo>
                      <a:lnTo>
                        <a:pt x="416" y="389"/>
                      </a:lnTo>
                      <a:lnTo>
                        <a:pt x="411" y="384"/>
                      </a:lnTo>
                      <a:lnTo>
                        <a:pt x="397" y="387"/>
                      </a:lnTo>
                      <a:lnTo>
                        <a:pt x="393" y="390"/>
                      </a:lnTo>
                      <a:lnTo>
                        <a:pt x="390" y="389"/>
                      </a:lnTo>
                      <a:lnTo>
                        <a:pt x="384" y="392"/>
                      </a:lnTo>
                      <a:lnTo>
                        <a:pt x="379" y="390"/>
                      </a:lnTo>
                      <a:lnTo>
                        <a:pt x="373" y="394"/>
                      </a:lnTo>
                      <a:lnTo>
                        <a:pt x="370" y="392"/>
                      </a:lnTo>
                      <a:lnTo>
                        <a:pt x="365" y="384"/>
                      </a:lnTo>
                      <a:lnTo>
                        <a:pt x="354" y="384"/>
                      </a:lnTo>
                      <a:lnTo>
                        <a:pt x="345" y="397"/>
                      </a:lnTo>
                      <a:lnTo>
                        <a:pt x="348" y="400"/>
                      </a:lnTo>
                      <a:lnTo>
                        <a:pt x="350" y="404"/>
                      </a:lnTo>
                      <a:lnTo>
                        <a:pt x="350" y="404"/>
                      </a:lnTo>
                      <a:lnTo>
                        <a:pt x="344" y="403"/>
                      </a:lnTo>
                      <a:lnTo>
                        <a:pt x="335" y="398"/>
                      </a:lnTo>
                      <a:lnTo>
                        <a:pt x="330" y="403"/>
                      </a:lnTo>
                      <a:lnTo>
                        <a:pt x="319" y="403"/>
                      </a:lnTo>
                      <a:lnTo>
                        <a:pt x="316" y="406"/>
                      </a:lnTo>
                      <a:lnTo>
                        <a:pt x="308" y="404"/>
                      </a:lnTo>
                      <a:lnTo>
                        <a:pt x="304" y="407"/>
                      </a:lnTo>
                      <a:lnTo>
                        <a:pt x="296" y="406"/>
                      </a:lnTo>
                      <a:lnTo>
                        <a:pt x="298" y="401"/>
                      </a:lnTo>
                      <a:lnTo>
                        <a:pt x="301" y="400"/>
                      </a:lnTo>
                      <a:lnTo>
                        <a:pt x="298" y="395"/>
                      </a:lnTo>
                      <a:lnTo>
                        <a:pt x="292" y="392"/>
                      </a:lnTo>
                      <a:lnTo>
                        <a:pt x="287" y="394"/>
                      </a:lnTo>
                      <a:lnTo>
                        <a:pt x="282" y="380"/>
                      </a:lnTo>
                      <a:lnTo>
                        <a:pt x="272" y="375"/>
                      </a:lnTo>
                      <a:lnTo>
                        <a:pt x="269" y="377"/>
                      </a:lnTo>
                      <a:lnTo>
                        <a:pt x="265" y="377"/>
                      </a:lnTo>
                      <a:lnTo>
                        <a:pt x="253" y="384"/>
                      </a:lnTo>
                      <a:lnTo>
                        <a:pt x="249" y="381"/>
                      </a:lnTo>
                      <a:lnTo>
                        <a:pt x="238" y="386"/>
                      </a:lnTo>
                      <a:lnTo>
                        <a:pt x="236" y="384"/>
                      </a:lnTo>
                      <a:lnTo>
                        <a:pt x="229" y="381"/>
                      </a:lnTo>
                      <a:lnTo>
                        <a:pt x="215" y="384"/>
                      </a:lnTo>
                      <a:lnTo>
                        <a:pt x="212" y="383"/>
                      </a:lnTo>
                      <a:lnTo>
                        <a:pt x="210" y="378"/>
                      </a:lnTo>
                      <a:lnTo>
                        <a:pt x="187" y="378"/>
                      </a:lnTo>
                      <a:lnTo>
                        <a:pt x="181" y="372"/>
                      </a:lnTo>
                      <a:lnTo>
                        <a:pt x="176" y="372"/>
                      </a:lnTo>
                      <a:lnTo>
                        <a:pt x="173" y="369"/>
                      </a:lnTo>
                      <a:lnTo>
                        <a:pt x="158" y="366"/>
                      </a:lnTo>
                      <a:lnTo>
                        <a:pt x="153" y="367"/>
                      </a:lnTo>
                      <a:lnTo>
                        <a:pt x="153" y="360"/>
                      </a:lnTo>
                      <a:lnTo>
                        <a:pt x="152" y="358"/>
                      </a:lnTo>
                      <a:lnTo>
                        <a:pt x="147" y="361"/>
                      </a:lnTo>
                      <a:lnTo>
                        <a:pt x="144" y="360"/>
                      </a:lnTo>
                      <a:lnTo>
                        <a:pt x="140" y="350"/>
                      </a:lnTo>
                      <a:lnTo>
                        <a:pt x="134" y="352"/>
                      </a:lnTo>
                      <a:lnTo>
                        <a:pt x="127" y="347"/>
                      </a:lnTo>
                      <a:lnTo>
                        <a:pt x="117" y="349"/>
                      </a:lnTo>
                      <a:lnTo>
                        <a:pt x="112" y="346"/>
                      </a:lnTo>
                      <a:lnTo>
                        <a:pt x="103" y="344"/>
                      </a:lnTo>
                      <a:lnTo>
                        <a:pt x="103" y="341"/>
                      </a:lnTo>
                      <a:lnTo>
                        <a:pt x="103" y="338"/>
                      </a:lnTo>
                      <a:lnTo>
                        <a:pt x="100" y="338"/>
                      </a:lnTo>
                      <a:lnTo>
                        <a:pt x="98" y="341"/>
                      </a:lnTo>
                      <a:lnTo>
                        <a:pt x="98" y="338"/>
                      </a:lnTo>
                      <a:lnTo>
                        <a:pt x="92" y="335"/>
                      </a:lnTo>
                      <a:lnTo>
                        <a:pt x="87" y="335"/>
                      </a:lnTo>
                      <a:lnTo>
                        <a:pt x="86" y="334"/>
                      </a:lnTo>
                      <a:lnTo>
                        <a:pt x="77" y="341"/>
                      </a:lnTo>
                      <a:lnTo>
                        <a:pt x="71" y="340"/>
                      </a:lnTo>
                      <a:lnTo>
                        <a:pt x="60" y="344"/>
                      </a:lnTo>
                      <a:lnTo>
                        <a:pt x="54" y="350"/>
                      </a:lnTo>
                      <a:lnTo>
                        <a:pt x="54" y="350"/>
                      </a:lnTo>
                      <a:lnTo>
                        <a:pt x="52" y="346"/>
                      </a:lnTo>
                      <a:lnTo>
                        <a:pt x="45" y="341"/>
                      </a:lnTo>
                      <a:lnTo>
                        <a:pt x="34" y="344"/>
                      </a:lnTo>
                      <a:lnTo>
                        <a:pt x="31" y="347"/>
                      </a:lnTo>
                      <a:lnTo>
                        <a:pt x="25" y="349"/>
                      </a:lnTo>
                      <a:lnTo>
                        <a:pt x="22" y="350"/>
                      </a:lnTo>
                      <a:lnTo>
                        <a:pt x="2" y="343"/>
                      </a:lnTo>
                      <a:lnTo>
                        <a:pt x="0" y="329"/>
                      </a:lnTo>
                      <a:lnTo>
                        <a:pt x="5" y="324"/>
                      </a:lnTo>
                      <a:lnTo>
                        <a:pt x="0" y="318"/>
                      </a:lnTo>
                      <a:lnTo>
                        <a:pt x="0" y="315"/>
                      </a:lnTo>
                      <a:lnTo>
                        <a:pt x="3" y="314"/>
                      </a:lnTo>
                      <a:lnTo>
                        <a:pt x="12" y="318"/>
                      </a:lnTo>
                      <a:lnTo>
                        <a:pt x="18" y="312"/>
                      </a:lnTo>
                      <a:lnTo>
                        <a:pt x="18" y="314"/>
                      </a:lnTo>
                      <a:lnTo>
                        <a:pt x="22" y="314"/>
                      </a:lnTo>
                      <a:lnTo>
                        <a:pt x="28" y="315"/>
                      </a:lnTo>
                      <a:lnTo>
                        <a:pt x="32" y="314"/>
                      </a:lnTo>
                      <a:lnTo>
                        <a:pt x="31" y="301"/>
                      </a:lnTo>
                      <a:lnTo>
                        <a:pt x="35" y="275"/>
                      </a:lnTo>
                      <a:lnTo>
                        <a:pt x="45" y="260"/>
                      </a:lnTo>
                      <a:lnTo>
                        <a:pt x="48" y="258"/>
                      </a:lnTo>
                      <a:lnTo>
                        <a:pt x="71" y="234"/>
                      </a:lnTo>
                      <a:lnTo>
                        <a:pt x="84" y="255"/>
                      </a:lnTo>
                      <a:lnTo>
                        <a:pt x="89" y="258"/>
                      </a:lnTo>
                      <a:lnTo>
                        <a:pt x="95" y="263"/>
                      </a:lnTo>
                      <a:lnTo>
                        <a:pt x="103" y="263"/>
                      </a:lnTo>
                      <a:lnTo>
                        <a:pt x="110" y="274"/>
                      </a:lnTo>
                      <a:lnTo>
                        <a:pt x="115" y="275"/>
                      </a:lnTo>
                      <a:lnTo>
                        <a:pt x="120" y="277"/>
                      </a:lnTo>
                      <a:lnTo>
                        <a:pt x="127" y="275"/>
                      </a:lnTo>
                      <a:lnTo>
                        <a:pt x="130" y="270"/>
                      </a:lnTo>
                      <a:lnTo>
                        <a:pt x="130" y="267"/>
                      </a:lnTo>
                      <a:lnTo>
                        <a:pt x="130" y="264"/>
                      </a:lnTo>
                      <a:lnTo>
                        <a:pt x="127" y="263"/>
                      </a:lnTo>
                      <a:lnTo>
                        <a:pt x="130" y="247"/>
                      </a:lnTo>
                      <a:lnTo>
                        <a:pt x="127" y="241"/>
                      </a:lnTo>
                      <a:lnTo>
                        <a:pt x="132" y="221"/>
                      </a:lnTo>
                      <a:lnTo>
                        <a:pt x="144" y="221"/>
                      </a:lnTo>
                      <a:lnTo>
                        <a:pt x="147" y="220"/>
                      </a:lnTo>
                      <a:lnTo>
                        <a:pt x="149" y="215"/>
                      </a:lnTo>
                      <a:lnTo>
                        <a:pt x="153" y="214"/>
                      </a:lnTo>
                      <a:lnTo>
                        <a:pt x="157" y="207"/>
                      </a:lnTo>
                      <a:lnTo>
                        <a:pt x="164" y="206"/>
                      </a:lnTo>
                      <a:lnTo>
                        <a:pt x="170" y="198"/>
                      </a:lnTo>
                      <a:lnTo>
                        <a:pt x="166" y="194"/>
                      </a:lnTo>
                      <a:lnTo>
                        <a:pt x="161" y="198"/>
                      </a:lnTo>
                      <a:lnTo>
                        <a:pt x="160" y="195"/>
                      </a:lnTo>
                      <a:lnTo>
                        <a:pt x="160" y="189"/>
                      </a:lnTo>
                      <a:lnTo>
                        <a:pt x="155" y="186"/>
                      </a:lnTo>
                      <a:lnTo>
                        <a:pt x="152" y="186"/>
                      </a:lnTo>
                      <a:lnTo>
                        <a:pt x="150" y="181"/>
                      </a:lnTo>
                      <a:lnTo>
                        <a:pt x="144" y="184"/>
                      </a:lnTo>
                      <a:lnTo>
                        <a:pt x="137" y="181"/>
                      </a:lnTo>
                      <a:lnTo>
                        <a:pt x="132" y="178"/>
                      </a:lnTo>
                      <a:lnTo>
                        <a:pt x="130" y="172"/>
                      </a:lnTo>
                      <a:lnTo>
                        <a:pt x="124" y="175"/>
                      </a:lnTo>
                      <a:lnTo>
                        <a:pt x="120" y="174"/>
                      </a:lnTo>
                      <a:lnTo>
                        <a:pt x="112" y="175"/>
                      </a:lnTo>
                      <a:lnTo>
                        <a:pt x="110" y="175"/>
                      </a:lnTo>
                      <a:lnTo>
                        <a:pt x="110" y="166"/>
                      </a:lnTo>
                      <a:lnTo>
                        <a:pt x="107" y="163"/>
                      </a:lnTo>
                      <a:lnTo>
                        <a:pt x="107" y="160"/>
                      </a:lnTo>
                      <a:lnTo>
                        <a:pt x="112" y="155"/>
                      </a:lnTo>
                      <a:lnTo>
                        <a:pt x="118" y="143"/>
                      </a:lnTo>
                      <a:lnTo>
                        <a:pt x="120" y="134"/>
                      </a:lnTo>
                      <a:lnTo>
                        <a:pt x="123" y="134"/>
                      </a:lnTo>
                      <a:lnTo>
                        <a:pt x="127" y="130"/>
                      </a:lnTo>
                      <a:lnTo>
                        <a:pt x="130" y="135"/>
                      </a:lnTo>
                      <a:lnTo>
                        <a:pt x="135" y="135"/>
                      </a:lnTo>
                      <a:lnTo>
                        <a:pt x="153" y="143"/>
                      </a:lnTo>
                      <a:lnTo>
                        <a:pt x="166" y="140"/>
                      </a:lnTo>
                      <a:lnTo>
                        <a:pt x="167" y="141"/>
                      </a:lnTo>
                      <a:lnTo>
                        <a:pt x="170" y="141"/>
                      </a:lnTo>
                      <a:lnTo>
                        <a:pt x="172" y="144"/>
                      </a:lnTo>
                      <a:lnTo>
                        <a:pt x="178" y="144"/>
                      </a:lnTo>
                      <a:lnTo>
                        <a:pt x="181" y="149"/>
                      </a:lnTo>
                      <a:lnTo>
                        <a:pt x="187" y="147"/>
                      </a:lnTo>
                      <a:lnTo>
                        <a:pt x="192" y="147"/>
                      </a:lnTo>
                      <a:lnTo>
                        <a:pt x="195" y="152"/>
                      </a:lnTo>
                      <a:lnTo>
                        <a:pt x="199" y="149"/>
                      </a:lnTo>
                      <a:lnTo>
                        <a:pt x="206" y="140"/>
                      </a:lnTo>
                      <a:lnTo>
                        <a:pt x="212" y="140"/>
                      </a:lnTo>
                      <a:lnTo>
                        <a:pt x="215" y="135"/>
                      </a:lnTo>
                      <a:lnTo>
                        <a:pt x="229" y="129"/>
                      </a:lnTo>
                      <a:lnTo>
                        <a:pt x="238" y="127"/>
                      </a:lnTo>
                      <a:lnTo>
                        <a:pt x="238" y="121"/>
                      </a:lnTo>
                      <a:lnTo>
                        <a:pt x="242" y="115"/>
                      </a:lnTo>
                      <a:lnTo>
                        <a:pt x="242" y="110"/>
                      </a:lnTo>
                      <a:lnTo>
                        <a:pt x="249" y="106"/>
                      </a:lnTo>
                      <a:lnTo>
                        <a:pt x="252" y="101"/>
                      </a:lnTo>
                      <a:lnTo>
                        <a:pt x="256" y="100"/>
                      </a:lnTo>
                      <a:lnTo>
                        <a:pt x="256" y="103"/>
                      </a:lnTo>
                      <a:lnTo>
                        <a:pt x="259" y="103"/>
                      </a:lnTo>
                      <a:lnTo>
                        <a:pt x="262" y="100"/>
                      </a:lnTo>
                      <a:lnTo>
                        <a:pt x="265" y="98"/>
                      </a:lnTo>
                      <a:lnTo>
                        <a:pt x="272" y="90"/>
                      </a:lnTo>
                      <a:lnTo>
                        <a:pt x="269" y="87"/>
                      </a:lnTo>
                      <a:lnTo>
                        <a:pt x="264" y="75"/>
                      </a:lnTo>
                      <a:lnTo>
                        <a:pt x="259" y="70"/>
                      </a:lnTo>
                      <a:lnTo>
                        <a:pt x="252" y="70"/>
                      </a:lnTo>
                      <a:lnTo>
                        <a:pt x="250" y="69"/>
                      </a:lnTo>
                      <a:lnTo>
                        <a:pt x="247" y="61"/>
                      </a:lnTo>
                      <a:lnTo>
                        <a:pt x="246" y="55"/>
                      </a:lnTo>
                      <a:lnTo>
                        <a:pt x="244" y="54"/>
                      </a:lnTo>
                      <a:lnTo>
                        <a:pt x="239" y="44"/>
                      </a:lnTo>
                      <a:lnTo>
                        <a:pt x="235" y="46"/>
                      </a:lnTo>
                      <a:lnTo>
                        <a:pt x="230" y="44"/>
                      </a:lnTo>
                      <a:lnTo>
                        <a:pt x="216" y="35"/>
                      </a:lnTo>
                      <a:lnTo>
                        <a:pt x="213" y="30"/>
                      </a:lnTo>
                      <a:lnTo>
                        <a:pt x="213" y="30"/>
                      </a:lnTo>
                      <a:lnTo>
                        <a:pt x="215" y="27"/>
                      </a:lnTo>
                      <a:lnTo>
                        <a:pt x="215" y="23"/>
                      </a:lnTo>
                      <a:lnTo>
                        <a:pt x="222" y="14"/>
                      </a:lnTo>
                      <a:lnTo>
                        <a:pt x="224" y="0"/>
                      </a:lnTo>
                      <a:lnTo>
                        <a:pt x="230" y="6"/>
                      </a:lnTo>
                      <a:lnTo>
                        <a:pt x="239" y="9"/>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03" name="Mures" descr="{&quot;Key&quot;:&quot;mures&quot;,&quot;Name&quot;:&quot;Mures&quot;,&quot;Value&quot;:1.0,&quot;Formula&quot;:&quot;&quot;,&quot;Text&quot;:&quot;1&quot;,&quot;OfficeApplication&quot;:0,&quot;HasValue&quot;:true}">
                  <a:extLst>
                    <a:ext uri="{FF2B5EF4-FFF2-40B4-BE49-F238E27FC236}">
                      <a16:creationId xmlns:a16="http://schemas.microsoft.com/office/drawing/2014/main" id="{081DDA50-4872-28B5-B7D4-BF56472C07BD}"/>
                    </a:ext>
                  </a:extLst>
                </p:cNvPr>
                <p:cNvSpPr>
                  <a:spLocks/>
                </p:cNvSpPr>
                <p:nvPr/>
              </p:nvSpPr>
              <p:spPr bwMode="auto">
                <a:xfrm>
                  <a:off x="5445125" y="2379663"/>
                  <a:ext cx="855663" cy="973138"/>
                </a:xfrm>
                <a:custGeom>
                  <a:avLst/>
                  <a:gdLst>
                    <a:gd name="T0" fmla="*/ 478 w 539"/>
                    <a:gd name="T1" fmla="*/ 7 h 613"/>
                    <a:gd name="T2" fmla="*/ 510 w 539"/>
                    <a:gd name="T3" fmla="*/ 29 h 613"/>
                    <a:gd name="T4" fmla="*/ 524 w 539"/>
                    <a:gd name="T5" fmla="*/ 100 h 613"/>
                    <a:gd name="T6" fmla="*/ 524 w 539"/>
                    <a:gd name="T7" fmla="*/ 129 h 613"/>
                    <a:gd name="T8" fmla="*/ 516 w 539"/>
                    <a:gd name="T9" fmla="*/ 172 h 613"/>
                    <a:gd name="T10" fmla="*/ 533 w 539"/>
                    <a:gd name="T11" fmla="*/ 215 h 613"/>
                    <a:gd name="T12" fmla="*/ 508 w 539"/>
                    <a:gd name="T13" fmla="*/ 281 h 613"/>
                    <a:gd name="T14" fmla="*/ 471 w 539"/>
                    <a:gd name="T15" fmla="*/ 329 h 613"/>
                    <a:gd name="T16" fmla="*/ 408 w 539"/>
                    <a:gd name="T17" fmla="*/ 369 h 613"/>
                    <a:gd name="T18" fmla="*/ 421 w 539"/>
                    <a:gd name="T19" fmla="*/ 384 h 613"/>
                    <a:gd name="T20" fmla="*/ 405 w 539"/>
                    <a:gd name="T21" fmla="*/ 435 h 613"/>
                    <a:gd name="T22" fmla="*/ 356 w 539"/>
                    <a:gd name="T23" fmla="*/ 438 h 613"/>
                    <a:gd name="T24" fmla="*/ 369 w 539"/>
                    <a:gd name="T25" fmla="*/ 466 h 613"/>
                    <a:gd name="T26" fmla="*/ 387 w 539"/>
                    <a:gd name="T27" fmla="*/ 500 h 613"/>
                    <a:gd name="T28" fmla="*/ 410 w 539"/>
                    <a:gd name="T29" fmla="*/ 515 h 613"/>
                    <a:gd name="T30" fmla="*/ 436 w 539"/>
                    <a:gd name="T31" fmla="*/ 516 h 613"/>
                    <a:gd name="T32" fmla="*/ 467 w 539"/>
                    <a:gd name="T33" fmla="*/ 549 h 613"/>
                    <a:gd name="T34" fmla="*/ 473 w 539"/>
                    <a:gd name="T35" fmla="*/ 570 h 613"/>
                    <a:gd name="T36" fmla="*/ 438 w 539"/>
                    <a:gd name="T37" fmla="*/ 578 h 613"/>
                    <a:gd name="T38" fmla="*/ 396 w 539"/>
                    <a:gd name="T39" fmla="*/ 595 h 613"/>
                    <a:gd name="T40" fmla="*/ 382 w 539"/>
                    <a:gd name="T41" fmla="*/ 610 h 613"/>
                    <a:gd name="T42" fmla="*/ 342 w 539"/>
                    <a:gd name="T43" fmla="*/ 603 h 613"/>
                    <a:gd name="T44" fmla="*/ 316 w 539"/>
                    <a:gd name="T45" fmla="*/ 609 h 613"/>
                    <a:gd name="T46" fmla="*/ 289 w 539"/>
                    <a:gd name="T47" fmla="*/ 604 h 613"/>
                    <a:gd name="T48" fmla="*/ 286 w 539"/>
                    <a:gd name="T49" fmla="*/ 578 h 613"/>
                    <a:gd name="T50" fmla="*/ 284 w 539"/>
                    <a:gd name="T51" fmla="*/ 530 h 613"/>
                    <a:gd name="T52" fmla="*/ 283 w 539"/>
                    <a:gd name="T53" fmla="*/ 500 h 613"/>
                    <a:gd name="T54" fmla="*/ 266 w 539"/>
                    <a:gd name="T55" fmla="*/ 509 h 613"/>
                    <a:gd name="T56" fmla="*/ 230 w 539"/>
                    <a:gd name="T57" fmla="*/ 509 h 613"/>
                    <a:gd name="T58" fmla="*/ 200 w 539"/>
                    <a:gd name="T59" fmla="*/ 507 h 613"/>
                    <a:gd name="T60" fmla="*/ 158 w 539"/>
                    <a:gd name="T61" fmla="*/ 512 h 613"/>
                    <a:gd name="T62" fmla="*/ 118 w 539"/>
                    <a:gd name="T63" fmla="*/ 518 h 613"/>
                    <a:gd name="T64" fmla="*/ 97 w 539"/>
                    <a:gd name="T65" fmla="*/ 498 h 613"/>
                    <a:gd name="T66" fmla="*/ 71 w 539"/>
                    <a:gd name="T67" fmla="*/ 466 h 613"/>
                    <a:gd name="T68" fmla="*/ 25 w 539"/>
                    <a:gd name="T69" fmla="*/ 452 h 613"/>
                    <a:gd name="T70" fmla="*/ 26 w 539"/>
                    <a:gd name="T71" fmla="*/ 426 h 613"/>
                    <a:gd name="T72" fmla="*/ 25 w 539"/>
                    <a:gd name="T73" fmla="*/ 395 h 613"/>
                    <a:gd name="T74" fmla="*/ 3 w 539"/>
                    <a:gd name="T75" fmla="*/ 395 h 613"/>
                    <a:gd name="T76" fmla="*/ 5 w 539"/>
                    <a:gd name="T77" fmla="*/ 366 h 613"/>
                    <a:gd name="T78" fmla="*/ 29 w 539"/>
                    <a:gd name="T79" fmla="*/ 350 h 613"/>
                    <a:gd name="T80" fmla="*/ 45 w 539"/>
                    <a:gd name="T81" fmla="*/ 309 h 613"/>
                    <a:gd name="T82" fmla="*/ 39 w 539"/>
                    <a:gd name="T83" fmla="*/ 283 h 613"/>
                    <a:gd name="T84" fmla="*/ 66 w 539"/>
                    <a:gd name="T85" fmla="*/ 255 h 613"/>
                    <a:gd name="T86" fmla="*/ 46 w 539"/>
                    <a:gd name="T87" fmla="*/ 229 h 613"/>
                    <a:gd name="T88" fmla="*/ 85 w 539"/>
                    <a:gd name="T89" fmla="*/ 207 h 613"/>
                    <a:gd name="T90" fmla="*/ 111 w 539"/>
                    <a:gd name="T91" fmla="*/ 206 h 613"/>
                    <a:gd name="T92" fmla="*/ 146 w 539"/>
                    <a:gd name="T93" fmla="*/ 224 h 613"/>
                    <a:gd name="T94" fmla="*/ 171 w 539"/>
                    <a:gd name="T95" fmla="*/ 220 h 613"/>
                    <a:gd name="T96" fmla="*/ 192 w 539"/>
                    <a:gd name="T97" fmla="*/ 213 h 613"/>
                    <a:gd name="T98" fmla="*/ 218 w 539"/>
                    <a:gd name="T99" fmla="*/ 173 h 613"/>
                    <a:gd name="T100" fmla="*/ 226 w 539"/>
                    <a:gd name="T101" fmla="*/ 141 h 613"/>
                    <a:gd name="T102" fmla="*/ 243 w 539"/>
                    <a:gd name="T103" fmla="*/ 132 h 613"/>
                    <a:gd name="T104" fmla="*/ 264 w 539"/>
                    <a:gd name="T105" fmla="*/ 107 h 613"/>
                    <a:gd name="T106" fmla="*/ 273 w 539"/>
                    <a:gd name="T107" fmla="*/ 121 h 613"/>
                    <a:gd name="T108" fmla="*/ 296 w 539"/>
                    <a:gd name="T109" fmla="*/ 138 h 613"/>
                    <a:gd name="T110" fmla="*/ 309 w 539"/>
                    <a:gd name="T111" fmla="*/ 110 h 613"/>
                    <a:gd name="T112" fmla="*/ 329 w 539"/>
                    <a:gd name="T113" fmla="*/ 72 h 613"/>
                    <a:gd name="T114" fmla="*/ 382 w 539"/>
                    <a:gd name="T115" fmla="*/ 21 h 613"/>
                    <a:gd name="T116" fmla="*/ 427 w 539"/>
                    <a:gd name="T117" fmla="*/ 12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9" h="613">
                      <a:moveTo>
                        <a:pt x="442" y="0"/>
                      </a:moveTo>
                      <a:lnTo>
                        <a:pt x="453" y="10"/>
                      </a:lnTo>
                      <a:lnTo>
                        <a:pt x="464" y="9"/>
                      </a:lnTo>
                      <a:lnTo>
                        <a:pt x="471" y="10"/>
                      </a:lnTo>
                      <a:lnTo>
                        <a:pt x="473" y="9"/>
                      </a:lnTo>
                      <a:lnTo>
                        <a:pt x="478" y="7"/>
                      </a:lnTo>
                      <a:lnTo>
                        <a:pt x="479" y="4"/>
                      </a:lnTo>
                      <a:lnTo>
                        <a:pt x="484" y="4"/>
                      </a:lnTo>
                      <a:lnTo>
                        <a:pt x="508" y="23"/>
                      </a:lnTo>
                      <a:lnTo>
                        <a:pt x="510" y="26"/>
                      </a:lnTo>
                      <a:lnTo>
                        <a:pt x="510" y="29"/>
                      </a:lnTo>
                      <a:lnTo>
                        <a:pt x="510" y="29"/>
                      </a:lnTo>
                      <a:lnTo>
                        <a:pt x="508" y="46"/>
                      </a:lnTo>
                      <a:lnTo>
                        <a:pt x="524" y="63"/>
                      </a:lnTo>
                      <a:lnTo>
                        <a:pt x="522" y="72"/>
                      </a:lnTo>
                      <a:lnTo>
                        <a:pt x="525" y="83"/>
                      </a:lnTo>
                      <a:lnTo>
                        <a:pt x="524" y="86"/>
                      </a:lnTo>
                      <a:lnTo>
                        <a:pt x="524" y="100"/>
                      </a:lnTo>
                      <a:lnTo>
                        <a:pt x="524" y="101"/>
                      </a:lnTo>
                      <a:lnTo>
                        <a:pt x="527" y="103"/>
                      </a:lnTo>
                      <a:lnTo>
                        <a:pt x="525" y="112"/>
                      </a:lnTo>
                      <a:lnTo>
                        <a:pt x="528" y="118"/>
                      </a:lnTo>
                      <a:lnTo>
                        <a:pt x="527" y="126"/>
                      </a:lnTo>
                      <a:lnTo>
                        <a:pt x="524" y="129"/>
                      </a:lnTo>
                      <a:lnTo>
                        <a:pt x="525" y="135"/>
                      </a:lnTo>
                      <a:lnTo>
                        <a:pt x="525" y="141"/>
                      </a:lnTo>
                      <a:lnTo>
                        <a:pt x="524" y="141"/>
                      </a:lnTo>
                      <a:lnTo>
                        <a:pt x="522" y="149"/>
                      </a:lnTo>
                      <a:lnTo>
                        <a:pt x="517" y="164"/>
                      </a:lnTo>
                      <a:lnTo>
                        <a:pt x="516" y="172"/>
                      </a:lnTo>
                      <a:lnTo>
                        <a:pt x="519" y="173"/>
                      </a:lnTo>
                      <a:lnTo>
                        <a:pt x="528" y="178"/>
                      </a:lnTo>
                      <a:lnTo>
                        <a:pt x="527" y="189"/>
                      </a:lnTo>
                      <a:lnTo>
                        <a:pt x="528" y="198"/>
                      </a:lnTo>
                      <a:lnTo>
                        <a:pt x="539" y="204"/>
                      </a:lnTo>
                      <a:lnTo>
                        <a:pt x="533" y="215"/>
                      </a:lnTo>
                      <a:lnTo>
                        <a:pt x="534" y="223"/>
                      </a:lnTo>
                      <a:lnTo>
                        <a:pt x="533" y="233"/>
                      </a:lnTo>
                      <a:lnTo>
                        <a:pt x="528" y="250"/>
                      </a:lnTo>
                      <a:lnTo>
                        <a:pt x="531" y="264"/>
                      </a:lnTo>
                      <a:lnTo>
                        <a:pt x="530" y="267"/>
                      </a:lnTo>
                      <a:lnTo>
                        <a:pt x="508" y="281"/>
                      </a:lnTo>
                      <a:lnTo>
                        <a:pt x="502" y="290"/>
                      </a:lnTo>
                      <a:lnTo>
                        <a:pt x="491" y="300"/>
                      </a:lnTo>
                      <a:lnTo>
                        <a:pt x="485" y="312"/>
                      </a:lnTo>
                      <a:lnTo>
                        <a:pt x="479" y="318"/>
                      </a:lnTo>
                      <a:lnTo>
                        <a:pt x="474" y="327"/>
                      </a:lnTo>
                      <a:lnTo>
                        <a:pt x="471" y="329"/>
                      </a:lnTo>
                      <a:lnTo>
                        <a:pt x="450" y="327"/>
                      </a:lnTo>
                      <a:lnTo>
                        <a:pt x="441" y="340"/>
                      </a:lnTo>
                      <a:lnTo>
                        <a:pt x="433" y="341"/>
                      </a:lnTo>
                      <a:lnTo>
                        <a:pt x="424" y="347"/>
                      </a:lnTo>
                      <a:lnTo>
                        <a:pt x="419" y="361"/>
                      </a:lnTo>
                      <a:lnTo>
                        <a:pt x="408" y="369"/>
                      </a:lnTo>
                      <a:lnTo>
                        <a:pt x="407" y="376"/>
                      </a:lnTo>
                      <a:lnTo>
                        <a:pt x="412" y="386"/>
                      </a:lnTo>
                      <a:lnTo>
                        <a:pt x="416" y="373"/>
                      </a:lnTo>
                      <a:lnTo>
                        <a:pt x="422" y="373"/>
                      </a:lnTo>
                      <a:lnTo>
                        <a:pt x="427" y="378"/>
                      </a:lnTo>
                      <a:lnTo>
                        <a:pt x="421" y="384"/>
                      </a:lnTo>
                      <a:lnTo>
                        <a:pt x="416" y="396"/>
                      </a:lnTo>
                      <a:lnTo>
                        <a:pt x="393" y="410"/>
                      </a:lnTo>
                      <a:lnTo>
                        <a:pt x="390" y="415"/>
                      </a:lnTo>
                      <a:lnTo>
                        <a:pt x="396" y="426"/>
                      </a:lnTo>
                      <a:lnTo>
                        <a:pt x="401" y="427"/>
                      </a:lnTo>
                      <a:lnTo>
                        <a:pt x="405" y="435"/>
                      </a:lnTo>
                      <a:lnTo>
                        <a:pt x="404" y="440"/>
                      </a:lnTo>
                      <a:lnTo>
                        <a:pt x="390" y="447"/>
                      </a:lnTo>
                      <a:lnTo>
                        <a:pt x="382" y="440"/>
                      </a:lnTo>
                      <a:lnTo>
                        <a:pt x="378" y="438"/>
                      </a:lnTo>
                      <a:lnTo>
                        <a:pt x="372" y="443"/>
                      </a:lnTo>
                      <a:lnTo>
                        <a:pt x="356" y="438"/>
                      </a:lnTo>
                      <a:lnTo>
                        <a:pt x="352" y="444"/>
                      </a:lnTo>
                      <a:lnTo>
                        <a:pt x="353" y="450"/>
                      </a:lnTo>
                      <a:lnTo>
                        <a:pt x="356" y="453"/>
                      </a:lnTo>
                      <a:lnTo>
                        <a:pt x="356" y="458"/>
                      </a:lnTo>
                      <a:lnTo>
                        <a:pt x="359" y="464"/>
                      </a:lnTo>
                      <a:lnTo>
                        <a:pt x="369" y="466"/>
                      </a:lnTo>
                      <a:lnTo>
                        <a:pt x="361" y="478"/>
                      </a:lnTo>
                      <a:lnTo>
                        <a:pt x="358" y="481"/>
                      </a:lnTo>
                      <a:lnTo>
                        <a:pt x="364" y="493"/>
                      </a:lnTo>
                      <a:lnTo>
                        <a:pt x="369" y="490"/>
                      </a:lnTo>
                      <a:lnTo>
                        <a:pt x="373" y="492"/>
                      </a:lnTo>
                      <a:lnTo>
                        <a:pt x="387" y="500"/>
                      </a:lnTo>
                      <a:lnTo>
                        <a:pt x="389" y="510"/>
                      </a:lnTo>
                      <a:lnTo>
                        <a:pt x="389" y="513"/>
                      </a:lnTo>
                      <a:lnTo>
                        <a:pt x="395" y="516"/>
                      </a:lnTo>
                      <a:lnTo>
                        <a:pt x="401" y="515"/>
                      </a:lnTo>
                      <a:lnTo>
                        <a:pt x="402" y="515"/>
                      </a:lnTo>
                      <a:lnTo>
                        <a:pt x="410" y="515"/>
                      </a:lnTo>
                      <a:lnTo>
                        <a:pt x="415" y="516"/>
                      </a:lnTo>
                      <a:lnTo>
                        <a:pt x="419" y="515"/>
                      </a:lnTo>
                      <a:lnTo>
                        <a:pt x="422" y="516"/>
                      </a:lnTo>
                      <a:lnTo>
                        <a:pt x="427" y="516"/>
                      </a:lnTo>
                      <a:lnTo>
                        <a:pt x="430" y="520"/>
                      </a:lnTo>
                      <a:lnTo>
                        <a:pt x="436" y="516"/>
                      </a:lnTo>
                      <a:lnTo>
                        <a:pt x="442" y="516"/>
                      </a:lnTo>
                      <a:lnTo>
                        <a:pt x="445" y="518"/>
                      </a:lnTo>
                      <a:lnTo>
                        <a:pt x="445" y="524"/>
                      </a:lnTo>
                      <a:lnTo>
                        <a:pt x="456" y="524"/>
                      </a:lnTo>
                      <a:lnTo>
                        <a:pt x="464" y="544"/>
                      </a:lnTo>
                      <a:lnTo>
                        <a:pt x="467" y="549"/>
                      </a:lnTo>
                      <a:lnTo>
                        <a:pt x="478" y="556"/>
                      </a:lnTo>
                      <a:lnTo>
                        <a:pt x="484" y="561"/>
                      </a:lnTo>
                      <a:lnTo>
                        <a:pt x="484" y="561"/>
                      </a:lnTo>
                      <a:lnTo>
                        <a:pt x="481" y="566"/>
                      </a:lnTo>
                      <a:lnTo>
                        <a:pt x="474" y="567"/>
                      </a:lnTo>
                      <a:lnTo>
                        <a:pt x="473" y="570"/>
                      </a:lnTo>
                      <a:lnTo>
                        <a:pt x="473" y="578"/>
                      </a:lnTo>
                      <a:lnTo>
                        <a:pt x="471" y="578"/>
                      </a:lnTo>
                      <a:lnTo>
                        <a:pt x="462" y="578"/>
                      </a:lnTo>
                      <a:lnTo>
                        <a:pt x="454" y="570"/>
                      </a:lnTo>
                      <a:lnTo>
                        <a:pt x="445" y="572"/>
                      </a:lnTo>
                      <a:lnTo>
                        <a:pt x="438" y="578"/>
                      </a:lnTo>
                      <a:lnTo>
                        <a:pt x="428" y="578"/>
                      </a:lnTo>
                      <a:lnTo>
                        <a:pt x="421" y="573"/>
                      </a:lnTo>
                      <a:lnTo>
                        <a:pt x="413" y="581"/>
                      </a:lnTo>
                      <a:lnTo>
                        <a:pt x="410" y="587"/>
                      </a:lnTo>
                      <a:lnTo>
                        <a:pt x="405" y="587"/>
                      </a:lnTo>
                      <a:lnTo>
                        <a:pt x="396" y="595"/>
                      </a:lnTo>
                      <a:lnTo>
                        <a:pt x="393" y="600"/>
                      </a:lnTo>
                      <a:lnTo>
                        <a:pt x="396" y="606"/>
                      </a:lnTo>
                      <a:lnTo>
                        <a:pt x="395" y="609"/>
                      </a:lnTo>
                      <a:lnTo>
                        <a:pt x="392" y="612"/>
                      </a:lnTo>
                      <a:lnTo>
                        <a:pt x="392" y="612"/>
                      </a:lnTo>
                      <a:lnTo>
                        <a:pt x="382" y="610"/>
                      </a:lnTo>
                      <a:lnTo>
                        <a:pt x="375" y="604"/>
                      </a:lnTo>
                      <a:lnTo>
                        <a:pt x="375" y="598"/>
                      </a:lnTo>
                      <a:lnTo>
                        <a:pt x="370" y="595"/>
                      </a:lnTo>
                      <a:lnTo>
                        <a:pt x="361" y="595"/>
                      </a:lnTo>
                      <a:lnTo>
                        <a:pt x="352" y="596"/>
                      </a:lnTo>
                      <a:lnTo>
                        <a:pt x="342" y="603"/>
                      </a:lnTo>
                      <a:lnTo>
                        <a:pt x="338" y="604"/>
                      </a:lnTo>
                      <a:lnTo>
                        <a:pt x="333" y="601"/>
                      </a:lnTo>
                      <a:lnTo>
                        <a:pt x="326" y="600"/>
                      </a:lnTo>
                      <a:lnTo>
                        <a:pt x="327" y="604"/>
                      </a:lnTo>
                      <a:lnTo>
                        <a:pt x="323" y="607"/>
                      </a:lnTo>
                      <a:lnTo>
                        <a:pt x="316" y="609"/>
                      </a:lnTo>
                      <a:lnTo>
                        <a:pt x="315" y="606"/>
                      </a:lnTo>
                      <a:lnTo>
                        <a:pt x="307" y="607"/>
                      </a:lnTo>
                      <a:lnTo>
                        <a:pt x="303" y="613"/>
                      </a:lnTo>
                      <a:lnTo>
                        <a:pt x="295" y="612"/>
                      </a:lnTo>
                      <a:lnTo>
                        <a:pt x="290" y="607"/>
                      </a:lnTo>
                      <a:lnTo>
                        <a:pt x="289" y="604"/>
                      </a:lnTo>
                      <a:lnTo>
                        <a:pt x="286" y="601"/>
                      </a:lnTo>
                      <a:lnTo>
                        <a:pt x="284" y="598"/>
                      </a:lnTo>
                      <a:lnTo>
                        <a:pt x="286" y="592"/>
                      </a:lnTo>
                      <a:lnTo>
                        <a:pt x="284" y="589"/>
                      </a:lnTo>
                      <a:lnTo>
                        <a:pt x="287" y="584"/>
                      </a:lnTo>
                      <a:lnTo>
                        <a:pt x="286" y="578"/>
                      </a:lnTo>
                      <a:lnTo>
                        <a:pt x="289" y="570"/>
                      </a:lnTo>
                      <a:lnTo>
                        <a:pt x="286" y="560"/>
                      </a:lnTo>
                      <a:lnTo>
                        <a:pt x="290" y="546"/>
                      </a:lnTo>
                      <a:lnTo>
                        <a:pt x="287" y="538"/>
                      </a:lnTo>
                      <a:lnTo>
                        <a:pt x="289" y="532"/>
                      </a:lnTo>
                      <a:lnTo>
                        <a:pt x="284" y="530"/>
                      </a:lnTo>
                      <a:lnTo>
                        <a:pt x="286" y="527"/>
                      </a:lnTo>
                      <a:lnTo>
                        <a:pt x="284" y="527"/>
                      </a:lnTo>
                      <a:lnTo>
                        <a:pt x="281" y="523"/>
                      </a:lnTo>
                      <a:lnTo>
                        <a:pt x="287" y="515"/>
                      </a:lnTo>
                      <a:lnTo>
                        <a:pt x="284" y="510"/>
                      </a:lnTo>
                      <a:lnTo>
                        <a:pt x="283" y="500"/>
                      </a:lnTo>
                      <a:lnTo>
                        <a:pt x="284" y="496"/>
                      </a:lnTo>
                      <a:lnTo>
                        <a:pt x="283" y="495"/>
                      </a:lnTo>
                      <a:lnTo>
                        <a:pt x="273" y="498"/>
                      </a:lnTo>
                      <a:lnTo>
                        <a:pt x="269" y="504"/>
                      </a:lnTo>
                      <a:lnTo>
                        <a:pt x="269" y="507"/>
                      </a:lnTo>
                      <a:lnTo>
                        <a:pt x="266" y="509"/>
                      </a:lnTo>
                      <a:lnTo>
                        <a:pt x="266" y="512"/>
                      </a:lnTo>
                      <a:lnTo>
                        <a:pt x="255" y="515"/>
                      </a:lnTo>
                      <a:lnTo>
                        <a:pt x="252" y="512"/>
                      </a:lnTo>
                      <a:lnTo>
                        <a:pt x="241" y="507"/>
                      </a:lnTo>
                      <a:lnTo>
                        <a:pt x="240" y="510"/>
                      </a:lnTo>
                      <a:lnTo>
                        <a:pt x="230" y="509"/>
                      </a:lnTo>
                      <a:lnTo>
                        <a:pt x="230" y="513"/>
                      </a:lnTo>
                      <a:lnTo>
                        <a:pt x="220" y="512"/>
                      </a:lnTo>
                      <a:lnTo>
                        <a:pt x="215" y="518"/>
                      </a:lnTo>
                      <a:lnTo>
                        <a:pt x="215" y="513"/>
                      </a:lnTo>
                      <a:lnTo>
                        <a:pt x="211" y="509"/>
                      </a:lnTo>
                      <a:lnTo>
                        <a:pt x="200" y="507"/>
                      </a:lnTo>
                      <a:lnTo>
                        <a:pt x="192" y="509"/>
                      </a:lnTo>
                      <a:lnTo>
                        <a:pt x="186" y="507"/>
                      </a:lnTo>
                      <a:lnTo>
                        <a:pt x="172" y="513"/>
                      </a:lnTo>
                      <a:lnTo>
                        <a:pt x="168" y="518"/>
                      </a:lnTo>
                      <a:lnTo>
                        <a:pt x="161" y="515"/>
                      </a:lnTo>
                      <a:lnTo>
                        <a:pt x="158" y="512"/>
                      </a:lnTo>
                      <a:lnTo>
                        <a:pt x="143" y="513"/>
                      </a:lnTo>
                      <a:lnTo>
                        <a:pt x="138" y="510"/>
                      </a:lnTo>
                      <a:lnTo>
                        <a:pt x="125" y="512"/>
                      </a:lnTo>
                      <a:lnTo>
                        <a:pt x="120" y="515"/>
                      </a:lnTo>
                      <a:lnTo>
                        <a:pt x="118" y="518"/>
                      </a:lnTo>
                      <a:lnTo>
                        <a:pt x="118" y="518"/>
                      </a:lnTo>
                      <a:lnTo>
                        <a:pt x="117" y="516"/>
                      </a:lnTo>
                      <a:lnTo>
                        <a:pt x="114" y="515"/>
                      </a:lnTo>
                      <a:lnTo>
                        <a:pt x="105" y="507"/>
                      </a:lnTo>
                      <a:lnTo>
                        <a:pt x="97" y="507"/>
                      </a:lnTo>
                      <a:lnTo>
                        <a:pt x="99" y="503"/>
                      </a:lnTo>
                      <a:lnTo>
                        <a:pt x="97" y="498"/>
                      </a:lnTo>
                      <a:lnTo>
                        <a:pt x="92" y="496"/>
                      </a:lnTo>
                      <a:lnTo>
                        <a:pt x="86" y="496"/>
                      </a:lnTo>
                      <a:lnTo>
                        <a:pt x="76" y="487"/>
                      </a:lnTo>
                      <a:lnTo>
                        <a:pt x="74" y="484"/>
                      </a:lnTo>
                      <a:lnTo>
                        <a:pt x="76" y="478"/>
                      </a:lnTo>
                      <a:lnTo>
                        <a:pt x="71" y="466"/>
                      </a:lnTo>
                      <a:lnTo>
                        <a:pt x="68" y="466"/>
                      </a:lnTo>
                      <a:lnTo>
                        <a:pt x="60" y="467"/>
                      </a:lnTo>
                      <a:lnTo>
                        <a:pt x="57" y="464"/>
                      </a:lnTo>
                      <a:lnTo>
                        <a:pt x="49" y="466"/>
                      </a:lnTo>
                      <a:lnTo>
                        <a:pt x="37" y="460"/>
                      </a:lnTo>
                      <a:lnTo>
                        <a:pt x="25" y="452"/>
                      </a:lnTo>
                      <a:lnTo>
                        <a:pt x="23" y="447"/>
                      </a:lnTo>
                      <a:lnTo>
                        <a:pt x="22" y="446"/>
                      </a:lnTo>
                      <a:lnTo>
                        <a:pt x="22" y="443"/>
                      </a:lnTo>
                      <a:lnTo>
                        <a:pt x="17" y="440"/>
                      </a:lnTo>
                      <a:lnTo>
                        <a:pt x="17" y="436"/>
                      </a:lnTo>
                      <a:lnTo>
                        <a:pt x="26" y="426"/>
                      </a:lnTo>
                      <a:lnTo>
                        <a:pt x="26" y="415"/>
                      </a:lnTo>
                      <a:lnTo>
                        <a:pt x="28" y="412"/>
                      </a:lnTo>
                      <a:lnTo>
                        <a:pt x="31" y="410"/>
                      </a:lnTo>
                      <a:lnTo>
                        <a:pt x="33" y="395"/>
                      </a:lnTo>
                      <a:lnTo>
                        <a:pt x="28" y="393"/>
                      </a:lnTo>
                      <a:lnTo>
                        <a:pt x="25" y="395"/>
                      </a:lnTo>
                      <a:lnTo>
                        <a:pt x="26" y="400"/>
                      </a:lnTo>
                      <a:lnTo>
                        <a:pt x="20" y="409"/>
                      </a:lnTo>
                      <a:lnTo>
                        <a:pt x="17" y="409"/>
                      </a:lnTo>
                      <a:lnTo>
                        <a:pt x="6" y="409"/>
                      </a:lnTo>
                      <a:lnTo>
                        <a:pt x="3" y="395"/>
                      </a:lnTo>
                      <a:lnTo>
                        <a:pt x="3" y="395"/>
                      </a:lnTo>
                      <a:lnTo>
                        <a:pt x="3" y="384"/>
                      </a:lnTo>
                      <a:lnTo>
                        <a:pt x="5" y="383"/>
                      </a:lnTo>
                      <a:lnTo>
                        <a:pt x="3" y="380"/>
                      </a:lnTo>
                      <a:lnTo>
                        <a:pt x="5" y="376"/>
                      </a:lnTo>
                      <a:lnTo>
                        <a:pt x="3" y="373"/>
                      </a:lnTo>
                      <a:lnTo>
                        <a:pt x="5" y="366"/>
                      </a:lnTo>
                      <a:lnTo>
                        <a:pt x="0" y="360"/>
                      </a:lnTo>
                      <a:lnTo>
                        <a:pt x="5" y="358"/>
                      </a:lnTo>
                      <a:lnTo>
                        <a:pt x="8" y="349"/>
                      </a:lnTo>
                      <a:lnTo>
                        <a:pt x="14" y="346"/>
                      </a:lnTo>
                      <a:lnTo>
                        <a:pt x="25" y="352"/>
                      </a:lnTo>
                      <a:lnTo>
                        <a:pt x="29" y="350"/>
                      </a:lnTo>
                      <a:lnTo>
                        <a:pt x="33" y="344"/>
                      </a:lnTo>
                      <a:lnTo>
                        <a:pt x="29" y="338"/>
                      </a:lnTo>
                      <a:lnTo>
                        <a:pt x="34" y="337"/>
                      </a:lnTo>
                      <a:lnTo>
                        <a:pt x="36" y="329"/>
                      </a:lnTo>
                      <a:lnTo>
                        <a:pt x="39" y="326"/>
                      </a:lnTo>
                      <a:lnTo>
                        <a:pt x="45" y="309"/>
                      </a:lnTo>
                      <a:lnTo>
                        <a:pt x="33" y="303"/>
                      </a:lnTo>
                      <a:lnTo>
                        <a:pt x="26" y="303"/>
                      </a:lnTo>
                      <a:lnTo>
                        <a:pt x="26" y="295"/>
                      </a:lnTo>
                      <a:lnTo>
                        <a:pt x="29" y="293"/>
                      </a:lnTo>
                      <a:lnTo>
                        <a:pt x="31" y="286"/>
                      </a:lnTo>
                      <a:lnTo>
                        <a:pt x="39" y="283"/>
                      </a:lnTo>
                      <a:lnTo>
                        <a:pt x="42" y="280"/>
                      </a:lnTo>
                      <a:lnTo>
                        <a:pt x="59" y="277"/>
                      </a:lnTo>
                      <a:lnTo>
                        <a:pt x="62" y="263"/>
                      </a:lnTo>
                      <a:lnTo>
                        <a:pt x="65" y="261"/>
                      </a:lnTo>
                      <a:lnTo>
                        <a:pt x="63" y="258"/>
                      </a:lnTo>
                      <a:lnTo>
                        <a:pt x="66" y="255"/>
                      </a:lnTo>
                      <a:lnTo>
                        <a:pt x="66" y="253"/>
                      </a:lnTo>
                      <a:lnTo>
                        <a:pt x="62" y="249"/>
                      </a:lnTo>
                      <a:lnTo>
                        <a:pt x="54" y="246"/>
                      </a:lnTo>
                      <a:lnTo>
                        <a:pt x="48" y="246"/>
                      </a:lnTo>
                      <a:lnTo>
                        <a:pt x="43" y="233"/>
                      </a:lnTo>
                      <a:lnTo>
                        <a:pt x="46" y="229"/>
                      </a:lnTo>
                      <a:lnTo>
                        <a:pt x="57" y="226"/>
                      </a:lnTo>
                      <a:lnTo>
                        <a:pt x="60" y="221"/>
                      </a:lnTo>
                      <a:lnTo>
                        <a:pt x="68" y="220"/>
                      </a:lnTo>
                      <a:lnTo>
                        <a:pt x="69" y="217"/>
                      </a:lnTo>
                      <a:lnTo>
                        <a:pt x="71" y="212"/>
                      </a:lnTo>
                      <a:lnTo>
                        <a:pt x="85" y="207"/>
                      </a:lnTo>
                      <a:lnTo>
                        <a:pt x="92" y="201"/>
                      </a:lnTo>
                      <a:lnTo>
                        <a:pt x="89" y="195"/>
                      </a:lnTo>
                      <a:lnTo>
                        <a:pt x="89" y="195"/>
                      </a:lnTo>
                      <a:lnTo>
                        <a:pt x="94" y="195"/>
                      </a:lnTo>
                      <a:lnTo>
                        <a:pt x="105" y="203"/>
                      </a:lnTo>
                      <a:lnTo>
                        <a:pt x="111" y="206"/>
                      </a:lnTo>
                      <a:lnTo>
                        <a:pt x="114" y="212"/>
                      </a:lnTo>
                      <a:lnTo>
                        <a:pt x="128" y="215"/>
                      </a:lnTo>
                      <a:lnTo>
                        <a:pt x="128" y="220"/>
                      </a:lnTo>
                      <a:lnTo>
                        <a:pt x="135" y="224"/>
                      </a:lnTo>
                      <a:lnTo>
                        <a:pt x="140" y="221"/>
                      </a:lnTo>
                      <a:lnTo>
                        <a:pt x="146" y="224"/>
                      </a:lnTo>
                      <a:lnTo>
                        <a:pt x="151" y="221"/>
                      </a:lnTo>
                      <a:lnTo>
                        <a:pt x="155" y="223"/>
                      </a:lnTo>
                      <a:lnTo>
                        <a:pt x="158" y="220"/>
                      </a:lnTo>
                      <a:lnTo>
                        <a:pt x="160" y="223"/>
                      </a:lnTo>
                      <a:lnTo>
                        <a:pt x="165" y="224"/>
                      </a:lnTo>
                      <a:lnTo>
                        <a:pt x="171" y="220"/>
                      </a:lnTo>
                      <a:lnTo>
                        <a:pt x="177" y="218"/>
                      </a:lnTo>
                      <a:lnTo>
                        <a:pt x="181" y="213"/>
                      </a:lnTo>
                      <a:lnTo>
                        <a:pt x="184" y="213"/>
                      </a:lnTo>
                      <a:lnTo>
                        <a:pt x="186" y="210"/>
                      </a:lnTo>
                      <a:lnTo>
                        <a:pt x="191" y="210"/>
                      </a:lnTo>
                      <a:lnTo>
                        <a:pt x="192" y="213"/>
                      </a:lnTo>
                      <a:lnTo>
                        <a:pt x="197" y="217"/>
                      </a:lnTo>
                      <a:lnTo>
                        <a:pt x="203" y="206"/>
                      </a:lnTo>
                      <a:lnTo>
                        <a:pt x="200" y="200"/>
                      </a:lnTo>
                      <a:lnTo>
                        <a:pt x="206" y="187"/>
                      </a:lnTo>
                      <a:lnTo>
                        <a:pt x="204" y="180"/>
                      </a:lnTo>
                      <a:lnTo>
                        <a:pt x="218" y="173"/>
                      </a:lnTo>
                      <a:lnTo>
                        <a:pt x="217" y="166"/>
                      </a:lnTo>
                      <a:lnTo>
                        <a:pt x="221" y="167"/>
                      </a:lnTo>
                      <a:lnTo>
                        <a:pt x="226" y="166"/>
                      </a:lnTo>
                      <a:lnTo>
                        <a:pt x="230" y="153"/>
                      </a:lnTo>
                      <a:lnTo>
                        <a:pt x="226" y="147"/>
                      </a:lnTo>
                      <a:lnTo>
                        <a:pt x="226" y="141"/>
                      </a:lnTo>
                      <a:lnTo>
                        <a:pt x="229" y="140"/>
                      </a:lnTo>
                      <a:lnTo>
                        <a:pt x="229" y="135"/>
                      </a:lnTo>
                      <a:lnTo>
                        <a:pt x="240" y="137"/>
                      </a:lnTo>
                      <a:lnTo>
                        <a:pt x="237" y="130"/>
                      </a:lnTo>
                      <a:lnTo>
                        <a:pt x="240" y="130"/>
                      </a:lnTo>
                      <a:lnTo>
                        <a:pt x="243" y="132"/>
                      </a:lnTo>
                      <a:lnTo>
                        <a:pt x="249" y="130"/>
                      </a:lnTo>
                      <a:lnTo>
                        <a:pt x="249" y="124"/>
                      </a:lnTo>
                      <a:lnTo>
                        <a:pt x="254" y="115"/>
                      </a:lnTo>
                      <a:lnTo>
                        <a:pt x="257" y="112"/>
                      </a:lnTo>
                      <a:lnTo>
                        <a:pt x="263" y="115"/>
                      </a:lnTo>
                      <a:lnTo>
                        <a:pt x="264" y="107"/>
                      </a:lnTo>
                      <a:lnTo>
                        <a:pt x="269" y="110"/>
                      </a:lnTo>
                      <a:lnTo>
                        <a:pt x="269" y="113"/>
                      </a:lnTo>
                      <a:lnTo>
                        <a:pt x="270" y="113"/>
                      </a:lnTo>
                      <a:lnTo>
                        <a:pt x="272" y="117"/>
                      </a:lnTo>
                      <a:lnTo>
                        <a:pt x="273" y="118"/>
                      </a:lnTo>
                      <a:lnTo>
                        <a:pt x="273" y="121"/>
                      </a:lnTo>
                      <a:lnTo>
                        <a:pt x="277" y="124"/>
                      </a:lnTo>
                      <a:lnTo>
                        <a:pt x="275" y="127"/>
                      </a:lnTo>
                      <a:lnTo>
                        <a:pt x="277" y="130"/>
                      </a:lnTo>
                      <a:lnTo>
                        <a:pt x="283" y="133"/>
                      </a:lnTo>
                      <a:lnTo>
                        <a:pt x="293" y="133"/>
                      </a:lnTo>
                      <a:lnTo>
                        <a:pt x="296" y="138"/>
                      </a:lnTo>
                      <a:lnTo>
                        <a:pt x="306" y="137"/>
                      </a:lnTo>
                      <a:lnTo>
                        <a:pt x="306" y="132"/>
                      </a:lnTo>
                      <a:lnTo>
                        <a:pt x="307" y="127"/>
                      </a:lnTo>
                      <a:lnTo>
                        <a:pt x="313" y="127"/>
                      </a:lnTo>
                      <a:lnTo>
                        <a:pt x="304" y="120"/>
                      </a:lnTo>
                      <a:lnTo>
                        <a:pt x="309" y="110"/>
                      </a:lnTo>
                      <a:lnTo>
                        <a:pt x="310" y="101"/>
                      </a:lnTo>
                      <a:lnTo>
                        <a:pt x="312" y="100"/>
                      </a:lnTo>
                      <a:lnTo>
                        <a:pt x="310" y="93"/>
                      </a:lnTo>
                      <a:lnTo>
                        <a:pt x="316" y="84"/>
                      </a:lnTo>
                      <a:lnTo>
                        <a:pt x="323" y="83"/>
                      </a:lnTo>
                      <a:lnTo>
                        <a:pt x="329" y="72"/>
                      </a:lnTo>
                      <a:lnTo>
                        <a:pt x="330" y="55"/>
                      </a:lnTo>
                      <a:lnTo>
                        <a:pt x="338" y="47"/>
                      </a:lnTo>
                      <a:lnTo>
                        <a:pt x="344" y="38"/>
                      </a:lnTo>
                      <a:lnTo>
                        <a:pt x="369" y="20"/>
                      </a:lnTo>
                      <a:lnTo>
                        <a:pt x="375" y="18"/>
                      </a:lnTo>
                      <a:lnTo>
                        <a:pt x="382" y="21"/>
                      </a:lnTo>
                      <a:lnTo>
                        <a:pt x="389" y="20"/>
                      </a:lnTo>
                      <a:lnTo>
                        <a:pt x="396" y="12"/>
                      </a:lnTo>
                      <a:lnTo>
                        <a:pt x="410" y="12"/>
                      </a:lnTo>
                      <a:lnTo>
                        <a:pt x="415" y="15"/>
                      </a:lnTo>
                      <a:lnTo>
                        <a:pt x="424" y="13"/>
                      </a:lnTo>
                      <a:lnTo>
                        <a:pt x="427" y="12"/>
                      </a:lnTo>
                      <a:lnTo>
                        <a:pt x="431" y="4"/>
                      </a:lnTo>
                      <a:lnTo>
                        <a:pt x="442" y="0"/>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04" name="Neamt" descr="{&quot;Key&quot;:&quot;neamt&quot;,&quot;Name&quot;:&quot;Neamt&quot;,&quot;Value&quot;:1.0,&quot;Formula&quot;:&quot;&quot;,&quot;Text&quot;:&quot;1&quot;,&quot;OfficeApplication&quot;:0,&quot;HasValue&quot;:true}">
                  <a:extLst>
                    <a:ext uri="{FF2B5EF4-FFF2-40B4-BE49-F238E27FC236}">
                      <a16:creationId xmlns:a16="http://schemas.microsoft.com/office/drawing/2014/main" id="{4B77B21A-7E31-B384-1F5F-2B9EE4DAE9DC}"/>
                    </a:ext>
                  </a:extLst>
                </p:cNvPr>
                <p:cNvSpPr>
                  <a:spLocks/>
                </p:cNvSpPr>
                <p:nvPr/>
              </p:nvSpPr>
              <p:spPr bwMode="auto">
                <a:xfrm>
                  <a:off x="6519863" y="2190751"/>
                  <a:ext cx="998538" cy="644525"/>
                </a:xfrm>
                <a:custGeom>
                  <a:avLst/>
                  <a:gdLst>
                    <a:gd name="T0" fmla="*/ 6 w 629"/>
                    <a:gd name="T1" fmla="*/ 123 h 406"/>
                    <a:gd name="T2" fmla="*/ 25 w 629"/>
                    <a:gd name="T3" fmla="*/ 97 h 406"/>
                    <a:gd name="T4" fmla="*/ 54 w 629"/>
                    <a:gd name="T5" fmla="*/ 69 h 406"/>
                    <a:gd name="T6" fmla="*/ 57 w 629"/>
                    <a:gd name="T7" fmla="*/ 37 h 406"/>
                    <a:gd name="T8" fmla="*/ 46 w 629"/>
                    <a:gd name="T9" fmla="*/ 11 h 406"/>
                    <a:gd name="T10" fmla="*/ 84 w 629"/>
                    <a:gd name="T11" fmla="*/ 29 h 406"/>
                    <a:gd name="T12" fmla="*/ 115 w 629"/>
                    <a:gd name="T13" fmla="*/ 34 h 406"/>
                    <a:gd name="T14" fmla="*/ 147 w 629"/>
                    <a:gd name="T15" fmla="*/ 31 h 406"/>
                    <a:gd name="T16" fmla="*/ 186 w 629"/>
                    <a:gd name="T17" fmla="*/ 25 h 406"/>
                    <a:gd name="T18" fmla="*/ 226 w 629"/>
                    <a:gd name="T19" fmla="*/ 29 h 406"/>
                    <a:gd name="T20" fmla="*/ 262 w 629"/>
                    <a:gd name="T21" fmla="*/ 22 h 406"/>
                    <a:gd name="T22" fmla="*/ 315 w 629"/>
                    <a:gd name="T23" fmla="*/ 22 h 406"/>
                    <a:gd name="T24" fmla="*/ 345 w 629"/>
                    <a:gd name="T25" fmla="*/ 49 h 406"/>
                    <a:gd name="T26" fmla="*/ 373 w 629"/>
                    <a:gd name="T27" fmla="*/ 76 h 406"/>
                    <a:gd name="T28" fmla="*/ 387 w 629"/>
                    <a:gd name="T29" fmla="*/ 116 h 406"/>
                    <a:gd name="T30" fmla="*/ 391 w 629"/>
                    <a:gd name="T31" fmla="*/ 148 h 406"/>
                    <a:gd name="T32" fmla="*/ 433 w 629"/>
                    <a:gd name="T33" fmla="*/ 137 h 406"/>
                    <a:gd name="T34" fmla="*/ 517 w 629"/>
                    <a:gd name="T35" fmla="*/ 172 h 406"/>
                    <a:gd name="T36" fmla="*/ 523 w 629"/>
                    <a:gd name="T37" fmla="*/ 154 h 406"/>
                    <a:gd name="T38" fmla="*/ 546 w 629"/>
                    <a:gd name="T39" fmla="*/ 172 h 406"/>
                    <a:gd name="T40" fmla="*/ 592 w 629"/>
                    <a:gd name="T41" fmla="*/ 151 h 406"/>
                    <a:gd name="T42" fmla="*/ 606 w 629"/>
                    <a:gd name="T43" fmla="*/ 171 h 406"/>
                    <a:gd name="T44" fmla="*/ 628 w 629"/>
                    <a:gd name="T45" fmla="*/ 194 h 406"/>
                    <a:gd name="T46" fmla="*/ 606 w 629"/>
                    <a:gd name="T47" fmla="*/ 199 h 406"/>
                    <a:gd name="T48" fmla="*/ 585 w 629"/>
                    <a:gd name="T49" fmla="*/ 222 h 406"/>
                    <a:gd name="T50" fmla="*/ 611 w 629"/>
                    <a:gd name="T51" fmla="*/ 268 h 406"/>
                    <a:gd name="T52" fmla="*/ 620 w 629"/>
                    <a:gd name="T53" fmla="*/ 305 h 406"/>
                    <a:gd name="T54" fmla="*/ 618 w 629"/>
                    <a:gd name="T55" fmla="*/ 332 h 406"/>
                    <a:gd name="T56" fmla="*/ 597 w 629"/>
                    <a:gd name="T57" fmla="*/ 351 h 406"/>
                    <a:gd name="T58" fmla="*/ 578 w 629"/>
                    <a:gd name="T59" fmla="*/ 345 h 406"/>
                    <a:gd name="T60" fmla="*/ 554 w 629"/>
                    <a:gd name="T61" fmla="*/ 339 h 406"/>
                    <a:gd name="T62" fmla="*/ 519 w 629"/>
                    <a:gd name="T63" fmla="*/ 342 h 406"/>
                    <a:gd name="T64" fmla="*/ 505 w 629"/>
                    <a:gd name="T65" fmla="*/ 325 h 406"/>
                    <a:gd name="T66" fmla="*/ 499 w 629"/>
                    <a:gd name="T67" fmla="*/ 322 h 406"/>
                    <a:gd name="T68" fmla="*/ 496 w 629"/>
                    <a:gd name="T69" fmla="*/ 312 h 406"/>
                    <a:gd name="T70" fmla="*/ 482 w 629"/>
                    <a:gd name="T71" fmla="*/ 297 h 406"/>
                    <a:gd name="T72" fmla="*/ 463 w 629"/>
                    <a:gd name="T73" fmla="*/ 340 h 406"/>
                    <a:gd name="T74" fmla="*/ 445 w 629"/>
                    <a:gd name="T75" fmla="*/ 357 h 406"/>
                    <a:gd name="T76" fmla="*/ 407 w 629"/>
                    <a:gd name="T77" fmla="*/ 334 h 406"/>
                    <a:gd name="T78" fmla="*/ 384 w 629"/>
                    <a:gd name="T79" fmla="*/ 365 h 406"/>
                    <a:gd name="T80" fmla="*/ 345 w 629"/>
                    <a:gd name="T81" fmla="*/ 377 h 406"/>
                    <a:gd name="T82" fmla="*/ 287 w 629"/>
                    <a:gd name="T83" fmla="*/ 402 h 406"/>
                    <a:gd name="T84" fmla="*/ 253 w 629"/>
                    <a:gd name="T85" fmla="*/ 399 h 406"/>
                    <a:gd name="T86" fmla="*/ 221 w 629"/>
                    <a:gd name="T87" fmla="*/ 391 h 406"/>
                    <a:gd name="T88" fmla="*/ 190 w 629"/>
                    <a:gd name="T89" fmla="*/ 397 h 406"/>
                    <a:gd name="T90" fmla="*/ 164 w 629"/>
                    <a:gd name="T91" fmla="*/ 380 h 406"/>
                    <a:gd name="T92" fmla="*/ 135 w 629"/>
                    <a:gd name="T93" fmla="*/ 371 h 406"/>
                    <a:gd name="T94" fmla="*/ 112 w 629"/>
                    <a:gd name="T95" fmla="*/ 374 h 406"/>
                    <a:gd name="T96" fmla="*/ 97 w 629"/>
                    <a:gd name="T97" fmla="*/ 391 h 406"/>
                    <a:gd name="T98" fmla="*/ 55 w 629"/>
                    <a:gd name="T99" fmla="*/ 365 h 406"/>
                    <a:gd name="T100" fmla="*/ 55 w 629"/>
                    <a:gd name="T101" fmla="*/ 351 h 406"/>
                    <a:gd name="T102" fmla="*/ 60 w 629"/>
                    <a:gd name="T103" fmla="*/ 303 h 406"/>
                    <a:gd name="T104" fmla="*/ 46 w 629"/>
                    <a:gd name="T105" fmla="*/ 286 h 406"/>
                    <a:gd name="T106" fmla="*/ 57 w 629"/>
                    <a:gd name="T107" fmla="*/ 248 h 406"/>
                    <a:gd name="T108" fmla="*/ 74 w 629"/>
                    <a:gd name="T109" fmla="*/ 228 h 406"/>
                    <a:gd name="T110" fmla="*/ 74 w 629"/>
                    <a:gd name="T111" fmla="*/ 214 h 406"/>
                    <a:gd name="T112" fmla="*/ 43 w 629"/>
                    <a:gd name="T113" fmla="*/ 191 h 406"/>
                    <a:gd name="T114" fmla="*/ 34 w 629"/>
                    <a:gd name="T115" fmla="*/ 169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9" h="406">
                      <a:moveTo>
                        <a:pt x="0" y="148"/>
                      </a:moveTo>
                      <a:lnTo>
                        <a:pt x="3" y="139"/>
                      </a:lnTo>
                      <a:lnTo>
                        <a:pt x="3" y="131"/>
                      </a:lnTo>
                      <a:lnTo>
                        <a:pt x="6" y="128"/>
                      </a:lnTo>
                      <a:lnTo>
                        <a:pt x="6" y="123"/>
                      </a:lnTo>
                      <a:lnTo>
                        <a:pt x="14" y="117"/>
                      </a:lnTo>
                      <a:lnTo>
                        <a:pt x="15" y="102"/>
                      </a:lnTo>
                      <a:lnTo>
                        <a:pt x="17" y="100"/>
                      </a:lnTo>
                      <a:lnTo>
                        <a:pt x="21" y="100"/>
                      </a:lnTo>
                      <a:lnTo>
                        <a:pt x="25" y="97"/>
                      </a:lnTo>
                      <a:lnTo>
                        <a:pt x="25" y="86"/>
                      </a:lnTo>
                      <a:lnTo>
                        <a:pt x="21" y="83"/>
                      </a:lnTo>
                      <a:lnTo>
                        <a:pt x="31" y="74"/>
                      </a:lnTo>
                      <a:lnTo>
                        <a:pt x="40" y="71"/>
                      </a:lnTo>
                      <a:lnTo>
                        <a:pt x="54" y="69"/>
                      </a:lnTo>
                      <a:lnTo>
                        <a:pt x="57" y="71"/>
                      </a:lnTo>
                      <a:lnTo>
                        <a:pt x="67" y="52"/>
                      </a:lnTo>
                      <a:lnTo>
                        <a:pt x="67" y="49"/>
                      </a:lnTo>
                      <a:lnTo>
                        <a:pt x="58" y="43"/>
                      </a:lnTo>
                      <a:lnTo>
                        <a:pt x="57" y="37"/>
                      </a:lnTo>
                      <a:lnTo>
                        <a:pt x="52" y="32"/>
                      </a:lnTo>
                      <a:lnTo>
                        <a:pt x="48" y="20"/>
                      </a:lnTo>
                      <a:lnTo>
                        <a:pt x="41" y="14"/>
                      </a:lnTo>
                      <a:lnTo>
                        <a:pt x="41" y="13"/>
                      </a:lnTo>
                      <a:lnTo>
                        <a:pt x="46" y="11"/>
                      </a:lnTo>
                      <a:lnTo>
                        <a:pt x="60" y="14"/>
                      </a:lnTo>
                      <a:lnTo>
                        <a:pt x="63" y="17"/>
                      </a:lnTo>
                      <a:lnTo>
                        <a:pt x="71" y="16"/>
                      </a:lnTo>
                      <a:lnTo>
                        <a:pt x="77" y="25"/>
                      </a:lnTo>
                      <a:lnTo>
                        <a:pt x="84" y="29"/>
                      </a:lnTo>
                      <a:lnTo>
                        <a:pt x="94" y="45"/>
                      </a:lnTo>
                      <a:lnTo>
                        <a:pt x="101" y="46"/>
                      </a:lnTo>
                      <a:lnTo>
                        <a:pt x="106" y="43"/>
                      </a:lnTo>
                      <a:lnTo>
                        <a:pt x="109" y="37"/>
                      </a:lnTo>
                      <a:lnTo>
                        <a:pt x="115" y="34"/>
                      </a:lnTo>
                      <a:lnTo>
                        <a:pt x="121" y="34"/>
                      </a:lnTo>
                      <a:lnTo>
                        <a:pt x="127" y="29"/>
                      </a:lnTo>
                      <a:lnTo>
                        <a:pt x="138" y="34"/>
                      </a:lnTo>
                      <a:lnTo>
                        <a:pt x="144" y="29"/>
                      </a:lnTo>
                      <a:lnTo>
                        <a:pt x="147" y="31"/>
                      </a:lnTo>
                      <a:lnTo>
                        <a:pt x="152" y="36"/>
                      </a:lnTo>
                      <a:lnTo>
                        <a:pt x="163" y="37"/>
                      </a:lnTo>
                      <a:lnTo>
                        <a:pt x="175" y="31"/>
                      </a:lnTo>
                      <a:lnTo>
                        <a:pt x="181" y="26"/>
                      </a:lnTo>
                      <a:lnTo>
                        <a:pt x="186" y="25"/>
                      </a:lnTo>
                      <a:lnTo>
                        <a:pt x="189" y="29"/>
                      </a:lnTo>
                      <a:lnTo>
                        <a:pt x="198" y="25"/>
                      </a:lnTo>
                      <a:lnTo>
                        <a:pt x="207" y="29"/>
                      </a:lnTo>
                      <a:lnTo>
                        <a:pt x="212" y="23"/>
                      </a:lnTo>
                      <a:lnTo>
                        <a:pt x="226" y="29"/>
                      </a:lnTo>
                      <a:lnTo>
                        <a:pt x="235" y="36"/>
                      </a:lnTo>
                      <a:lnTo>
                        <a:pt x="242" y="25"/>
                      </a:lnTo>
                      <a:lnTo>
                        <a:pt x="245" y="26"/>
                      </a:lnTo>
                      <a:lnTo>
                        <a:pt x="255" y="26"/>
                      </a:lnTo>
                      <a:lnTo>
                        <a:pt x="262" y="22"/>
                      </a:lnTo>
                      <a:lnTo>
                        <a:pt x="267" y="16"/>
                      </a:lnTo>
                      <a:lnTo>
                        <a:pt x="296" y="0"/>
                      </a:lnTo>
                      <a:lnTo>
                        <a:pt x="301" y="5"/>
                      </a:lnTo>
                      <a:lnTo>
                        <a:pt x="310" y="6"/>
                      </a:lnTo>
                      <a:lnTo>
                        <a:pt x="315" y="22"/>
                      </a:lnTo>
                      <a:lnTo>
                        <a:pt x="321" y="23"/>
                      </a:lnTo>
                      <a:lnTo>
                        <a:pt x="339" y="43"/>
                      </a:lnTo>
                      <a:lnTo>
                        <a:pt x="341" y="48"/>
                      </a:lnTo>
                      <a:lnTo>
                        <a:pt x="345" y="49"/>
                      </a:lnTo>
                      <a:lnTo>
                        <a:pt x="345" y="49"/>
                      </a:lnTo>
                      <a:lnTo>
                        <a:pt x="345" y="52"/>
                      </a:lnTo>
                      <a:lnTo>
                        <a:pt x="357" y="59"/>
                      </a:lnTo>
                      <a:lnTo>
                        <a:pt x="362" y="65"/>
                      </a:lnTo>
                      <a:lnTo>
                        <a:pt x="364" y="72"/>
                      </a:lnTo>
                      <a:lnTo>
                        <a:pt x="373" y="76"/>
                      </a:lnTo>
                      <a:lnTo>
                        <a:pt x="379" y="85"/>
                      </a:lnTo>
                      <a:lnTo>
                        <a:pt x="379" y="94"/>
                      </a:lnTo>
                      <a:lnTo>
                        <a:pt x="382" y="97"/>
                      </a:lnTo>
                      <a:lnTo>
                        <a:pt x="380" y="105"/>
                      </a:lnTo>
                      <a:lnTo>
                        <a:pt x="387" y="116"/>
                      </a:lnTo>
                      <a:lnTo>
                        <a:pt x="380" y="119"/>
                      </a:lnTo>
                      <a:lnTo>
                        <a:pt x="385" y="123"/>
                      </a:lnTo>
                      <a:lnTo>
                        <a:pt x="387" y="145"/>
                      </a:lnTo>
                      <a:lnTo>
                        <a:pt x="390" y="148"/>
                      </a:lnTo>
                      <a:lnTo>
                        <a:pt x="391" y="148"/>
                      </a:lnTo>
                      <a:lnTo>
                        <a:pt x="391" y="145"/>
                      </a:lnTo>
                      <a:lnTo>
                        <a:pt x="408" y="134"/>
                      </a:lnTo>
                      <a:lnTo>
                        <a:pt x="417" y="145"/>
                      </a:lnTo>
                      <a:lnTo>
                        <a:pt x="428" y="137"/>
                      </a:lnTo>
                      <a:lnTo>
                        <a:pt x="433" y="137"/>
                      </a:lnTo>
                      <a:lnTo>
                        <a:pt x="456" y="162"/>
                      </a:lnTo>
                      <a:lnTo>
                        <a:pt x="462" y="177"/>
                      </a:lnTo>
                      <a:lnTo>
                        <a:pt x="489" y="183"/>
                      </a:lnTo>
                      <a:lnTo>
                        <a:pt x="508" y="172"/>
                      </a:lnTo>
                      <a:lnTo>
                        <a:pt x="517" y="172"/>
                      </a:lnTo>
                      <a:lnTo>
                        <a:pt x="517" y="166"/>
                      </a:lnTo>
                      <a:lnTo>
                        <a:pt x="519" y="162"/>
                      </a:lnTo>
                      <a:lnTo>
                        <a:pt x="520" y="160"/>
                      </a:lnTo>
                      <a:lnTo>
                        <a:pt x="522" y="156"/>
                      </a:lnTo>
                      <a:lnTo>
                        <a:pt x="523" y="154"/>
                      </a:lnTo>
                      <a:lnTo>
                        <a:pt x="526" y="154"/>
                      </a:lnTo>
                      <a:lnTo>
                        <a:pt x="534" y="176"/>
                      </a:lnTo>
                      <a:lnTo>
                        <a:pt x="546" y="177"/>
                      </a:lnTo>
                      <a:lnTo>
                        <a:pt x="548" y="176"/>
                      </a:lnTo>
                      <a:lnTo>
                        <a:pt x="546" y="172"/>
                      </a:lnTo>
                      <a:lnTo>
                        <a:pt x="554" y="160"/>
                      </a:lnTo>
                      <a:lnTo>
                        <a:pt x="555" y="151"/>
                      </a:lnTo>
                      <a:lnTo>
                        <a:pt x="578" y="148"/>
                      </a:lnTo>
                      <a:lnTo>
                        <a:pt x="586" y="156"/>
                      </a:lnTo>
                      <a:lnTo>
                        <a:pt x="592" y="151"/>
                      </a:lnTo>
                      <a:lnTo>
                        <a:pt x="601" y="152"/>
                      </a:lnTo>
                      <a:lnTo>
                        <a:pt x="600" y="160"/>
                      </a:lnTo>
                      <a:lnTo>
                        <a:pt x="604" y="162"/>
                      </a:lnTo>
                      <a:lnTo>
                        <a:pt x="606" y="165"/>
                      </a:lnTo>
                      <a:lnTo>
                        <a:pt x="606" y="171"/>
                      </a:lnTo>
                      <a:lnTo>
                        <a:pt x="604" y="177"/>
                      </a:lnTo>
                      <a:lnTo>
                        <a:pt x="606" y="182"/>
                      </a:lnTo>
                      <a:lnTo>
                        <a:pt x="617" y="186"/>
                      </a:lnTo>
                      <a:lnTo>
                        <a:pt x="620" y="189"/>
                      </a:lnTo>
                      <a:lnTo>
                        <a:pt x="628" y="194"/>
                      </a:lnTo>
                      <a:lnTo>
                        <a:pt x="629" y="197"/>
                      </a:lnTo>
                      <a:lnTo>
                        <a:pt x="626" y="202"/>
                      </a:lnTo>
                      <a:lnTo>
                        <a:pt x="614" y="206"/>
                      </a:lnTo>
                      <a:lnTo>
                        <a:pt x="609" y="202"/>
                      </a:lnTo>
                      <a:lnTo>
                        <a:pt x="606" y="199"/>
                      </a:lnTo>
                      <a:lnTo>
                        <a:pt x="604" y="205"/>
                      </a:lnTo>
                      <a:lnTo>
                        <a:pt x="600" y="212"/>
                      </a:lnTo>
                      <a:lnTo>
                        <a:pt x="592" y="216"/>
                      </a:lnTo>
                      <a:lnTo>
                        <a:pt x="592" y="222"/>
                      </a:lnTo>
                      <a:lnTo>
                        <a:pt x="585" y="222"/>
                      </a:lnTo>
                      <a:lnTo>
                        <a:pt x="580" y="226"/>
                      </a:lnTo>
                      <a:lnTo>
                        <a:pt x="580" y="229"/>
                      </a:lnTo>
                      <a:lnTo>
                        <a:pt x="592" y="237"/>
                      </a:lnTo>
                      <a:lnTo>
                        <a:pt x="606" y="251"/>
                      </a:lnTo>
                      <a:lnTo>
                        <a:pt x="611" y="268"/>
                      </a:lnTo>
                      <a:lnTo>
                        <a:pt x="611" y="268"/>
                      </a:lnTo>
                      <a:lnTo>
                        <a:pt x="606" y="272"/>
                      </a:lnTo>
                      <a:lnTo>
                        <a:pt x="618" y="286"/>
                      </a:lnTo>
                      <a:lnTo>
                        <a:pt x="617" y="296"/>
                      </a:lnTo>
                      <a:lnTo>
                        <a:pt x="620" y="305"/>
                      </a:lnTo>
                      <a:lnTo>
                        <a:pt x="620" y="308"/>
                      </a:lnTo>
                      <a:lnTo>
                        <a:pt x="617" y="308"/>
                      </a:lnTo>
                      <a:lnTo>
                        <a:pt x="618" y="314"/>
                      </a:lnTo>
                      <a:lnTo>
                        <a:pt x="615" y="316"/>
                      </a:lnTo>
                      <a:lnTo>
                        <a:pt x="618" y="332"/>
                      </a:lnTo>
                      <a:lnTo>
                        <a:pt x="612" y="334"/>
                      </a:lnTo>
                      <a:lnTo>
                        <a:pt x="611" y="339"/>
                      </a:lnTo>
                      <a:lnTo>
                        <a:pt x="611" y="339"/>
                      </a:lnTo>
                      <a:lnTo>
                        <a:pt x="601" y="340"/>
                      </a:lnTo>
                      <a:lnTo>
                        <a:pt x="597" y="351"/>
                      </a:lnTo>
                      <a:lnTo>
                        <a:pt x="592" y="352"/>
                      </a:lnTo>
                      <a:lnTo>
                        <a:pt x="589" y="351"/>
                      </a:lnTo>
                      <a:lnTo>
                        <a:pt x="591" y="343"/>
                      </a:lnTo>
                      <a:lnTo>
                        <a:pt x="585" y="345"/>
                      </a:lnTo>
                      <a:lnTo>
                        <a:pt x="578" y="345"/>
                      </a:lnTo>
                      <a:lnTo>
                        <a:pt x="572" y="332"/>
                      </a:lnTo>
                      <a:lnTo>
                        <a:pt x="569" y="331"/>
                      </a:lnTo>
                      <a:lnTo>
                        <a:pt x="566" y="331"/>
                      </a:lnTo>
                      <a:lnTo>
                        <a:pt x="557" y="339"/>
                      </a:lnTo>
                      <a:lnTo>
                        <a:pt x="554" y="339"/>
                      </a:lnTo>
                      <a:lnTo>
                        <a:pt x="551" y="331"/>
                      </a:lnTo>
                      <a:lnTo>
                        <a:pt x="549" y="332"/>
                      </a:lnTo>
                      <a:lnTo>
                        <a:pt x="543" y="332"/>
                      </a:lnTo>
                      <a:lnTo>
                        <a:pt x="525" y="337"/>
                      </a:lnTo>
                      <a:lnTo>
                        <a:pt x="519" y="342"/>
                      </a:lnTo>
                      <a:lnTo>
                        <a:pt x="511" y="340"/>
                      </a:lnTo>
                      <a:lnTo>
                        <a:pt x="511" y="334"/>
                      </a:lnTo>
                      <a:lnTo>
                        <a:pt x="511" y="331"/>
                      </a:lnTo>
                      <a:lnTo>
                        <a:pt x="508" y="323"/>
                      </a:lnTo>
                      <a:lnTo>
                        <a:pt x="505" y="325"/>
                      </a:lnTo>
                      <a:lnTo>
                        <a:pt x="503" y="329"/>
                      </a:lnTo>
                      <a:lnTo>
                        <a:pt x="502" y="329"/>
                      </a:lnTo>
                      <a:lnTo>
                        <a:pt x="503" y="325"/>
                      </a:lnTo>
                      <a:lnTo>
                        <a:pt x="497" y="323"/>
                      </a:lnTo>
                      <a:lnTo>
                        <a:pt x="499" y="322"/>
                      </a:lnTo>
                      <a:lnTo>
                        <a:pt x="499" y="319"/>
                      </a:lnTo>
                      <a:lnTo>
                        <a:pt x="491" y="317"/>
                      </a:lnTo>
                      <a:lnTo>
                        <a:pt x="491" y="316"/>
                      </a:lnTo>
                      <a:lnTo>
                        <a:pt x="497" y="316"/>
                      </a:lnTo>
                      <a:lnTo>
                        <a:pt x="496" y="312"/>
                      </a:lnTo>
                      <a:lnTo>
                        <a:pt x="499" y="311"/>
                      </a:lnTo>
                      <a:lnTo>
                        <a:pt x="499" y="303"/>
                      </a:lnTo>
                      <a:lnTo>
                        <a:pt x="494" y="303"/>
                      </a:lnTo>
                      <a:lnTo>
                        <a:pt x="496" y="299"/>
                      </a:lnTo>
                      <a:lnTo>
                        <a:pt x="482" y="297"/>
                      </a:lnTo>
                      <a:lnTo>
                        <a:pt x="480" y="309"/>
                      </a:lnTo>
                      <a:lnTo>
                        <a:pt x="474" y="314"/>
                      </a:lnTo>
                      <a:lnTo>
                        <a:pt x="473" y="328"/>
                      </a:lnTo>
                      <a:lnTo>
                        <a:pt x="460" y="336"/>
                      </a:lnTo>
                      <a:lnTo>
                        <a:pt x="463" y="340"/>
                      </a:lnTo>
                      <a:lnTo>
                        <a:pt x="459" y="343"/>
                      </a:lnTo>
                      <a:lnTo>
                        <a:pt x="462" y="348"/>
                      </a:lnTo>
                      <a:lnTo>
                        <a:pt x="457" y="352"/>
                      </a:lnTo>
                      <a:lnTo>
                        <a:pt x="450" y="356"/>
                      </a:lnTo>
                      <a:lnTo>
                        <a:pt x="445" y="357"/>
                      </a:lnTo>
                      <a:lnTo>
                        <a:pt x="439" y="342"/>
                      </a:lnTo>
                      <a:lnTo>
                        <a:pt x="430" y="326"/>
                      </a:lnTo>
                      <a:lnTo>
                        <a:pt x="427" y="328"/>
                      </a:lnTo>
                      <a:lnTo>
                        <a:pt x="427" y="336"/>
                      </a:lnTo>
                      <a:lnTo>
                        <a:pt x="407" y="334"/>
                      </a:lnTo>
                      <a:lnTo>
                        <a:pt x="403" y="337"/>
                      </a:lnTo>
                      <a:lnTo>
                        <a:pt x="405" y="348"/>
                      </a:lnTo>
                      <a:lnTo>
                        <a:pt x="402" y="354"/>
                      </a:lnTo>
                      <a:lnTo>
                        <a:pt x="390" y="363"/>
                      </a:lnTo>
                      <a:lnTo>
                        <a:pt x="384" y="365"/>
                      </a:lnTo>
                      <a:lnTo>
                        <a:pt x="374" y="371"/>
                      </a:lnTo>
                      <a:lnTo>
                        <a:pt x="367" y="382"/>
                      </a:lnTo>
                      <a:lnTo>
                        <a:pt x="364" y="385"/>
                      </a:lnTo>
                      <a:lnTo>
                        <a:pt x="357" y="391"/>
                      </a:lnTo>
                      <a:lnTo>
                        <a:pt x="345" y="377"/>
                      </a:lnTo>
                      <a:lnTo>
                        <a:pt x="336" y="376"/>
                      </a:lnTo>
                      <a:lnTo>
                        <a:pt x="330" y="385"/>
                      </a:lnTo>
                      <a:lnTo>
                        <a:pt x="322" y="386"/>
                      </a:lnTo>
                      <a:lnTo>
                        <a:pt x="308" y="385"/>
                      </a:lnTo>
                      <a:lnTo>
                        <a:pt x="287" y="402"/>
                      </a:lnTo>
                      <a:lnTo>
                        <a:pt x="278" y="406"/>
                      </a:lnTo>
                      <a:lnTo>
                        <a:pt x="273" y="406"/>
                      </a:lnTo>
                      <a:lnTo>
                        <a:pt x="268" y="403"/>
                      </a:lnTo>
                      <a:lnTo>
                        <a:pt x="262" y="403"/>
                      </a:lnTo>
                      <a:lnTo>
                        <a:pt x="253" y="399"/>
                      </a:lnTo>
                      <a:lnTo>
                        <a:pt x="247" y="383"/>
                      </a:lnTo>
                      <a:lnTo>
                        <a:pt x="239" y="377"/>
                      </a:lnTo>
                      <a:lnTo>
                        <a:pt x="241" y="371"/>
                      </a:lnTo>
                      <a:lnTo>
                        <a:pt x="229" y="379"/>
                      </a:lnTo>
                      <a:lnTo>
                        <a:pt x="221" y="391"/>
                      </a:lnTo>
                      <a:lnTo>
                        <a:pt x="219" y="400"/>
                      </a:lnTo>
                      <a:lnTo>
                        <a:pt x="212" y="400"/>
                      </a:lnTo>
                      <a:lnTo>
                        <a:pt x="198" y="406"/>
                      </a:lnTo>
                      <a:lnTo>
                        <a:pt x="195" y="405"/>
                      </a:lnTo>
                      <a:lnTo>
                        <a:pt x="190" y="397"/>
                      </a:lnTo>
                      <a:lnTo>
                        <a:pt x="183" y="397"/>
                      </a:lnTo>
                      <a:lnTo>
                        <a:pt x="175" y="403"/>
                      </a:lnTo>
                      <a:lnTo>
                        <a:pt x="166" y="397"/>
                      </a:lnTo>
                      <a:lnTo>
                        <a:pt x="167" y="388"/>
                      </a:lnTo>
                      <a:lnTo>
                        <a:pt x="164" y="380"/>
                      </a:lnTo>
                      <a:lnTo>
                        <a:pt x="166" y="376"/>
                      </a:lnTo>
                      <a:lnTo>
                        <a:pt x="163" y="371"/>
                      </a:lnTo>
                      <a:lnTo>
                        <a:pt x="156" y="374"/>
                      </a:lnTo>
                      <a:lnTo>
                        <a:pt x="141" y="374"/>
                      </a:lnTo>
                      <a:lnTo>
                        <a:pt x="135" y="371"/>
                      </a:lnTo>
                      <a:lnTo>
                        <a:pt x="127" y="379"/>
                      </a:lnTo>
                      <a:lnTo>
                        <a:pt x="127" y="379"/>
                      </a:lnTo>
                      <a:lnTo>
                        <a:pt x="124" y="376"/>
                      </a:lnTo>
                      <a:lnTo>
                        <a:pt x="118" y="376"/>
                      </a:lnTo>
                      <a:lnTo>
                        <a:pt x="112" y="374"/>
                      </a:lnTo>
                      <a:lnTo>
                        <a:pt x="98" y="372"/>
                      </a:lnTo>
                      <a:lnTo>
                        <a:pt x="95" y="376"/>
                      </a:lnTo>
                      <a:lnTo>
                        <a:pt x="92" y="374"/>
                      </a:lnTo>
                      <a:lnTo>
                        <a:pt x="89" y="380"/>
                      </a:lnTo>
                      <a:lnTo>
                        <a:pt x="97" y="391"/>
                      </a:lnTo>
                      <a:lnTo>
                        <a:pt x="100" y="399"/>
                      </a:lnTo>
                      <a:lnTo>
                        <a:pt x="97" y="402"/>
                      </a:lnTo>
                      <a:lnTo>
                        <a:pt x="83" y="402"/>
                      </a:lnTo>
                      <a:lnTo>
                        <a:pt x="58" y="371"/>
                      </a:lnTo>
                      <a:lnTo>
                        <a:pt x="55" y="365"/>
                      </a:lnTo>
                      <a:lnTo>
                        <a:pt x="54" y="365"/>
                      </a:lnTo>
                      <a:lnTo>
                        <a:pt x="51" y="359"/>
                      </a:lnTo>
                      <a:lnTo>
                        <a:pt x="57" y="356"/>
                      </a:lnTo>
                      <a:lnTo>
                        <a:pt x="58" y="352"/>
                      </a:lnTo>
                      <a:lnTo>
                        <a:pt x="55" y="351"/>
                      </a:lnTo>
                      <a:lnTo>
                        <a:pt x="63" y="343"/>
                      </a:lnTo>
                      <a:lnTo>
                        <a:pt x="61" y="337"/>
                      </a:lnTo>
                      <a:lnTo>
                        <a:pt x="63" y="328"/>
                      </a:lnTo>
                      <a:lnTo>
                        <a:pt x="58" y="319"/>
                      </a:lnTo>
                      <a:lnTo>
                        <a:pt x="60" y="303"/>
                      </a:lnTo>
                      <a:lnTo>
                        <a:pt x="52" y="297"/>
                      </a:lnTo>
                      <a:lnTo>
                        <a:pt x="44" y="296"/>
                      </a:lnTo>
                      <a:lnTo>
                        <a:pt x="41" y="292"/>
                      </a:lnTo>
                      <a:lnTo>
                        <a:pt x="41" y="288"/>
                      </a:lnTo>
                      <a:lnTo>
                        <a:pt x="46" y="286"/>
                      </a:lnTo>
                      <a:lnTo>
                        <a:pt x="48" y="277"/>
                      </a:lnTo>
                      <a:lnTo>
                        <a:pt x="40" y="268"/>
                      </a:lnTo>
                      <a:lnTo>
                        <a:pt x="44" y="265"/>
                      </a:lnTo>
                      <a:lnTo>
                        <a:pt x="48" y="259"/>
                      </a:lnTo>
                      <a:lnTo>
                        <a:pt x="57" y="248"/>
                      </a:lnTo>
                      <a:lnTo>
                        <a:pt x="57" y="242"/>
                      </a:lnTo>
                      <a:lnTo>
                        <a:pt x="61" y="242"/>
                      </a:lnTo>
                      <a:lnTo>
                        <a:pt x="66" y="245"/>
                      </a:lnTo>
                      <a:lnTo>
                        <a:pt x="74" y="237"/>
                      </a:lnTo>
                      <a:lnTo>
                        <a:pt x="74" y="228"/>
                      </a:lnTo>
                      <a:lnTo>
                        <a:pt x="78" y="229"/>
                      </a:lnTo>
                      <a:lnTo>
                        <a:pt x="83" y="226"/>
                      </a:lnTo>
                      <a:lnTo>
                        <a:pt x="75" y="220"/>
                      </a:lnTo>
                      <a:lnTo>
                        <a:pt x="75" y="216"/>
                      </a:lnTo>
                      <a:lnTo>
                        <a:pt x="74" y="214"/>
                      </a:lnTo>
                      <a:lnTo>
                        <a:pt x="63" y="212"/>
                      </a:lnTo>
                      <a:lnTo>
                        <a:pt x="60" y="220"/>
                      </a:lnTo>
                      <a:lnTo>
                        <a:pt x="57" y="220"/>
                      </a:lnTo>
                      <a:lnTo>
                        <a:pt x="49" y="196"/>
                      </a:lnTo>
                      <a:lnTo>
                        <a:pt x="43" y="191"/>
                      </a:lnTo>
                      <a:lnTo>
                        <a:pt x="46" y="186"/>
                      </a:lnTo>
                      <a:lnTo>
                        <a:pt x="46" y="182"/>
                      </a:lnTo>
                      <a:lnTo>
                        <a:pt x="43" y="182"/>
                      </a:lnTo>
                      <a:lnTo>
                        <a:pt x="43" y="179"/>
                      </a:lnTo>
                      <a:lnTo>
                        <a:pt x="34" y="169"/>
                      </a:lnTo>
                      <a:lnTo>
                        <a:pt x="29" y="159"/>
                      </a:lnTo>
                      <a:lnTo>
                        <a:pt x="6" y="148"/>
                      </a:lnTo>
                      <a:lnTo>
                        <a:pt x="0" y="148"/>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05" name="Olt" descr="{&quot;Key&quot;:&quot;olt&quot;,&quot;Name&quot;:&quot;Olt&quot;,&quot;Value&quot;:1.0,&quot;Formula&quot;:&quot;&quot;,&quot;Text&quot;:&quot;1&quot;,&quot;OfficeApplication&quot;:0,&quot;HasValue&quot;:true}">
                  <a:extLst>
                    <a:ext uri="{FF2B5EF4-FFF2-40B4-BE49-F238E27FC236}">
                      <a16:creationId xmlns:a16="http://schemas.microsoft.com/office/drawing/2014/main" id="{AE1DF423-80FE-7646-7D5B-143BA64E9CCE}"/>
                    </a:ext>
                  </a:extLst>
                </p:cNvPr>
                <p:cNvSpPr>
                  <a:spLocks/>
                </p:cNvSpPr>
                <p:nvPr/>
              </p:nvSpPr>
              <p:spPr bwMode="auto">
                <a:xfrm>
                  <a:off x="5387975" y="4413251"/>
                  <a:ext cx="622300" cy="1069975"/>
                </a:xfrm>
                <a:custGeom>
                  <a:avLst/>
                  <a:gdLst>
                    <a:gd name="T0" fmla="*/ 55 w 392"/>
                    <a:gd name="T1" fmla="*/ 201 h 674"/>
                    <a:gd name="T2" fmla="*/ 69 w 392"/>
                    <a:gd name="T3" fmla="*/ 217 h 674"/>
                    <a:gd name="T4" fmla="*/ 93 w 392"/>
                    <a:gd name="T5" fmla="*/ 214 h 674"/>
                    <a:gd name="T6" fmla="*/ 105 w 392"/>
                    <a:gd name="T7" fmla="*/ 198 h 674"/>
                    <a:gd name="T8" fmla="*/ 116 w 392"/>
                    <a:gd name="T9" fmla="*/ 189 h 674"/>
                    <a:gd name="T10" fmla="*/ 138 w 392"/>
                    <a:gd name="T11" fmla="*/ 192 h 674"/>
                    <a:gd name="T12" fmla="*/ 167 w 392"/>
                    <a:gd name="T13" fmla="*/ 177 h 674"/>
                    <a:gd name="T14" fmla="*/ 176 w 392"/>
                    <a:gd name="T15" fmla="*/ 140 h 674"/>
                    <a:gd name="T16" fmla="*/ 167 w 392"/>
                    <a:gd name="T17" fmla="*/ 118 h 674"/>
                    <a:gd name="T18" fmla="*/ 164 w 392"/>
                    <a:gd name="T19" fmla="*/ 91 h 674"/>
                    <a:gd name="T20" fmla="*/ 170 w 392"/>
                    <a:gd name="T21" fmla="*/ 69 h 674"/>
                    <a:gd name="T22" fmla="*/ 177 w 392"/>
                    <a:gd name="T23" fmla="*/ 41 h 674"/>
                    <a:gd name="T24" fmla="*/ 197 w 392"/>
                    <a:gd name="T25" fmla="*/ 9 h 674"/>
                    <a:gd name="T26" fmla="*/ 222 w 392"/>
                    <a:gd name="T27" fmla="*/ 5 h 674"/>
                    <a:gd name="T28" fmla="*/ 228 w 392"/>
                    <a:gd name="T29" fmla="*/ 32 h 674"/>
                    <a:gd name="T30" fmla="*/ 250 w 392"/>
                    <a:gd name="T31" fmla="*/ 41 h 674"/>
                    <a:gd name="T32" fmla="*/ 257 w 392"/>
                    <a:gd name="T33" fmla="*/ 17 h 674"/>
                    <a:gd name="T34" fmla="*/ 270 w 392"/>
                    <a:gd name="T35" fmla="*/ 23 h 674"/>
                    <a:gd name="T36" fmla="*/ 286 w 392"/>
                    <a:gd name="T37" fmla="*/ 55 h 674"/>
                    <a:gd name="T38" fmla="*/ 332 w 392"/>
                    <a:gd name="T39" fmla="*/ 95 h 674"/>
                    <a:gd name="T40" fmla="*/ 334 w 392"/>
                    <a:gd name="T41" fmla="*/ 132 h 674"/>
                    <a:gd name="T42" fmla="*/ 343 w 392"/>
                    <a:gd name="T43" fmla="*/ 163 h 674"/>
                    <a:gd name="T44" fmla="*/ 343 w 392"/>
                    <a:gd name="T45" fmla="*/ 189 h 674"/>
                    <a:gd name="T46" fmla="*/ 345 w 392"/>
                    <a:gd name="T47" fmla="*/ 214 h 674"/>
                    <a:gd name="T48" fmla="*/ 346 w 392"/>
                    <a:gd name="T49" fmla="*/ 243 h 674"/>
                    <a:gd name="T50" fmla="*/ 351 w 392"/>
                    <a:gd name="T51" fmla="*/ 281 h 674"/>
                    <a:gd name="T52" fmla="*/ 375 w 392"/>
                    <a:gd name="T53" fmla="*/ 289 h 674"/>
                    <a:gd name="T54" fmla="*/ 386 w 392"/>
                    <a:gd name="T55" fmla="*/ 328 h 674"/>
                    <a:gd name="T56" fmla="*/ 382 w 392"/>
                    <a:gd name="T57" fmla="*/ 365 h 674"/>
                    <a:gd name="T58" fmla="*/ 375 w 392"/>
                    <a:gd name="T59" fmla="*/ 386 h 674"/>
                    <a:gd name="T60" fmla="*/ 392 w 392"/>
                    <a:gd name="T61" fmla="*/ 438 h 674"/>
                    <a:gd name="T62" fmla="*/ 355 w 392"/>
                    <a:gd name="T63" fmla="*/ 458 h 674"/>
                    <a:gd name="T64" fmla="*/ 317 w 392"/>
                    <a:gd name="T65" fmla="*/ 481 h 674"/>
                    <a:gd name="T66" fmla="*/ 291 w 392"/>
                    <a:gd name="T67" fmla="*/ 508 h 674"/>
                    <a:gd name="T68" fmla="*/ 305 w 392"/>
                    <a:gd name="T69" fmla="*/ 529 h 674"/>
                    <a:gd name="T70" fmla="*/ 314 w 392"/>
                    <a:gd name="T71" fmla="*/ 554 h 674"/>
                    <a:gd name="T72" fmla="*/ 325 w 392"/>
                    <a:gd name="T73" fmla="*/ 572 h 674"/>
                    <a:gd name="T74" fmla="*/ 332 w 392"/>
                    <a:gd name="T75" fmla="*/ 583 h 674"/>
                    <a:gd name="T76" fmla="*/ 326 w 392"/>
                    <a:gd name="T77" fmla="*/ 598 h 674"/>
                    <a:gd name="T78" fmla="*/ 343 w 392"/>
                    <a:gd name="T79" fmla="*/ 600 h 674"/>
                    <a:gd name="T80" fmla="*/ 342 w 392"/>
                    <a:gd name="T81" fmla="*/ 608 h 674"/>
                    <a:gd name="T82" fmla="*/ 329 w 392"/>
                    <a:gd name="T83" fmla="*/ 620 h 674"/>
                    <a:gd name="T84" fmla="*/ 322 w 392"/>
                    <a:gd name="T85" fmla="*/ 635 h 674"/>
                    <a:gd name="T86" fmla="*/ 313 w 392"/>
                    <a:gd name="T87" fmla="*/ 651 h 674"/>
                    <a:gd name="T88" fmla="*/ 231 w 392"/>
                    <a:gd name="T89" fmla="*/ 640 h 674"/>
                    <a:gd name="T90" fmla="*/ 174 w 392"/>
                    <a:gd name="T91" fmla="*/ 666 h 674"/>
                    <a:gd name="T92" fmla="*/ 112 w 392"/>
                    <a:gd name="T93" fmla="*/ 671 h 674"/>
                    <a:gd name="T94" fmla="*/ 124 w 392"/>
                    <a:gd name="T95" fmla="*/ 591 h 674"/>
                    <a:gd name="T96" fmla="*/ 138 w 392"/>
                    <a:gd name="T97" fmla="*/ 578 h 674"/>
                    <a:gd name="T98" fmla="*/ 142 w 392"/>
                    <a:gd name="T99" fmla="*/ 529 h 674"/>
                    <a:gd name="T100" fmla="*/ 142 w 392"/>
                    <a:gd name="T101" fmla="*/ 514 h 674"/>
                    <a:gd name="T102" fmla="*/ 135 w 392"/>
                    <a:gd name="T103" fmla="*/ 497 h 674"/>
                    <a:gd name="T104" fmla="*/ 138 w 392"/>
                    <a:gd name="T105" fmla="*/ 443 h 674"/>
                    <a:gd name="T106" fmla="*/ 144 w 392"/>
                    <a:gd name="T107" fmla="*/ 383 h 674"/>
                    <a:gd name="T108" fmla="*/ 127 w 392"/>
                    <a:gd name="T109" fmla="*/ 371 h 674"/>
                    <a:gd name="T110" fmla="*/ 96 w 392"/>
                    <a:gd name="T111" fmla="*/ 349 h 674"/>
                    <a:gd name="T112" fmla="*/ 78 w 392"/>
                    <a:gd name="T113" fmla="*/ 314 h 674"/>
                    <a:gd name="T114" fmla="*/ 70 w 392"/>
                    <a:gd name="T115" fmla="*/ 297 h 674"/>
                    <a:gd name="T116" fmla="*/ 38 w 392"/>
                    <a:gd name="T117" fmla="*/ 283 h 674"/>
                    <a:gd name="T118" fmla="*/ 30 w 392"/>
                    <a:gd name="T119" fmla="*/ 272 h 674"/>
                    <a:gd name="T120" fmla="*/ 12 w 392"/>
                    <a:gd name="T121" fmla="*/ 251 h 674"/>
                    <a:gd name="T122" fmla="*/ 15 w 392"/>
                    <a:gd name="T123" fmla="*/ 22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2" h="674">
                      <a:moveTo>
                        <a:pt x="26" y="206"/>
                      </a:moveTo>
                      <a:lnTo>
                        <a:pt x="29" y="205"/>
                      </a:lnTo>
                      <a:lnTo>
                        <a:pt x="35" y="206"/>
                      </a:lnTo>
                      <a:lnTo>
                        <a:pt x="47" y="201"/>
                      </a:lnTo>
                      <a:lnTo>
                        <a:pt x="55" y="201"/>
                      </a:lnTo>
                      <a:lnTo>
                        <a:pt x="65" y="206"/>
                      </a:lnTo>
                      <a:lnTo>
                        <a:pt x="64" y="212"/>
                      </a:lnTo>
                      <a:lnTo>
                        <a:pt x="70" y="209"/>
                      </a:lnTo>
                      <a:lnTo>
                        <a:pt x="70" y="215"/>
                      </a:lnTo>
                      <a:lnTo>
                        <a:pt x="69" y="217"/>
                      </a:lnTo>
                      <a:lnTo>
                        <a:pt x="73" y="218"/>
                      </a:lnTo>
                      <a:lnTo>
                        <a:pt x="76" y="226"/>
                      </a:lnTo>
                      <a:lnTo>
                        <a:pt x="89" y="226"/>
                      </a:lnTo>
                      <a:lnTo>
                        <a:pt x="95" y="220"/>
                      </a:lnTo>
                      <a:lnTo>
                        <a:pt x="93" y="214"/>
                      </a:lnTo>
                      <a:lnTo>
                        <a:pt x="98" y="211"/>
                      </a:lnTo>
                      <a:lnTo>
                        <a:pt x="96" y="209"/>
                      </a:lnTo>
                      <a:lnTo>
                        <a:pt x="99" y="209"/>
                      </a:lnTo>
                      <a:lnTo>
                        <a:pt x="99" y="200"/>
                      </a:lnTo>
                      <a:lnTo>
                        <a:pt x="105" y="198"/>
                      </a:lnTo>
                      <a:lnTo>
                        <a:pt x="110" y="191"/>
                      </a:lnTo>
                      <a:lnTo>
                        <a:pt x="108" y="188"/>
                      </a:lnTo>
                      <a:lnTo>
                        <a:pt x="112" y="188"/>
                      </a:lnTo>
                      <a:lnTo>
                        <a:pt x="113" y="186"/>
                      </a:lnTo>
                      <a:lnTo>
                        <a:pt x="116" y="189"/>
                      </a:lnTo>
                      <a:lnTo>
                        <a:pt x="124" y="185"/>
                      </a:lnTo>
                      <a:lnTo>
                        <a:pt x="130" y="189"/>
                      </a:lnTo>
                      <a:lnTo>
                        <a:pt x="131" y="192"/>
                      </a:lnTo>
                      <a:lnTo>
                        <a:pt x="133" y="191"/>
                      </a:lnTo>
                      <a:lnTo>
                        <a:pt x="138" y="192"/>
                      </a:lnTo>
                      <a:lnTo>
                        <a:pt x="147" y="191"/>
                      </a:lnTo>
                      <a:lnTo>
                        <a:pt x="150" y="189"/>
                      </a:lnTo>
                      <a:lnTo>
                        <a:pt x="150" y="178"/>
                      </a:lnTo>
                      <a:lnTo>
                        <a:pt x="154" y="180"/>
                      </a:lnTo>
                      <a:lnTo>
                        <a:pt x="167" y="177"/>
                      </a:lnTo>
                      <a:lnTo>
                        <a:pt x="167" y="166"/>
                      </a:lnTo>
                      <a:lnTo>
                        <a:pt x="184" y="178"/>
                      </a:lnTo>
                      <a:lnTo>
                        <a:pt x="182" y="157"/>
                      </a:lnTo>
                      <a:lnTo>
                        <a:pt x="184" y="154"/>
                      </a:lnTo>
                      <a:lnTo>
                        <a:pt x="176" y="140"/>
                      </a:lnTo>
                      <a:lnTo>
                        <a:pt x="174" y="132"/>
                      </a:lnTo>
                      <a:lnTo>
                        <a:pt x="177" y="128"/>
                      </a:lnTo>
                      <a:lnTo>
                        <a:pt x="171" y="126"/>
                      </a:lnTo>
                      <a:lnTo>
                        <a:pt x="168" y="117"/>
                      </a:lnTo>
                      <a:lnTo>
                        <a:pt x="167" y="118"/>
                      </a:lnTo>
                      <a:lnTo>
                        <a:pt x="165" y="114"/>
                      </a:lnTo>
                      <a:lnTo>
                        <a:pt x="162" y="111"/>
                      </a:lnTo>
                      <a:lnTo>
                        <a:pt x="162" y="101"/>
                      </a:lnTo>
                      <a:lnTo>
                        <a:pt x="165" y="94"/>
                      </a:lnTo>
                      <a:lnTo>
                        <a:pt x="164" y="91"/>
                      </a:lnTo>
                      <a:lnTo>
                        <a:pt x="165" y="86"/>
                      </a:lnTo>
                      <a:lnTo>
                        <a:pt x="165" y="80"/>
                      </a:lnTo>
                      <a:lnTo>
                        <a:pt x="170" y="75"/>
                      </a:lnTo>
                      <a:lnTo>
                        <a:pt x="168" y="71"/>
                      </a:lnTo>
                      <a:lnTo>
                        <a:pt x="170" y="69"/>
                      </a:lnTo>
                      <a:lnTo>
                        <a:pt x="170" y="66"/>
                      </a:lnTo>
                      <a:lnTo>
                        <a:pt x="177" y="66"/>
                      </a:lnTo>
                      <a:lnTo>
                        <a:pt x="176" y="54"/>
                      </a:lnTo>
                      <a:lnTo>
                        <a:pt x="179" y="49"/>
                      </a:lnTo>
                      <a:lnTo>
                        <a:pt x="177" y="41"/>
                      </a:lnTo>
                      <a:lnTo>
                        <a:pt x="179" y="35"/>
                      </a:lnTo>
                      <a:lnTo>
                        <a:pt x="190" y="26"/>
                      </a:lnTo>
                      <a:lnTo>
                        <a:pt x="185" y="18"/>
                      </a:lnTo>
                      <a:lnTo>
                        <a:pt x="187" y="15"/>
                      </a:lnTo>
                      <a:lnTo>
                        <a:pt x="197" y="9"/>
                      </a:lnTo>
                      <a:lnTo>
                        <a:pt x="202" y="9"/>
                      </a:lnTo>
                      <a:lnTo>
                        <a:pt x="207" y="6"/>
                      </a:lnTo>
                      <a:lnTo>
                        <a:pt x="210" y="8"/>
                      </a:lnTo>
                      <a:lnTo>
                        <a:pt x="214" y="0"/>
                      </a:lnTo>
                      <a:lnTo>
                        <a:pt x="222" y="5"/>
                      </a:lnTo>
                      <a:lnTo>
                        <a:pt x="224" y="8"/>
                      </a:lnTo>
                      <a:lnTo>
                        <a:pt x="220" y="23"/>
                      </a:lnTo>
                      <a:lnTo>
                        <a:pt x="224" y="28"/>
                      </a:lnTo>
                      <a:lnTo>
                        <a:pt x="224" y="28"/>
                      </a:lnTo>
                      <a:lnTo>
                        <a:pt x="228" y="32"/>
                      </a:lnTo>
                      <a:lnTo>
                        <a:pt x="224" y="40"/>
                      </a:lnTo>
                      <a:lnTo>
                        <a:pt x="224" y="43"/>
                      </a:lnTo>
                      <a:lnTo>
                        <a:pt x="242" y="45"/>
                      </a:lnTo>
                      <a:lnTo>
                        <a:pt x="245" y="40"/>
                      </a:lnTo>
                      <a:lnTo>
                        <a:pt x="250" y="41"/>
                      </a:lnTo>
                      <a:lnTo>
                        <a:pt x="250" y="34"/>
                      </a:lnTo>
                      <a:lnTo>
                        <a:pt x="248" y="26"/>
                      </a:lnTo>
                      <a:lnTo>
                        <a:pt x="254" y="23"/>
                      </a:lnTo>
                      <a:lnTo>
                        <a:pt x="254" y="18"/>
                      </a:lnTo>
                      <a:lnTo>
                        <a:pt x="257" y="17"/>
                      </a:lnTo>
                      <a:lnTo>
                        <a:pt x="257" y="12"/>
                      </a:lnTo>
                      <a:lnTo>
                        <a:pt x="262" y="1"/>
                      </a:lnTo>
                      <a:lnTo>
                        <a:pt x="265" y="5"/>
                      </a:lnTo>
                      <a:lnTo>
                        <a:pt x="270" y="3"/>
                      </a:lnTo>
                      <a:lnTo>
                        <a:pt x="270" y="23"/>
                      </a:lnTo>
                      <a:lnTo>
                        <a:pt x="273" y="25"/>
                      </a:lnTo>
                      <a:lnTo>
                        <a:pt x="273" y="35"/>
                      </a:lnTo>
                      <a:lnTo>
                        <a:pt x="280" y="46"/>
                      </a:lnTo>
                      <a:lnTo>
                        <a:pt x="282" y="54"/>
                      </a:lnTo>
                      <a:lnTo>
                        <a:pt x="286" y="55"/>
                      </a:lnTo>
                      <a:lnTo>
                        <a:pt x="290" y="80"/>
                      </a:lnTo>
                      <a:lnTo>
                        <a:pt x="302" y="94"/>
                      </a:lnTo>
                      <a:lnTo>
                        <a:pt x="320" y="91"/>
                      </a:lnTo>
                      <a:lnTo>
                        <a:pt x="334" y="92"/>
                      </a:lnTo>
                      <a:lnTo>
                        <a:pt x="332" y="95"/>
                      </a:lnTo>
                      <a:lnTo>
                        <a:pt x="334" y="105"/>
                      </a:lnTo>
                      <a:lnTo>
                        <a:pt x="328" y="109"/>
                      </a:lnTo>
                      <a:lnTo>
                        <a:pt x="326" y="114"/>
                      </a:lnTo>
                      <a:lnTo>
                        <a:pt x="332" y="126"/>
                      </a:lnTo>
                      <a:lnTo>
                        <a:pt x="334" y="132"/>
                      </a:lnTo>
                      <a:lnTo>
                        <a:pt x="332" y="137"/>
                      </a:lnTo>
                      <a:lnTo>
                        <a:pt x="337" y="145"/>
                      </a:lnTo>
                      <a:lnTo>
                        <a:pt x="339" y="152"/>
                      </a:lnTo>
                      <a:lnTo>
                        <a:pt x="340" y="154"/>
                      </a:lnTo>
                      <a:lnTo>
                        <a:pt x="343" y="163"/>
                      </a:lnTo>
                      <a:lnTo>
                        <a:pt x="339" y="169"/>
                      </a:lnTo>
                      <a:lnTo>
                        <a:pt x="339" y="174"/>
                      </a:lnTo>
                      <a:lnTo>
                        <a:pt x="339" y="177"/>
                      </a:lnTo>
                      <a:lnTo>
                        <a:pt x="343" y="183"/>
                      </a:lnTo>
                      <a:lnTo>
                        <a:pt x="343" y="189"/>
                      </a:lnTo>
                      <a:lnTo>
                        <a:pt x="342" y="191"/>
                      </a:lnTo>
                      <a:lnTo>
                        <a:pt x="343" y="194"/>
                      </a:lnTo>
                      <a:lnTo>
                        <a:pt x="342" y="198"/>
                      </a:lnTo>
                      <a:lnTo>
                        <a:pt x="345" y="206"/>
                      </a:lnTo>
                      <a:lnTo>
                        <a:pt x="345" y="214"/>
                      </a:lnTo>
                      <a:lnTo>
                        <a:pt x="340" y="221"/>
                      </a:lnTo>
                      <a:lnTo>
                        <a:pt x="340" y="225"/>
                      </a:lnTo>
                      <a:lnTo>
                        <a:pt x="345" y="232"/>
                      </a:lnTo>
                      <a:lnTo>
                        <a:pt x="343" y="243"/>
                      </a:lnTo>
                      <a:lnTo>
                        <a:pt x="346" y="243"/>
                      </a:lnTo>
                      <a:lnTo>
                        <a:pt x="343" y="255"/>
                      </a:lnTo>
                      <a:lnTo>
                        <a:pt x="348" y="268"/>
                      </a:lnTo>
                      <a:lnTo>
                        <a:pt x="345" y="272"/>
                      </a:lnTo>
                      <a:lnTo>
                        <a:pt x="346" y="274"/>
                      </a:lnTo>
                      <a:lnTo>
                        <a:pt x="351" y="281"/>
                      </a:lnTo>
                      <a:lnTo>
                        <a:pt x="354" y="281"/>
                      </a:lnTo>
                      <a:lnTo>
                        <a:pt x="352" y="285"/>
                      </a:lnTo>
                      <a:lnTo>
                        <a:pt x="366" y="283"/>
                      </a:lnTo>
                      <a:lnTo>
                        <a:pt x="372" y="285"/>
                      </a:lnTo>
                      <a:lnTo>
                        <a:pt x="375" y="289"/>
                      </a:lnTo>
                      <a:lnTo>
                        <a:pt x="375" y="289"/>
                      </a:lnTo>
                      <a:lnTo>
                        <a:pt x="377" y="298"/>
                      </a:lnTo>
                      <a:lnTo>
                        <a:pt x="383" y="317"/>
                      </a:lnTo>
                      <a:lnTo>
                        <a:pt x="391" y="323"/>
                      </a:lnTo>
                      <a:lnTo>
                        <a:pt x="386" y="328"/>
                      </a:lnTo>
                      <a:lnTo>
                        <a:pt x="383" y="328"/>
                      </a:lnTo>
                      <a:lnTo>
                        <a:pt x="385" y="332"/>
                      </a:lnTo>
                      <a:lnTo>
                        <a:pt x="382" y="335"/>
                      </a:lnTo>
                      <a:lnTo>
                        <a:pt x="383" y="351"/>
                      </a:lnTo>
                      <a:lnTo>
                        <a:pt x="382" y="365"/>
                      </a:lnTo>
                      <a:lnTo>
                        <a:pt x="380" y="366"/>
                      </a:lnTo>
                      <a:lnTo>
                        <a:pt x="382" y="369"/>
                      </a:lnTo>
                      <a:lnTo>
                        <a:pt x="378" y="371"/>
                      </a:lnTo>
                      <a:lnTo>
                        <a:pt x="386" y="375"/>
                      </a:lnTo>
                      <a:lnTo>
                        <a:pt x="375" y="386"/>
                      </a:lnTo>
                      <a:lnTo>
                        <a:pt x="369" y="394"/>
                      </a:lnTo>
                      <a:lnTo>
                        <a:pt x="374" y="409"/>
                      </a:lnTo>
                      <a:lnTo>
                        <a:pt x="372" y="412"/>
                      </a:lnTo>
                      <a:lnTo>
                        <a:pt x="389" y="426"/>
                      </a:lnTo>
                      <a:lnTo>
                        <a:pt x="392" y="438"/>
                      </a:lnTo>
                      <a:lnTo>
                        <a:pt x="392" y="446"/>
                      </a:lnTo>
                      <a:lnTo>
                        <a:pt x="386" y="451"/>
                      </a:lnTo>
                      <a:lnTo>
                        <a:pt x="368" y="454"/>
                      </a:lnTo>
                      <a:lnTo>
                        <a:pt x="368" y="457"/>
                      </a:lnTo>
                      <a:lnTo>
                        <a:pt x="355" y="458"/>
                      </a:lnTo>
                      <a:lnTo>
                        <a:pt x="355" y="461"/>
                      </a:lnTo>
                      <a:lnTo>
                        <a:pt x="339" y="466"/>
                      </a:lnTo>
                      <a:lnTo>
                        <a:pt x="343" y="477"/>
                      </a:lnTo>
                      <a:lnTo>
                        <a:pt x="329" y="481"/>
                      </a:lnTo>
                      <a:lnTo>
                        <a:pt x="317" y="481"/>
                      </a:lnTo>
                      <a:lnTo>
                        <a:pt x="291" y="494"/>
                      </a:lnTo>
                      <a:lnTo>
                        <a:pt x="286" y="497"/>
                      </a:lnTo>
                      <a:lnTo>
                        <a:pt x="288" y="504"/>
                      </a:lnTo>
                      <a:lnTo>
                        <a:pt x="291" y="503"/>
                      </a:lnTo>
                      <a:lnTo>
                        <a:pt x="291" y="508"/>
                      </a:lnTo>
                      <a:lnTo>
                        <a:pt x="294" y="512"/>
                      </a:lnTo>
                      <a:lnTo>
                        <a:pt x="296" y="517"/>
                      </a:lnTo>
                      <a:lnTo>
                        <a:pt x="299" y="520"/>
                      </a:lnTo>
                      <a:lnTo>
                        <a:pt x="305" y="520"/>
                      </a:lnTo>
                      <a:lnTo>
                        <a:pt x="305" y="529"/>
                      </a:lnTo>
                      <a:lnTo>
                        <a:pt x="311" y="532"/>
                      </a:lnTo>
                      <a:lnTo>
                        <a:pt x="305" y="537"/>
                      </a:lnTo>
                      <a:lnTo>
                        <a:pt x="311" y="543"/>
                      </a:lnTo>
                      <a:lnTo>
                        <a:pt x="316" y="548"/>
                      </a:lnTo>
                      <a:lnTo>
                        <a:pt x="314" y="554"/>
                      </a:lnTo>
                      <a:lnTo>
                        <a:pt x="316" y="560"/>
                      </a:lnTo>
                      <a:lnTo>
                        <a:pt x="319" y="563"/>
                      </a:lnTo>
                      <a:lnTo>
                        <a:pt x="322" y="563"/>
                      </a:lnTo>
                      <a:lnTo>
                        <a:pt x="325" y="568"/>
                      </a:lnTo>
                      <a:lnTo>
                        <a:pt x="325" y="572"/>
                      </a:lnTo>
                      <a:lnTo>
                        <a:pt x="328" y="572"/>
                      </a:lnTo>
                      <a:lnTo>
                        <a:pt x="329" y="574"/>
                      </a:lnTo>
                      <a:lnTo>
                        <a:pt x="329" y="577"/>
                      </a:lnTo>
                      <a:lnTo>
                        <a:pt x="332" y="577"/>
                      </a:lnTo>
                      <a:lnTo>
                        <a:pt x="332" y="583"/>
                      </a:lnTo>
                      <a:lnTo>
                        <a:pt x="342" y="591"/>
                      </a:lnTo>
                      <a:lnTo>
                        <a:pt x="340" y="594"/>
                      </a:lnTo>
                      <a:lnTo>
                        <a:pt x="329" y="592"/>
                      </a:lnTo>
                      <a:lnTo>
                        <a:pt x="326" y="595"/>
                      </a:lnTo>
                      <a:lnTo>
                        <a:pt x="326" y="598"/>
                      </a:lnTo>
                      <a:lnTo>
                        <a:pt x="328" y="600"/>
                      </a:lnTo>
                      <a:lnTo>
                        <a:pt x="331" y="595"/>
                      </a:lnTo>
                      <a:lnTo>
                        <a:pt x="336" y="595"/>
                      </a:lnTo>
                      <a:lnTo>
                        <a:pt x="343" y="597"/>
                      </a:lnTo>
                      <a:lnTo>
                        <a:pt x="343" y="600"/>
                      </a:lnTo>
                      <a:lnTo>
                        <a:pt x="348" y="598"/>
                      </a:lnTo>
                      <a:lnTo>
                        <a:pt x="349" y="600"/>
                      </a:lnTo>
                      <a:lnTo>
                        <a:pt x="354" y="600"/>
                      </a:lnTo>
                      <a:lnTo>
                        <a:pt x="342" y="606"/>
                      </a:lnTo>
                      <a:lnTo>
                        <a:pt x="342" y="608"/>
                      </a:lnTo>
                      <a:lnTo>
                        <a:pt x="343" y="612"/>
                      </a:lnTo>
                      <a:lnTo>
                        <a:pt x="342" y="617"/>
                      </a:lnTo>
                      <a:lnTo>
                        <a:pt x="336" y="615"/>
                      </a:lnTo>
                      <a:lnTo>
                        <a:pt x="336" y="618"/>
                      </a:lnTo>
                      <a:lnTo>
                        <a:pt x="329" y="620"/>
                      </a:lnTo>
                      <a:lnTo>
                        <a:pt x="329" y="624"/>
                      </a:lnTo>
                      <a:lnTo>
                        <a:pt x="325" y="626"/>
                      </a:lnTo>
                      <a:lnTo>
                        <a:pt x="326" y="632"/>
                      </a:lnTo>
                      <a:lnTo>
                        <a:pt x="322" y="632"/>
                      </a:lnTo>
                      <a:lnTo>
                        <a:pt x="322" y="635"/>
                      </a:lnTo>
                      <a:lnTo>
                        <a:pt x="314" y="635"/>
                      </a:lnTo>
                      <a:lnTo>
                        <a:pt x="313" y="640"/>
                      </a:lnTo>
                      <a:lnTo>
                        <a:pt x="316" y="641"/>
                      </a:lnTo>
                      <a:lnTo>
                        <a:pt x="316" y="649"/>
                      </a:lnTo>
                      <a:lnTo>
                        <a:pt x="313" y="651"/>
                      </a:lnTo>
                      <a:lnTo>
                        <a:pt x="313" y="651"/>
                      </a:lnTo>
                      <a:lnTo>
                        <a:pt x="303" y="641"/>
                      </a:lnTo>
                      <a:lnTo>
                        <a:pt x="290" y="637"/>
                      </a:lnTo>
                      <a:lnTo>
                        <a:pt x="253" y="631"/>
                      </a:lnTo>
                      <a:lnTo>
                        <a:pt x="231" y="640"/>
                      </a:lnTo>
                      <a:lnTo>
                        <a:pt x="214" y="644"/>
                      </a:lnTo>
                      <a:lnTo>
                        <a:pt x="207" y="654"/>
                      </a:lnTo>
                      <a:lnTo>
                        <a:pt x="204" y="658"/>
                      </a:lnTo>
                      <a:lnTo>
                        <a:pt x="188" y="666"/>
                      </a:lnTo>
                      <a:lnTo>
                        <a:pt x="174" y="666"/>
                      </a:lnTo>
                      <a:lnTo>
                        <a:pt x="142" y="672"/>
                      </a:lnTo>
                      <a:lnTo>
                        <a:pt x="127" y="674"/>
                      </a:lnTo>
                      <a:lnTo>
                        <a:pt x="121" y="674"/>
                      </a:lnTo>
                      <a:lnTo>
                        <a:pt x="112" y="671"/>
                      </a:lnTo>
                      <a:lnTo>
                        <a:pt x="112" y="671"/>
                      </a:lnTo>
                      <a:lnTo>
                        <a:pt x="107" y="664"/>
                      </a:lnTo>
                      <a:lnTo>
                        <a:pt x="99" y="658"/>
                      </a:lnTo>
                      <a:lnTo>
                        <a:pt x="105" y="618"/>
                      </a:lnTo>
                      <a:lnTo>
                        <a:pt x="108" y="620"/>
                      </a:lnTo>
                      <a:lnTo>
                        <a:pt x="124" y="591"/>
                      </a:lnTo>
                      <a:lnTo>
                        <a:pt x="127" y="591"/>
                      </a:lnTo>
                      <a:lnTo>
                        <a:pt x="128" y="586"/>
                      </a:lnTo>
                      <a:lnTo>
                        <a:pt x="133" y="586"/>
                      </a:lnTo>
                      <a:lnTo>
                        <a:pt x="135" y="578"/>
                      </a:lnTo>
                      <a:lnTo>
                        <a:pt x="138" y="578"/>
                      </a:lnTo>
                      <a:lnTo>
                        <a:pt x="145" y="540"/>
                      </a:lnTo>
                      <a:lnTo>
                        <a:pt x="142" y="537"/>
                      </a:lnTo>
                      <a:lnTo>
                        <a:pt x="145" y="537"/>
                      </a:lnTo>
                      <a:lnTo>
                        <a:pt x="147" y="531"/>
                      </a:lnTo>
                      <a:lnTo>
                        <a:pt x="142" y="529"/>
                      </a:lnTo>
                      <a:lnTo>
                        <a:pt x="136" y="523"/>
                      </a:lnTo>
                      <a:lnTo>
                        <a:pt x="139" y="517"/>
                      </a:lnTo>
                      <a:lnTo>
                        <a:pt x="145" y="520"/>
                      </a:lnTo>
                      <a:lnTo>
                        <a:pt x="147" y="515"/>
                      </a:lnTo>
                      <a:lnTo>
                        <a:pt x="142" y="514"/>
                      </a:lnTo>
                      <a:lnTo>
                        <a:pt x="145" y="503"/>
                      </a:lnTo>
                      <a:lnTo>
                        <a:pt x="144" y="503"/>
                      </a:lnTo>
                      <a:lnTo>
                        <a:pt x="144" y="498"/>
                      </a:lnTo>
                      <a:lnTo>
                        <a:pt x="138" y="495"/>
                      </a:lnTo>
                      <a:lnTo>
                        <a:pt x="135" y="497"/>
                      </a:lnTo>
                      <a:lnTo>
                        <a:pt x="136" y="491"/>
                      </a:lnTo>
                      <a:lnTo>
                        <a:pt x="130" y="489"/>
                      </a:lnTo>
                      <a:lnTo>
                        <a:pt x="136" y="457"/>
                      </a:lnTo>
                      <a:lnTo>
                        <a:pt x="135" y="452"/>
                      </a:lnTo>
                      <a:lnTo>
                        <a:pt x="138" y="443"/>
                      </a:lnTo>
                      <a:lnTo>
                        <a:pt x="142" y="417"/>
                      </a:lnTo>
                      <a:lnTo>
                        <a:pt x="144" y="417"/>
                      </a:lnTo>
                      <a:lnTo>
                        <a:pt x="147" y="404"/>
                      </a:lnTo>
                      <a:lnTo>
                        <a:pt x="139" y="403"/>
                      </a:lnTo>
                      <a:lnTo>
                        <a:pt x="144" y="383"/>
                      </a:lnTo>
                      <a:lnTo>
                        <a:pt x="141" y="383"/>
                      </a:lnTo>
                      <a:lnTo>
                        <a:pt x="141" y="380"/>
                      </a:lnTo>
                      <a:lnTo>
                        <a:pt x="138" y="378"/>
                      </a:lnTo>
                      <a:lnTo>
                        <a:pt x="136" y="369"/>
                      </a:lnTo>
                      <a:lnTo>
                        <a:pt x="127" y="371"/>
                      </a:lnTo>
                      <a:lnTo>
                        <a:pt x="118" y="360"/>
                      </a:lnTo>
                      <a:lnTo>
                        <a:pt x="113" y="357"/>
                      </a:lnTo>
                      <a:lnTo>
                        <a:pt x="113" y="355"/>
                      </a:lnTo>
                      <a:lnTo>
                        <a:pt x="99" y="352"/>
                      </a:lnTo>
                      <a:lnTo>
                        <a:pt x="96" y="349"/>
                      </a:lnTo>
                      <a:lnTo>
                        <a:pt x="95" y="338"/>
                      </a:lnTo>
                      <a:lnTo>
                        <a:pt x="90" y="335"/>
                      </a:lnTo>
                      <a:lnTo>
                        <a:pt x="85" y="323"/>
                      </a:lnTo>
                      <a:lnTo>
                        <a:pt x="81" y="323"/>
                      </a:lnTo>
                      <a:lnTo>
                        <a:pt x="78" y="314"/>
                      </a:lnTo>
                      <a:lnTo>
                        <a:pt x="73" y="311"/>
                      </a:lnTo>
                      <a:lnTo>
                        <a:pt x="73" y="308"/>
                      </a:lnTo>
                      <a:lnTo>
                        <a:pt x="70" y="305"/>
                      </a:lnTo>
                      <a:lnTo>
                        <a:pt x="67" y="306"/>
                      </a:lnTo>
                      <a:lnTo>
                        <a:pt x="70" y="297"/>
                      </a:lnTo>
                      <a:lnTo>
                        <a:pt x="61" y="291"/>
                      </a:lnTo>
                      <a:lnTo>
                        <a:pt x="53" y="291"/>
                      </a:lnTo>
                      <a:lnTo>
                        <a:pt x="52" y="294"/>
                      </a:lnTo>
                      <a:lnTo>
                        <a:pt x="38" y="288"/>
                      </a:lnTo>
                      <a:lnTo>
                        <a:pt x="38" y="283"/>
                      </a:lnTo>
                      <a:lnTo>
                        <a:pt x="42" y="277"/>
                      </a:lnTo>
                      <a:lnTo>
                        <a:pt x="44" y="274"/>
                      </a:lnTo>
                      <a:lnTo>
                        <a:pt x="38" y="272"/>
                      </a:lnTo>
                      <a:lnTo>
                        <a:pt x="35" y="269"/>
                      </a:lnTo>
                      <a:lnTo>
                        <a:pt x="30" y="272"/>
                      </a:lnTo>
                      <a:lnTo>
                        <a:pt x="29" y="277"/>
                      </a:lnTo>
                      <a:lnTo>
                        <a:pt x="18" y="269"/>
                      </a:lnTo>
                      <a:lnTo>
                        <a:pt x="19" y="265"/>
                      </a:lnTo>
                      <a:lnTo>
                        <a:pt x="9" y="258"/>
                      </a:lnTo>
                      <a:lnTo>
                        <a:pt x="12" y="251"/>
                      </a:lnTo>
                      <a:lnTo>
                        <a:pt x="12" y="246"/>
                      </a:lnTo>
                      <a:lnTo>
                        <a:pt x="0" y="240"/>
                      </a:lnTo>
                      <a:lnTo>
                        <a:pt x="10" y="231"/>
                      </a:lnTo>
                      <a:lnTo>
                        <a:pt x="15" y="225"/>
                      </a:lnTo>
                      <a:lnTo>
                        <a:pt x="15" y="220"/>
                      </a:lnTo>
                      <a:lnTo>
                        <a:pt x="10" y="217"/>
                      </a:lnTo>
                      <a:lnTo>
                        <a:pt x="18" y="215"/>
                      </a:lnTo>
                      <a:lnTo>
                        <a:pt x="26" y="206"/>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06" name="Prahova" descr="{&quot;Key&quot;:&quot;prahova&quot;,&quot;Name&quot;:&quot;Prahova&quot;,&quot;Value&quot;:1.0,&quot;Formula&quot;:&quot;&quot;,&quot;Text&quot;:&quot;1&quot;,&quot;OfficeApplication&quot;:0,&quot;HasValue&quot;:true}">
                  <a:extLst>
                    <a:ext uri="{FF2B5EF4-FFF2-40B4-BE49-F238E27FC236}">
                      <a16:creationId xmlns:a16="http://schemas.microsoft.com/office/drawing/2014/main" id="{D586525D-2A64-F3D7-1CE7-B4254F3F38B8}"/>
                    </a:ext>
                  </a:extLst>
                </p:cNvPr>
                <p:cNvSpPr>
                  <a:spLocks/>
                </p:cNvSpPr>
                <p:nvPr/>
              </p:nvSpPr>
              <p:spPr bwMode="auto">
                <a:xfrm>
                  <a:off x="6388100" y="3860801"/>
                  <a:ext cx="730250" cy="730250"/>
                </a:xfrm>
                <a:custGeom>
                  <a:avLst/>
                  <a:gdLst>
                    <a:gd name="T0" fmla="*/ 20 w 460"/>
                    <a:gd name="T1" fmla="*/ 28 h 460"/>
                    <a:gd name="T2" fmla="*/ 55 w 460"/>
                    <a:gd name="T3" fmla="*/ 31 h 460"/>
                    <a:gd name="T4" fmla="*/ 77 w 460"/>
                    <a:gd name="T5" fmla="*/ 17 h 460"/>
                    <a:gd name="T6" fmla="*/ 115 w 460"/>
                    <a:gd name="T7" fmla="*/ 28 h 460"/>
                    <a:gd name="T8" fmla="*/ 137 w 460"/>
                    <a:gd name="T9" fmla="*/ 25 h 460"/>
                    <a:gd name="T10" fmla="*/ 166 w 460"/>
                    <a:gd name="T11" fmla="*/ 45 h 460"/>
                    <a:gd name="T12" fmla="*/ 175 w 460"/>
                    <a:gd name="T13" fmla="*/ 17 h 460"/>
                    <a:gd name="T14" fmla="*/ 216 w 460"/>
                    <a:gd name="T15" fmla="*/ 0 h 460"/>
                    <a:gd name="T16" fmla="*/ 236 w 460"/>
                    <a:gd name="T17" fmla="*/ 20 h 460"/>
                    <a:gd name="T18" fmla="*/ 243 w 460"/>
                    <a:gd name="T19" fmla="*/ 46 h 460"/>
                    <a:gd name="T20" fmla="*/ 261 w 460"/>
                    <a:gd name="T21" fmla="*/ 60 h 460"/>
                    <a:gd name="T22" fmla="*/ 299 w 460"/>
                    <a:gd name="T23" fmla="*/ 99 h 460"/>
                    <a:gd name="T24" fmla="*/ 309 w 460"/>
                    <a:gd name="T25" fmla="*/ 119 h 460"/>
                    <a:gd name="T26" fmla="*/ 309 w 460"/>
                    <a:gd name="T27" fmla="*/ 136 h 460"/>
                    <a:gd name="T28" fmla="*/ 330 w 460"/>
                    <a:gd name="T29" fmla="*/ 174 h 460"/>
                    <a:gd name="T30" fmla="*/ 361 w 460"/>
                    <a:gd name="T31" fmla="*/ 170 h 460"/>
                    <a:gd name="T32" fmla="*/ 367 w 460"/>
                    <a:gd name="T33" fmla="*/ 202 h 460"/>
                    <a:gd name="T34" fmla="*/ 388 w 460"/>
                    <a:gd name="T35" fmla="*/ 191 h 460"/>
                    <a:gd name="T36" fmla="*/ 402 w 460"/>
                    <a:gd name="T37" fmla="*/ 220 h 460"/>
                    <a:gd name="T38" fmla="*/ 399 w 460"/>
                    <a:gd name="T39" fmla="*/ 233 h 460"/>
                    <a:gd name="T40" fmla="*/ 396 w 460"/>
                    <a:gd name="T41" fmla="*/ 250 h 460"/>
                    <a:gd name="T42" fmla="*/ 413 w 460"/>
                    <a:gd name="T43" fmla="*/ 283 h 460"/>
                    <a:gd name="T44" fmla="*/ 424 w 460"/>
                    <a:gd name="T45" fmla="*/ 291 h 460"/>
                    <a:gd name="T46" fmla="*/ 439 w 460"/>
                    <a:gd name="T47" fmla="*/ 308 h 460"/>
                    <a:gd name="T48" fmla="*/ 430 w 460"/>
                    <a:gd name="T49" fmla="*/ 328 h 460"/>
                    <a:gd name="T50" fmla="*/ 434 w 460"/>
                    <a:gd name="T51" fmla="*/ 340 h 460"/>
                    <a:gd name="T52" fmla="*/ 451 w 460"/>
                    <a:gd name="T53" fmla="*/ 359 h 460"/>
                    <a:gd name="T54" fmla="*/ 444 w 460"/>
                    <a:gd name="T55" fmla="*/ 380 h 460"/>
                    <a:gd name="T56" fmla="*/ 427 w 460"/>
                    <a:gd name="T57" fmla="*/ 396 h 460"/>
                    <a:gd name="T58" fmla="*/ 376 w 460"/>
                    <a:gd name="T59" fmla="*/ 420 h 460"/>
                    <a:gd name="T60" fmla="*/ 351 w 460"/>
                    <a:gd name="T61" fmla="*/ 406 h 460"/>
                    <a:gd name="T62" fmla="*/ 338 w 460"/>
                    <a:gd name="T63" fmla="*/ 422 h 460"/>
                    <a:gd name="T64" fmla="*/ 319 w 460"/>
                    <a:gd name="T65" fmla="*/ 439 h 460"/>
                    <a:gd name="T66" fmla="*/ 289 w 460"/>
                    <a:gd name="T67" fmla="*/ 426 h 460"/>
                    <a:gd name="T68" fmla="*/ 275 w 460"/>
                    <a:gd name="T69" fmla="*/ 426 h 460"/>
                    <a:gd name="T70" fmla="*/ 262 w 460"/>
                    <a:gd name="T71" fmla="*/ 428 h 460"/>
                    <a:gd name="T72" fmla="*/ 255 w 460"/>
                    <a:gd name="T73" fmla="*/ 422 h 460"/>
                    <a:gd name="T74" fmla="*/ 252 w 460"/>
                    <a:gd name="T75" fmla="*/ 436 h 460"/>
                    <a:gd name="T76" fmla="*/ 243 w 460"/>
                    <a:gd name="T77" fmla="*/ 431 h 460"/>
                    <a:gd name="T78" fmla="*/ 236 w 460"/>
                    <a:gd name="T79" fmla="*/ 439 h 460"/>
                    <a:gd name="T80" fmla="*/ 223 w 460"/>
                    <a:gd name="T81" fmla="*/ 434 h 460"/>
                    <a:gd name="T82" fmla="*/ 206 w 460"/>
                    <a:gd name="T83" fmla="*/ 436 h 460"/>
                    <a:gd name="T84" fmla="*/ 207 w 460"/>
                    <a:gd name="T85" fmla="*/ 446 h 460"/>
                    <a:gd name="T86" fmla="*/ 190 w 460"/>
                    <a:gd name="T87" fmla="*/ 459 h 460"/>
                    <a:gd name="T88" fmla="*/ 193 w 460"/>
                    <a:gd name="T89" fmla="*/ 423 h 460"/>
                    <a:gd name="T90" fmla="*/ 172 w 460"/>
                    <a:gd name="T91" fmla="*/ 393 h 460"/>
                    <a:gd name="T92" fmla="*/ 160 w 460"/>
                    <a:gd name="T93" fmla="*/ 391 h 460"/>
                    <a:gd name="T94" fmla="*/ 138 w 460"/>
                    <a:gd name="T95" fmla="*/ 379 h 460"/>
                    <a:gd name="T96" fmla="*/ 146 w 460"/>
                    <a:gd name="T97" fmla="*/ 345 h 460"/>
                    <a:gd name="T98" fmla="*/ 138 w 460"/>
                    <a:gd name="T99" fmla="*/ 329 h 460"/>
                    <a:gd name="T100" fmla="*/ 117 w 460"/>
                    <a:gd name="T101" fmla="*/ 317 h 460"/>
                    <a:gd name="T102" fmla="*/ 101 w 460"/>
                    <a:gd name="T103" fmla="*/ 314 h 460"/>
                    <a:gd name="T104" fmla="*/ 92 w 460"/>
                    <a:gd name="T105" fmla="*/ 316 h 460"/>
                    <a:gd name="T106" fmla="*/ 92 w 460"/>
                    <a:gd name="T107" fmla="*/ 268 h 460"/>
                    <a:gd name="T108" fmla="*/ 81 w 460"/>
                    <a:gd name="T109" fmla="*/ 240 h 460"/>
                    <a:gd name="T110" fmla="*/ 58 w 460"/>
                    <a:gd name="T111" fmla="*/ 206 h 460"/>
                    <a:gd name="T112" fmla="*/ 43 w 460"/>
                    <a:gd name="T113" fmla="*/ 186 h 460"/>
                    <a:gd name="T114" fmla="*/ 42 w 460"/>
                    <a:gd name="T115" fmla="*/ 140 h 460"/>
                    <a:gd name="T116" fmla="*/ 20 w 460"/>
                    <a:gd name="T117" fmla="*/ 110 h 460"/>
                    <a:gd name="T118" fmla="*/ 5 w 460"/>
                    <a:gd name="T119" fmla="*/ 93 h 460"/>
                    <a:gd name="T120" fmla="*/ 11 w 460"/>
                    <a:gd name="T121" fmla="*/ 71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0" h="460">
                      <a:moveTo>
                        <a:pt x="0" y="42"/>
                      </a:moveTo>
                      <a:lnTo>
                        <a:pt x="5" y="34"/>
                      </a:lnTo>
                      <a:lnTo>
                        <a:pt x="11" y="34"/>
                      </a:lnTo>
                      <a:lnTo>
                        <a:pt x="20" y="28"/>
                      </a:lnTo>
                      <a:lnTo>
                        <a:pt x="26" y="28"/>
                      </a:lnTo>
                      <a:lnTo>
                        <a:pt x="32" y="31"/>
                      </a:lnTo>
                      <a:lnTo>
                        <a:pt x="43" y="30"/>
                      </a:lnTo>
                      <a:lnTo>
                        <a:pt x="55" y="31"/>
                      </a:lnTo>
                      <a:lnTo>
                        <a:pt x="61" y="22"/>
                      </a:lnTo>
                      <a:lnTo>
                        <a:pt x="65" y="22"/>
                      </a:lnTo>
                      <a:lnTo>
                        <a:pt x="69" y="17"/>
                      </a:lnTo>
                      <a:lnTo>
                        <a:pt x="77" y="17"/>
                      </a:lnTo>
                      <a:lnTo>
                        <a:pt x="108" y="25"/>
                      </a:lnTo>
                      <a:lnTo>
                        <a:pt x="111" y="26"/>
                      </a:lnTo>
                      <a:lnTo>
                        <a:pt x="111" y="31"/>
                      </a:lnTo>
                      <a:lnTo>
                        <a:pt x="115" y="28"/>
                      </a:lnTo>
                      <a:lnTo>
                        <a:pt x="124" y="28"/>
                      </a:lnTo>
                      <a:lnTo>
                        <a:pt x="131" y="23"/>
                      </a:lnTo>
                      <a:lnTo>
                        <a:pt x="134" y="20"/>
                      </a:lnTo>
                      <a:lnTo>
                        <a:pt x="137" y="25"/>
                      </a:lnTo>
                      <a:lnTo>
                        <a:pt x="143" y="28"/>
                      </a:lnTo>
                      <a:lnTo>
                        <a:pt x="150" y="48"/>
                      </a:lnTo>
                      <a:lnTo>
                        <a:pt x="164" y="51"/>
                      </a:lnTo>
                      <a:lnTo>
                        <a:pt x="166" y="45"/>
                      </a:lnTo>
                      <a:lnTo>
                        <a:pt x="173" y="40"/>
                      </a:lnTo>
                      <a:lnTo>
                        <a:pt x="173" y="31"/>
                      </a:lnTo>
                      <a:lnTo>
                        <a:pt x="178" y="20"/>
                      </a:lnTo>
                      <a:lnTo>
                        <a:pt x="175" y="17"/>
                      </a:lnTo>
                      <a:lnTo>
                        <a:pt x="178" y="10"/>
                      </a:lnTo>
                      <a:lnTo>
                        <a:pt x="187" y="0"/>
                      </a:lnTo>
                      <a:lnTo>
                        <a:pt x="204" y="3"/>
                      </a:lnTo>
                      <a:lnTo>
                        <a:pt x="216" y="0"/>
                      </a:lnTo>
                      <a:lnTo>
                        <a:pt x="221" y="6"/>
                      </a:lnTo>
                      <a:lnTo>
                        <a:pt x="224" y="11"/>
                      </a:lnTo>
                      <a:lnTo>
                        <a:pt x="236" y="20"/>
                      </a:lnTo>
                      <a:lnTo>
                        <a:pt x="236" y="20"/>
                      </a:lnTo>
                      <a:lnTo>
                        <a:pt x="239" y="23"/>
                      </a:lnTo>
                      <a:lnTo>
                        <a:pt x="238" y="45"/>
                      </a:lnTo>
                      <a:lnTo>
                        <a:pt x="239" y="46"/>
                      </a:lnTo>
                      <a:lnTo>
                        <a:pt x="243" y="46"/>
                      </a:lnTo>
                      <a:lnTo>
                        <a:pt x="246" y="51"/>
                      </a:lnTo>
                      <a:lnTo>
                        <a:pt x="256" y="56"/>
                      </a:lnTo>
                      <a:lnTo>
                        <a:pt x="256" y="59"/>
                      </a:lnTo>
                      <a:lnTo>
                        <a:pt x="261" y="60"/>
                      </a:lnTo>
                      <a:lnTo>
                        <a:pt x="275" y="86"/>
                      </a:lnTo>
                      <a:lnTo>
                        <a:pt x="286" y="86"/>
                      </a:lnTo>
                      <a:lnTo>
                        <a:pt x="295" y="93"/>
                      </a:lnTo>
                      <a:lnTo>
                        <a:pt x="299" y="99"/>
                      </a:lnTo>
                      <a:lnTo>
                        <a:pt x="301" y="103"/>
                      </a:lnTo>
                      <a:lnTo>
                        <a:pt x="310" y="110"/>
                      </a:lnTo>
                      <a:lnTo>
                        <a:pt x="312" y="114"/>
                      </a:lnTo>
                      <a:lnTo>
                        <a:pt x="309" y="119"/>
                      </a:lnTo>
                      <a:lnTo>
                        <a:pt x="301" y="123"/>
                      </a:lnTo>
                      <a:lnTo>
                        <a:pt x="304" y="130"/>
                      </a:lnTo>
                      <a:lnTo>
                        <a:pt x="302" y="134"/>
                      </a:lnTo>
                      <a:lnTo>
                        <a:pt x="309" y="136"/>
                      </a:lnTo>
                      <a:lnTo>
                        <a:pt x="312" y="148"/>
                      </a:lnTo>
                      <a:lnTo>
                        <a:pt x="319" y="159"/>
                      </a:lnTo>
                      <a:lnTo>
                        <a:pt x="324" y="176"/>
                      </a:lnTo>
                      <a:lnTo>
                        <a:pt x="330" y="174"/>
                      </a:lnTo>
                      <a:lnTo>
                        <a:pt x="341" y="177"/>
                      </a:lnTo>
                      <a:lnTo>
                        <a:pt x="351" y="168"/>
                      </a:lnTo>
                      <a:lnTo>
                        <a:pt x="358" y="171"/>
                      </a:lnTo>
                      <a:lnTo>
                        <a:pt x="361" y="170"/>
                      </a:lnTo>
                      <a:lnTo>
                        <a:pt x="355" y="180"/>
                      </a:lnTo>
                      <a:lnTo>
                        <a:pt x="359" y="196"/>
                      </a:lnTo>
                      <a:lnTo>
                        <a:pt x="364" y="200"/>
                      </a:lnTo>
                      <a:lnTo>
                        <a:pt x="367" y="202"/>
                      </a:lnTo>
                      <a:lnTo>
                        <a:pt x="373" y="196"/>
                      </a:lnTo>
                      <a:lnTo>
                        <a:pt x="374" y="193"/>
                      </a:lnTo>
                      <a:lnTo>
                        <a:pt x="381" y="194"/>
                      </a:lnTo>
                      <a:lnTo>
                        <a:pt x="388" y="191"/>
                      </a:lnTo>
                      <a:lnTo>
                        <a:pt x="391" y="186"/>
                      </a:lnTo>
                      <a:lnTo>
                        <a:pt x="394" y="188"/>
                      </a:lnTo>
                      <a:lnTo>
                        <a:pt x="405" y="203"/>
                      </a:lnTo>
                      <a:lnTo>
                        <a:pt x="402" y="220"/>
                      </a:lnTo>
                      <a:lnTo>
                        <a:pt x="399" y="222"/>
                      </a:lnTo>
                      <a:lnTo>
                        <a:pt x="401" y="226"/>
                      </a:lnTo>
                      <a:lnTo>
                        <a:pt x="398" y="230"/>
                      </a:lnTo>
                      <a:lnTo>
                        <a:pt x="399" y="233"/>
                      </a:lnTo>
                      <a:lnTo>
                        <a:pt x="404" y="233"/>
                      </a:lnTo>
                      <a:lnTo>
                        <a:pt x="404" y="234"/>
                      </a:lnTo>
                      <a:lnTo>
                        <a:pt x="396" y="242"/>
                      </a:lnTo>
                      <a:lnTo>
                        <a:pt x="396" y="250"/>
                      </a:lnTo>
                      <a:lnTo>
                        <a:pt x="399" y="251"/>
                      </a:lnTo>
                      <a:lnTo>
                        <a:pt x="401" y="250"/>
                      </a:lnTo>
                      <a:lnTo>
                        <a:pt x="407" y="274"/>
                      </a:lnTo>
                      <a:lnTo>
                        <a:pt x="413" y="283"/>
                      </a:lnTo>
                      <a:lnTo>
                        <a:pt x="411" y="290"/>
                      </a:lnTo>
                      <a:lnTo>
                        <a:pt x="417" y="297"/>
                      </a:lnTo>
                      <a:lnTo>
                        <a:pt x="422" y="294"/>
                      </a:lnTo>
                      <a:lnTo>
                        <a:pt x="424" y="291"/>
                      </a:lnTo>
                      <a:lnTo>
                        <a:pt x="431" y="290"/>
                      </a:lnTo>
                      <a:lnTo>
                        <a:pt x="437" y="297"/>
                      </a:lnTo>
                      <a:lnTo>
                        <a:pt x="442" y="305"/>
                      </a:lnTo>
                      <a:lnTo>
                        <a:pt x="439" y="308"/>
                      </a:lnTo>
                      <a:lnTo>
                        <a:pt x="440" y="309"/>
                      </a:lnTo>
                      <a:lnTo>
                        <a:pt x="447" y="306"/>
                      </a:lnTo>
                      <a:lnTo>
                        <a:pt x="447" y="322"/>
                      </a:lnTo>
                      <a:lnTo>
                        <a:pt x="430" y="328"/>
                      </a:lnTo>
                      <a:lnTo>
                        <a:pt x="424" y="336"/>
                      </a:lnTo>
                      <a:lnTo>
                        <a:pt x="427" y="340"/>
                      </a:lnTo>
                      <a:lnTo>
                        <a:pt x="431" y="342"/>
                      </a:lnTo>
                      <a:lnTo>
                        <a:pt x="434" y="340"/>
                      </a:lnTo>
                      <a:lnTo>
                        <a:pt x="437" y="345"/>
                      </a:lnTo>
                      <a:lnTo>
                        <a:pt x="440" y="354"/>
                      </a:lnTo>
                      <a:lnTo>
                        <a:pt x="445" y="360"/>
                      </a:lnTo>
                      <a:lnTo>
                        <a:pt x="451" y="359"/>
                      </a:lnTo>
                      <a:lnTo>
                        <a:pt x="460" y="369"/>
                      </a:lnTo>
                      <a:lnTo>
                        <a:pt x="460" y="369"/>
                      </a:lnTo>
                      <a:lnTo>
                        <a:pt x="448" y="380"/>
                      </a:lnTo>
                      <a:lnTo>
                        <a:pt x="444" y="380"/>
                      </a:lnTo>
                      <a:lnTo>
                        <a:pt x="436" y="391"/>
                      </a:lnTo>
                      <a:lnTo>
                        <a:pt x="436" y="394"/>
                      </a:lnTo>
                      <a:lnTo>
                        <a:pt x="433" y="400"/>
                      </a:lnTo>
                      <a:lnTo>
                        <a:pt x="427" y="396"/>
                      </a:lnTo>
                      <a:lnTo>
                        <a:pt x="419" y="405"/>
                      </a:lnTo>
                      <a:lnTo>
                        <a:pt x="414" y="406"/>
                      </a:lnTo>
                      <a:lnTo>
                        <a:pt x="401" y="397"/>
                      </a:lnTo>
                      <a:lnTo>
                        <a:pt x="376" y="420"/>
                      </a:lnTo>
                      <a:lnTo>
                        <a:pt x="364" y="413"/>
                      </a:lnTo>
                      <a:lnTo>
                        <a:pt x="353" y="416"/>
                      </a:lnTo>
                      <a:lnTo>
                        <a:pt x="353" y="411"/>
                      </a:lnTo>
                      <a:lnTo>
                        <a:pt x="351" y="406"/>
                      </a:lnTo>
                      <a:lnTo>
                        <a:pt x="351" y="411"/>
                      </a:lnTo>
                      <a:lnTo>
                        <a:pt x="344" y="414"/>
                      </a:lnTo>
                      <a:lnTo>
                        <a:pt x="338" y="422"/>
                      </a:lnTo>
                      <a:lnTo>
                        <a:pt x="338" y="422"/>
                      </a:lnTo>
                      <a:lnTo>
                        <a:pt x="332" y="420"/>
                      </a:lnTo>
                      <a:lnTo>
                        <a:pt x="327" y="426"/>
                      </a:lnTo>
                      <a:lnTo>
                        <a:pt x="324" y="428"/>
                      </a:lnTo>
                      <a:lnTo>
                        <a:pt x="319" y="439"/>
                      </a:lnTo>
                      <a:lnTo>
                        <a:pt x="304" y="431"/>
                      </a:lnTo>
                      <a:lnTo>
                        <a:pt x="295" y="429"/>
                      </a:lnTo>
                      <a:lnTo>
                        <a:pt x="292" y="426"/>
                      </a:lnTo>
                      <a:lnTo>
                        <a:pt x="289" y="426"/>
                      </a:lnTo>
                      <a:lnTo>
                        <a:pt x="290" y="429"/>
                      </a:lnTo>
                      <a:lnTo>
                        <a:pt x="287" y="431"/>
                      </a:lnTo>
                      <a:lnTo>
                        <a:pt x="278" y="426"/>
                      </a:lnTo>
                      <a:lnTo>
                        <a:pt x="275" y="426"/>
                      </a:lnTo>
                      <a:lnTo>
                        <a:pt x="273" y="425"/>
                      </a:lnTo>
                      <a:lnTo>
                        <a:pt x="275" y="429"/>
                      </a:lnTo>
                      <a:lnTo>
                        <a:pt x="269" y="431"/>
                      </a:lnTo>
                      <a:lnTo>
                        <a:pt x="262" y="428"/>
                      </a:lnTo>
                      <a:lnTo>
                        <a:pt x="259" y="422"/>
                      </a:lnTo>
                      <a:lnTo>
                        <a:pt x="258" y="423"/>
                      </a:lnTo>
                      <a:lnTo>
                        <a:pt x="258" y="423"/>
                      </a:lnTo>
                      <a:lnTo>
                        <a:pt x="255" y="422"/>
                      </a:lnTo>
                      <a:lnTo>
                        <a:pt x="252" y="423"/>
                      </a:lnTo>
                      <a:lnTo>
                        <a:pt x="256" y="436"/>
                      </a:lnTo>
                      <a:lnTo>
                        <a:pt x="256" y="436"/>
                      </a:lnTo>
                      <a:lnTo>
                        <a:pt x="252" y="436"/>
                      </a:lnTo>
                      <a:lnTo>
                        <a:pt x="250" y="433"/>
                      </a:lnTo>
                      <a:lnTo>
                        <a:pt x="249" y="433"/>
                      </a:lnTo>
                      <a:lnTo>
                        <a:pt x="247" y="429"/>
                      </a:lnTo>
                      <a:lnTo>
                        <a:pt x="243" y="431"/>
                      </a:lnTo>
                      <a:lnTo>
                        <a:pt x="243" y="434"/>
                      </a:lnTo>
                      <a:lnTo>
                        <a:pt x="238" y="437"/>
                      </a:lnTo>
                      <a:lnTo>
                        <a:pt x="238" y="439"/>
                      </a:lnTo>
                      <a:lnTo>
                        <a:pt x="236" y="439"/>
                      </a:lnTo>
                      <a:lnTo>
                        <a:pt x="236" y="436"/>
                      </a:lnTo>
                      <a:lnTo>
                        <a:pt x="236" y="436"/>
                      </a:lnTo>
                      <a:lnTo>
                        <a:pt x="223" y="434"/>
                      </a:lnTo>
                      <a:lnTo>
                        <a:pt x="223" y="434"/>
                      </a:lnTo>
                      <a:lnTo>
                        <a:pt x="218" y="437"/>
                      </a:lnTo>
                      <a:lnTo>
                        <a:pt x="212" y="434"/>
                      </a:lnTo>
                      <a:lnTo>
                        <a:pt x="207" y="437"/>
                      </a:lnTo>
                      <a:lnTo>
                        <a:pt x="206" y="436"/>
                      </a:lnTo>
                      <a:lnTo>
                        <a:pt x="204" y="437"/>
                      </a:lnTo>
                      <a:lnTo>
                        <a:pt x="207" y="443"/>
                      </a:lnTo>
                      <a:lnTo>
                        <a:pt x="207" y="443"/>
                      </a:lnTo>
                      <a:lnTo>
                        <a:pt x="207" y="446"/>
                      </a:lnTo>
                      <a:lnTo>
                        <a:pt x="207" y="446"/>
                      </a:lnTo>
                      <a:lnTo>
                        <a:pt x="200" y="446"/>
                      </a:lnTo>
                      <a:lnTo>
                        <a:pt x="193" y="460"/>
                      </a:lnTo>
                      <a:lnTo>
                        <a:pt x="190" y="459"/>
                      </a:lnTo>
                      <a:lnTo>
                        <a:pt x="184" y="446"/>
                      </a:lnTo>
                      <a:lnTo>
                        <a:pt x="198" y="437"/>
                      </a:lnTo>
                      <a:lnTo>
                        <a:pt x="200" y="431"/>
                      </a:lnTo>
                      <a:lnTo>
                        <a:pt x="193" y="423"/>
                      </a:lnTo>
                      <a:lnTo>
                        <a:pt x="190" y="422"/>
                      </a:lnTo>
                      <a:lnTo>
                        <a:pt x="192" y="420"/>
                      </a:lnTo>
                      <a:lnTo>
                        <a:pt x="180" y="406"/>
                      </a:lnTo>
                      <a:lnTo>
                        <a:pt x="172" y="393"/>
                      </a:lnTo>
                      <a:lnTo>
                        <a:pt x="169" y="391"/>
                      </a:lnTo>
                      <a:lnTo>
                        <a:pt x="169" y="386"/>
                      </a:lnTo>
                      <a:lnTo>
                        <a:pt x="164" y="386"/>
                      </a:lnTo>
                      <a:lnTo>
                        <a:pt x="160" y="391"/>
                      </a:lnTo>
                      <a:lnTo>
                        <a:pt x="157" y="389"/>
                      </a:lnTo>
                      <a:lnTo>
                        <a:pt x="154" y="393"/>
                      </a:lnTo>
                      <a:lnTo>
                        <a:pt x="150" y="388"/>
                      </a:lnTo>
                      <a:lnTo>
                        <a:pt x="138" y="379"/>
                      </a:lnTo>
                      <a:lnTo>
                        <a:pt x="135" y="373"/>
                      </a:lnTo>
                      <a:lnTo>
                        <a:pt x="144" y="360"/>
                      </a:lnTo>
                      <a:lnTo>
                        <a:pt x="140" y="348"/>
                      </a:lnTo>
                      <a:lnTo>
                        <a:pt x="146" y="345"/>
                      </a:lnTo>
                      <a:lnTo>
                        <a:pt x="147" y="340"/>
                      </a:lnTo>
                      <a:lnTo>
                        <a:pt x="141" y="333"/>
                      </a:lnTo>
                      <a:lnTo>
                        <a:pt x="140" y="334"/>
                      </a:lnTo>
                      <a:lnTo>
                        <a:pt x="138" y="329"/>
                      </a:lnTo>
                      <a:lnTo>
                        <a:pt x="131" y="322"/>
                      </a:lnTo>
                      <a:lnTo>
                        <a:pt x="131" y="320"/>
                      </a:lnTo>
                      <a:lnTo>
                        <a:pt x="118" y="322"/>
                      </a:lnTo>
                      <a:lnTo>
                        <a:pt x="117" y="317"/>
                      </a:lnTo>
                      <a:lnTo>
                        <a:pt x="114" y="316"/>
                      </a:lnTo>
                      <a:lnTo>
                        <a:pt x="112" y="313"/>
                      </a:lnTo>
                      <a:lnTo>
                        <a:pt x="108" y="311"/>
                      </a:lnTo>
                      <a:lnTo>
                        <a:pt x="101" y="314"/>
                      </a:lnTo>
                      <a:lnTo>
                        <a:pt x="98" y="311"/>
                      </a:lnTo>
                      <a:lnTo>
                        <a:pt x="94" y="313"/>
                      </a:lnTo>
                      <a:lnTo>
                        <a:pt x="95" y="316"/>
                      </a:lnTo>
                      <a:lnTo>
                        <a:pt x="92" y="316"/>
                      </a:lnTo>
                      <a:lnTo>
                        <a:pt x="91" y="285"/>
                      </a:lnTo>
                      <a:lnTo>
                        <a:pt x="92" y="282"/>
                      </a:lnTo>
                      <a:lnTo>
                        <a:pt x="94" y="276"/>
                      </a:lnTo>
                      <a:lnTo>
                        <a:pt x="92" y="268"/>
                      </a:lnTo>
                      <a:lnTo>
                        <a:pt x="91" y="265"/>
                      </a:lnTo>
                      <a:lnTo>
                        <a:pt x="89" y="248"/>
                      </a:lnTo>
                      <a:lnTo>
                        <a:pt x="88" y="248"/>
                      </a:lnTo>
                      <a:lnTo>
                        <a:pt x="81" y="240"/>
                      </a:lnTo>
                      <a:lnTo>
                        <a:pt x="77" y="239"/>
                      </a:lnTo>
                      <a:lnTo>
                        <a:pt x="65" y="230"/>
                      </a:lnTo>
                      <a:lnTo>
                        <a:pt x="61" y="222"/>
                      </a:lnTo>
                      <a:lnTo>
                        <a:pt x="58" y="206"/>
                      </a:lnTo>
                      <a:lnTo>
                        <a:pt x="51" y="200"/>
                      </a:lnTo>
                      <a:lnTo>
                        <a:pt x="46" y="200"/>
                      </a:lnTo>
                      <a:lnTo>
                        <a:pt x="45" y="199"/>
                      </a:lnTo>
                      <a:lnTo>
                        <a:pt x="43" y="186"/>
                      </a:lnTo>
                      <a:lnTo>
                        <a:pt x="31" y="185"/>
                      </a:lnTo>
                      <a:lnTo>
                        <a:pt x="28" y="166"/>
                      </a:lnTo>
                      <a:lnTo>
                        <a:pt x="32" y="146"/>
                      </a:lnTo>
                      <a:lnTo>
                        <a:pt x="42" y="140"/>
                      </a:lnTo>
                      <a:lnTo>
                        <a:pt x="40" y="130"/>
                      </a:lnTo>
                      <a:lnTo>
                        <a:pt x="31" y="117"/>
                      </a:lnTo>
                      <a:lnTo>
                        <a:pt x="23" y="113"/>
                      </a:lnTo>
                      <a:lnTo>
                        <a:pt x="20" y="110"/>
                      </a:lnTo>
                      <a:lnTo>
                        <a:pt x="8" y="108"/>
                      </a:lnTo>
                      <a:lnTo>
                        <a:pt x="5" y="103"/>
                      </a:lnTo>
                      <a:lnTo>
                        <a:pt x="8" y="99"/>
                      </a:lnTo>
                      <a:lnTo>
                        <a:pt x="5" y="93"/>
                      </a:lnTo>
                      <a:lnTo>
                        <a:pt x="6" y="86"/>
                      </a:lnTo>
                      <a:lnTo>
                        <a:pt x="9" y="83"/>
                      </a:lnTo>
                      <a:lnTo>
                        <a:pt x="8" y="80"/>
                      </a:lnTo>
                      <a:lnTo>
                        <a:pt x="11" y="71"/>
                      </a:lnTo>
                      <a:lnTo>
                        <a:pt x="6" y="50"/>
                      </a:lnTo>
                      <a:lnTo>
                        <a:pt x="0" y="42"/>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07" name="Sibiu" descr="{&quot;Key&quot;:&quot;sibiu&quot;,&quot;Name&quot;:&quot;Sibiu&quot;,&quot;Value&quot;:1.0,&quot;Formula&quot;:&quot;&quot;,&quot;Text&quot;:&quot;1&quot;,&quot;OfficeApplication&quot;:0,&quot;HasValue&quot;:true}">
                  <a:extLst>
                    <a:ext uri="{FF2B5EF4-FFF2-40B4-BE49-F238E27FC236}">
                      <a16:creationId xmlns:a16="http://schemas.microsoft.com/office/drawing/2014/main" id="{0E2E698A-F1F3-C9C3-F634-34C9FBA61AB5}"/>
                    </a:ext>
                  </a:extLst>
                </p:cNvPr>
                <p:cNvSpPr>
                  <a:spLocks/>
                </p:cNvSpPr>
                <p:nvPr/>
              </p:nvSpPr>
              <p:spPr bwMode="auto">
                <a:xfrm>
                  <a:off x="5214938" y="3165476"/>
                  <a:ext cx="854075" cy="747713"/>
                </a:xfrm>
                <a:custGeom>
                  <a:avLst/>
                  <a:gdLst>
                    <a:gd name="T0" fmla="*/ 288 w 538"/>
                    <a:gd name="T1" fmla="*/ 18 h 471"/>
                    <a:gd name="T2" fmla="*/ 331 w 538"/>
                    <a:gd name="T3" fmla="*/ 12 h 471"/>
                    <a:gd name="T4" fmla="*/ 360 w 538"/>
                    <a:gd name="T5" fmla="*/ 23 h 471"/>
                    <a:gd name="T6" fmla="*/ 386 w 538"/>
                    <a:gd name="T7" fmla="*/ 12 h 471"/>
                    <a:gd name="T8" fmla="*/ 414 w 538"/>
                    <a:gd name="T9" fmla="*/ 12 h 471"/>
                    <a:gd name="T10" fmla="*/ 428 w 538"/>
                    <a:gd name="T11" fmla="*/ 5 h 471"/>
                    <a:gd name="T12" fmla="*/ 431 w 538"/>
                    <a:gd name="T13" fmla="*/ 32 h 471"/>
                    <a:gd name="T14" fmla="*/ 431 w 538"/>
                    <a:gd name="T15" fmla="*/ 65 h 471"/>
                    <a:gd name="T16" fmla="*/ 431 w 538"/>
                    <a:gd name="T17" fmla="*/ 97 h 471"/>
                    <a:gd name="T18" fmla="*/ 440 w 538"/>
                    <a:gd name="T19" fmla="*/ 117 h 471"/>
                    <a:gd name="T20" fmla="*/ 468 w 538"/>
                    <a:gd name="T21" fmla="*/ 112 h 471"/>
                    <a:gd name="T22" fmla="*/ 487 w 538"/>
                    <a:gd name="T23" fmla="*/ 108 h 471"/>
                    <a:gd name="T24" fmla="*/ 520 w 538"/>
                    <a:gd name="T25" fmla="*/ 109 h 471"/>
                    <a:gd name="T26" fmla="*/ 538 w 538"/>
                    <a:gd name="T27" fmla="*/ 125 h 471"/>
                    <a:gd name="T28" fmla="*/ 515 w 538"/>
                    <a:gd name="T29" fmla="*/ 140 h 471"/>
                    <a:gd name="T30" fmla="*/ 494 w 538"/>
                    <a:gd name="T31" fmla="*/ 158 h 471"/>
                    <a:gd name="T32" fmla="*/ 477 w 538"/>
                    <a:gd name="T33" fmla="*/ 178 h 471"/>
                    <a:gd name="T34" fmla="*/ 449 w 538"/>
                    <a:gd name="T35" fmla="*/ 194 h 471"/>
                    <a:gd name="T36" fmla="*/ 446 w 538"/>
                    <a:gd name="T37" fmla="*/ 214 h 471"/>
                    <a:gd name="T38" fmla="*/ 469 w 538"/>
                    <a:gd name="T39" fmla="*/ 243 h 471"/>
                    <a:gd name="T40" fmla="*/ 425 w 538"/>
                    <a:gd name="T41" fmla="*/ 265 h 471"/>
                    <a:gd name="T42" fmla="*/ 432 w 538"/>
                    <a:gd name="T43" fmla="*/ 328 h 471"/>
                    <a:gd name="T44" fmla="*/ 432 w 538"/>
                    <a:gd name="T45" fmla="*/ 371 h 471"/>
                    <a:gd name="T46" fmla="*/ 429 w 538"/>
                    <a:gd name="T47" fmla="*/ 394 h 471"/>
                    <a:gd name="T48" fmla="*/ 395 w 538"/>
                    <a:gd name="T49" fmla="*/ 398 h 471"/>
                    <a:gd name="T50" fmla="*/ 357 w 538"/>
                    <a:gd name="T51" fmla="*/ 406 h 471"/>
                    <a:gd name="T52" fmla="*/ 334 w 538"/>
                    <a:gd name="T53" fmla="*/ 401 h 471"/>
                    <a:gd name="T54" fmla="*/ 285 w 538"/>
                    <a:gd name="T55" fmla="*/ 409 h 471"/>
                    <a:gd name="T56" fmla="*/ 210 w 538"/>
                    <a:gd name="T57" fmla="*/ 435 h 471"/>
                    <a:gd name="T58" fmla="*/ 171 w 538"/>
                    <a:gd name="T59" fmla="*/ 429 h 471"/>
                    <a:gd name="T60" fmla="*/ 127 w 538"/>
                    <a:gd name="T61" fmla="*/ 431 h 471"/>
                    <a:gd name="T62" fmla="*/ 89 w 538"/>
                    <a:gd name="T63" fmla="*/ 431 h 471"/>
                    <a:gd name="T64" fmla="*/ 61 w 538"/>
                    <a:gd name="T65" fmla="*/ 446 h 471"/>
                    <a:gd name="T66" fmla="*/ 16 w 538"/>
                    <a:gd name="T67" fmla="*/ 471 h 471"/>
                    <a:gd name="T68" fmla="*/ 24 w 538"/>
                    <a:gd name="T69" fmla="*/ 448 h 471"/>
                    <a:gd name="T70" fmla="*/ 13 w 538"/>
                    <a:gd name="T71" fmla="*/ 398 h 471"/>
                    <a:gd name="T72" fmla="*/ 20 w 538"/>
                    <a:gd name="T73" fmla="*/ 377 h 471"/>
                    <a:gd name="T74" fmla="*/ 0 w 538"/>
                    <a:gd name="T75" fmla="*/ 334 h 471"/>
                    <a:gd name="T76" fmla="*/ 20 w 538"/>
                    <a:gd name="T77" fmla="*/ 314 h 471"/>
                    <a:gd name="T78" fmla="*/ 27 w 538"/>
                    <a:gd name="T79" fmla="*/ 294 h 471"/>
                    <a:gd name="T80" fmla="*/ 26 w 538"/>
                    <a:gd name="T81" fmla="*/ 269 h 471"/>
                    <a:gd name="T82" fmla="*/ 58 w 538"/>
                    <a:gd name="T83" fmla="*/ 255 h 471"/>
                    <a:gd name="T84" fmla="*/ 62 w 538"/>
                    <a:gd name="T85" fmla="*/ 226 h 471"/>
                    <a:gd name="T86" fmla="*/ 79 w 538"/>
                    <a:gd name="T87" fmla="*/ 203 h 471"/>
                    <a:gd name="T88" fmla="*/ 110 w 538"/>
                    <a:gd name="T89" fmla="*/ 185 h 471"/>
                    <a:gd name="T90" fmla="*/ 107 w 538"/>
                    <a:gd name="T91" fmla="*/ 160 h 471"/>
                    <a:gd name="T92" fmla="*/ 125 w 538"/>
                    <a:gd name="T93" fmla="*/ 140 h 471"/>
                    <a:gd name="T94" fmla="*/ 153 w 538"/>
                    <a:gd name="T95" fmla="*/ 145 h 471"/>
                    <a:gd name="T96" fmla="*/ 164 w 538"/>
                    <a:gd name="T97" fmla="*/ 154 h 471"/>
                    <a:gd name="T98" fmla="*/ 182 w 538"/>
                    <a:gd name="T99" fmla="*/ 123 h 471"/>
                    <a:gd name="T100" fmla="*/ 199 w 538"/>
                    <a:gd name="T101" fmla="*/ 97 h 471"/>
                    <a:gd name="T102" fmla="*/ 247 w 538"/>
                    <a:gd name="T103" fmla="*/ 72 h 471"/>
                    <a:gd name="T104" fmla="*/ 239 w 538"/>
                    <a:gd name="T105" fmla="*/ 48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8" h="471">
                      <a:moveTo>
                        <a:pt x="263" y="23"/>
                      </a:moveTo>
                      <a:lnTo>
                        <a:pt x="265" y="20"/>
                      </a:lnTo>
                      <a:lnTo>
                        <a:pt x="270" y="17"/>
                      </a:lnTo>
                      <a:lnTo>
                        <a:pt x="283" y="15"/>
                      </a:lnTo>
                      <a:lnTo>
                        <a:pt x="288" y="18"/>
                      </a:lnTo>
                      <a:lnTo>
                        <a:pt x="303" y="17"/>
                      </a:lnTo>
                      <a:lnTo>
                        <a:pt x="306" y="20"/>
                      </a:lnTo>
                      <a:lnTo>
                        <a:pt x="313" y="23"/>
                      </a:lnTo>
                      <a:lnTo>
                        <a:pt x="317" y="18"/>
                      </a:lnTo>
                      <a:lnTo>
                        <a:pt x="331" y="12"/>
                      </a:lnTo>
                      <a:lnTo>
                        <a:pt x="337" y="14"/>
                      </a:lnTo>
                      <a:lnTo>
                        <a:pt x="345" y="12"/>
                      </a:lnTo>
                      <a:lnTo>
                        <a:pt x="356" y="14"/>
                      </a:lnTo>
                      <a:lnTo>
                        <a:pt x="360" y="18"/>
                      </a:lnTo>
                      <a:lnTo>
                        <a:pt x="360" y="23"/>
                      </a:lnTo>
                      <a:lnTo>
                        <a:pt x="365" y="17"/>
                      </a:lnTo>
                      <a:lnTo>
                        <a:pt x="375" y="18"/>
                      </a:lnTo>
                      <a:lnTo>
                        <a:pt x="375" y="14"/>
                      </a:lnTo>
                      <a:lnTo>
                        <a:pt x="385" y="15"/>
                      </a:lnTo>
                      <a:lnTo>
                        <a:pt x="386" y="12"/>
                      </a:lnTo>
                      <a:lnTo>
                        <a:pt x="397" y="17"/>
                      </a:lnTo>
                      <a:lnTo>
                        <a:pt x="400" y="20"/>
                      </a:lnTo>
                      <a:lnTo>
                        <a:pt x="411" y="17"/>
                      </a:lnTo>
                      <a:lnTo>
                        <a:pt x="411" y="14"/>
                      </a:lnTo>
                      <a:lnTo>
                        <a:pt x="414" y="12"/>
                      </a:lnTo>
                      <a:lnTo>
                        <a:pt x="414" y="9"/>
                      </a:lnTo>
                      <a:lnTo>
                        <a:pt x="418" y="3"/>
                      </a:lnTo>
                      <a:lnTo>
                        <a:pt x="428" y="0"/>
                      </a:lnTo>
                      <a:lnTo>
                        <a:pt x="429" y="1"/>
                      </a:lnTo>
                      <a:lnTo>
                        <a:pt x="428" y="5"/>
                      </a:lnTo>
                      <a:lnTo>
                        <a:pt x="429" y="15"/>
                      </a:lnTo>
                      <a:lnTo>
                        <a:pt x="432" y="20"/>
                      </a:lnTo>
                      <a:lnTo>
                        <a:pt x="426" y="28"/>
                      </a:lnTo>
                      <a:lnTo>
                        <a:pt x="429" y="32"/>
                      </a:lnTo>
                      <a:lnTo>
                        <a:pt x="431" y="32"/>
                      </a:lnTo>
                      <a:lnTo>
                        <a:pt x="429" y="35"/>
                      </a:lnTo>
                      <a:lnTo>
                        <a:pt x="434" y="37"/>
                      </a:lnTo>
                      <a:lnTo>
                        <a:pt x="432" y="43"/>
                      </a:lnTo>
                      <a:lnTo>
                        <a:pt x="435" y="51"/>
                      </a:lnTo>
                      <a:lnTo>
                        <a:pt x="431" y="65"/>
                      </a:lnTo>
                      <a:lnTo>
                        <a:pt x="434" y="75"/>
                      </a:lnTo>
                      <a:lnTo>
                        <a:pt x="431" y="83"/>
                      </a:lnTo>
                      <a:lnTo>
                        <a:pt x="432" y="89"/>
                      </a:lnTo>
                      <a:lnTo>
                        <a:pt x="429" y="94"/>
                      </a:lnTo>
                      <a:lnTo>
                        <a:pt x="431" y="97"/>
                      </a:lnTo>
                      <a:lnTo>
                        <a:pt x="429" y="103"/>
                      </a:lnTo>
                      <a:lnTo>
                        <a:pt x="431" y="106"/>
                      </a:lnTo>
                      <a:lnTo>
                        <a:pt x="434" y="109"/>
                      </a:lnTo>
                      <a:lnTo>
                        <a:pt x="435" y="112"/>
                      </a:lnTo>
                      <a:lnTo>
                        <a:pt x="440" y="117"/>
                      </a:lnTo>
                      <a:lnTo>
                        <a:pt x="448" y="118"/>
                      </a:lnTo>
                      <a:lnTo>
                        <a:pt x="452" y="112"/>
                      </a:lnTo>
                      <a:lnTo>
                        <a:pt x="460" y="111"/>
                      </a:lnTo>
                      <a:lnTo>
                        <a:pt x="461" y="114"/>
                      </a:lnTo>
                      <a:lnTo>
                        <a:pt x="468" y="112"/>
                      </a:lnTo>
                      <a:lnTo>
                        <a:pt x="472" y="109"/>
                      </a:lnTo>
                      <a:lnTo>
                        <a:pt x="471" y="105"/>
                      </a:lnTo>
                      <a:lnTo>
                        <a:pt x="478" y="106"/>
                      </a:lnTo>
                      <a:lnTo>
                        <a:pt x="483" y="109"/>
                      </a:lnTo>
                      <a:lnTo>
                        <a:pt x="487" y="108"/>
                      </a:lnTo>
                      <a:lnTo>
                        <a:pt x="497" y="101"/>
                      </a:lnTo>
                      <a:lnTo>
                        <a:pt x="506" y="100"/>
                      </a:lnTo>
                      <a:lnTo>
                        <a:pt x="515" y="100"/>
                      </a:lnTo>
                      <a:lnTo>
                        <a:pt x="520" y="103"/>
                      </a:lnTo>
                      <a:lnTo>
                        <a:pt x="520" y="109"/>
                      </a:lnTo>
                      <a:lnTo>
                        <a:pt x="527" y="115"/>
                      </a:lnTo>
                      <a:lnTo>
                        <a:pt x="537" y="117"/>
                      </a:lnTo>
                      <a:lnTo>
                        <a:pt x="537" y="117"/>
                      </a:lnTo>
                      <a:lnTo>
                        <a:pt x="537" y="120"/>
                      </a:lnTo>
                      <a:lnTo>
                        <a:pt x="538" y="125"/>
                      </a:lnTo>
                      <a:lnTo>
                        <a:pt x="534" y="126"/>
                      </a:lnTo>
                      <a:lnTo>
                        <a:pt x="529" y="131"/>
                      </a:lnTo>
                      <a:lnTo>
                        <a:pt x="523" y="132"/>
                      </a:lnTo>
                      <a:lnTo>
                        <a:pt x="517" y="137"/>
                      </a:lnTo>
                      <a:lnTo>
                        <a:pt x="515" y="140"/>
                      </a:lnTo>
                      <a:lnTo>
                        <a:pt x="518" y="141"/>
                      </a:lnTo>
                      <a:lnTo>
                        <a:pt x="511" y="145"/>
                      </a:lnTo>
                      <a:lnTo>
                        <a:pt x="506" y="157"/>
                      </a:lnTo>
                      <a:lnTo>
                        <a:pt x="503" y="155"/>
                      </a:lnTo>
                      <a:lnTo>
                        <a:pt x="494" y="158"/>
                      </a:lnTo>
                      <a:lnTo>
                        <a:pt x="495" y="161"/>
                      </a:lnTo>
                      <a:lnTo>
                        <a:pt x="492" y="168"/>
                      </a:lnTo>
                      <a:lnTo>
                        <a:pt x="495" y="171"/>
                      </a:lnTo>
                      <a:lnTo>
                        <a:pt x="495" y="174"/>
                      </a:lnTo>
                      <a:lnTo>
                        <a:pt x="477" y="178"/>
                      </a:lnTo>
                      <a:lnTo>
                        <a:pt x="469" y="177"/>
                      </a:lnTo>
                      <a:lnTo>
                        <a:pt x="469" y="185"/>
                      </a:lnTo>
                      <a:lnTo>
                        <a:pt x="463" y="192"/>
                      </a:lnTo>
                      <a:lnTo>
                        <a:pt x="463" y="200"/>
                      </a:lnTo>
                      <a:lnTo>
                        <a:pt x="449" y="194"/>
                      </a:lnTo>
                      <a:lnTo>
                        <a:pt x="441" y="197"/>
                      </a:lnTo>
                      <a:lnTo>
                        <a:pt x="441" y="201"/>
                      </a:lnTo>
                      <a:lnTo>
                        <a:pt x="443" y="205"/>
                      </a:lnTo>
                      <a:lnTo>
                        <a:pt x="443" y="209"/>
                      </a:lnTo>
                      <a:lnTo>
                        <a:pt x="446" y="214"/>
                      </a:lnTo>
                      <a:lnTo>
                        <a:pt x="448" y="221"/>
                      </a:lnTo>
                      <a:lnTo>
                        <a:pt x="457" y="231"/>
                      </a:lnTo>
                      <a:lnTo>
                        <a:pt x="469" y="238"/>
                      </a:lnTo>
                      <a:lnTo>
                        <a:pt x="471" y="241"/>
                      </a:lnTo>
                      <a:lnTo>
                        <a:pt x="469" y="243"/>
                      </a:lnTo>
                      <a:lnTo>
                        <a:pt x="471" y="249"/>
                      </a:lnTo>
                      <a:lnTo>
                        <a:pt x="469" y="254"/>
                      </a:lnTo>
                      <a:lnTo>
                        <a:pt x="452" y="254"/>
                      </a:lnTo>
                      <a:lnTo>
                        <a:pt x="437" y="257"/>
                      </a:lnTo>
                      <a:lnTo>
                        <a:pt x="425" y="265"/>
                      </a:lnTo>
                      <a:lnTo>
                        <a:pt x="414" y="275"/>
                      </a:lnTo>
                      <a:lnTo>
                        <a:pt x="414" y="281"/>
                      </a:lnTo>
                      <a:lnTo>
                        <a:pt x="417" y="286"/>
                      </a:lnTo>
                      <a:lnTo>
                        <a:pt x="418" y="298"/>
                      </a:lnTo>
                      <a:lnTo>
                        <a:pt x="432" y="328"/>
                      </a:lnTo>
                      <a:lnTo>
                        <a:pt x="432" y="338"/>
                      </a:lnTo>
                      <a:lnTo>
                        <a:pt x="435" y="346"/>
                      </a:lnTo>
                      <a:lnTo>
                        <a:pt x="434" y="357"/>
                      </a:lnTo>
                      <a:lnTo>
                        <a:pt x="435" y="361"/>
                      </a:lnTo>
                      <a:lnTo>
                        <a:pt x="432" y="371"/>
                      </a:lnTo>
                      <a:lnTo>
                        <a:pt x="432" y="378"/>
                      </a:lnTo>
                      <a:lnTo>
                        <a:pt x="435" y="383"/>
                      </a:lnTo>
                      <a:lnTo>
                        <a:pt x="435" y="389"/>
                      </a:lnTo>
                      <a:lnTo>
                        <a:pt x="435" y="389"/>
                      </a:lnTo>
                      <a:lnTo>
                        <a:pt x="429" y="394"/>
                      </a:lnTo>
                      <a:lnTo>
                        <a:pt x="417" y="389"/>
                      </a:lnTo>
                      <a:lnTo>
                        <a:pt x="408" y="391"/>
                      </a:lnTo>
                      <a:lnTo>
                        <a:pt x="402" y="394"/>
                      </a:lnTo>
                      <a:lnTo>
                        <a:pt x="399" y="394"/>
                      </a:lnTo>
                      <a:lnTo>
                        <a:pt x="395" y="398"/>
                      </a:lnTo>
                      <a:lnTo>
                        <a:pt x="388" y="401"/>
                      </a:lnTo>
                      <a:lnTo>
                        <a:pt x="382" y="398"/>
                      </a:lnTo>
                      <a:lnTo>
                        <a:pt x="371" y="401"/>
                      </a:lnTo>
                      <a:lnTo>
                        <a:pt x="363" y="398"/>
                      </a:lnTo>
                      <a:lnTo>
                        <a:pt x="357" y="406"/>
                      </a:lnTo>
                      <a:lnTo>
                        <a:pt x="357" y="406"/>
                      </a:lnTo>
                      <a:lnTo>
                        <a:pt x="349" y="401"/>
                      </a:lnTo>
                      <a:lnTo>
                        <a:pt x="345" y="401"/>
                      </a:lnTo>
                      <a:lnTo>
                        <a:pt x="340" y="397"/>
                      </a:lnTo>
                      <a:lnTo>
                        <a:pt x="334" y="401"/>
                      </a:lnTo>
                      <a:lnTo>
                        <a:pt x="328" y="400"/>
                      </a:lnTo>
                      <a:lnTo>
                        <a:pt x="314" y="401"/>
                      </a:lnTo>
                      <a:lnTo>
                        <a:pt x="302" y="398"/>
                      </a:lnTo>
                      <a:lnTo>
                        <a:pt x="294" y="401"/>
                      </a:lnTo>
                      <a:lnTo>
                        <a:pt x="285" y="409"/>
                      </a:lnTo>
                      <a:lnTo>
                        <a:pt x="277" y="406"/>
                      </a:lnTo>
                      <a:lnTo>
                        <a:pt x="267" y="423"/>
                      </a:lnTo>
                      <a:lnTo>
                        <a:pt x="254" y="423"/>
                      </a:lnTo>
                      <a:lnTo>
                        <a:pt x="244" y="434"/>
                      </a:lnTo>
                      <a:lnTo>
                        <a:pt x="210" y="435"/>
                      </a:lnTo>
                      <a:lnTo>
                        <a:pt x="207" y="440"/>
                      </a:lnTo>
                      <a:lnTo>
                        <a:pt x="196" y="441"/>
                      </a:lnTo>
                      <a:lnTo>
                        <a:pt x="185" y="435"/>
                      </a:lnTo>
                      <a:lnTo>
                        <a:pt x="178" y="435"/>
                      </a:lnTo>
                      <a:lnTo>
                        <a:pt x="171" y="429"/>
                      </a:lnTo>
                      <a:lnTo>
                        <a:pt x="164" y="432"/>
                      </a:lnTo>
                      <a:lnTo>
                        <a:pt x="158" y="428"/>
                      </a:lnTo>
                      <a:lnTo>
                        <a:pt x="150" y="429"/>
                      </a:lnTo>
                      <a:lnTo>
                        <a:pt x="132" y="428"/>
                      </a:lnTo>
                      <a:lnTo>
                        <a:pt x="127" y="431"/>
                      </a:lnTo>
                      <a:lnTo>
                        <a:pt x="119" y="431"/>
                      </a:lnTo>
                      <a:lnTo>
                        <a:pt x="112" y="434"/>
                      </a:lnTo>
                      <a:lnTo>
                        <a:pt x="107" y="429"/>
                      </a:lnTo>
                      <a:lnTo>
                        <a:pt x="104" y="428"/>
                      </a:lnTo>
                      <a:lnTo>
                        <a:pt x="89" y="431"/>
                      </a:lnTo>
                      <a:lnTo>
                        <a:pt x="82" y="429"/>
                      </a:lnTo>
                      <a:lnTo>
                        <a:pt x="78" y="432"/>
                      </a:lnTo>
                      <a:lnTo>
                        <a:pt x="73" y="438"/>
                      </a:lnTo>
                      <a:lnTo>
                        <a:pt x="67" y="440"/>
                      </a:lnTo>
                      <a:lnTo>
                        <a:pt x="61" y="446"/>
                      </a:lnTo>
                      <a:lnTo>
                        <a:pt x="46" y="448"/>
                      </a:lnTo>
                      <a:lnTo>
                        <a:pt x="39" y="458"/>
                      </a:lnTo>
                      <a:lnTo>
                        <a:pt x="30" y="468"/>
                      </a:lnTo>
                      <a:lnTo>
                        <a:pt x="26" y="469"/>
                      </a:lnTo>
                      <a:lnTo>
                        <a:pt x="16" y="471"/>
                      </a:lnTo>
                      <a:lnTo>
                        <a:pt x="16" y="466"/>
                      </a:lnTo>
                      <a:lnTo>
                        <a:pt x="16" y="466"/>
                      </a:lnTo>
                      <a:lnTo>
                        <a:pt x="24" y="466"/>
                      </a:lnTo>
                      <a:lnTo>
                        <a:pt x="27" y="463"/>
                      </a:lnTo>
                      <a:lnTo>
                        <a:pt x="24" y="448"/>
                      </a:lnTo>
                      <a:lnTo>
                        <a:pt x="24" y="437"/>
                      </a:lnTo>
                      <a:lnTo>
                        <a:pt x="20" y="420"/>
                      </a:lnTo>
                      <a:lnTo>
                        <a:pt x="9" y="411"/>
                      </a:lnTo>
                      <a:lnTo>
                        <a:pt x="10" y="409"/>
                      </a:lnTo>
                      <a:lnTo>
                        <a:pt x="13" y="398"/>
                      </a:lnTo>
                      <a:lnTo>
                        <a:pt x="20" y="395"/>
                      </a:lnTo>
                      <a:lnTo>
                        <a:pt x="24" y="391"/>
                      </a:lnTo>
                      <a:lnTo>
                        <a:pt x="23" y="386"/>
                      </a:lnTo>
                      <a:lnTo>
                        <a:pt x="18" y="383"/>
                      </a:lnTo>
                      <a:lnTo>
                        <a:pt x="20" y="377"/>
                      </a:lnTo>
                      <a:lnTo>
                        <a:pt x="23" y="375"/>
                      </a:lnTo>
                      <a:lnTo>
                        <a:pt x="23" y="369"/>
                      </a:lnTo>
                      <a:lnTo>
                        <a:pt x="15" y="358"/>
                      </a:lnTo>
                      <a:lnTo>
                        <a:pt x="0" y="349"/>
                      </a:lnTo>
                      <a:lnTo>
                        <a:pt x="0" y="334"/>
                      </a:lnTo>
                      <a:lnTo>
                        <a:pt x="4" y="324"/>
                      </a:lnTo>
                      <a:lnTo>
                        <a:pt x="3" y="320"/>
                      </a:lnTo>
                      <a:lnTo>
                        <a:pt x="10" y="315"/>
                      </a:lnTo>
                      <a:lnTo>
                        <a:pt x="15" y="315"/>
                      </a:lnTo>
                      <a:lnTo>
                        <a:pt x="20" y="314"/>
                      </a:lnTo>
                      <a:lnTo>
                        <a:pt x="24" y="303"/>
                      </a:lnTo>
                      <a:lnTo>
                        <a:pt x="33" y="300"/>
                      </a:lnTo>
                      <a:lnTo>
                        <a:pt x="30" y="298"/>
                      </a:lnTo>
                      <a:lnTo>
                        <a:pt x="30" y="294"/>
                      </a:lnTo>
                      <a:lnTo>
                        <a:pt x="27" y="294"/>
                      </a:lnTo>
                      <a:lnTo>
                        <a:pt x="24" y="289"/>
                      </a:lnTo>
                      <a:lnTo>
                        <a:pt x="20" y="289"/>
                      </a:lnTo>
                      <a:lnTo>
                        <a:pt x="16" y="285"/>
                      </a:lnTo>
                      <a:lnTo>
                        <a:pt x="21" y="275"/>
                      </a:lnTo>
                      <a:lnTo>
                        <a:pt x="26" y="269"/>
                      </a:lnTo>
                      <a:lnTo>
                        <a:pt x="32" y="269"/>
                      </a:lnTo>
                      <a:lnTo>
                        <a:pt x="35" y="265"/>
                      </a:lnTo>
                      <a:lnTo>
                        <a:pt x="44" y="261"/>
                      </a:lnTo>
                      <a:lnTo>
                        <a:pt x="55" y="265"/>
                      </a:lnTo>
                      <a:lnTo>
                        <a:pt x="58" y="255"/>
                      </a:lnTo>
                      <a:lnTo>
                        <a:pt x="56" y="251"/>
                      </a:lnTo>
                      <a:lnTo>
                        <a:pt x="59" y="240"/>
                      </a:lnTo>
                      <a:lnTo>
                        <a:pt x="59" y="235"/>
                      </a:lnTo>
                      <a:lnTo>
                        <a:pt x="62" y="228"/>
                      </a:lnTo>
                      <a:lnTo>
                        <a:pt x="62" y="226"/>
                      </a:lnTo>
                      <a:lnTo>
                        <a:pt x="56" y="221"/>
                      </a:lnTo>
                      <a:lnTo>
                        <a:pt x="61" y="212"/>
                      </a:lnTo>
                      <a:lnTo>
                        <a:pt x="56" y="209"/>
                      </a:lnTo>
                      <a:lnTo>
                        <a:pt x="72" y="208"/>
                      </a:lnTo>
                      <a:lnTo>
                        <a:pt x="79" y="203"/>
                      </a:lnTo>
                      <a:lnTo>
                        <a:pt x="82" y="205"/>
                      </a:lnTo>
                      <a:lnTo>
                        <a:pt x="86" y="203"/>
                      </a:lnTo>
                      <a:lnTo>
                        <a:pt x="90" y="205"/>
                      </a:lnTo>
                      <a:lnTo>
                        <a:pt x="98" y="191"/>
                      </a:lnTo>
                      <a:lnTo>
                        <a:pt x="110" y="185"/>
                      </a:lnTo>
                      <a:lnTo>
                        <a:pt x="107" y="172"/>
                      </a:lnTo>
                      <a:lnTo>
                        <a:pt x="110" y="169"/>
                      </a:lnTo>
                      <a:lnTo>
                        <a:pt x="109" y="163"/>
                      </a:lnTo>
                      <a:lnTo>
                        <a:pt x="112" y="161"/>
                      </a:lnTo>
                      <a:lnTo>
                        <a:pt x="107" y="160"/>
                      </a:lnTo>
                      <a:lnTo>
                        <a:pt x="102" y="155"/>
                      </a:lnTo>
                      <a:lnTo>
                        <a:pt x="113" y="143"/>
                      </a:lnTo>
                      <a:lnTo>
                        <a:pt x="116" y="143"/>
                      </a:lnTo>
                      <a:lnTo>
                        <a:pt x="119" y="137"/>
                      </a:lnTo>
                      <a:lnTo>
                        <a:pt x="125" y="140"/>
                      </a:lnTo>
                      <a:lnTo>
                        <a:pt x="128" y="137"/>
                      </a:lnTo>
                      <a:lnTo>
                        <a:pt x="141" y="138"/>
                      </a:lnTo>
                      <a:lnTo>
                        <a:pt x="148" y="137"/>
                      </a:lnTo>
                      <a:lnTo>
                        <a:pt x="148" y="141"/>
                      </a:lnTo>
                      <a:lnTo>
                        <a:pt x="153" y="145"/>
                      </a:lnTo>
                      <a:lnTo>
                        <a:pt x="159" y="151"/>
                      </a:lnTo>
                      <a:lnTo>
                        <a:pt x="159" y="154"/>
                      </a:lnTo>
                      <a:lnTo>
                        <a:pt x="164" y="163"/>
                      </a:lnTo>
                      <a:lnTo>
                        <a:pt x="165" y="158"/>
                      </a:lnTo>
                      <a:lnTo>
                        <a:pt x="164" y="154"/>
                      </a:lnTo>
                      <a:lnTo>
                        <a:pt x="181" y="143"/>
                      </a:lnTo>
                      <a:lnTo>
                        <a:pt x="176" y="140"/>
                      </a:lnTo>
                      <a:lnTo>
                        <a:pt x="179" y="137"/>
                      </a:lnTo>
                      <a:lnTo>
                        <a:pt x="178" y="132"/>
                      </a:lnTo>
                      <a:lnTo>
                        <a:pt x="182" y="123"/>
                      </a:lnTo>
                      <a:lnTo>
                        <a:pt x="188" y="117"/>
                      </a:lnTo>
                      <a:lnTo>
                        <a:pt x="185" y="112"/>
                      </a:lnTo>
                      <a:lnTo>
                        <a:pt x="193" y="106"/>
                      </a:lnTo>
                      <a:lnTo>
                        <a:pt x="198" y="105"/>
                      </a:lnTo>
                      <a:lnTo>
                        <a:pt x="199" y="97"/>
                      </a:lnTo>
                      <a:lnTo>
                        <a:pt x="208" y="86"/>
                      </a:lnTo>
                      <a:lnTo>
                        <a:pt x="213" y="83"/>
                      </a:lnTo>
                      <a:lnTo>
                        <a:pt x="222" y="85"/>
                      </a:lnTo>
                      <a:lnTo>
                        <a:pt x="239" y="75"/>
                      </a:lnTo>
                      <a:lnTo>
                        <a:pt x="247" y="72"/>
                      </a:lnTo>
                      <a:lnTo>
                        <a:pt x="248" y="68"/>
                      </a:lnTo>
                      <a:lnTo>
                        <a:pt x="245" y="63"/>
                      </a:lnTo>
                      <a:lnTo>
                        <a:pt x="239" y="60"/>
                      </a:lnTo>
                      <a:lnTo>
                        <a:pt x="237" y="58"/>
                      </a:lnTo>
                      <a:lnTo>
                        <a:pt x="239" y="48"/>
                      </a:lnTo>
                      <a:lnTo>
                        <a:pt x="244" y="41"/>
                      </a:lnTo>
                      <a:lnTo>
                        <a:pt x="240" y="37"/>
                      </a:lnTo>
                      <a:lnTo>
                        <a:pt x="260" y="26"/>
                      </a:lnTo>
                      <a:lnTo>
                        <a:pt x="263" y="23"/>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08" name="Salaj" descr="{&quot;Key&quot;:&quot;salaj&quot;,&quot;Name&quot;:&quot;Salaj&quot;,&quot;Value&quot;:1.0,&quot;Formula&quot;:&quot;&quot;,&quot;Text&quot;:&quot;1&quot;,&quot;OfficeApplication&quot;:0,&quot;HasValue&quot;:true}">
                  <a:extLst>
                    <a:ext uri="{FF2B5EF4-FFF2-40B4-BE49-F238E27FC236}">
                      <a16:creationId xmlns:a16="http://schemas.microsoft.com/office/drawing/2014/main" id="{0C26FC0D-942E-A349-4F3F-7FF3D99105D4}"/>
                    </a:ext>
                  </a:extLst>
                </p:cNvPr>
                <p:cNvSpPr>
                  <a:spLocks/>
                </p:cNvSpPr>
                <p:nvPr/>
              </p:nvSpPr>
              <p:spPr bwMode="auto">
                <a:xfrm>
                  <a:off x="4522788" y="2084388"/>
                  <a:ext cx="852488" cy="558800"/>
                </a:xfrm>
                <a:custGeom>
                  <a:avLst/>
                  <a:gdLst>
                    <a:gd name="T0" fmla="*/ 273 w 537"/>
                    <a:gd name="T1" fmla="*/ 0 h 352"/>
                    <a:gd name="T2" fmla="*/ 287 w 537"/>
                    <a:gd name="T3" fmla="*/ 4 h 352"/>
                    <a:gd name="T4" fmla="*/ 304 w 537"/>
                    <a:gd name="T5" fmla="*/ 15 h 352"/>
                    <a:gd name="T6" fmla="*/ 334 w 537"/>
                    <a:gd name="T7" fmla="*/ 27 h 352"/>
                    <a:gd name="T8" fmla="*/ 360 w 537"/>
                    <a:gd name="T9" fmla="*/ 35 h 352"/>
                    <a:gd name="T10" fmla="*/ 399 w 537"/>
                    <a:gd name="T11" fmla="*/ 49 h 352"/>
                    <a:gd name="T12" fmla="*/ 436 w 537"/>
                    <a:gd name="T13" fmla="*/ 47 h 352"/>
                    <a:gd name="T14" fmla="*/ 469 w 537"/>
                    <a:gd name="T15" fmla="*/ 46 h 352"/>
                    <a:gd name="T16" fmla="*/ 485 w 537"/>
                    <a:gd name="T17" fmla="*/ 67 h 352"/>
                    <a:gd name="T18" fmla="*/ 506 w 537"/>
                    <a:gd name="T19" fmla="*/ 69 h 352"/>
                    <a:gd name="T20" fmla="*/ 537 w 537"/>
                    <a:gd name="T21" fmla="*/ 70 h 352"/>
                    <a:gd name="T22" fmla="*/ 522 w 537"/>
                    <a:gd name="T23" fmla="*/ 93 h 352"/>
                    <a:gd name="T24" fmla="*/ 525 w 537"/>
                    <a:gd name="T25" fmla="*/ 124 h 352"/>
                    <a:gd name="T26" fmla="*/ 488 w 537"/>
                    <a:gd name="T27" fmla="*/ 118 h 352"/>
                    <a:gd name="T28" fmla="*/ 462 w 537"/>
                    <a:gd name="T29" fmla="*/ 138 h 352"/>
                    <a:gd name="T30" fmla="*/ 448 w 537"/>
                    <a:gd name="T31" fmla="*/ 166 h 352"/>
                    <a:gd name="T32" fmla="*/ 417 w 537"/>
                    <a:gd name="T33" fmla="*/ 170 h 352"/>
                    <a:gd name="T34" fmla="*/ 396 w 537"/>
                    <a:gd name="T35" fmla="*/ 178 h 352"/>
                    <a:gd name="T36" fmla="*/ 393 w 537"/>
                    <a:gd name="T37" fmla="*/ 203 h 352"/>
                    <a:gd name="T38" fmla="*/ 380 w 537"/>
                    <a:gd name="T39" fmla="*/ 212 h 352"/>
                    <a:gd name="T40" fmla="*/ 390 w 537"/>
                    <a:gd name="T41" fmla="*/ 233 h 352"/>
                    <a:gd name="T42" fmla="*/ 388 w 537"/>
                    <a:gd name="T43" fmla="*/ 253 h 352"/>
                    <a:gd name="T44" fmla="*/ 377 w 537"/>
                    <a:gd name="T45" fmla="*/ 273 h 352"/>
                    <a:gd name="T46" fmla="*/ 359 w 537"/>
                    <a:gd name="T47" fmla="*/ 276 h 352"/>
                    <a:gd name="T48" fmla="*/ 350 w 537"/>
                    <a:gd name="T49" fmla="*/ 287 h 352"/>
                    <a:gd name="T50" fmla="*/ 345 w 537"/>
                    <a:gd name="T51" fmla="*/ 306 h 352"/>
                    <a:gd name="T52" fmla="*/ 330 w 537"/>
                    <a:gd name="T53" fmla="*/ 318 h 352"/>
                    <a:gd name="T54" fmla="*/ 302 w 537"/>
                    <a:gd name="T55" fmla="*/ 315 h 352"/>
                    <a:gd name="T56" fmla="*/ 293 w 537"/>
                    <a:gd name="T57" fmla="*/ 290 h 352"/>
                    <a:gd name="T58" fmla="*/ 284 w 537"/>
                    <a:gd name="T59" fmla="*/ 310 h 352"/>
                    <a:gd name="T60" fmla="*/ 281 w 537"/>
                    <a:gd name="T61" fmla="*/ 338 h 352"/>
                    <a:gd name="T62" fmla="*/ 251 w 537"/>
                    <a:gd name="T63" fmla="*/ 349 h 352"/>
                    <a:gd name="T64" fmla="*/ 238 w 537"/>
                    <a:gd name="T65" fmla="*/ 330 h 352"/>
                    <a:gd name="T66" fmla="*/ 218 w 537"/>
                    <a:gd name="T67" fmla="*/ 336 h 352"/>
                    <a:gd name="T68" fmla="*/ 205 w 537"/>
                    <a:gd name="T69" fmla="*/ 327 h 352"/>
                    <a:gd name="T70" fmla="*/ 192 w 537"/>
                    <a:gd name="T71" fmla="*/ 323 h 352"/>
                    <a:gd name="T72" fmla="*/ 175 w 537"/>
                    <a:gd name="T73" fmla="*/ 309 h 352"/>
                    <a:gd name="T74" fmla="*/ 164 w 537"/>
                    <a:gd name="T75" fmla="*/ 281 h 352"/>
                    <a:gd name="T76" fmla="*/ 147 w 537"/>
                    <a:gd name="T77" fmla="*/ 267 h 352"/>
                    <a:gd name="T78" fmla="*/ 109 w 537"/>
                    <a:gd name="T79" fmla="*/ 266 h 352"/>
                    <a:gd name="T80" fmla="*/ 87 w 537"/>
                    <a:gd name="T81" fmla="*/ 241 h 352"/>
                    <a:gd name="T82" fmla="*/ 47 w 537"/>
                    <a:gd name="T83" fmla="*/ 227 h 352"/>
                    <a:gd name="T84" fmla="*/ 23 w 537"/>
                    <a:gd name="T85" fmla="*/ 201 h 352"/>
                    <a:gd name="T86" fmla="*/ 14 w 537"/>
                    <a:gd name="T87" fmla="*/ 167 h 352"/>
                    <a:gd name="T88" fmla="*/ 11 w 537"/>
                    <a:gd name="T89" fmla="*/ 133 h 352"/>
                    <a:gd name="T90" fmla="*/ 23 w 537"/>
                    <a:gd name="T91" fmla="*/ 83 h 352"/>
                    <a:gd name="T92" fmla="*/ 44 w 537"/>
                    <a:gd name="T93" fmla="*/ 63 h 352"/>
                    <a:gd name="T94" fmla="*/ 73 w 537"/>
                    <a:gd name="T95" fmla="*/ 46 h 352"/>
                    <a:gd name="T96" fmla="*/ 120 w 537"/>
                    <a:gd name="T97" fmla="*/ 24 h 352"/>
                    <a:gd name="T98" fmla="*/ 158 w 537"/>
                    <a:gd name="T99" fmla="*/ 27 h 352"/>
                    <a:gd name="T100" fmla="*/ 176 w 537"/>
                    <a:gd name="T101" fmla="*/ 40 h 352"/>
                    <a:gd name="T102" fmla="*/ 201 w 537"/>
                    <a:gd name="T103" fmla="*/ 53 h 352"/>
                    <a:gd name="T104" fmla="*/ 232 w 537"/>
                    <a:gd name="T105" fmla="*/ 50 h 352"/>
                    <a:gd name="T106" fmla="*/ 245 w 537"/>
                    <a:gd name="T107" fmla="*/ 2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7" h="352">
                      <a:moveTo>
                        <a:pt x="241" y="16"/>
                      </a:moveTo>
                      <a:lnTo>
                        <a:pt x="247" y="10"/>
                      </a:lnTo>
                      <a:lnTo>
                        <a:pt x="258" y="6"/>
                      </a:lnTo>
                      <a:lnTo>
                        <a:pt x="264" y="7"/>
                      </a:lnTo>
                      <a:lnTo>
                        <a:pt x="273" y="0"/>
                      </a:lnTo>
                      <a:lnTo>
                        <a:pt x="274" y="1"/>
                      </a:lnTo>
                      <a:lnTo>
                        <a:pt x="279" y="1"/>
                      </a:lnTo>
                      <a:lnTo>
                        <a:pt x="285" y="4"/>
                      </a:lnTo>
                      <a:lnTo>
                        <a:pt x="285" y="7"/>
                      </a:lnTo>
                      <a:lnTo>
                        <a:pt x="287" y="4"/>
                      </a:lnTo>
                      <a:lnTo>
                        <a:pt x="290" y="4"/>
                      </a:lnTo>
                      <a:lnTo>
                        <a:pt x="290" y="7"/>
                      </a:lnTo>
                      <a:lnTo>
                        <a:pt x="290" y="10"/>
                      </a:lnTo>
                      <a:lnTo>
                        <a:pt x="299" y="12"/>
                      </a:lnTo>
                      <a:lnTo>
                        <a:pt x="304" y="15"/>
                      </a:lnTo>
                      <a:lnTo>
                        <a:pt x="314" y="13"/>
                      </a:lnTo>
                      <a:lnTo>
                        <a:pt x="321" y="18"/>
                      </a:lnTo>
                      <a:lnTo>
                        <a:pt x="327" y="16"/>
                      </a:lnTo>
                      <a:lnTo>
                        <a:pt x="331" y="26"/>
                      </a:lnTo>
                      <a:lnTo>
                        <a:pt x="334" y="27"/>
                      </a:lnTo>
                      <a:lnTo>
                        <a:pt x="339" y="24"/>
                      </a:lnTo>
                      <a:lnTo>
                        <a:pt x="340" y="26"/>
                      </a:lnTo>
                      <a:lnTo>
                        <a:pt x="340" y="33"/>
                      </a:lnTo>
                      <a:lnTo>
                        <a:pt x="345" y="32"/>
                      </a:lnTo>
                      <a:lnTo>
                        <a:pt x="360" y="35"/>
                      </a:lnTo>
                      <a:lnTo>
                        <a:pt x="363" y="38"/>
                      </a:lnTo>
                      <a:lnTo>
                        <a:pt x="368" y="38"/>
                      </a:lnTo>
                      <a:lnTo>
                        <a:pt x="374" y="44"/>
                      </a:lnTo>
                      <a:lnTo>
                        <a:pt x="397" y="44"/>
                      </a:lnTo>
                      <a:lnTo>
                        <a:pt x="399" y="49"/>
                      </a:lnTo>
                      <a:lnTo>
                        <a:pt x="402" y="50"/>
                      </a:lnTo>
                      <a:lnTo>
                        <a:pt x="416" y="47"/>
                      </a:lnTo>
                      <a:lnTo>
                        <a:pt x="423" y="50"/>
                      </a:lnTo>
                      <a:lnTo>
                        <a:pt x="425" y="52"/>
                      </a:lnTo>
                      <a:lnTo>
                        <a:pt x="436" y="47"/>
                      </a:lnTo>
                      <a:lnTo>
                        <a:pt x="440" y="50"/>
                      </a:lnTo>
                      <a:lnTo>
                        <a:pt x="452" y="43"/>
                      </a:lnTo>
                      <a:lnTo>
                        <a:pt x="456" y="43"/>
                      </a:lnTo>
                      <a:lnTo>
                        <a:pt x="459" y="41"/>
                      </a:lnTo>
                      <a:lnTo>
                        <a:pt x="469" y="46"/>
                      </a:lnTo>
                      <a:lnTo>
                        <a:pt x="474" y="60"/>
                      </a:lnTo>
                      <a:lnTo>
                        <a:pt x="479" y="58"/>
                      </a:lnTo>
                      <a:lnTo>
                        <a:pt x="485" y="61"/>
                      </a:lnTo>
                      <a:lnTo>
                        <a:pt x="488" y="66"/>
                      </a:lnTo>
                      <a:lnTo>
                        <a:pt x="485" y="67"/>
                      </a:lnTo>
                      <a:lnTo>
                        <a:pt x="483" y="72"/>
                      </a:lnTo>
                      <a:lnTo>
                        <a:pt x="491" y="73"/>
                      </a:lnTo>
                      <a:lnTo>
                        <a:pt x="495" y="70"/>
                      </a:lnTo>
                      <a:lnTo>
                        <a:pt x="503" y="72"/>
                      </a:lnTo>
                      <a:lnTo>
                        <a:pt x="506" y="69"/>
                      </a:lnTo>
                      <a:lnTo>
                        <a:pt x="517" y="69"/>
                      </a:lnTo>
                      <a:lnTo>
                        <a:pt x="522" y="64"/>
                      </a:lnTo>
                      <a:lnTo>
                        <a:pt x="531" y="69"/>
                      </a:lnTo>
                      <a:lnTo>
                        <a:pt x="537" y="70"/>
                      </a:lnTo>
                      <a:lnTo>
                        <a:pt x="537" y="70"/>
                      </a:lnTo>
                      <a:lnTo>
                        <a:pt x="535" y="75"/>
                      </a:lnTo>
                      <a:lnTo>
                        <a:pt x="529" y="80"/>
                      </a:lnTo>
                      <a:lnTo>
                        <a:pt x="529" y="84"/>
                      </a:lnTo>
                      <a:lnTo>
                        <a:pt x="525" y="87"/>
                      </a:lnTo>
                      <a:lnTo>
                        <a:pt x="522" y="93"/>
                      </a:lnTo>
                      <a:lnTo>
                        <a:pt x="523" y="95"/>
                      </a:lnTo>
                      <a:lnTo>
                        <a:pt x="518" y="103"/>
                      </a:lnTo>
                      <a:lnTo>
                        <a:pt x="525" y="110"/>
                      </a:lnTo>
                      <a:lnTo>
                        <a:pt x="528" y="124"/>
                      </a:lnTo>
                      <a:lnTo>
                        <a:pt x="525" y="124"/>
                      </a:lnTo>
                      <a:lnTo>
                        <a:pt x="515" y="113"/>
                      </a:lnTo>
                      <a:lnTo>
                        <a:pt x="502" y="107"/>
                      </a:lnTo>
                      <a:lnTo>
                        <a:pt x="497" y="119"/>
                      </a:lnTo>
                      <a:lnTo>
                        <a:pt x="489" y="123"/>
                      </a:lnTo>
                      <a:lnTo>
                        <a:pt x="488" y="118"/>
                      </a:lnTo>
                      <a:lnTo>
                        <a:pt x="483" y="121"/>
                      </a:lnTo>
                      <a:lnTo>
                        <a:pt x="482" y="123"/>
                      </a:lnTo>
                      <a:lnTo>
                        <a:pt x="477" y="124"/>
                      </a:lnTo>
                      <a:lnTo>
                        <a:pt x="466" y="135"/>
                      </a:lnTo>
                      <a:lnTo>
                        <a:pt x="462" y="138"/>
                      </a:lnTo>
                      <a:lnTo>
                        <a:pt x="460" y="143"/>
                      </a:lnTo>
                      <a:lnTo>
                        <a:pt x="454" y="146"/>
                      </a:lnTo>
                      <a:lnTo>
                        <a:pt x="451" y="153"/>
                      </a:lnTo>
                      <a:lnTo>
                        <a:pt x="452" y="161"/>
                      </a:lnTo>
                      <a:lnTo>
                        <a:pt x="448" y="166"/>
                      </a:lnTo>
                      <a:lnTo>
                        <a:pt x="445" y="166"/>
                      </a:lnTo>
                      <a:lnTo>
                        <a:pt x="442" y="170"/>
                      </a:lnTo>
                      <a:lnTo>
                        <a:pt x="433" y="163"/>
                      </a:lnTo>
                      <a:lnTo>
                        <a:pt x="425" y="161"/>
                      </a:lnTo>
                      <a:lnTo>
                        <a:pt x="417" y="170"/>
                      </a:lnTo>
                      <a:lnTo>
                        <a:pt x="419" y="175"/>
                      </a:lnTo>
                      <a:lnTo>
                        <a:pt x="414" y="173"/>
                      </a:lnTo>
                      <a:lnTo>
                        <a:pt x="409" y="176"/>
                      </a:lnTo>
                      <a:lnTo>
                        <a:pt x="402" y="175"/>
                      </a:lnTo>
                      <a:lnTo>
                        <a:pt x="396" y="178"/>
                      </a:lnTo>
                      <a:lnTo>
                        <a:pt x="397" y="190"/>
                      </a:lnTo>
                      <a:lnTo>
                        <a:pt x="400" y="192"/>
                      </a:lnTo>
                      <a:lnTo>
                        <a:pt x="402" y="195"/>
                      </a:lnTo>
                      <a:lnTo>
                        <a:pt x="402" y="201"/>
                      </a:lnTo>
                      <a:lnTo>
                        <a:pt x="393" y="203"/>
                      </a:lnTo>
                      <a:lnTo>
                        <a:pt x="391" y="207"/>
                      </a:lnTo>
                      <a:lnTo>
                        <a:pt x="394" y="209"/>
                      </a:lnTo>
                      <a:lnTo>
                        <a:pt x="394" y="213"/>
                      </a:lnTo>
                      <a:lnTo>
                        <a:pt x="386" y="213"/>
                      </a:lnTo>
                      <a:lnTo>
                        <a:pt x="380" y="212"/>
                      </a:lnTo>
                      <a:lnTo>
                        <a:pt x="380" y="213"/>
                      </a:lnTo>
                      <a:lnTo>
                        <a:pt x="373" y="215"/>
                      </a:lnTo>
                      <a:lnTo>
                        <a:pt x="383" y="227"/>
                      </a:lnTo>
                      <a:lnTo>
                        <a:pt x="383" y="232"/>
                      </a:lnTo>
                      <a:lnTo>
                        <a:pt x="390" y="233"/>
                      </a:lnTo>
                      <a:lnTo>
                        <a:pt x="391" y="239"/>
                      </a:lnTo>
                      <a:lnTo>
                        <a:pt x="390" y="241"/>
                      </a:lnTo>
                      <a:lnTo>
                        <a:pt x="394" y="246"/>
                      </a:lnTo>
                      <a:lnTo>
                        <a:pt x="394" y="252"/>
                      </a:lnTo>
                      <a:lnTo>
                        <a:pt x="388" y="253"/>
                      </a:lnTo>
                      <a:lnTo>
                        <a:pt x="390" y="259"/>
                      </a:lnTo>
                      <a:lnTo>
                        <a:pt x="385" y="263"/>
                      </a:lnTo>
                      <a:lnTo>
                        <a:pt x="385" y="266"/>
                      </a:lnTo>
                      <a:lnTo>
                        <a:pt x="382" y="267"/>
                      </a:lnTo>
                      <a:lnTo>
                        <a:pt x="377" y="273"/>
                      </a:lnTo>
                      <a:lnTo>
                        <a:pt x="373" y="272"/>
                      </a:lnTo>
                      <a:lnTo>
                        <a:pt x="373" y="273"/>
                      </a:lnTo>
                      <a:lnTo>
                        <a:pt x="371" y="273"/>
                      </a:lnTo>
                      <a:lnTo>
                        <a:pt x="362" y="272"/>
                      </a:lnTo>
                      <a:lnTo>
                        <a:pt x="359" y="276"/>
                      </a:lnTo>
                      <a:lnTo>
                        <a:pt x="365" y="278"/>
                      </a:lnTo>
                      <a:lnTo>
                        <a:pt x="359" y="281"/>
                      </a:lnTo>
                      <a:lnTo>
                        <a:pt x="353" y="283"/>
                      </a:lnTo>
                      <a:lnTo>
                        <a:pt x="354" y="287"/>
                      </a:lnTo>
                      <a:lnTo>
                        <a:pt x="350" y="287"/>
                      </a:lnTo>
                      <a:lnTo>
                        <a:pt x="348" y="289"/>
                      </a:lnTo>
                      <a:lnTo>
                        <a:pt x="353" y="292"/>
                      </a:lnTo>
                      <a:lnTo>
                        <a:pt x="353" y="298"/>
                      </a:lnTo>
                      <a:lnTo>
                        <a:pt x="350" y="301"/>
                      </a:lnTo>
                      <a:lnTo>
                        <a:pt x="345" y="306"/>
                      </a:lnTo>
                      <a:lnTo>
                        <a:pt x="342" y="307"/>
                      </a:lnTo>
                      <a:lnTo>
                        <a:pt x="344" y="312"/>
                      </a:lnTo>
                      <a:lnTo>
                        <a:pt x="340" y="316"/>
                      </a:lnTo>
                      <a:lnTo>
                        <a:pt x="334" y="319"/>
                      </a:lnTo>
                      <a:lnTo>
                        <a:pt x="330" y="318"/>
                      </a:lnTo>
                      <a:lnTo>
                        <a:pt x="321" y="324"/>
                      </a:lnTo>
                      <a:lnTo>
                        <a:pt x="316" y="323"/>
                      </a:lnTo>
                      <a:lnTo>
                        <a:pt x="314" y="318"/>
                      </a:lnTo>
                      <a:lnTo>
                        <a:pt x="305" y="319"/>
                      </a:lnTo>
                      <a:lnTo>
                        <a:pt x="302" y="315"/>
                      </a:lnTo>
                      <a:lnTo>
                        <a:pt x="304" y="306"/>
                      </a:lnTo>
                      <a:lnTo>
                        <a:pt x="301" y="299"/>
                      </a:lnTo>
                      <a:lnTo>
                        <a:pt x="294" y="298"/>
                      </a:lnTo>
                      <a:lnTo>
                        <a:pt x="294" y="292"/>
                      </a:lnTo>
                      <a:lnTo>
                        <a:pt x="293" y="290"/>
                      </a:lnTo>
                      <a:lnTo>
                        <a:pt x="293" y="292"/>
                      </a:lnTo>
                      <a:lnTo>
                        <a:pt x="285" y="295"/>
                      </a:lnTo>
                      <a:lnTo>
                        <a:pt x="288" y="303"/>
                      </a:lnTo>
                      <a:lnTo>
                        <a:pt x="287" y="307"/>
                      </a:lnTo>
                      <a:lnTo>
                        <a:pt x="284" y="310"/>
                      </a:lnTo>
                      <a:lnTo>
                        <a:pt x="285" y="324"/>
                      </a:lnTo>
                      <a:lnTo>
                        <a:pt x="288" y="330"/>
                      </a:lnTo>
                      <a:lnTo>
                        <a:pt x="285" y="330"/>
                      </a:lnTo>
                      <a:lnTo>
                        <a:pt x="284" y="335"/>
                      </a:lnTo>
                      <a:lnTo>
                        <a:pt x="281" y="338"/>
                      </a:lnTo>
                      <a:lnTo>
                        <a:pt x="279" y="343"/>
                      </a:lnTo>
                      <a:lnTo>
                        <a:pt x="273" y="339"/>
                      </a:lnTo>
                      <a:lnTo>
                        <a:pt x="264" y="341"/>
                      </a:lnTo>
                      <a:lnTo>
                        <a:pt x="258" y="349"/>
                      </a:lnTo>
                      <a:lnTo>
                        <a:pt x="251" y="349"/>
                      </a:lnTo>
                      <a:lnTo>
                        <a:pt x="242" y="352"/>
                      </a:lnTo>
                      <a:lnTo>
                        <a:pt x="239" y="350"/>
                      </a:lnTo>
                      <a:lnTo>
                        <a:pt x="232" y="347"/>
                      </a:lnTo>
                      <a:lnTo>
                        <a:pt x="235" y="335"/>
                      </a:lnTo>
                      <a:lnTo>
                        <a:pt x="238" y="330"/>
                      </a:lnTo>
                      <a:lnTo>
                        <a:pt x="233" y="327"/>
                      </a:lnTo>
                      <a:lnTo>
                        <a:pt x="232" y="326"/>
                      </a:lnTo>
                      <a:lnTo>
                        <a:pt x="227" y="324"/>
                      </a:lnTo>
                      <a:lnTo>
                        <a:pt x="227" y="323"/>
                      </a:lnTo>
                      <a:lnTo>
                        <a:pt x="218" y="336"/>
                      </a:lnTo>
                      <a:lnTo>
                        <a:pt x="215" y="335"/>
                      </a:lnTo>
                      <a:lnTo>
                        <a:pt x="216" y="327"/>
                      </a:lnTo>
                      <a:lnTo>
                        <a:pt x="213" y="324"/>
                      </a:lnTo>
                      <a:lnTo>
                        <a:pt x="207" y="330"/>
                      </a:lnTo>
                      <a:lnTo>
                        <a:pt x="205" y="327"/>
                      </a:lnTo>
                      <a:lnTo>
                        <a:pt x="207" y="324"/>
                      </a:lnTo>
                      <a:lnTo>
                        <a:pt x="204" y="324"/>
                      </a:lnTo>
                      <a:lnTo>
                        <a:pt x="202" y="321"/>
                      </a:lnTo>
                      <a:lnTo>
                        <a:pt x="195" y="324"/>
                      </a:lnTo>
                      <a:lnTo>
                        <a:pt x="192" y="323"/>
                      </a:lnTo>
                      <a:lnTo>
                        <a:pt x="187" y="324"/>
                      </a:lnTo>
                      <a:lnTo>
                        <a:pt x="182" y="321"/>
                      </a:lnTo>
                      <a:lnTo>
                        <a:pt x="182" y="318"/>
                      </a:lnTo>
                      <a:lnTo>
                        <a:pt x="176" y="316"/>
                      </a:lnTo>
                      <a:lnTo>
                        <a:pt x="175" y="309"/>
                      </a:lnTo>
                      <a:lnTo>
                        <a:pt x="170" y="304"/>
                      </a:lnTo>
                      <a:lnTo>
                        <a:pt x="164" y="304"/>
                      </a:lnTo>
                      <a:lnTo>
                        <a:pt x="161" y="299"/>
                      </a:lnTo>
                      <a:lnTo>
                        <a:pt x="161" y="283"/>
                      </a:lnTo>
                      <a:lnTo>
                        <a:pt x="164" y="281"/>
                      </a:lnTo>
                      <a:lnTo>
                        <a:pt x="166" y="275"/>
                      </a:lnTo>
                      <a:lnTo>
                        <a:pt x="162" y="273"/>
                      </a:lnTo>
                      <a:lnTo>
                        <a:pt x="153" y="272"/>
                      </a:lnTo>
                      <a:lnTo>
                        <a:pt x="152" y="266"/>
                      </a:lnTo>
                      <a:lnTo>
                        <a:pt x="147" y="267"/>
                      </a:lnTo>
                      <a:lnTo>
                        <a:pt x="144" y="261"/>
                      </a:lnTo>
                      <a:lnTo>
                        <a:pt x="138" y="263"/>
                      </a:lnTo>
                      <a:lnTo>
                        <a:pt x="130" y="261"/>
                      </a:lnTo>
                      <a:lnTo>
                        <a:pt x="116" y="266"/>
                      </a:lnTo>
                      <a:lnTo>
                        <a:pt x="109" y="266"/>
                      </a:lnTo>
                      <a:lnTo>
                        <a:pt x="101" y="263"/>
                      </a:lnTo>
                      <a:lnTo>
                        <a:pt x="90" y="263"/>
                      </a:lnTo>
                      <a:lnTo>
                        <a:pt x="90" y="263"/>
                      </a:lnTo>
                      <a:lnTo>
                        <a:pt x="90" y="241"/>
                      </a:lnTo>
                      <a:lnTo>
                        <a:pt x="87" y="241"/>
                      </a:lnTo>
                      <a:lnTo>
                        <a:pt x="80" y="244"/>
                      </a:lnTo>
                      <a:lnTo>
                        <a:pt x="78" y="239"/>
                      </a:lnTo>
                      <a:lnTo>
                        <a:pt x="75" y="236"/>
                      </a:lnTo>
                      <a:lnTo>
                        <a:pt x="55" y="235"/>
                      </a:lnTo>
                      <a:lnTo>
                        <a:pt x="47" y="227"/>
                      </a:lnTo>
                      <a:lnTo>
                        <a:pt x="44" y="218"/>
                      </a:lnTo>
                      <a:lnTo>
                        <a:pt x="32" y="221"/>
                      </a:lnTo>
                      <a:lnTo>
                        <a:pt x="27" y="215"/>
                      </a:lnTo>
                      <a:lnTo>
                        <a:pt x="27" y="210"/>
                      </a:lnTo>
                      <a:lnTo>
                        <a:pt x="23" y="201"/>
                      </a:lnTo>
                      <a:lnTo>
                        <a:pt x="27" y="196"/>
                      </a:lnTo>
                      <a:lnTo>
                        <a:pt x="27" y="193"/>
                      </a:lnTo>
                      <a:lnTo>
                        <a:pt x="17" y="183"/>
                      </a:lnTo>
                      <a:lnTo>
                        <a:pt x="17" y="175"/>
                      </a:lnTo>
                      <a:lnTo>
                        <a:pt x="14" y="167"/>
                      </a:lnTo>
                      <a:lnTo>
                        <a:pt x="4" y="166"/>
                      </a:lnTo>
                      <a:lnTo>
                        <a:pt x="0" y="159"/>
                      </a:lnTo>
                      <a:lnTo>
                        <a:pt x="8" y="153"/>
                      </a:lnTo>
                      <a:lnTo>
                        <a:pt x="6" y="141"/>
                      </a:lnTo>
                      <a:lnTo>
                        <a:pt x="11" y="133"/>
                      </a:lnTo>
                      <a:lnTo>
                        <a:pt x="18" y="129"/>
                      </a:lnTo>
                      <a:lnTo>
                        <a:pt x="20" y="127"/>
                      </a:lnTo>
                      <a:lnTo>
                        <a:pt x="21" y="115"/>
                      </a:lnTo>
                      <a:lnTo>
                        <a:pt x="20" y="93"/>
                      </a:lnTo>
                      <a:lnTo>
                        <a:pt x="23" y="83"/>
                      </a:lnTo>
                      <a:lnTo>
                        <a:pt x="35" y="80"/>
                      </a:lnTo>
                      <a:lnTo>
                        <a:pt x="44" y="73"/>
                      </a:lnTo>
                      <a:lnTo>
                        <a:pt x="46" y="70"/>
                      </a:lnTo>
                      <a:lnTo>
                        <a:pt x="44" y="63"/>
                      </a:lnTo>
                      <a:lnTo>
                        <a:pt x="44" y="63"/>
                      </a:lnTo>
                      <a:lnTo>
                        <a:pt x="50" y="63"/>
                      </a:lnTo>
                      <a:lnTo>
                        <a:pt x="52" y="64"/>
                      </a:lnTo>
                      <a:lnTo>
                        <a:pt x="58" y="56"/>
                      </a:lnTo>
                      <a:lnTo>
                        <a:pt x="60" y="47"/>
                      </a:lnTo>
                      <a:lnTo>
                        <a:pt x="73" y="46"/>
                      </a:lnTo>
                      <a:lnTo>
                        <a:pt x="80" y="41"/>
                      </a:lnTo>
                      <a:lnTo>
                        <a:pt x="83" y="33"/>
                      </a:lnTo>
                      <a:lnTo>
                        <a:pt x="87" y="30"/>
                      </a:lnTo>
                      <a:lnTo>
                        <a:pt x="112" y="29"/>
                      </a:lnTo>
                      <a:lnTo>
                        <a:pt x="120" y="24"/>
                      </a:lnTo>
                      <a:lnTo>
                        <a:pt x="126" y="27"/>
                      </a:lnTo>
                      <a:lnTo>
                        <a:pt x="127" y="32"/>
                      </a:lnTo>
                      <a:lnTo>
                        <a:pt x="133" y="23"/>
                      </a:lnTo>
                      <a:lnTo>
                        <a:pt x="141" y="20"/>
                      </a:lnTo>
                      <a:lnTo>
                        <a:pt x="158" y="27"/>
                      </a:lnTo>
                      <a:lnTo>
                        <a:pt x="159" y="30"/>
                      </a:lnTo>
                      <a:lnTo>
                        <a:pt x="164" y="27"/>
                      </a:lnTo>
                      <a:lnTo>
                        <a:pt x="172" y="27"/>
                      </a:lnTo>
                      <a:lnTo>
                        <a:pt x="167" y="40"/>
                      </a:lnTo>
                      <a:lnTo>
                        <a:pt x="176" y="40"/>
                      </a:lnTo>
                      <a:lnTo>
                        <a:pt x="176" y="43"/>
                      </a:lnTo>
                      <a:lnTo>
                        <a:pt x="184" y="55"/>
                      </a:lnTo>
                      <a:lnTo>
                        <a:pt x="192" y="60"/>
                      </a:lnTo>
                      <a:lnTo>
                        <a:pt x="196" y="55"/>
                      </a:lnTo>
                      <a:lnTo>
                        <a:pt x="201" y="53"/>
                      </a:lnTo>
                      <a:lnTo>
                        <a:pt x="204" y="56"/>
                      </a:lnTo>
                      <a:lnTo>
                        <a:pt x="207" y="53"/>
                      </a:lnTo>
                      <a:lnTo>
                        <a:pt x="224" y="58"/>
                      </a:lnTo>
                      <a:lnTo>
                        <a:pt x="227" y="52"/>
                      </a:lnTo>
                      <a:lnTo>
                        <a:pt x="232" y="50"/>
                      </a:lnTo>
                      <a:lnTo>
                        <a:pt x="232" y="49"/>
                      </a:lnTo>
                      <a:lnTo>
                        <a:pt x="238" y="43"/>
                      </a:lnTo>
                      <a:lnTo>
                        <a:pt x="239" y="36"/>
                      </a:lnTo>
                      <a:lnTo>
                        <a:pt x="245" y="32"/>
                      </a:lnTo>
                      <a:lnTo>
                        <a:pt x="245" y="27"/>
                      </a:lnTo>
                      <a:lnTo>
                        <a:pt x="245" y="21"/>
                      </a:lnTo>
                      <a:lnTo>
                        <a:pt x="241" y="16"/>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09" name="Satu Mare" descr="{&quot;Key&quot;:&quot;satu mare&quot;,&quot;Name&quot;:&quot;Satu Mare&quot;,&quot;Value&quot;:1.0,&quot;Formula&quot;:&quot;&quot;,&quot;Text&quot;:&quot;1&quot;,&quot;OfficeApplication&quot;:0,&quot;HasValue&quot;:true}">
                  <a:extLst>
                    <a:ext uri="{FF2B5EF4-FFF2-40B4-BE49-F238E27FC236}">
                      <a16:creationId xmlns:a16="http://schemas.microsoft.com/office/drawing/2014/main" id="{9B2F7A01-BAE1-43B6-0E37-00AF0F4C17EE}"/>
                    </a:ext>
                  </a:extLst>
                </p:cNvPr>
                <p:cNvSpPr>
                  <a:spLocks/>
                </p:cNvSpPr>
                <p:nvPr/>
              </p:nvSpPr>
              <p:spPr bwMode="auto">
                <a:xfrm>
                  <a:off x="4327525" y="1458913"/>
                  <a:ext cx="923925" cy="727075"/>
                </a:xfrm>
                <a:custGeom>
                  <a:avLst/>
                  <a:gdLst>
                    <a:gd name="T0" fmla="*/ 430 w 582"/>
                    <a:gd name="T1" fmla="*/ 12 h 458"/>
                    <a:gd name="T2" fmla="*/ 440 w 582"/>
                    <a:gd name="T3" fmla="*/ 44 h 458"/>
                    <a:gd name="T4" fmla="*/ 457 w 582"/>
                    <a:gd name="T5" fmla="*/ 52 h 458"/>
                    <a:gd name="T6" fmla="*/ 473 w 582"/>
                    <a:gd name="T7" fmla="*/ 66 h 458"/>
                    <a:gd name="T8" fmla="*/ 497 w 582"/>
                    <a:gd name="T9" fmla="*/ 77 h 458"/>
                    <a:gd name="T10" fmla="*/ 523 w 582"/>
                    <a:gd name="T11" fmla="*/ 90 h 458"/>
                    <a:gd name="T12" fmla="*/ 554 w 582"/>
                    <a:gd name="T13" fmla="*/ 114 h 458"/>
                    <a:gd name="T14" fmla="*/ 574 w 582"/>
                    <a:gd name="T15" fmla="*/ 135 h 458"/>
                    <a:gd name="T16" fmla="*/ 566 w 582"/>
                    <a:gd name="T17" fmla="*/ 163 h 458"/>
                    <a:gd name="T18" fmla="*/ 548 w 582"/>
                    <a:gd name="T19" fmla="*/ 181 h 458"/>
                    <a:gd name="T20" fmla="*/ 509 w 582"/>
                    <a:gd name="T21" fmla="*/ 209 h 458"/>
                    <a:gd name="T22" fmla="*/ 482 w 582"/>
                    <a:gd name="T23" fmla="*/ 204 h 458"/>
                    <a:gd name="T24" fmla="*/ 440 w 582"/>
                    <a:gd name="T25" fmla="*/ 195 h 458"/>
                    <a:gd name="T26" fmla="*/ 417 w 582"/>
                    <a:gd name="T27" fmla="*/ 220 h 458"/>
                    <a:gd name="T28" fmla="*/ 434 w 582"/>
                    <a:gd name="T29" fmla="*/ 235 h 458"/>
                    <a:gd name="T30" fmla="*/ 462 w 582"/>
                    <a:gd name="T31" fmla="*/ 246 h 458"/>
                    <a:gd name="T32" fmla="*/ 480 w 582"/>
                    <a:gd name="T33" fmla="*/ 258 h 458"/>
                    <a:gd name="T34" fmla="*/ 454 w 582"/>
                    <a:gd name="T35" fmla="*/ 281 h 458"/>
                    <a:gd name="T36" fmla="*/ 440 w 582"/>
                    <a:gd name="T37" fmla="*/ 327 h 458"/>
                    <a:gd name="T38" fmla="*/ 413 w 582"/>
                    <a:gd name="T39" fmla="*/ 323 h 458"/>
                    <a:gd name="T40" fmla="*/ 355 w 582"/>
                    <a:gd name="T41" fmla="*/ 320 h 458"/>
                    <a:gd name="T42" fmla="*/ 328 w 582"/>
                    <a:gd name="T43" fmla="*/ 374 h 458"/>
                    <a:gd name="T44" fmla="*/ 315 w 582"/>
                    <a:gd name="T45" fmla="*/ 384 h 458"/>
                    <a:gd name="T46" fmla="*/ 344 w 582"/>
                    <a:gd name="T47" fmla="*/ 404 h 458"/>
                    <a:gd name="T48" fmla="*/ 368 w 582"/>
                    <a:gd name="T49" fmla="*/ 421 h 458"/>
                    <a:gd name="T50" fmla="*/ 350 w 582"/>
                    <a:gd name="T51" fmla="*/ 446 h 458"/>
                    <a:gd name="T52" fmla="*/ 315 w 582"/>
                    <a:gd name="T53" fmla="*/ 454 h 458"/>
                    <a:gd name="T54" fmla="*/ 287 w 582"/>
                    <a:gd name="T55" fmla="*/ 421 h 458"/>
                    <a:gd name="T56" fmla="*/ 249 w 582"/>
                    <a:gd name="T57" fmla="*/ 421 h 458"/>
                    <a:gd name="T58" fmla="*/ 196 w 582"/>
                    <a:gd name="T59" fmla="*/ 440 h 458"/>
                    <a:gd name="T60" fmla="*/ 167 w 582"/>
                    <a:gd name="T61" fmla="*/ 457 h 458"/>
                    <a:gd name="T62" fmla="*/ 135 w 582"/>
                    <a:gd name="T63" fmla="*/ 423 h 458"/>
                    <a:gd name="T64" fmla="*/ 115 w 582"/>
                    <a:gd name="T65" fmla="*/ 404 h 458"/>
                    <a:gd name="T66" fmla="*/ 89 w 582"/>
                    <a:gd name="T67" fmla="*/ 406 h 458"/>
                    <a:gd name="T68" fmla="*/ 68 w 582"/>
                    <a:gd name="T69" fmla="*/ 403 h 458"/>
                    <a:gd name="T70" fmla="*/ 57 w 582"/>
                    <a:gd name="T71" fmla="*/ 367 h 458"/>
                    <a:gd name="T72" fmla="*/ 28 w 582"/>
                    <a:gd name="T73" fmla="*/ 344 h 458"/>
                    <a:gd name="T74" fmla="*/ 23 w 582"/>
                    <a:gd name="T75" fmla="*/ 323 h 458"/>
                    <a:gd name="T76" fmla="*/ 8 w 582"/>
                    <a:gd name="T77" fmla="*/ 275 h 458"/>
                    <a:gd name="T78" fmla="*/ 28 w 582"/>
                    <a:gd name="T79" fmla="*/ 252 h 458"/>
                    <a:gd name="T80" fmla="*/ 52 w 582"/>
                    <a:gd name="T81" fmla="*/ 209 h 458"/>
                    <a:gd name="T82" fmla="*/ 97 w 582"/>
                    <a:gd name="T83" fmla="*/ 224 h 458"/>
                    <a:gd name="T84" fmla="*/ 144 w 582"/>
                    <a:gd name="T85" fmla="*/ 206 h 458"/>
                    <a:gd name="T86" fmla="*/ 192 w 582"/>
                    <a:gd name="T87" fmla="*/ 198 h 458"/>
                    <a:gd name="T88" fmla="*/ 215 w 582"/>
                    <a:gd name="T89" fmla="*/ 167 h 458"/>
                    <a:gd name="T90" fmla="*/ 230 w 582"/>
                    <a:gd name="T91" fmla="*/ 143 h 458"/>
                    <a:gd name="T92" fmla="*/ 261 w 582"/>
                    <a:gd name="T93" fmla="*/ 126 h 458"/>
                    <a:gd name="T94" fmla="*/ 282 w 582"/>
                    <a:gd name="T95" fmla="*/ 98 h 458"/>
                    <a:gd name="T96" fmla="*/ 295 w 582"/>
                    <a:gd name="T97" fmla="*/ 72 h 458"/>
                    <a:gd name="T98" fmla="*/ 313 w 582"/>
                    <a:gd name="T99" fmla="*/ 64 h 458"/>
                    <a:gd name="T100" fmla="*/ 328 w 582"/>
                    <a:gd name="T101" fmla="*/ 74 h 458"/>
                    <a:gd name="T102" fmla="*/ 361 w 582"/>
                    <a:gd name="T103" fmla="*/ 67 h 458"/>
                    <a:gd name="T104" fmla="*/ 368 w 582"/>
                    <a:gd name="T105" fmla="*/ 40 h 458"/>
                    <a:gd name="T106" fmla="*/ 381 w 582"/>
                    <a:gd name="T107" fmla="*/ 15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2" h="458">
                      <a:moveTo>
                        <a:pt x="391" y="0"/>
                      </a:moveTo>
                      <a:lnTo>
                        <a:pt x="396" y="1"/>
                      </a:lnTo>
                      <a:lnTo>
                        <a:pt x="401" y="14"/>
                      </a:lnTo>
                      <a:lnTo>
                        <a:pt x="422" y="17"/>
                      </a:lnTo>
                      <a:lnTo>
                        <a:pt x="425" y="12"/>
                      </a:lnTo>
                      <a:lnTo>
                        <a:pt x="430" y="12"/>
                      </a:lnTo>
                      <a:lnTo>
                        <a:pt x="431" y="20"/>
                      </a:lnTo>
                      <a:lnTo>
                        <a:pt x="440" y="27"/>
                      </a:lnTo>
                      <a:lnTo>
                        <a:pt x="437" y="29"/>
                      </a:lnTo>
                      <a:lnTo>
                        <a:pt x="434" y="35"/>
                      </a:lnTo>
                      <a:lnTo>
                        <a:pt x="436" y="38"/>
                      </a:lnTo>
                      <a:lnTo>
                        <a:pt x="440" y="44"/>
                      </a:lnTo>
                      <a:lnTo>
                        <a:pt x="445" y="46"/>
                      </a:lnTo>
                      <a:lnTo>
                        <a:pt x="450" y="44"/>
                      </a:lnTo>
                      <a:lnTo>
                        <a:pt x="454" y="49"/>
                      </a:lnTo>
                      <a:lnTo>
                        <a:pt x="457" y="49"/>
                      </a:lnTo>
                      <a:lnTo>
                        <a:pt x="459" y="50"/>
                      </a:lnTo>
                      <a:lnTo>
                        <a:pt x="457" y="52"/>
                      </a:lnTo>
                      <a:lnTo>
                        <a:pt x="456" y="57"/>
                      </a:lnTo>
                      <a:lnTo>
                        <a:pt x="457" y="60"/>
                      </a:lnTo>
                      <a:lnTo>
                        <a:pt x="460" y="60"/>
                      </a:lnTo>
                      <a:lnTo>
                        <a:pt x="463" y="60"/>
                      </a:lnTo>
                      <a:lnTo>
                        <a:pt x="467" y="63"/>
                      </a:lnTo>
                      <a:lnTo>
                        <a:pt x="473" y="66"/>
                      </a:lnTo>
                      <a:lnTo>
                        <a:pt x="474" y="69"/>
                      </a:lnTo>
                      <a:lnTo>
                        <a:pt x="477" y="69"/>
                      </a:lnTo>
                      <a:lnTo>
                        <a:pt x="483" y="70"/>
                      </a:lnTo>
                      <a:lnTo>
                        <a:pt x="485" y="75"/>
                      </a:lnTo>
                      <a:lnTo>
                        <a:pt x="490" y="78"/>
                      </a:lnTo>
                      <a:lnTo>
                        <a:pt x="497" y="77"/>
                      </a:lnTo>
                      <a:lnTo>
                        <a:pt x="499" y="81"/>
                      </a:lnTo>
                      <a:lnTo>
                        <a:pt x="502" y="83"/>
                      </a:lnTo>
                      <a:lnTo>
                        <a:pt x="503" y="86"/>
                      </a:lnTo>
                      <a:lnTo>
                        <a:pt x="516" y="87"/>
                      </a:lnTo>
                      <a:lnTo>
                        <a:pt x="520" y="90"/>
                      </a:lnTo>
                      <a:lnTo>
                        <a:pt x="523" y="90"/>
                      </a:lnTo>
                      <a:lnTo>
                        <a:pt x="523" y="90"/>
                      </a:lnTo>
                      <a:lnTo>
                        <a:pt x="526" y="95"/>
                      </a:lnTo>
                      <a:lnTo>
                        <a:pt x="540" y="104"/>
                      </a:lnTo>
                      <a:lnTo>
                        <a:pt x="545" y="106"/>
                      </a:lnTo>
                      <a:lnTo>
                        <a:pt x="549" y="104"/>
                      </a:lnTo>
                      <a:lnTo>
                        <a:pt x="554" y="114"/>
                      </a:lnTo>
                      <a:lnTo>
                        <a:pt x="556" y="115"/>
                      </a:lnTo>
                      <a:lnTo>
                        <a:pt x="557" y="121"/>
                      </a:lnTo>
                      <a:lnTo>
                        <a:pt x="560" y="129"/>
                      </a:lnTo>
                      <a:lnTo>
                        <a:pt x="562" y="130"/>
                      </a:lnTo>
                      <a:lnTo>
                        <a:pt x="569" y="130"/>
                      </a:lnTo>
                      <a:lnTo>
                        <a:pt x="574" y="135"/>
                      </a:lnTo>
                      <a:lnTo>
                        <a:pt x="579" y="147"/>
                      </a:lnTo>
                      <a:lnTo>
                        <a:pt x="582" y="150"/>
                      </a:lnTo>
                      <a:lnTo>
                        <a:pt x="575" y="158"/>
                      </a:lnTo>
                      <a:lnTo>
                        <a:pt x="572" y="160"/>
                      </a:lnTo>
                      <a:lnTo>
                        <a:pt x="569" y="163"/>
                      </a:lnTo>
                      <a:lnTo>
                        <a:pt x="566" y="163"/>
                      </a:lnTo>
                      <a:lnTo>
                        <a:pt x="566" y="160"/>
                      </a:lnTo>
                      <a:lnTo>
                        <a:pt x="562" y="161"/>
                      </a:lnTo>
                      <a:lnTo>
                        <a:pt x="559" y="166"/>
                      </a:lnTo>
                      <a:lnTo>
                        <a:pt x="552" y="170"/>
                      </a:lnTo>
                      <a:lnTo>
                        <a:pt x="552" y="175"/>
                      </a:lnTo>
                      <a:lnTo>
                        <a:pt x="548" y="181"/>
                      </a:lnTo>
                      <a:lnTo>
                        <a:pt x="548" y="187"/>
                      </a:lnTo>
                      <a:lnTo>
                        <a:pt x="539" y="189"/>
                      </a:lnTo>
                      <a:lnTo>
                        <a:pt x="525" y="195"/>
                      </a:lnTo>
                      <a:lnTo>
                        <a:pt x="522" y="200"/>
                      </a:lnTo>
                      <a:lnTo>
                        <a:pt x="516" y="200"/>
                      </a:lnTo>
                      <a:lnTo>
                        <a:pt x="509" y="209"/>
                      </a:lnTo>
                      <a:lnTo>
                        <a:pt x="505" y="212"/>
                      </a:lnTo>
                      <a:lnTo>
                        <a:pt x="502" y="207"/>
                      </a:lnTo>
                      <a:lnTo>
                        <a:pt x="497" y="207"/>
                      </a:lnTo>
                      <a:lnTo>
                        <a:pt x="491" y="209"/>
                      </a:lnTo>
                      <a:lnTo>
                        <a:pt x="488" y="204"/>
                      </a:lnTo>
                      <a:lnTo>
                        <a:pt x="482" y="204"/>
                      </a:lnTo>
                      <a:lnTo>
                        <a:pt x="480" y="201"/>
                      </a:lnTo>
                      <a:lnTo>
                        <a:pt x="477" y="201"/>
                      </a:lnTo>
                      <a:lnTo>
                        <a:pt x="476" y="200"/>
                      </a:lnTo>
                      <a:lnTo>
                        <a:pt x="463" y="203"/>
                      </a:lnTo>
                      <a:lnTo>
                        <a:pt x="445" y="195"/>
                      </a:lnTo>
                      <a:lnTo>
                        <a:pt x="440" y="195"/>
                      </a:lnTo>
                      <a:lnTo>
                        <a:pt x="437" y="190"/>
                      </a:lnTo>
                      <a:lnTo>
                        <a:pt x="433" y="194"/>
                      </a:lnTo>
                      <a:lnTo>
                        <a:pt x="430" y="194"/>
                      </a:lnTo>
                      <a:lnTo>
                        <a:pt x="428" y="203"/>
                      </a:lnTo>
                      <a:lnTo>
                        <a:pt x="422" y="215"/>
                      </a:lnTo>
                      <a:lnTo>
                        <a:pt x="417" y="220"/>
                      </a:lnTo>
                      <a:lnTo>
                        <a:pt x="417" y="223"/>
                      </a:lnTo>
                      <a:lnTo>
                        <a:pt x="420" y="226"/>
                      </a:lnTo>
                      <a:lnTo>
                        <a:pt x="420" y="235"/>
                      </a:lnTo>
                      <a:lnTo>
                        <a:pt x="422" y="235"/>
                      </a:lnTo>
                      <a:lnTo>
                        <a:pt x="430" y="234"/>
                      </a:lnTo>
                      <a:lnTo>
                        <a:pt x="434" y="235"/>
                      </a:lnTo>
                      <a:lnTo>
                        <a:pt x="440" y="232"/>
                      </a:lnTo>
                      <a:lnTo>
                        <a:pt x="442" y="238"/>
                      </a:lnTo>
                      <a:lnTo>
                        <a:pt x="447" y="241"/>
                      </a:lnTo>
                      <a:lnTo>
                        <a:pt x="454" y="244"/>
                      </a:lnTo>
                      <a:lnTo>
                        <a:pt x="460" y="241"/>
                      </a:lnTo>
                      <a:lnTo>
                        <a:pt x="462" y="246"/>
                      </a:lnTo>
                      <a:lnTo>
                        <a:pt x="465" y="246"/>
                      </a:lnTo>
                      <a:lnTo>
                        <a:pt x="470" y="249"/>
                      </a:lnTo>
                      <a:lnTo>
                        <a:pt x="470" y="255"/>
                      </a:lnTo>
                      <a:lnTo>
                        <a:pt x="471" y="258"/>
                      </a:lnTo>
                      <a:lnTo>
                        <a:pt x="476" y="254"/>
                      </a:lnTo>
                      <a:lnTo>
                        <a:pt x="480" y="258"/>
                      </a:lnTo>
                      <a:lnTo>
                        <a:pt x="474" y="266"/>
                      </a:lnTo>
                      <a:lnTo>
                        <a:pt x="467" y="267"/>
                      </a:lnTo>
                      <a:lnTo>
                        <a:pt x="463" y="274"/>
                      </a:lnTo>
                      <a:lnTo>
                        <a:pt x="459" y="275"/>
                      </a:lnTo>
                      <a:lnTo>
                        <a:pt x="457" y="280"/>
                      </a:lnTo>
                      <a:lnTo>
                        <a:pt x="454" y="281"/>
                      </a:lnTo>
                      <a:lnTo>
                        <a:pt x="442" y="281"/>
                      </a:lnTo>
                      <a:lnTo>
                        <a:pt x="437" y="301"/>
                      </a:lnTo>
                      <a:lnTo>
                        <a:pt x="440" y="307"/>
                      </a:lnTo>
                      <a:lnTo>
                        <a:pt x="437" y="323"/>
                      </a:lnTo>
                      <a:lnTo>
                        <a:pt x="440" y="324"/>
                      </a:lnTo>
                      <a:lnTo>
                        <a:pt x="440" y="327"/>
                      </a:lnTo>
                      <a:lnTo>
                        <a:pt x="440" y="330"/>
                      </a:lnTo>
                      <a:lnTo>
                        <a:pt x="437" y="335"/>
                      </a:lnTo>
                      <a:lnTo>
                        <a:pt x="430" y="337"/>
                      </a:lnTo>
                      <a:lnTo>
                        <a:pt x="425" y="335"/>
                      </a:lnTo>
                      <a:lnTo>
                        <a:pt x="420" y="334"/>
                      </a:lnTo>
                      <a:lnTo>
                        <a:pt x="413" y="323"/>
                      </a:lnTo>
                      <a:lnTo>
                        <a:pt x="405" y="323"/>
                      </a:lnTo>
                      <a:lnTo>
                        <a:pt x="399" y="318"/>
                      </a:lnTo>
                      <a:lnTo>
                        <a:pt x="394" y="315"/>
                      </a:lnTo>
                      <a:lnTo>
                        <a:pt x="381" y="294"/>
                      </a:lnTo>
                      <a:lnTo>
                        <a:pt x="358" y="318"/>
                      </a:lnTo>
                      <a:lnTo>
                        <a:pt x="355" y="320"/>
                      </a:lnTo>
                      <a:lnTo>
                        <a:pt x="345" y="335"/>
                      </a:lnTo>
                      <a:lnTo>
                        <a:pt x="341" y="361"/>
                      </a:lnTo>
                      <a:lnTo>
                        <a:pt x="342" y="374"/>
                      </a:lnTo>
                      <a:lnTo>
                        <a:pt x="338" y="375"/>
                      </a:lnTo>
                      <a:lnTo>
                        <a:pt x="332" y="374"/>
                      </a:lnTo>
                      <a:lnTo>
                        <a:pt x="328" y="374"/>
                      </a:lnTo>
                      <a:lnTo>
                        <a:pt x="328" y="372"/>
                      </a:lnTo>
                      <a:lnTo>
                        <a:pt x="322" y="378"/>
                      </a:lnTo>
                      <a:lnTo>
                        <a:pt x="313" y="374"/>
                      </a:lnTo>
                      <a:lnTo>
                        <a:pt x="310" y="375"/>
                      </a:lnTo>
                      <a:lnTo>
                        <a:pt x="310" y="378"/>
                      </a:lnTo>
                      <a:lnTo>
                        <a:pt x="315" y="384"/>
                      </a:lnTo>
                      <a:lnTo>
                        <a:pt x="310" y="389"/>
                      </a:lnTo>
                      <a:lnTo>
                        <a:pt x="312" y="403"/>
                      </a:lnTo>
                      <a:lnTo>
                        <a:pt x="332" y="410"/>
                      </a:lnTo>
                      <a:lnTo>
                        <a:pt x="335" y="409"/>
                      </a:lnTo>
                      <a:lnTo>
                        <a:pt x="341" y="407"/>
                      </a:lnTo>
                      <a:lnTo>
                        <a:pt x="344" y="404"/>
                      </a:lnTo>
                      <a:lnTo>
                        <a:pt x="355" y="401"/>
                      </a:lnTo>
                      <a:lnTo>
                        <a:pt x="362" y="406"/>
                      </a:lnTo>
                      <a:lnTo>
                        <a:pt x="364" y="410"/>
                      </a:lnTo>
                      <a:lnTo>
                        <a:pt x="364" y="410"/>
                      </a:lnTo>
                      <a:lnTo>
                        <a:pt x="368" y="415"/>
                      </a:lnTo>
                      <a:lnTo>
                        <a:pt x="368" y="421"/>
                      </a:lnTo>
                      <a:lnTo>
                        <a:pt x="368" y="426"/>
                      </a:lnTo>
                      <a:lnTo>
                        <a:pt x="362" y="430"/>
                      </a:lnTo>
                      <a:lnTo>
                        <a:pt x="361" y="437"/>
                      </a:lnTo>
                      <a:lnTo>
                        <a:pt x="355" y="443"/>
                      </a:lnTo>
                      <a:lnTo>
                        <a:pt x="355" y="444"/>
                      </a:lnTo>
                      <a:lnTo>
                        <a:pt x="350" y="446"/>
                      </a:lnTo>
                      <a:lnTo>
                        <a:pt x="347" y="452"/>
                      </a:lnTo>
                      <a:lnTo>
                        <a:pt x="330" y="447"/>
                      </a:lnTo>
                      <a:lnTo>
                        <a:pt x="327" y="450"/>
                      </a:lnTo>
                      <a:lnTo>
                        <a:pt x="324" y="447"/>
                      </a:lnTo>
                      <a:lnTo>
                        <a:pt x="319" y="449"/>
                      </a:lnTo>
                      <a:lnTo>
                        <a:pt x="315" y="454"/>
                      </a:lnTo>
                      <a:lnTo>
                        <a:pt x="307" y="449"/>
                      </a:lnTo>
                      <a:lnTo>
                        <a:pt x="299" y="437"/>
                      </a:lnTo>
                      <a:lnTo>
                        <a:pt x="299" y="434"/>
                      </a:lnTo>
                      <a:lnTo>
                        <a:pt x="290" y="434"/>
                      </a:lnTo>
                      <a:lnTo>
                        <a:pt x="295" y="421"/>
                      </a:lnTo>
                      <a:lnTo>
                        <a:pt x="287" y="421"/>
                      </a:lnTo>
                      <a:lnTo>
                        <a:pt x="282" y="424"/>
                      </a:lnTo>
                      <a:lnTo>
                        <a:pt x="281" y="421"/>
                      </a:lnTo>
                      <a:lnTo>
                        <a:pt x="264" y="414"/>
                      </a:lnTo>
                      <a:lnTo>
                        <a:pt x="256" y="417"/>
                      </a:lnTo>
                      <a:lnTo>
                        <a:pt x="250" y="426"/>
                      </a:lnTo>
                      <a:lnTo>
                        <a:pt x="249" y="421"/>
                      </a:lnTo>
                      <a:lnTo>
                        <a:pt x="243" y="418"/>
                      </a:lnTo>
                      <a:lnTo>
                        <a:pt x="235" y="423"/>
                      </a:lnTo>
                      <a:lnTo>
                        <a:pt x="210" y="424"/>
                      </a:lnTo>
                      <a:lnTo>
                        <a:pt x="206" y="427"/>
                      </a:lnTo>
                      <a:lnTo>
                        <a:pt x="203" y="435"/>
                      </a:lnTo>
                      <a:lnTo>
                        <a:pt x="196" y="440"/>
                      </a:lnTo>
                      <a:lnTo>
                        <a:pt x="183" y="441"/>
                      </a:lnTo>
                      <a:lnTo>
                        <a:pt x="181" y="450"/>
                      </a:lnTo>
                      <a:lnTo>
                        <a:pt x="175" y="458"/>
                      </a:lnTo>
                      <a:lnTo>
                        <a:pt x="173" y="457"/>
                      </a:lnTo>
                      <a:lnTo>
                        <a:pt x="167" y="457"/>
                      </a:lnTo>
                      <a:lnTo>
                        <a:pt x="167" y="457"/>
                      </a:lnTo>
                      <a:lnTo>
                        <a:pt x="164" y="457"/>
                      </a:lnTo>
                      <a:lnTo>
                        <a:pt x="154" y="443"/>
                      </a:lnTo>
                      <a:lnTo>
                        <a:pt x="149" y="429"/>
                      </a:lnTo>
                      <a:lnTo>
                        <a:pt x="146" y="426"/>
                      </a:lnTo>
                      <a:lnTo>
                        <a:pt x="138" y="427"/>
                      </a:lnTo>
                      <a:lnTo>
                        <a:pt x="135" y="423"/>
                      </a:lnTo>
                      <a:lnTo>
                        <a:pt x="134" y="423"/>
                      </a:lnTo>
                      <a:lnTo>
                        <a:pt x="134" y="418"/>
                      </a:lnTo>
                      <a:lnTo>
                        <a:pt x="132" y="417"/>
                      </a:lnTo>
                      <a:lnTo>
                        <a:pt x="132" y="412"/>
                      </a:lnTo>
                      <a:lnTo>
                        <a:pt x="118" y="406"/>
                      </a:lnTo>
                      <a:lnTo>
                        <a:pt x="115" y="404"/>
                      </a:lnTo>
                      <a:lnTo>
                        <a:pt x="107" y="409"/>
                      </a:lnTo>
                      <a:lnTo>
                        <a:pt x="103" y="410"/>
                      </a:lnTo>
                      <a:lnTo>
                        <a:pt x="98" y="414"/>
                      </a:lnTo>
                      <a:lnTo>
                        <a:pt x="92" y="409"/>
                      </a:lnTo>
                      <a:lnTo>
                        <a:pt x="89" y="409"/>
                      </a:lnTo>
                      <a:lnTo>
                        <a:pt x="89" y="406"/>
                      </a:lnTo>
                      <a:lnTo>
                        <a:pt x="83" y="409"/>
                      </a:lnTo>
                      <a:lnTo>
                        <a:pt x="80" y="407"/>
                      </a:lnTo>
                      <a:lnTo>
                        <a:pt x="77" y="409"/>
                      </a:lnTo>
                      <a:lnTo>
                        <a:pt x="75" y="407"/>
                      </a:lnTo>
                      <a:lnTo>
                        <a:pt x="69" y="410"/>
                      </a:lnTo>
                      <a:lnTo>
                        <a:pt x="68" y="403"/>
                      </a:lnTo>
                      <a:lnTo>
                        <a:pt x="66" y="404"/>
                      </a:lnTo>
                      <a:lnTo>
                        <a:pt x="63" y="394"/>
                      </a:lnTo>
                      <a:lnTo>
                        <a:pt x="61" y="381"/>
                      </a:lnTo>
                      <a:lnTo>
                        <a:pt x="60" y="380"/>
                      </a:lnTo>
                      <a:lnTo>
                        <a:pt x="66" y="374"/>
                      </a:lnTo>
                      <a:lnTo>
                        <a:pt x="57" y="367"/>
                      </a:lnTo>
                      <a:lnTo>
                        <a:pt x="42" y="363"/>
                      </a:lnTo>
                      <a:lnTo>
                        <a:pt x="42" y="358"/>
                      </a:lnTo>
                      <a:lnTo>
                        <a:pt x="45" y="355"/>
                      </a:lnTo>
                      <a:lnTo>
                        <a:pt x="42" y="344"/>
                      </a:lnTo>
                      <a:lnTo>
                        <a:pt x="37" y="343"/>
                      </a:lnTo>
                      <a:lnTo>
                        <a:pt x="28" y="344"/>
                      </a:lnTo>
                      <a:lnTo>
                        <a:pt x="31" y="337"/>
                      </a:lnTo>
                      <a:lnTo>
                        <a:pt x="29" y="334"/>
                      </a:lnTo>
                      <a:lnTo>
                        <a:pt x="31" y="329"/>
                      </a:lnTo>
                      <a:lnTo>
                        <a:pt x="26" y="329"/>
                      </a:lnTo>
                      <a:lnTo>
                        <a:pt x="22" y="326"/>
                      </a:lnTo>
                      <a:lnTo>
                        <a:pt x="23" y="323"/>
                      </a:lnTo>
                      <a:lnTo>
                        <a:pt x="19" y="323"/>
                      </a:lnTo>
                      <a:lnTo>
                        <a:pt x="15" y="309"/>
                      </a:lnTo>
                      <a:lnTo>
                        <a:pt x="5" y="306"/>
                      </a:lnTo>
                      <a:lnTo>
                        <a:pt x="0" y="303"/>
                      </a:lnTo>
                      <a:lnTo>
                        <a:pt x="0" y="303"/>
                      </a:lnTo>
                      <a:lnTo>
                        <a:pt x="8" y="275"/>
                      </a:lnTo>
                      <a:lnTo>
                        <a:pt x="9" y="277"/>
                      </a:lnTo>
                      <a:lnTo>
                        <a:pt x="14" y="272"/>
                      </a:lnTo>
                      <a:lnTo>
                        <a:pt x="15" y="258"/>
                      </a:lnTo>
                      <a:lnTo>
                        <a:pt x="17" y="255"/>
                      </a:lnTo>
                      <a:lnTo>
                        <a:pt x="20" y="252"/>
                      </a:lnTo>
                      <a:lnTo>
                        <a:pt x="28" y="252"/>
                      </a:lnTo>
                      <a:lnTo>
                        <a:pt x="29" y="249"/>
                      </a:lnTo>
                      <a:lnTo>
                        <a:pt x="29" y="238"/>
                      </a:lnTo>
                      <a:lnTo>
                        <a:pt x="31" y="230"/>
                      </a:lnTo>
                      <a:lnTo>
                        <a:pt x="40" y="232"/>
                      </a:lnTo>
                      <a:lnTo>
                        <a:pt x="52" y="223"/>
                      </a:lnTo>
                      <a:lnTo>
                        <a:pt x="52" y="209"/>
                      </a:lnTo>
                      <a:lnTo>
                        <a:pt x="58" y="212"/>
                      </a:lnTo>
                      <a:lnTo>
                        <a:pt x="68" y="220"/>
                      </a:lnTo>
                      <a:lnTo>
                        <a:pt x="80" y="223"/>
                      </a:lnTo>
                      <a:lnTo>
                        <a:pt x="89" y="221"/>
                      </a:lnTo>
                      <a:lnTo>
                        <a:pt x="91" y="224"/>
                      </a:lnTo>
                      <a:lnTo>
                        <a:pt x="97" y="224"/>
                      </a:lnTo>
                      <a:lnTo>
                        <a:pt x="95" y="220"/>
                      </a:lnTo>
                      <a:lnTo>
                        <a:pt x="104" y="187"/>
                      </a:lnTo>
                      <a:lnTo>
                        <a:pt x="112" y="187"/>
                      </a:lnTo>
                      <a:lnTo>
                        <a:pt x="118" y="184"/>
                      </a:lnTo>
                      <a:lnTo>
                        <a:pt x="140" y="200"/>
                      </a:lnTo>
                      <a:lnTo>
                        <a:pt x="144" y="206"/>
                      </a:lnTo>
                      <a:lnTo>
                        <a:pt x="169" y="206"/>
                      </a:lnTo>
                      <a:lnTo>
                        <a:pt x="170" y="203"/>
                      </a:lnTo>
                      <a:lnTo>
                        <a:pt x="177" y="204"/>
                      </a:lnTo>
                      <a:lnTo>
                        <a:pt x="180" y="201"/>
                      </a:lnTo>
                      <a:lnTo>
                        <a:pt x="186" y="201"/>
                      </a:lnTo>
                      <a:lnTo>
                        <a:pt x="192" y="198"/>
                      </a:lnTo>
                      <a:lnTo>
                        <a:pt x="196" y="197"/>
                      </a:lnTo>
                      <a:lnTo>
                        <a:pt x="204" y="181"/>
                      </a:lnTo>
                      <a:lnTo>
                        <a:pt x="204" y="178"/>
                      </a:lnTo>
                      <a:lnTo>
                        <a:pt x="209" y="175"/>
                      </a:lnTo>
                      <a:lnTo>
                        <a:pt x="209" y="169"/>
                      </a:lnTo>
                      <a:lnTo>
                        <a:pt x="215" y="167"/>
                      </a:lnTo>
                      <a:lnTo>
                        <a:pt x="224" y="170"/>
                      </a:lnTo>
                      <a:lnTo>
                        <a:pt x="235" y="164"/>
                      </a:lnTo>
                      <a:lnTo>
                        <a:pt x="235" y="160"/>
                      </a:lnTo>
                      <a:lnTo>
                        <a:pt x="233" y="154"/>
                      </a:lnTo>
                      <a:lnTo>
                        <a:pt x="229" y="150"/>
                      </a:lnTo>
                      <a:lnTo>
                        <a:pt x="230" y="143"/>
                      </a:lnTo>
                      <a:lnTo>
                        <a:pt x="227" y="140"/>
                      </a:lnTo>
                      <a:lnTo>
                        <a:pt x="227" y="135"/>
                      </a:lnTo>
                      <a:lnTo>
                        <a:pt x="230" y="134"/>
                      </a:lnTo>
                      <a:lnTo>
                        <a:pt x="241" y="137"/>
                      </a:lnTo>
                      <a:lnTo>
                        <a:pt x="255" y="126"/>
                      </a:lnTo>
                      <a:lnTo>
                        <a:pt x="261" y="126"/>
                      </a:lnTo>
                      <a:lnTo>
                        <a:pt x="269" y="118"/>
                      </a:lnTo>
                      <a:lnTo>
                        <a:pt x="273" y="107"/>
                      </a:lnTo>
                      <a:lnTo>
                        <a:pt x="278" y="104"/>
                      </a:lnTo>
                      <a:lnTo>
                        <a:pt x="278" y="101"/>
                      </a:lnTo>
                      <a:lnTo>
                        <a:pt x="282" y="100"/>
                      </a:lnTo>
                      <a:lnTo>
                        <a:pt x="282" y="98"/>
                      </a:lnTo>
                      <a:lnTo>
                        <a:pt x="289" y="95"/>
                      </a:lnTo>
                      <a:lnTo>
                        <a:pt x="299" y="95"/>
                      </a:lnTo>
                      <a:lnTo>
                        <a:pt x="304" y="90"/>
                      </a:lnTo>
                      <a:lnTo>
                        <a:pt x="301" y="87"/>
                      </a:lnTo>
                      <a:lnTo>
                        <a:pt x="301" y="72"/>
                      </a:lnTo>
                      <a:lnTo>
                        <a:pt x="295" y="72"/>
                      </a:lnTo>
                      <a:lnTo>
                        <a:pt x="293" y="67"/>
                      </a:lnTo>
                      <a:lnTo>
                        <a:pt x="296" y="60"/>
                      </a:lnTo>
                      <a:lnTo>
                        <a:pt x="301" y="61"/>
                      </a:lnTo>
                      <a:lnTo>
                        <a:pt x="310" y="67"/>
                      </a:lnTo>
                      <a:lnTo>
                        <a:pt x="310" y="64"/>
                      </a:lnTo>
                      <a:lnTo>
                        <a:pt x="313" y="64"/>
                      </a:lnTo>
                      <a:lnTo>
                        <a:pt x="316" y="69"/>
                      </a:lnTo>
                      <a:lnTo>
                        <a:pt x="318" y="67"/>
                      </a:lnTo>
                      <a:lnTo>
                        <a:pt x="321" y="69"/>
                      </a:lnTo>
                      <a:lnTo>
                        <a:pt x="321" y="69"/>
                      </a:lnTo>
                      <a:lnTo>
                        <a:pt x="324" y="74"/>
                      </a:lnTo>
                      <a:lnTo>
                        <a:pt x="328" y="74"/>
                      </a:lnTo>
                      <a:lnTo>
                        <a:pt x="332" y="77"/>
                      </a:lnTo>
                      <a:lnTo>
                        <a:pt x="333" y="77"/>
                      </a:lnTo>
                      <a:lnTo>
                        <a:pt x="338" y="69"/>
                      </a:lnTo>
                      <a:lnTo>
                        <a:pt x="342" y="70"/>
                      </a:lnTo>
                      <a:lnTo>
                        <a:pt x="353" y="67"/>
                      </a:lnTo>
                      <a:lnTo>
                        <a:pt x="361" y="67"/>
                      </a:lnTo>
                      <a:lnTo>
                        <a:pt x="364" y="61"/>
                      </a:lnTo>
                      <a:lnTo>
                        <a:pt x="361" y="61"/>
                      </a:lnTo>
                      <a:lnTo>
                        <a:pt x="361" y="60"/>
                      </a:lnTo>
                      <a:lnTo>
                        <a:pt x="367" y="50"/>
                      </a:lnTo>
                      <a:lnTo>
                        <a:pt x="364" y="46"/>
                      </a:lnTo>
                      <a:lnTo>
                        <a:pt x="368" y="40"/>
                      </a:lnTo>
                      <a:lnTo>
                        <a:pt x="367" y="32"/>
                      </a:lnTo>
                      <a:lnTo>
                        <a:pt x="373" y="24"/>
                      </a:lnTo>
                      <a:lnTo>
                        <a:pt x="373" y="23"/>
                      </a:lnTo>
                      <a:lnTo>
                        <a:pt x="370" y="20"/>
                      </a:lnTo>
                      <a:lnTo>
                        <a:pt x="376" y="14"/>
                      </a:lnTo>
                      <a:lnTo>
                        <a:pt x="381" y="15"/>
                      </a:lnTo>
                      <a:lnTo>
                        <a:pt x="384" y="11"/>
                      </a:lnTo>
                      <a:lnTo>
                        <a:pt x="384" y="4"/>
                      </a:lnTo>
                      <a:lnTo>
                        <a:pt x="390" y="3"/>
                      </a:lnTo>
                      <a:lnTo>
                        <a:pt x="391" y="0"/>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10" name="Suceava" descr="{&quot;Key&quot;:&quot;suceava&quot;,&quot;Name&quot;:&quot;Suceava&quot;,&quot;Value&quot;:1.0,&quot;Formula&quot;:&quot;&quot;,&quot;Text&quot;:&quot;1&quot;,&quot;OfficeApplication&quot;:0,&quot;HasValue&quot;:true}">
                  <a:extLst>
                    <a:ext uri="{FF2B5EF4-FFF2-40B4-BE49-F238E27FC236}">
                      <a16:creationId xmlns:a16="http://schemas.microsoft.com/office/drawing/2014/main" id="{B35A1EC8-D891-ED4D-C2AD-45764FB50CA4}"/>
                    </a:ext>
                  </a:extLst>
                </p:cNvPr>
                <p:cNvSpPr>
                  <a:spLocks/>
                </p:cNvSpPr>
                <p:nvPr/>
              </p:nvSpPr>
              <p:spPr bwMode="auto">
                <a:xfrm>
                  <a:off x="6069013" y="1582738"/>
                  <a:ext cx="1093788" cy="855663"/>
                </a:xfrm>
                <a:custGeom>
                  <a:avLst/>
                  <a:gdLst>
                    <a:gd name="T0" fmla="*/ 483 w 689"/>
                    <a:gd name="T1" fmla="*/ 36 h 539"/>
                    <a:gd name="T2" fmla="*/ 497 w 689"/>
                    <a:gd name="T3" fmla="*/ 59 h 539"/>
                    <a:gd name="T4" fmla="*/ 519 w 689"/>
                    <a:gd name="T5" fmla="*/ 59 h 539"/>
                    <a:gd name="T6" fmla="*/ 536 w 689"/>
                    <a:gd name="T7" fmla="*/ 76 h 539"/>
                    <a:gd name="T8" fmla="*/ 539 w 689"/>
                    <a:gd name="T9" fmla="*/ 92 h 539"/>
                    <a:gd name="T10" fmla="*/ 546 w 689"/>
                    <a:gd name="T11" fmla="*/ 97 h 539"/>
                    <a:gd name="T12" fmla="*/ 572 w 689"/>
                    <a:gd name="T13" fmla="*/ 134 h 539"/>
                    <a:gd name="T14" fmla="*/ 577 w 689"/>
                    <a:gd name="T15" fmla="*/ 152 h 539"/>
                    <a:gd name="T16" fmla="*/ 585 w 689"/>
                    <a:gd name="T17" fmla="*/ 162 h 539"/>
                    <a:gd name="T18" fmla="*/ 600 w 689"/>
                    <a:gd name="T19" fmla="*/ 168 h 539"/>
                    <a:gd name="T20" fmla="*/ 612 w 689"/>
                    <a:gd name="T21" fmla="*/ 182 h 539"/>
                    <a:gd name="T22" fmla="*/ 620 w 689"/>
                    <a:gd name="T23" fmla="*/ 197 h 539"/>
                    <a:gd name="T24" fmla="*/ 635 w 689"/>
                    <a:gd name="T25" fmla="*/ 208 h 539"/>
                    <a:gd name="T26" fmla="*/ 637 w 689"/>
                    <a:gd name="T27" fmla="*/ 228 h 539"/>
                    <a:gd name="T28" fmla="*/ 645 w 689"/>
                    <a:gd name="T29" fmla="*/ 251 h 539"/>
                    <a:gd name="T30" fmla="*/ 641 w 689"/>
                    <a:gd name="T31" fmla="*/ 283 h 539"/>
                    <a:gd name="T32" fmla="*/ 654 w 689"/>
                    <a:gd name="T33" fmla="*/ 303 h 539"/>
                    <a:gd name="T34" fmla="*/ 668 w 689"/>
                    <a:gd name="T35" fmla="*/ 312 h 539"/>
                    <a:gd name="T36" fmla="*/ 686 w 689"/>
                    <a:gd name="T37" fmla="*/ 326 h 539"/>
                    <a:gd name="T38" fmla="*/ 678 w 689"/>
                    <a:gd name="T39" fmla="*/ 349 h 539"/>
                    <a:gd name="T40" fmla="*/ 684 w 689"/>
                    <a:gd name="T41" fmla="*/ 366 h 539"/>
                    <a:gd name="T42" fmla="*/ 655 w 689"/>
                    <a:gd name="T43" fmla="*/ 366 h 539"/>
                    <a:gd name="T44" fmla="*/ 614 w 689"/>
                    <a:gd name="T45" fmla="*/ 356 h 539"/>
                    <a:gd name="T46" fmla="*/ 628 w 689"/>
                    <a:gd name="T47" fmla="*/ 386 h 539"/>
                    <a:gd name="T48" fmla="*/ 649 w 689"/>
                    <a:gd name="T49" fmla="*/ 409 h 539"/>
                    <a:gd name="T50" fmla="*/ 629 w 689"/>
                    <a:gd name="T51" fmla="*/ 432 h 539"/>
                    <a:gd name="T52" fmla="*/ 580 w 689"/>
                    <a:gd name="T53" fmla="*/ 383 h 539"/>
                    <a:gd name="T54" fmla="*/ 510 w 689"/>
                    <a:gd name="T55" fmla="*/ 412 h 539"/>
                    <a:gd name="T56" fmla="*/ 459 w 689"/>
                    <a:gd name="T57" fmla="*/ 414 h 539"/>
                    <a:gd name="T58" fmla="*/ 405 w 689"/>
                    <a:gd name="T59" fmla="*/ 417 h 539"/>
                    <a:gd name="T60" fmla="*/ 361 w 689"/>
                    <a:gd name="T61" fmla="*/ 408 h 539"/>
                    <a:gd name="T62" fmla="*/ 332 w 689"/>
                    <a:gd name="T63" fmla="*/ 403 h 539"/>
                    <a:gd name="T64" fmla="*/ 338 w 689"/>
                    <a:gd name="T65" fmla="*/ 452 h 539"/>
                    <a:gd name="T66" fmla="*/ 301 w 689"/>
                    <a:gd name="T67" fmla="*/ 483 h 539"/>
                    <a:gd name="T68" fmla="*/ 284 w 689"/>
                    <a:gd name="T69" fmla="*/ 531 h 539"/>
                    <a:gd name="T70" fmla="*/ 235 w 689"/>
                    <a:gd name="T71" fmla="*/ 534 h 539"/>
                    <a:gd name="T72" fmla="*/ 184 w 689"/>
                    <a:gd name="T73" fmla="*/ 519 h 539"/>
                    <a:gd name="T74" fmla="*/ 141 w 689"/>
                    <a:gd name="T75" fmla="*/ 512 h 539"/>
                    <a:gd name="T76" fmla="*/ 117 w 689"/>
                    <a:gd name="T77" fmla="*/ 528 h 539"/>
                    <a:gd name="T78" fmla="*/ 71 w 689"/>
                    <a:gd name="T79" fmla="*/ 511 h 539"/>
                    <a:gd name="T80" fmla="*/ 46 w 689"/>
                    <a:gd name="T81" fmla="*/ 486 h 539"/>
                    <a:gd name="T82" fmla="*/ 45 w 689"/>
                    <a:gd name="T83" fmla="*/ 449 h 539"/>
                    <a:gd name="T84" fmla="*/ 51 w 689"/>
                    <a:gd name="T85" fmla="*/ 385 h 539"/>
                    <a:gd name="T86" fmla="*/ 25 w 689"/>
                    <a:gd name="T87" fmla="*/ 343 h 539"/>
                    <a:gd name="T88" fmla="*/ 46 w 689"/>
                    <a:gd name="T89" fmla="*/ 322 h 539"/>
                    <a:gd name="T90" fmla="*/ 55 w 689"/>
                    <a:gd name="T91" fmla="*/ 288 h 539"/>
                    <a:gd name="T92" fmla="*/ 25 w 689"/>
                    <a:gd name="T93" fmla="*/ 249 h 539"/>
                    <a:gd name="T94" fmla="*/ 25 w 689"/>
                    <a:gd name="T95" fmla="*/ 211 h 539"/>
                    <a:gd name="T96" fmla="*/ 3 w 689"/>
                    <a:gd name="T97" fmla="*/ 169 h 539"/>
                    <a:gd name="T98" fmla="*/ 26 w 689"/>
                    <a:gd name="T99" fmla="*/ 151 h 539"/>
                    <a:gd name="T100" fmla="*/ 81 w 689"/>
                    <a:gd name="T101" fmla="*/ 117 h 539"/>
                    <a:gd name="T102" fmla="*/ 100 w 689"/>
                    <a:gd name="T103" fmla="*/ 91 h 539"/>
                    <a:gd name="T104" fmla="*/ 147 w 689"/>
                    <a:gd name="T105" fmla="*/ 43 h 539"/>
                    <a:gd name="T106" fmla="*/ 302 w 689"/>
                    <a:gd name="T107" fmla="*/ 26 h 539"/>
                    <a:gd name="T108" fmla="*/ 364 w 689"/>
                    <a:gd name="T109" fmla="*/ 11 h 539"/>
                    <a:gd name="T110" fmla="*/ 453 w 689"/>
                    <a:gd name="T111" fmla="*/ 3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9" h="539">
                      <a:moveTo>
                        <a:pt x="453" y="3"/>
                      </a:moveTo>
                      <a:lnTo>
                        <a:pt x="468" y="26"/>
                      </a:lnTo>
                      <a:lnTo>
                        <a:pt x="470" y="34"/>
                      </a:lnTo>
                      <a:lnTo>
                        <a:pt x="476" y="37"/>
                      </a:lnTo>
                      <a:lnTo>
                        <a:pt x="477" y="34"/>
                      </a:lnTo>
                      <a:lnTo>
                        <a:pt x="477" y="39"/>
                      </a:lnTo>
                      <a:lnTo>
                        <a:pt x="483" y="36"/>
                      </a:lnTo>
                      <a:lnTo>
                        <a:pt x="485" y="42"/>
                      </a:lnTo>
                      <a:lnTo>
                        <a:pt x="493" y="42"/>
                      </a:lnTo>
                      <a:lnTo>
                        <a:pt x="493" y="46"/>
                      </a:lnTo>
                      <a:lnTo>
                        <a:pt x="496" y="48"/>
                      </a:lnTo>
                      <a:lnTo>
                        <a:pt x="493" y="54"/>
                      </a:lnTo>
                      <a:lnTo>
                        <a:pt x="493" y="59"/>
                      </a:lnTo>
                      <a:lnTo>
                        <a:pt x="497" y="59"/>
                      </a:lnTo>
                      <a:lnTo>
                        <a:pt x="499" y="63"/>
                      </a:lnTo>
                      <a:lnTo>
                        <a:pt x="505" y="60"/>
                      </a:lnTo>
                      <a:lnTo>
                        <a:pt x="505" y="57"/>
                      </a:lnTo>
                      <a:lnTo>
                        <a:pt x="508" y="57"/>
                      </a:lnTo>
                      <a:lnTo>
                        <a:pt x="510" y="54"/>
                      </a:lnTo>
                      <a:lnTo>
                        <a:pt x="516" y="59"/>
                      </a:lnTo>
                      <a:lnTo>
                        <a:pt x="519" y="59"/>
                      </a:lnTo>
                      <a:lnTo>
                        <a:pt x="519" y="63"/>
                      </a:lnTo>
                      <a:lnTo>
                        <a:pt x="522" y="62"/>
                      </a:lnTo>
                      <a:lnTo>
                        <a:pt x="526" y="68"/>
                      </a:lnTo>
                      <a:lnTo>
                        <a:pt x="528" y="71"/>
                      </a:lnTo>
                      <a:lnTo>
                        <a:pt x="531" y="80"/>
                      </a:lnTo>
                      <a:lnTo>
                        <a:pt x="534" y="76"/>
                      </a:lnTo>
                      <a:lnTo>
                        <a:pt x="536" y="76"/>
                      </a:lnTo>
                      <a:lnTo>
                        <a:pt x="537" y="80"/>
                      </a:lnTo>
                      <a:lnTo>
                        <a:pt x="540" y="82"/>
                      </a:lnTo>
                      <a:lnTo>
                        <a:pt x="542" y="85"/>
                      </a:lnTo>
                      <a:lnTo>
                        <a:pt x="539" y="86"/>
                      </a:lnTo>
                      <a:lnTo>
                        <a:pt x="542" y="89"/>
                      </a:lnTo>
                      <a:lnTo>
                        <a:pt x="539" y="89"/>
                      </a:lnTo>
                      <a:lnTo>
                        <a:pt x="539" y="92"/>
                      </a:lnTo>
                      <a:lnTo>
                        <a:pt x="542" y="94"/>
                      </a:lnTo>
                      <a:lnTo>
                        <a:pt x="542" y="91"/>
                      </a:lnTo>
                      <a:lnTo>
                        <a:pt x="543" y="92"/>
                      </a:lnTo>
                      <a:lnTo>
                        <a:pt x="543" y="96"/>
                      </a:lnTo>
                      <a:lnTo>
                        <a:pt x="548" y="96"/>
                      </a:lnTo>
                      <a:lnTo>
                        <a:pt x="548" y="97"/>
                      </a:lnTo>
                      <a:lnTo>
                        <a:pt x="546" y="97"/>
                      </a:lnTo>
                      <a:lnTo>
                        <a:pt x="546" y="105"/>
                      </a:lnTo>
                      <a:lnTo>
                        <a:pt x="565" y="126"/>
                      </a:lnTo>
                      <a:lnTo>
                        <a:pt x="568" y="131"/>
                      </a:lnTo>
                      <a:lnTo>
                        <a:pt x="571" y="129"/>
                      </a:lnTo>
                      <a:lnTo>
                        <a:pt x="571" y="132"/>
                      </a:lnTo>
                      <a:lnTo>
                        <a:pt x="572" y="131"/>
                      </a:lnTo>
                      <a:lnTo>
                        <a:pt x="572" y="134"/>
                      </a:lnTo>
                      <a:lnTo>
                        <a:pt x="575" y="132"/>
                      </a:lnTo>
                      <a:lnTo>
                        <a:pt x="580" y="137"/>
                      </a:lnTo>
                      <a:lnTo>
                        <a:pt x="580" y="139"/>
                      </a:lnTo>
                      <a:lnTo>
                        <a:pt x="579" y="139"/>
                      </a:lnTo>
                      <a:lnTo>
                        <a:pt x="580" y="142"/>
                      </a:lnTo>
                      <a:lnTo>
                        <a:pt x="574" y="146"/>
                      </a:lnTo>
                      <a:lnTo>
                        <a:pt x="577" y="152"/>
                      </a:lnTo>
                      <a:lnTo>
                        <a:pt x="580" y="154"/>
                      </a:lnTo>
                      <a:lnTo>
                        <a:pt x="580" y="159"/>
                      </a:lnTo>
                      <a:lnTo>
                        <a:pt x="586" y="157"/>
                      </a:lnTo>
                      <a:lnTo>
                        <a:pt x="585" y="160"/>
                      </a:lnTo>
                      <a:lnTo>
                        <a:pt x="586" y="160"/>
                      </a:lnTo>
                      <a:lnTo>
                        <a:pt x="585" y="160"/>
                      </a:lnTo>
                      <a:lnTo>
                        <a:pt x="585" y="162"/>
                      </a:lnTo>
                      <a:lnTo>
                        <a:pt x="588" y="162"/>
                      </a:lnTo>
                      <a:lnTo>
                        <a:pt x="588" y="159"/>
                      </a:lnTo>
                      <a:lnTo>
                        <a:pt x="592" y="160"/>
                      </a:lnTo>
                      <a:lnTo>
                        <a:pt x="592" y="163"/>
                      </a:lnTo>
                      <a:lnTo>
                        <a:pt x="597" y="162"/>
                      </a:lnTo>
                      <a:lnTo>
                        <a:pt x="597" y="165"/>
                      </a:lnTo>
                      <a:lnTo>
                        <a:pt x="600" y="168"/>
                      </a:lnTo>
                      <a:lnTo>
                        <a:pt x="599" y="171"/>
                      </a:lnTo>
                      <a:lnTo>
                        <a:pt x="602" y="172"/>
                      </a:lnTo>
                      <a:lnTo>
                        <a:pt x="602" y="177"/>
                      </a:lnTo>
                      <a:lnTo>
                        <a:pt x="605" y="174"/>
                      </a:lnTo>
                      <a:lnTo>
                        <a:pt x="608" y="177"/>
                      </a:lnTo>
                      <a:lnTo>
                        <a:pt x="605" y="179"/>
                      </a:lnTo>
                      <a:lnTo>
                        <a:pt x="612" y="182"/>
                      </a:lnTo>
                      <a:lnTo>
                        <a:pt x="611" y="185"/>
                      </a:lnTo>
                      <a:lnTo>
                        <a:pt x="609" y="188"/>
                      </a:lnTo>
                      <a:lnTo>
                        <a:pt x="614" y="191"/>
                      </a:lnTo>
                      <a:lnTo>
                        <a:pt x="611" y="194"/>
                      </a:lnTo>
                      <a:lnTo>
                        <a:pt x="617" y="194"/>
                      </a:lnTo>
                      <a:lnTo>
                        <a:pt x="617" y="197"/>
                      </a:lnTo>
                      <a:lnTo>
                        <a:pt x="620" y="197"/>
                      </a:lnTo>
                      <a:lnTo>
                        <a:pt x="620" y="199"/>
                      </a:lnTo>
                      <a:lnTo>
                        <a:pt x="623" y="202"/>
                      </a:lnTo>
                      <a:lnTo>
                        <a:pt x="626" y="202"/>
                      </a:lnTo>
                      <a:lnTo>
                        <a:pt x="626" y="203"/>
                      </a:lnTo>
                      <a:lnTo>
                        <a:pt x="632" y="203"/>
                      </a:lnTo>
                      <a:lnTo>
                        <a:pt x="637" y="206"/>
                      </a:lnTo>
                      <a:lnTo>
                        <a:pt x="635" y="208"/>
                      </a:lnTo>
                      <a:lnTo>
                        <a:pt x="632" y="209"/>
                      </a:lnTo>
                      <a:lnTo>
                        <a:pt x="635" y="212"/>
                      </a:lnTo>
                      <a:lnTo>
                        <a:pt x="634" y="216"/>
                      </a:lnTo>
                      <a:lnTo>
                        <a:pt x="632" y="220"/>
                      </a:lnTo>
                      <a:lnTo>
                        <a:pt x="637" y="222"/>
                      </a:lnTo>
                      <a:lnTo>
                        <a:pt x="638" y="226"/>
                      </a:lnTo>
                      <a:lnTo>
                        <a:pt x="637" y="228"/>
                      </a:lnTo>
                      <a:lnTo>
                        <a:pt x="637" y="232"/>
                      </a:lnTo>
                      <a:lnTo>
                        <a:pt x="634" y="232"/>
                      </a:lnTo>
                      <a:lnTo>
                        <a:pt x="635" y="239"/>
                      </a:lnTo>
                      <a:lnTo>
                        <a:pt x="635" y="242"/>
                      </a:lnTo>
                      <a:lnTo>
                        <a:pt x="641" y="245"/>
                      </a:lnTo>
                      <a:lnTo>
                        <a:pt x="641" y="246"/>
                      </a:lnTo>
                      <a:lnTo>
                        <a:pt x="645" y="251"/>
                      </a:lnTo>
                      <a:lnTo>
                        <a:pt x="645" y="257"/>
                      </a:lnTo>
                      <a:lnTo>
                        <a:pt x="649" y="266"/>
                      </a:lnTo>
                      <a:lnTo>
                        <a:pt x="649" y="269"/>
                      </a:lnTo>
                      <a:lnTo>
                        <a:pt x="660" y="271"/>
                      </a:lnTo>
                      <a:lnTo>
                        <a:pt x="658" y="279"/>
                      </a:lnTo>
                      <a:lnTo>
                        <a:pt x="646" y="282"/>
                      </a:lnTo>
                      <a:lnTo>
                        <a:pt x="641" y="283"/>
                      </a:lnTo>
                      <a:lnTo>
                        <a:pt x="638" y="286"/>
                      </a:lnTo>
                      <a:lnTo>
                        <a:pt x="643" y="292"/>
                      </a:lnTo>
                      <a:lnTo>
                        <a:pt x="648" y="289"/>
                      </a:lnTo>
                      <a:lnTo>
                        <a:pt x="651" y="292"/>
                      </a:lnTo>
                      <a:lnTo>
                        <a:pt x="651" y="296"/>
                      </a:lnTo>
                      <a:lnTo>
                        <a:pt x="654" y="296"/>
                      </a:lnTo>
                      <a:lnTo>
                        <a:pt x="654" y="303"/>
                      </a:lnTo>
                      <a:lnTo>
                        <a:pt x="655" y="306"/>
                      </a:lnTo>
                      <a:lnTo>
                        <a:pt x="654" y="309"/>
                      </a:lnTo>
                      <a:lnTo>
                        <a:pt x="655" y="312"/>
                      </a:lnTo>
                      <a:lnTo>
                        <a:pt x="655" y="314"/>
                      </a:lnTo>
                      <a:lnTo>
                        <a:pt x="657" y="316"/>
                      </a:lnTo>
                      <a:lnTo>
                        <a:pt x="660" y="312"/>
                      </a:lnTo>
                      <a:lnTo>
                        <a:pt x="668" y="312"/>
                      </a:lnTo>
                      <a:lnTo>
                        <a:pt x="675" y="308"/>
                      </a:lnTo>
                      <a:lnTo>
                        <a:pt x="681" y="311"/>
                      </a:lnTo>
                      <a:lnTo>
                        <a:pt x="686" y="311"/>
                      </a:lnTo>
                      <a:lnTo>
                        <a:pt x="689" y="308"/>
                      </a:lnTo>
                      <a:lnTo>
                        <a:pt x="689" y="308"/>
                      </a:lnTo>
                      <a:lnTo>
                        <a:pt x="689" y="325"/>
                      </a:lnTo>
                      <a:lnTo>
                        <a:pt x="686" y="326"/>
                      </a:lnTo>
                      <a:lnTo>
                        <a:pt x="684" y="331"/>
                      </a:lnTo>
                      <a:lnTo>
                        <a:pt x="686" y="337"/>
                      </a:lnTo>
                      <a:lnTo>
                        <a:pt x="689" y="337"/>
                      </a:lnTo>
                      <a:lnTo>
                        <a:pt x="689" y="340"/>
                      </a:lnTo>
                      <a:lnTo>
                        <a:pt x="686" y="345"/>
                      </a:lnTo>
                      <a:lnTo>
                        <a:pt x="675" y="348"/>
                      </a:lnTo>
                      <a:lnTo>
                        <a:pt x="678" y="349"/>
                      </a:lnTo>
                      <a:lnTo>
                        <a:pt x="677" y="352"/>
                      </a:lnTo>
                      <a:lnTo>
                        <a:pt x="681" y="352"/>
                      </a:lnTo>
                      <a:lnTo>
                        <a:pt x="684" y="356"/>
                      </a:lnTo>
                      <a:lnTo>
                        <a:pt x="686" y="359"/>
                      </a:lnTo>
                      <a:lnTo>
                        <a:pt x="689" y="360"/>
                      </a:lnTo>
                      <a:lnTo>
                        <a:pt x="689" y="365"/>
                      </a:lnTo>
                      <a:lnTo>
                        <a:pt x="684" y="366"/>
                      </a:lnTo>
                      <a:lnTo>
                        <a:pt x="689" y="369"/>
                      </a:lnTo>
                      <a:lnTo>
                        <a:pt x="687" y="372"/>
                      </a:lnTo>
                      <a:lnTo>
                        <a:pt x="678" y="371"/>
                      </a:lnTo>
                      <a:lnTo>
                        <a:pt x="674" y="372"/>
                      </a:lnTo>
                      <a:lnTo>
                        <a:pt x="671" y="374"/>
                      </a:lnTo>
                      <a:lnTo>
                        <a:pt x="663" y="374"/>
                      </a:lnTo>
                      <a:lnTo>
                        <a:pt x="655" y="366"/>
                      </a:lnTo>
                      <a:lnTo>
                        <a:pt x="646" y="360"/>
                      </a:lnTo>
                      <a:lnTo>
                        <a:pt x="643" y="363"/>
                      </a:lnTo>
                      <a:lnTo>
                        <a:pt x="634" y="362"/>
                      </a:lnTo>
                      <a:lnTo>
                        <a:pt x="629" y="349"/>
                      </a:lnTo>
                      <a:lnTo>
                        <a:pt x="628" y="348"/>
                      </a:lnTo>
                      <a:lnTo>
                        <a:pt x="615" y="354"/>
                      </a:lnTo>
                      <a:lnTo>
                        <a:pt x="614" y="356"/>
                      </a:lnTo>
                      <a:lnTo>
                        <a:pt x="617" y="359"/>
                      </a:lnTo>
                      <a:lnTo>
                        <a:pt x="620" y="368"/>
                      </a:lnTo>
                      <a:lnTo>
                        <a:pt x="618" y="376"/>
                      </a:lnTo>
                      <a:lnTo>
                        <a:pt x="622" y="385"/>
                      </a:lnTo>
                      <a:lnTo>
                        <a:pt x="623" y="385"/>
                      </a:lnTo>
                      <a:lnTo>
                        <a:pt x="623" y="388"/>
                      </a:lnTo>
                      <a:lnTo>
                        <a:pt x="628" y="386"/>
                      </a:lnTo>
                      <a:lnTo>
                        <a:pt x="629" y="391"/>
                      </a:lnTo>
                      <a:lnTo>
                        <a:pt x="634" y="391"/>
                      </a:lnTo>
                      <a:lnTo>
                        <a:pt x="640" y="399"/>
                      </a:lnTo>
                      <a:lnTo>
                        <a:pt x="645" y="399"/>
                      </a:lnTo>
                      <a:lnTo>
                        <a:pt x="646" y="402"/>
                      </a:lnTo>
                      <a:lnTo>
                        <a:pt x="646" y="409"/>
                      </a:lnTo>
                      <a:lnTo>
                        <a:pt x="649" y="409"/>
                      </a:lnTo>
                      <a:lnTo>
                        <a:pt x="648" y="412"/>
                      </a:lnTo>
                      <a:lnTo>
                        <a:pt x="641" y="412"/>
                      </a:lnTo>
                      <a:lnTo>
                        <a:pt x="638" y="417"/>
                      </a:lnTo>
                      <a:lnTo>
                        <a:pt x="635" y="425"/>
                      </a:lnTo>
                      <a:lnTo>
                        <a:pt x="631" y="428"/>
                      </a:lnTo>
                      <a:lnTo>
                        <a:pt x="629" y="432"/>
                      </a:lnTo>
                      <a:lnTo>
                        <a:pt x="629" y="432"/>
                      </a:lnTo>
                      <a:lnTo>
                        <a:pt x="625" y="431"/>
                      </a:lnTo>
                      <a:lnTo>
                        <a:pt x="623" y="426"/>
                      </a:lnTo>
                      <a:lnTo>
                        <a:pt x="605" y="406"/>
                      </a:lnTo>
                      <a:lnTo>
                        <a:pt x="599" y="405"/>
                      </a:lnTo>
                      <a:lnTo>
                        <a:pt x="594" y="389"/>
                      </a:lnTo>
                      <a:lnTo>
                        <a:pt x="585" y="388"/>
                      </a:lnTo>
                      <a:lnTo>
                        <a:pt x="580" y="383"/>
                      </a:lnTo>
                      <a:lnTo>
                        <a:pt x="551" y="399"/>
                      </a:lnTo>
                      <a:lnTo>
                        <a:pt x="546" y="405"/>
                      </a:lnTo>
                      <a:lnTo>
                        <a:pt x="539" y="409"/>
                      </a:lnTo>
                      <a:lnTo>
                        <a:pt x="529" y="409"/>
                      </a:lnTo>
                      <a:lnTo>
                        <a:pt x="526" y="408"/>
                      </a:lnTo>
                      <a:lnTo>
                        <a:pt x="519" y="419"/>
                      </a:lnTo>
                      <a:lnTo>
                        <a:pt x="510" y="412"/>
                      </a:lnTo>
                      <a:lnTo>
                        <a:pt x="496" y="406"/>
                      </a:lnTo>
                      <a:lnTo>
                        <a:pt x="491" y="412"/>
                      </a:lnTo>
                      <a:lnTo>
                        <a:pt x="482" y="408"/>
                      </a:lnTo>
                      <a:lnTo>
                        <a:pt x="473" y="412"/>
                      </a:lnTo>
                      <a:lnTo>
                        <a:pt x="470" y="408"/>
                      </a:lnTo>
                      <a:lnTo>
                        <a:pt x="465" y="409"/>
                      </a:lnTo>
                      <a:lnTo>
                        <a:pt x="459" y="414"/>
                      </a:lnTo>
                      <a:lnTo>
                        <a:pt x="447" y="420"/>
                      </a:lnTo>
                      <a:lnTo>
                        <a:pt x="436" y="419"/>
                      </a:lnTo>
                      <a:lnTo>
                        <a:pt x="431" y="414"/>
                      </a:lnTo>
                      <a:lnTo>
                        <a:pt x="428" y="412"/>
                      </a:lnTo>
                      <a:lnTo>
                        <a:pt x="422" y="417"/>
                      </a:lnTo>
                      <a:lnTo>
                        <a:pt x="411" y="412"/>
                      </a:lnTo>
                      <a:lnTo>
                        <a:pt x="405" y="417"/>
                      </a:lnTo>
                      <a:lnTo>
                        <a:pt x="399" y="417"/>
                      </a:lnTo>
                      <a:lnTo>
                        <a:pt x="393" y="420"/>
                      </a:lnTo>
                      <a:lnTo>
                        <a:pt x="390" y="426"/>
                      </a:lnTo>
                      <a:lnTo>
                        <a:pt x="385" y="429"/>
                      </a:lnTo>
                      <a:lnTo>
                        <a:pt x="378" y="428"/>
                      </a:lnTo>
                      <a:lnTo>
                        <a:pt x="368" y="412"/>
                      </a:lnTo>
                      <a:lnTo>
                        <a:pt x="361" y="408"/>
                      </a:lnTo>
                      <a:lnTo>
                        <a:pt x="355" y="399"/>
                      </a:lnTo>
                      <a:lnTo>
                        <a:pt x="347" y="400"/>
                      </a:lnTo>
                      <a:lnTo>
                        <a:pt x="344" y="397"/>
                      </a:lnTo>
                      <a:lnTo>
                        <a:pt x="330" y="394"/>
                      </a:lnTo>
                      <a:lnTo>
                        <a:pt x="325" y="396"/>
                      </a:lnTo>
                      <a:lnTo>
                        <a:pt x="325" y="397"/>
                      </a:lnTo>
                      <a:lnTo>
                        <a:pt x="332" y="403"/>
                      </a:lnTo>
                      <a:lnTo>
                        <a:pt x="336" y="415"/>
                      </a:lnTo>
                      <a:lnTo>
                        <a:pt x="341" y="420"/>
                      </a:lnTo>
                      <a:lnTo>
                        <a:pt x="342" y="426"/>
                      </a:lnTo>
                      <a:lnTo>
                        <a:pt x="351" y="432"/>
                      </a:lnTo>
                      <a:lnTo>
                        <a:pt x="351" y="435"/>
                      </a:lnTo>
                      <a:lnTo>
                        <a:pt x="341" y="454"/>
                      </a:lnTo>
                      <a:lnTo>
                        <a:pt x="338" y="452"/>
                      </a:lnTo>
                      <a:lnTo>
                        <a:pt x="324" y="454"/>
                      </a:lnTo>
                      <a:lnTo>
                        <a:pt x="315" y="457"/>
                      </a:lnTo>
                      <a:lnTo>
                        <a:pt x="305" y="466"/>
                      </a:lnTo>
                      <a:lnTo>
                        <a:pt x="309" y="469"/>
                      </a:lnTo>
                      <a:lnTo>
                        <a:pt x="309" y="480"/>
                      </a:lnTo>
                      <a:lnTo>
                        <a:pt x="305" y="483"/>
                      </a:lnTo>
                      <a:lnTo>
                        <a:pt x="301" y="483"/>
                      </a:lnTo>
                      <a:lnTo>
                        <a:pt x="299" y="485"/>
                      </a:lnTo>
                      <a:lnTo>
                        <a:pt x="298" y="500"/>
                      </a:lnTo>
                      <a:lnTo>
                        <a:pt x="290" y="506"/>
                      </a:lnTo>
                      <a:lnTo>
                        <a:pt x="290" y="511"/>
                      </a:lnTo>
                      <a:lnTo>
                        <a:pt x="287" y="514"/>
                      </a:lnTo>
                      <a:lnTo>
                        <a:pt x="287" y="522"/>
                      </a:lnTo>
                      <a:lnTo>
                        <a:pt x="284" y="531"/>
                      </a:lnTo>
                      <a:lnTo>
                        <a:pt x="284" y="531"/>
                      </a:lnTo>
                      <a:lnTo>
                        <a:pt x="270" y="528"/>
                      </a:lnTo>
                      <a:lnTo>
                        <a:pt x="264" y="537"/>
                      </a:lnTo>
                      <a:lnTo>
                        <a:pt x="261" y="539"/>
                      </a:lnTo>
                      <a:lnTo>
                        <a:pt x="247" y="534"/>
                      </a:lnTo>
                      <a:lnTo>
                        <a:pt x="243" y="535"/>
                      </a:lnTo>
                      <a:lnTo>
                        <a:pt x="235" y="534"/>
                      </a:lnTo>
                      <a:lnTo>
                        <a:pt x="232" y="517"/>
                      </a:lnTo>
                      <a:lnTo>
                        <a:pt x="227" y="514"/>
                      </a:lnTo>
                      <a:lnTo>
                        <a:pt x="223" y="514"/>
                      </a:lnTo>
                      <a:lnTo>
                        <a:pt x="215" y="505"/>
                      </a:lnTo>
                      <a:lnTo>
                        <a:pt x="207" y="503"/>
                      </a:lnTo>
                      <a:lnTo>
                        <a:pt x="187" y="509"/>
                      </a:lnTo>
                      <a:lnTo>
                        <a:pt x="184" y="519"/>
                      </a:lnTo>
                      <a:lnTo>
                        <a:pt x="181" y="520"/>
                      </a:lnTo>
                      <a:lnTo>
                        <a:pt x="183" y="526"/>
                      </a:lnTo>
                      <a:lnTo>
                        <a:pt x="180" y="529"/>
                      </a:lnTo>
                      <a:lnTo>
                        <a:pt x="170" y="523"/>
                      </a:lnTo>
                      <a:lnTo>
                        <a:pt x="160" y="522"/>
                      </a:lnTo>
                      <a:lnTo>
                        <a:pt x="144" y="512"/>
                      </a:lnTo>
                      <a:lnTo>
                        <a:pt x="141" y="512"/>
                      </a:lnTo>
                      <a:lnTo>
                        <a:pt x="138" y="519"/>
                      </a:lnTo>
                      <a:lnTo>
                        <a:pt x="134" y="523"/>
                      </a:lnTo>
                      <a:lnTo>
                        <a:pt x="126" y="523"/>
                      </a:lnTo>
                      <a:lnTo>
                        <a:pt x="121" y="529"/>
                      </a:lnTo>
                      <a:lnTo>
                        <a:pt x="117" y="531"/>
                      </a:lnTo>
                      <a:lnTo>
                        <a:pt x="117" y="531"/>
                      </a:lnTo>
                      <a:lnTo>
                        <a:pt x="117" y="528"/>
                      </a:lnTo>
                      <a:lnTo>
                        <a:pt x="115" y="525"/>
                      </a:lnTo>
                      <a:lnTo>
                        <a:pt x="91" y="506"/>
                      </a:lnTo>
                      <a:lnTo>
                        <a:pt x="86" y="506"/>
                      </a:lnTo>
                      <a:lnTo>
                        <a:pt x="85" y="509"/>
                      </a:lnTo>
                      <a:lnTo>
                        <a:pt x="80" y="511"/>
                      </a:lnTo>
                      <a:lnTo>
                        <a:pt x="78" y="512"/>
                      </a:lnTo>
                      <a:lnTo>
                        <a:pt x="71" y="511"/>
                      </a:lnTo>
                      <a:lnTo>
                        <a:pt x="60" y="512"/>
                      </a:lnTo>
                      <a:lnTo>
                        <a:pt x="49" y="502"/>
                      </a:lnTo>
                      <a:lnTo>
                        <a:pt x="49" y="502"/>
                      </a:lnTo>
                      <a:lnTo>
                        <a:pt x="49" y="499"/>
                      </a:lnTo>
                      <a:lnTo>
                        <a:pt x="45" y="494"/>
                      </a:lnTo>
                      <a:lnTo>
                        <a:pt x="48" y="489"/>
                      </a:lnTo>
                      <a:lnTo>
                        <a:pt x="46" y="486"/>
                      </a:lnTo>
                      <a:lnTo>
                        <a:pt x="49" y="485"/>
                      </a:lnTo>
                      <a:lnTo>
                        <a:pt x="45" y="469"/>
                      </a:lnTo>
                      <a:lnTo>
                        <a:pt x="45" y="466"/>
                      </a:lnTo>
                      <a:lnTo>
                        <a:pt x="40" y="465"/>
                      </a:lnTo>
                      <a:lnTo>
                        <a:pt x="37" y="460"/>
                      </a:lnTo>
                      <a:lnTo>
                        <a:pt x="40" y="452"/>
                      </a:lnTo>
                      <a:lnTo>
                        <a:pt x="45" y="449"/>
                      </a:lnTo>
                      <a:lnTo>
                        <a:pt x="46" y="428"/>
                      </a:lnTo>
                      <a:lnTo>
                        <a:pt x="38" y="419"/>
                      </a:lnTo>
                      <a:lnTo>
                        <a:pt x="35" y="412"/>
                      </a:lnTo>
                      <a:lnTo>
                        <a:pt x="46" y="402"/>
                      </a:lnTo>
                      <a:lnTo>
                        <a:pt x="52" y="399"/>
                      </a:lnTo>
                      <a:lnTo>
                        <a:pt x="49" y="388"/>
                      </a:lnTo>
                      <a:lnTo>
                        <a:pt x="51" y="385"/>
                      </a:lnTo>
                      <a:lnTo>
                        <a:pt x="46" y="374"/>
                      </a:lnTo>
                      <a:lnTo>
                        <a:pt x="49" y="365"/>
                      </a:lnTo>
                      <a:lnTo>
                        <a:pt x="46" y="360"/>
                      </a:lnTo>
                      <a:lnTo>
                        <a:pt x="42" y="362"/>
                      </a:lnTo>
                      <a:lnTo>
                        <a:pt x="38" y="360"/>
                      </a:lnTo>
                      <a:lnTo>
                        <a:pt x="35" y="354"/>
                      </a:lnTo>
                      <a:lnTo>
                        <a:pt x="25" y="343"/>
                      </a:lnTo>
                      <a:lnTo>
                        <a:pt x="25" y="334"/>
                      </a:lnTo>
                      <a:lnTo>
                        <a:pt x="29" y="326"/>
                      </a:lnTo>
                      <a:lnTo>
                        <a:pt x="32" y="328"/>
                      </a:lnTo>
                      <a:lnTo>
                        <a:pt x="35" y="332"/>
                      </a:lnTo>
                      <a:lnTo>
                        <a:pt x="40" y="332"/>
                      </a:lnTo>
                      <a:lnTo>
                        <a:pt x="46" y="329"/>
                      </a:lnTo>
                      <a:lnTo>
                        <a:pt x="46" y="322"/>
                      </a:lnTo>
                      <a:lnTo>
                        <a:pt x="48" y="320"/>
                      </a:lnTo>
                      <a:lnTo>
                        <a:pt x="49" y="316"/>
                      </a:lnTo>
                      <a:lnTo>
                        <a:pt x="40" y="308"/>
                      </a:lnTo>
                      <a:lnTo>
                        <a:pt x="51" y="303"/>
                      </a:lnTo>
                      <a:lnTo>
                        <a:pt x="58" y="294"/>
                      </a:lnTo>
                      <a:lnTo>
                        <a:pt x="58" y="292"/>
                      </a:lnTo>
                      <a:lnTo>
                        <a:pt x="55" y="288"/>
                      </a:lnTo>
                      <a:lnTo>
                        <a:pt x="45" y="288"/>
                      </a:lnTo>
                      <a:lnTo>
                        <a:pt x="38" y="280"/>
                      </a:lnTo>
                      <a:lnTo>
                        <a:pt x="34" y="265"/>
                      </a:lnTo>
                      <a:lnTo>
                        <a:pt x="28" y="262"/>
                      </a:lnTo>
                      <a:lnTo>
                        <a:pt x="32" y="257"/>
                      </a:lnTo>
                      <a:lnTo>
                        <a:pt x="32" y="252"/>
                      </a:lnTo>
                      <a:lnTo>
                        <a:pt x="25" y="249"/>
                      </a:lnTo>
                      <a:lnTo>
                        <a:pt x="19" y="242"/>
                      </a:lnTo>
                      <a:lnTo>
                        <a:pt x="17" y="240"/>
                      </a:lnTo>
                      <a:lnTo>
                        <a:pt x="9" y="234"/>
                      </a:lnTo>
                      <a:lnTo>
                        <a:pt x="2" y="234"/>
                      </a:lnTo>
                      <a:lnTo>
                        <a:pt x="2" y="234"/>
                      </a:lnTo>
                      <a:lnTo>
                        <a:pt x="8" y="225"/>
                      </a:lnTo>
                      <a:lnTo>
                        <a:pt x="25" y="211"/>
                      </a:lnTo>
                      <a:lnTo>
                        <a:pt x="43" y="208"/>
                      </a:lnTo>
                      <a:lnTo>
                        <a:pt x="45" y="203"/>
                      </a:lnTo>
                      <a:lnTo>
                        <a:pt x="43" y="197"/>
                      </a:lnTo>
                      <a:lnTo>
                        <a:pt x="26" y="188"/>
                      </a:lnTo>
                      <a:lnTo>
                        <a:pt x="14" y="174"/>
                      </a:lnTo>
                      <a:lnTo>
                        <a:pt x="9" y="171"/>
                      </a:lnTo>
                      <a:lnTo>
                        <a:pt x="3" y="169"/>
                      </a:lnTo>
                      <a:lnTo>
                        <a:pt x="2" y="165"/>
                      </a:lnTo>
                      <a:lnTo>
                        <a:pt x="0" y="162"/>
                      </a:lnTo>
                      <a:lnTo>
                        <a:pt x="0" y="154"/>
                      </a:lnTo>
                      <a:lnTo>
                        <a:pt x="0" y="154"/>
                      </a:lnTo>
                      <a:lnTo>
                        <a:pt x="17" y="152"/>
                      </a:lnTo>
                      <a:lnTo>
                        <a:pt x="22" y="156"/>
                      </a:lnTo>
                      <a:lnTo>
                        <a:pt x="26" y="151"/>
                      </a:lnTo>
                      <a:lnTo>
                        <a:pt x="38" y="156"/>
                      </a:lnTo>
                      <a:lnTo>
                        <a:pt x="45" y="143"/>
                      </a:lnTo>
                      <a:lnTo>
                        <a:pt x="49" y="146"/>
                      </a:lnTo>
                      <a:lnTo>
                        <a:pt x="69" y="139"/>
                      </a:lnTo>
                      <a:lnTo>
                        <a:pt x="71" y="129"/>
                      </a:lnTo>
                      <a:lnTo>
                        <a:pt x="75" y="123"/>
                      </a:lnTo>
                      <a:lnTo>
                        <a:pt x="81" y="117"/>
                      </a:lnTo>
                      <a:lnTo>
                        <a:pt x="86" y="119"/>
                      </a:lnTo>
                      <a:lnTo>
                        <a:pt x="89" y="116"/>
                      </a:lnTo>
                      <a:lnTo>
                        <a:pt x="91" y="112"/>
                      </a:lnTo>
                      <a:lnTo>
                        <a:pt x="89" y="106"/>
                      </a:lnTo>
                      <a:lnTo>
                        <a:pt x="94" y="102"/>
                      </a:lnTo>
                      <a:lnTo>
                        <a:pt x="95" y="96"/>
                      </a:lnTo>
                      <a:lnTo>
                        <a:pt x="100" y="91"/>
                      </a:lnTo>
                      <a:lnTo>
                        <a:pt x="104" y="79"/>
                      </a:lnTo>
                      <a:lnTo>
                        <a:pt x="111" y="77"/>
                      </a:lnTo>
                      <a:lnTo>
                        <a:pt x="111" y="63"/>
                      </a:lnTo>
                      <a:lnTo>
                        <a:pt x="115" y="57"/>
                      </a:lnTo>
                      <a:lnTo>
                        <a:pt x="117" y="56"/>
                      </a:lnTo>
                      <a:lnTo>
                        <a:pt x="131" y="57"/>
                      </a:lnTo>
                      <a:lnTo>
                        <a:pt x="147" y="43"/>
                      </a:lnTo>
                      <a:lnTo>
                        <a:pt x="157" y="43"/>
                      </a:lnTo>
                      <a:lnTo>
                        <a:pt x="235" y="31"/>
                      </a:lnTo>
                      <a:lnTo>
                        <a:pt x="256" y="29"/>
                      </a:lnTo>
                      <a:lnTo>
                        <a:pt x="270" y="23"/>
                      </a:lnTo>
                      <a:lnTo>
                        <a:pt x="279" y="23"/>
                      </a:lnTo>
                      <a:lnTo>
                        <a:pt x="295" y="28"/>
                      </a:lnTo>
                      <a:lnTo>
                        <a:pt x="302" y="26"/>
                      </a:lnTo>
                      <a:lnTo>
                        <a:pt x="307" y="28"/>
                      </a:lnTo>
                      <a:lnTo>
                        <a:pt x="313" y="26"/>
                      </a:lnTo>
                      <a:lnTo>
                        <a:pt x="316" y="28"/>
                      </a:lnTo>
                      <a:lnTo>
                        <a:pt x="330" y="29"/>
                      </a:lnTo>
                      <a:lnTo>
                        <a:pt x="344" y="23"/>
                      </a:lnTo>
                      <a:lnTo>
                        <a:pt x="350" y="16"/>
                      </a:lnTo>
                      <a:lnTo>
                        <a:pt x="364" y="11"/>
                      </a:lnTo>
                      <a:lnTo>
                        <a:pt x="376" y="17"/>
                      </a:lnTo>
                      <a:lnTo>
                        <a:pt x="382" y="14"/>
                      </a:lnTo>
                      <a:lnTo>
                        <a:pt x="387" y="6"/>
                      </a:lnTo>
                      <a:lnTo>
                        <a:pt x="394" y="8"/>
                      </a:lnTo>
                      <a:lnTo>
                        <a:pt x="401" y="11"/>
                      </a:lnTo>
                      <a:lnTo>
                        <a:pt x="445" y="0"/>
                      </a:lnTo>
                      <a:lnTo>
                        <a:pt x="453" y="3"/>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11" name="Tulcea" descr="{&quot;Key&quot;:&quot;tulcea&quot;,&quot;Name&quot;:&quot;Tulcea&quot;,&quot;Value&quot;:1.0,&quot;Formula&quot;:&quot;&quot;,&quot;Text&quot;:&quot;1&quot;,&quot;OfficeApplication&quot;:0,&quot;HasValue&quot;:true}">
                  <a:extLst>
                    <a:ext uri="{FF2B5EF4-FFF2-40B4-BE49-F238E27FC236}">
                      <a16:creationId xmlns:a16="http://schemas.microsoft.com/office/drawing/2014/main" id="{A444BF24-583E-A5DA-0AF8-22BBEEC7BFEE}"/>
                    </a:ext>
                  </a:extLst>
                </p:cNvPr>
                <p:cNvSpPr>
                  <a:spLocks noEditPoints="1"/>
                </p:cNvSpPr>
                <p:nvPr/>
              </p:nvSpPr>
              <p:spPr bwMode="auto">
                <a:xfrm>
                  <a:off x="7993063" y="3905251"/>
                  <a:ext cx="1084263" cy="742950"/>
                </a:xfrm>
                <a:custGeom>
                  <a:avLst/>
                  <a:gdLst>
                    <a:gd name="T0" fmla="*/ 619 w 683"/>
                    <a:gd name="T1" fmla="*/ 380 h 468"/>
                    <a:gd name="T2" fmla="*/ 637 w 683"/>
                    <a:gd name="T3" fmla="*/ 360 h 468"/>
                    <a:gd name="T4" fmla="*/ 646 w 683"/>
                    <a:gd name="T5" fmla="*/ 338 h 468"/>
                    <a:gd name="T6" fmla="*/ 123 w 683"/>
                    <a:gd name="T7" fmla="*/ 48 h 468"/>
                    <a:gd name="T8" fmla="*/ 286 w 683"/>
                    <a:gd name="T9" fmla="*/ 135 h 468"/>
                    <a:gd name="T10" fmla="*/ 302 w 683"/>
                    <a:gd name="T11" fmla="*/ 100 h 468"/>
                    <a:gd name="T12" fmla="*/ 315 w 683"/>
                    <a:gd name="T13" fmla="*/ 75 h 468"/>
                    <a:gd name="T14" fmla="*/ 365 w 683"/>
                    <a:gd name="T15" fmla="*/ 100 h 468"/>
                    <a:gd name="T16" fmla="*/ 387 w 683"/>
                    <a:gd name="T17" fmla="*/ 75 h 468"/>
                    <a:gd name="T18" fmla="*/ 461 w 683"/>
                    <a:gd name="T19" fmla="*/ 43 h 468"/>
                    <a:gd name="T20" fmla="*/ 510 w 683"/>
                    <a:gd name="T21" fmla="*/ 22 h 468"/>
                    <a:gd name="T22" fmla="*/ 557 w 683"/>
                    <a:gd name="T23" fmla="*/ 15 h 468"/>
                    <a:gd name="T24" fmla="*/ 662 w 683"/>
                    <a:gd name="T25" fmla="*/ 74 h 468"/>
                    <a:gd name="T26" fmla="*/ 671 w 683"/>
                    <a:gd name="T27" fmla="*/ 145 h 468"/>
                    <a:gd name="T28" fmla="*/ 651 w 683"/>
                    <a:gd name="T29" fmla="*/ 155 h 468"/>
                    <a:gd name="T30" fmla="*/ 671 w 683"/>
                    <a:gd name="T31" fmla="*/ 174 h 468"/>
                    <a:gd name="T32" fmla="*/ 660 w 683"/>
                    <a:gd name="T33" fmla="*/ 208 h 468"/>
                    <a:gd name="T34" fmla="*/ 642 w 683"/>
                    <a:gd name="T35" fmla="*/ 332 h 468"/>
                    <a:gd name="T36" fmla="*/ 635 w 683"/>
                    <a:gd name="T37" fmla="*/ 355 h 468"/>
                    <a:gd name="T38" fmla="*/ 611 w 683"/>
                    <a:gd name="T39" fmla="*/ 361 h 468"/>
                    <a:gd name="T40" fmla="*/ 531 w 683"/>
                    <a:gd name="T41" fmla="*/ 368 h 468"/>
                    <a:gd name="T42" fmla="*/ 523 w 683"/>
                    <a:gd name="T43" fmla="*/ 371 h 468"/>
                    <a:gd name="T44" fmla="*/ 413 w 683"/>
                    <a:gd name="T45" fmla="*/ 425 h 468"/>
                    <a:gd name="T46" fmla="*/ 408 w 683"/>
                    <a:gd name="T47" fmla="*/ 405 h 468"/>
                    <a:gd name="T48" fmla="*/ 436 w 683"/>
                    <a:gd name="T49" fmla="*/ 334 h 468"/>
                    <a:gd name="T50" fmla="*/ 419 w 683"/>
                    <a:gd name="T51" fmla="*/ 348 h 468"/>
                    <a:gd name="T52" fmla="*/ 418 w 683"/>
                    <a:gd name="T53" fmla="*/ 295 h 468"/>
                    <a:gd name="T54" fmla="*/ 404 w 683"/>
                    <a:gd name="T55" fmla="*/ 263 h 468"/>
                    <a:gd name="T56" fmla="*/ 373 w 683"/>
                    <a:gd name="T57" fmla="*/ 272 h 468"/>
                    <a:gd name="T58" fmla="*/ 367 w 683"/>
                    <a:gd name="T59" fmla="*/ 268 h 468"/>
                    <a:gd name="T60" fmla="*/ 359 w 683"/>
                    <a:gd name="T61" fmla="*/ 262 h 468"/>
                    <a:gd name="T62" fmla="*/ 356 w 683"/>
                    <a:gd name="T63" fmla="*/ 278 h 468"/>
                    <a:gd name="T64" fmla="*/ 355 w 683"/>
                    <a:gd name="T65" fmla="*/ 337 h 468"/>
                    <a:gd name="T66" fmla="*/ 378 w 683"/>
                    <a:gd name="T67" fmla="*/ 366 h 468"/>
                    <a:gd name="T68" fmla="*/ 373 w 683"/>
                    <a:gd name="T69" fmla="*/ 395 h 468"/>
                    <a:gd name="T70" fmla="*/ 356 w 683"/>
                    <a:gd name="T71" fmla="*/ 398 h 468"/>
                    <a:gd name="T72" fmla="*/ 312 w 683"/>
                    <a:gd name="T73" fmla="*/ 418 h 468"/>
                    <a:gd name="T74" fmla="*/ 310 w 683"/>
                    <a:gd name="T75" fmla="*/ 426 h 468"/>
                    <a:gd name="T76" fmla="*/ 286 w 683"/>
                    <a:gd name="T77" fmla="*/ 412 h 468"/>
                    <a:gd name="T78" fmla="*/ 307 w 683"/>
                    <a:gd name="T79" fmla="*/ 434 h 468"/>
                    <a:gd name="T80" fmla="*/ 310 w 683"/>
                    <a:gd name="T81" fmla="*/ 445 h 468"/>
                    <a:gd name="T82" fmla="*/ 299 w 683"/>
                    <a:gd name="T83" fmla="*/ 438 h 468"/>
                    <a:gd name="T84" fmla="*/ 278 w 683"/>
                    <a:gd name="T85" fmla="*/ 449 h 468"/>
                    <a:gd name="T86" fmla="*/ 198 w 683"/>
                    <a:gd name="T87" fmla="*/ 463 h 468"/>
                    <a:gd name="T88" fmla="*/ 187 w 683"/>
                    <a:gd name="T89" fmla="*/ 451 h 468"/>
                    <a:gd name="T90" fmla="*/ 158 w 683"/>
                    <a:gd name="T91" fmla="*/ 458 h 468"/>
                    <a:gd name="T92" fmla="*/ 132 w 683"/>
                    <a:gd name="T93" fmla="*/ 434 h 468"/>
                    <a:gd name="T94" fmla="*/ 103 w 683"/>
                    <a:gd name="T95" fmla="*/ 403 h 468"/>
                    <a:gd name="T96" fmla="*/ 82 w 683"/>
                    <a:gd name="T97" fmla="*/ 401 h 468"/>
                    <a:gd name="T98" fmla="*/ 52 w 683"/>
                    <a:gd name="T99" fmla="*/ 377 h 468"/>
                    <a:gd name="T100" fmla="*/ 42 w 683"/>
                    <a:gd name="T101" fmla="*/ 340 h 468"/>
                    <a:gd name="T102" fmla="*/ 51 w 683"/>
                    <a:gd name="T103" fmla="*/ 312 h 468"/>
                    <a:gd name="T104" fmla="*/ 63 w 683"/>
                    <a:gd name="T105" fmla="*/ 243 h 468"/>
                    <a:gd name="T106" fmla="*/ 74 w 683"/>
                    <a:gd name="T107" fmla="*/ 203 h 468"/>
                    <a:gd name="T108" fmla="*/ 39 w 683"/>
                    <a:gd name="T109" fmla="*/ 157 h 468"/>
                    <a:gd name="T110" fmla="*/ 25 w 683"/>
                    <a:gd name="T111" fmla="*/ 120 h 468"/>
                    <a:gd name="T112" fmla="*/ 13 w 683"/>
                    <a:gd name="T113" fmla="*/ 35 h 468"/>
                    <a:gd name="T114" fmla="*/ 72 w 683"/>
                    <a:gd name="T115" fmla="*/ 29 h 468"/>
                    <a:gd name="T116" fmla="*/ 89 w 683"/>
                    <a:gd name="T117"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3" h="468">
                      <a:moveTo>
                        <a:pt x="620" y="381"/>
                      </a:moveTo>
                      <a:lnTo>
                        <a:pt x="611" y="386"/>
                      </a:lnTo>
                      <a:lnTo>
                        <a:pt x="608" y="385"/>
                      </a:lnTo>
                      <a:lnTo>
                        <a:pt x="611" y="381"/>
                      </a:lnTo>
                      <a:lnTo>
                        <a:pt x="617" y="381"/>
                      </a:lnTo>
                      <a:lnTo>
                        <a:pt x="619" y="380"/>
                      </a:lnTo>
                      <a:lnTo>
                        <a:pt x="623" y="378"/>
                      </a:lnTo>
                      <a:lnTo>
                        <a:pt x="628" y="374"/>
                      </a:lnTo>
                      <a:lnTo>
                        <a:pt x="620" y="381"/>
                      </a:lnTo>
                      <a:close/>
                      <a:moveTo>
                        <a:pt x="629" y="372"/>
                      </a:moveTo>
                      <a:lnTo>
                        <a:pt x="628" y="371"/>
                      </a:lnTo>
                      <a:lnTo>
                        <a:pt x="637" y="360"/>
                      </a:lnTo>
                      <a:lnTo>
                        <a:pt x="642" y="351"/>
                      </a:lnTo>
                      <a:lnTo>
                        <a:pt x="645" y="340"/>
                      </a:lnTo>
                      <a:lnTo>
                        <a:pt x="640" y="331"/>
                      </a:lnTo>
                      <a:lnTo>
                        <a:pt x="643" y="331"/>
                      </a:lnTo>
                      <a:lnTo>
                        <a:pt x="645" y="332"/>
                      </a:lnTo>
                      <a:lnTo>
                        <a:pt x="646" y="338"/>
                      </a:lnTo>
                      <a:lnTo>
                        <a:pt x="643" y="351"/>
                      </a:lnTo>
                      <a:lnTo>
                        <a:pt x="640" y="358"/>
                      </a:lnTo>
                      <a:lnTo>
                        <a:pt x="629" y="372"/>
                      </a:lnTo>
                      <a:close/>
                      <a:moveTo>
                        <a:pt x="117" y="22"/>
                      </a:moveTo>
                      <a:lnTo>
                        <a:pt x="115" y="38"/>
                      </a:lnTo>
                      <a:lnTo>
                        <a:pt x="123" y="48"/>
                      </a:lnTo>
                      <a:lnTo>
                        <a:pt x="135" y="74"/>
                      </a:lnTo>
                      <a:lnTo>
                        <a:pt x="141" y="82"/>
                      </a:lnTo>
                      <a:lnTo>
                        <a:pt x="197" y="106"/>
                      </a:lnTo>
                      <a:lnTo>
                        <a:pt x="226" y="122"/>
                      </a:lnTo>
                      <a:lnTo>
                        <a:pt x="256" y="125"/>
                      </a:lnTo>
                      <a:lnTo>
                        <a:pt x="286" y="135"/>
                      </a:lnTo>
                      <a:lnTo>
                        <a:pt x="312" y="129"/>
                      </a:lnTo>
                      <a:lnTo>
                        <a:pt x="318" y="126"/>
                      </a:lnTo>
                      <a:lnTo>
                        <a:pt x="316" y="120"/>
                      </a:lnTo>
                      <a:lnTo>
                        <a:pt x="306" y="112"/>
                      </a:lnTo>
                      <a:lnTo>
                        <a:pt x="301" y="103"/>
                      </a:lnTo>
                      <a:lnTo>
                        <a:pt x="302" y="100"/>
                      </a:lnTo>
                      <a:lnTo>
                        <a:pt x="306" y="98"/>
                      </a:lnTo>
                      <a:lnTo>
                        <a:pt x="316" y="98"/>
                      </a:lnTo>
                      <a:lnTo>
                        <a:pt x="321" y="92"/>
                      </a:lnTo>
                      <a:lnTo>
                        <a:pt x="322" y="86"/>
                      </a:lnTo>
                      <a:lnTo>
                        <a:pt x="313" y="82"/>
                      </a:lnTo>
                      <a:lnTo>
                        <a:pt x="315" y="75"/>
                      </a:lnTo>
                      <a:lnTo>
                        <a:pt x="321" y="72"/>
                      </a:lnTo>
                      <a:lnTo>
                        <a:pt x="329" y="72"/>
                      </a:lnTo>
                      <a:lnTo>
                        <a:pt x="336" y="82"/>
                      </a:lnTo>
                      <a:lnTo>
                        <a:pt x="342" y="85"/>
                      </a:lnTo>
                      <a:lnTo>
                        <a:pt x="350" y="83"/>
                      </a:lnTo>
                      <a:lnTo>
                        <a:pt x="365" y="100"/>
                      </a:lnTo>
                      <a:lnTo>
                        <a:pt x="372" y="105"/>
                      </a:lnTo>
                      <a:lnTo>
                        <a:pt x="376" y="105"/>
                      </a:lnTo>
                      <a:lnTo>
                        <a:pt x="381" y="102"/>
                      </a:lnTo>
                      <a:lnTo>
                        <a:pt x="381" y="98"/>
                      </a:lnTo>
                      <a:lnTo>
                        <a:pt x="379" y="86"/>
                      </a:lnTo>
                      <a:lnTo>
                        <a:pt x="387" y="75"/>
                      </a:lnTo>
                      <a:lnTo>
                        <a:pt x="396" y="74"/>
                      </a:lnTo>
                      <a:lnTo>
                        <a:pt x="418" y="58"/>
                      </a:lnTo>
                      <a:lnTo>
                        <a:pt x="424" y="58"/>
                      </a:lnTo>
                      <a:lnTo>
                        <a:pt x="433" y="51"/>
                      </a:lnTo>
                      <a:lnTo>
                        <a:pt x="442" y="51"/>
                      </a:lnTo>
                      <a:lnTo>
                        <a:pt x="461" y="43"/>
                      </a:lnTo>
                      <a:lnTo>
                        <a:pt x="471" y="37"/>
                      </a:lnTo>
                      <a:lnTo>
                        <a:pt x="474" y="29"/>
                      </a:lnTo>
                      <a:lnTo>
                        <a:pt x="488" y="25"/>
                      </a:lnTo>
                      <a:lnTo>
                        <a:pt x="496" y="17"/>
                      </a:lnTo>
                      <a:lnTo>
                        <a:pt x="503" y="17"/>
                      </a:lnTo>
                      <a:lnTo>
                        <a:pt x="510" y="22"/>
                      </a:lnTo>
                      <a:lnTo>
                        <a:pt x="516" y="22"/>
                      </a:lnTo>
                      <a:lnTo>
                        <a:pt x="530" y="9"/>
                      </a:lnTo>
                      <a:lnTo>
                        <a:pt x="533" y="9"/>
                      </a:lnTo>
                      <a:lnTo>
                        <a:pt x="540" y="15"/>
                      </a:lnTo>
                      <a:lnTo>
                        <a:pt x="553" y="14"/>
                      </a:lnTo>
                      <a:lnTo>
                        <a:pt x="557" y="15"/>
                      </a:lnTo>
                      <a:lnTo>
                        <a:pt x="571" y="12"/>
                      </a:lnTo>
                      <a:lnTo>
                        <a:pt x="576" y="17"/>
                      </a:lnTo>
                      <a:lnTo>
                        <a:pt x="589" y="23"/>
                      </a:lnTo>
                      <a:lnTo>
                        <a:pt x="619" y="31"/>
                      </a:lnTo>
                      <a:lnTo>
                        <a:pt x="639" y="45"/>
                      </a:lnTo>
                      <a:lnTo>
                        <a:pt x="662" y="74"/>
                      </a:lnTo>
                      <a:lnTo>
                        <a:pt x="666" y="88"/>
                      </a:lnTo>
                      <a:lnTo>
                        <a:pt x="669" y="109"/>
                      </a:lnTo>
                      <a:lnTo>
                        <a:pt x="663" y="115"/>
                      </a:lnTo>
                      <a:lnTo>
                        <a:pt x="663" y="125"/>
                      </a:lnTo>
                      <a:lnTo>
                        <a:pt x="666" y="138"/>
                      </a:lnTo>
                      <a:lnTo>
                        <a:pt x="671" y="145"/>
                      </a:lnTo>
                      <a:lnTo>
                        <a:pt x="668" y="146"/>
                      </a:lnTo>
                      <a:lnTo>
                        <a:pt x="665" y="143"/>
                      </a:lnTo>
                      <a:lnTo>
                        <a:pt x="651" y="140"/>
                      </a:lnTo>
                      <a:lnTo>
                        <a:pt x="651" y="135"/>
                      </a:lnTo>
                      <a:lnTo>
                        <a:pt x="649" y="140"/>
                      </a:lnTo>
                      <a:lnTo>
                        <a:pt x="651" y="155"/>
                      </a:lnTo>
                      <a:lnTo>
                        <a:pt x="654" y="166"/>
                      </a:lnTo>
                      <a:lnTo>
                        <a:pt x="658" y="172"/>
                      </a:lnTo>
                      <a:lnTo>
                        <a:pt x="665" y="172"/>
                      </a:lnTo>
                      <a:lnTo>
                        <a:pt x="669" y="171"/>
                      </a:lnTo>
                      <a:lnTo>
                        <a:pt x="668" y="172"/>
                      </a:lnTo>
                      <a:lnTo>
                        <a:pt x="671" y="174"/>
                      </a:lnTo>
                      <a:lnTo>
                        <a:pt x="671" y="172"/>
                      </a:lnTo>
                      <a:lnTo>
                        <a:pt x="674" y="171"/>
                      </a:lnTo>
                      <a:lnTo>
                        <a:pt x="683" y="169"/>
                      </a:lnTo>
                      <a:lnTo>
                        <a:pt x="677" y="172"/>
                      </a:lnTo>
                      <a:lnTo>
                        <a:pt x="671" y="180"/>
                      </a:lnTo>
                      <a:lnTo>
                        <a:pt x="660" y="208"/>
                      </a:lnTo>
                      <a:lnTo>
                        <a:pt x="646" y="328"/>
                      </a:lnTo>
                      <a:lnTo>
                        <a:pt x="645" y="328"/>
                      </a:lnTo>
                      <a:lnTo>
                        <a:pt x="639" y="326"/>
                      </a:lnTo>
                      <a:lnTo>
                        <a:pt x="639" y="328"/>
                      </a:lnTo>
                      <a:lnTo>
                        <a:pt x="639" y="331"/>
                      </a:lnTo>
                      <a:lnTo>
                        <a:pt x="642" y="332"/>
                      </a:lnTo>
                      <a:lnTo>
                        <a:pt x="642" y="334"/>
                      </a:lnTo>
                      <a:lnTo>
                        <a:pt x="642" y="335"/>
                      </a:lnTo>
                      <a:lnTo>
                        <a:pt x="643" y="345"/>
                      </a:lnTo>
                      <a:lnTo>
                        <a:pt x="642" y="349"/>
                      </a:lnTo>
                      <a:lnTo>
                        <a:pt x="637" y="351"/>
                      </a:lnTo>
                      <a:lnTo>
                        <a:pt x="635" y="355"/>
                      </a:lnTo>
                      <a:lnTo>
                        <a:pt x="634" y="354"/>
                      </a:lnTo>
                      <a:lnTo>
                        <a:pt x="632" y="355"/>
                      </a:lnTo>
                      <a:lnTo>
                        <a:pt x="626" y="355"/>
                      </a:lnTo>
                      <a:lnTo>
                        <a:pt x="623" y="360"/>
                      </a:lnTo>
                      <a:lnTo>
                        <a:pt x="619" y="363"/>
                      </a:lnTo>
                      <a:lnTo>
                        <a:pt x="611" y="361"/>
                      </a:lnTo>
                      <a:lnTo>
                        <a:pt x="537" y="372"/>
                      </a:lnTo>
                      <a:lnTo>
                        <a:pt x="536" y="371"/>
                      </a:lnTo>
                      <a:lnTo>
                        <a:pt x="539" y="371"/>
                      </a:lnTo>
                      <a:lnTo>
                        <a:pt x="537" y="368"/>
                      </a:lnTo>
                      <a:lnTo>
                        <a:pt x="534" y="369"/>
                      </a:lnTo>
                      <a:lnTo>
                        <a:pt x="531" y="368"/>
                      </a:lnTo>
                      <a:lnTo>
                        <a:pt x="537" y="366"/>
                      </a:lnTo>
                      <a:lnTo>
                        <a:pt x="533" y="366"/>
                      </a:lnTo>
                      <a:lnTo>
                        <a:pt x="528" y="368"/>
                      </a:lnTo>
                      <a:lnTo>
                        <a:pt x="527" y="369"/>
                      </a:lnTo>
                      <a:lnTo>
                        <a:pt x="522" y="369"/>
                      </a:lnTo>
                      <a:lnTo>
                        <a:pt x="523" y="371"/>
                      </a:lnTo>
                      <a:lnTo>
                        <a:pt x="531" y="372"/>
                      </a:lnTo>
                      <a:lnTo>
                        <a:pt x="494" y="378"/>
                      </a:lnTo>
                      <a:lnTo>
                        <a:pt x="457" y="389"/>
                      </a:lnTo>
                      <a:lnTo>
                        <a:pt x="441" y="398"/>
                      </a:lnTo>
                      <a:lnTo>
                        <a:pt x="431" y="405"/>
                      </a:lnTo>
                      <a:lnTo>
                        <a:pt x="413" y="425"/>
                      </a:lnTo>
                      <a:lnTo>
                        <a:pt x="402" y="437"/>
                      </a:lnTo>
                      <a:lnTo>
                        <a:pt x="393" y="426"/>
                      </a:lnTo>
                      <a:lnTo>
                        <a:pt x="388" y="405"/>
                      </a:lnTo>
                      <a:lnTo>
                        <a:pt x="390" y="408"/>
                      </a:lnTo>
                      <a:lnTo>
                        <a:pt x="395" y="408"/>
                      </a:lnTo>
                      <a:lnTo>
                        <a:pt x="408" y="405"/>
                      </a:lnTo>
                      <a:lnTo>
                        <a:pt x="448" y="383"/>
                      </a:lnTo>
                      <a:lnTo>
                        <a:pt x="453" y="378"/>
                      </a:lnTo>
                      <a:lnTo>
                        <a:pt x="454" y="371"/>
                      </a:lnTo>
                      <a:lnTo>
                        <a:pt x="457" y="363"/>
                      </a:lnTo>
                      <a:lnTo>
                        <a:pt x="453" y="352"/>
                      </a:lnTo>
                      <a:lnTo>
                        <a:pt x="436" y="334"/>
                      </a:lnTo>
                      <a:lnTo>
                        <a:pt x="433" y="341"/>
                      </a:lnTo>
                      <a:lnTo>
                        <a:pt x="439" y="351"/>
                      </a:lnTo>
                      <a:lnTo>
                        <a:pt x="439" y="354"/>
                      </a:lnTo>
                      <a:lnTo>
                        <a:pt x="430" y="357"/>
                      </a:lnTo>
                      <a:lnTo>
                        <a:pt x="427" y="361"/>
                      </a:lnTo>
                      <a:lnTo>
                        <a:pt x="419" y="348"/>
                      </a:lnTo>
                      <a:lnTo>
                        <a:pt x="418" y="346"/>
                      </a:lnTo>
                      <a:lnTo>
                        <a:pt x="418" y="335"/>
                      </a:lnTo>
                      <a:lnTo>
                        <a:pt x="413" y="323"/>
                      </a:lnTo>
                      <a:lnTo>
                        <a:pt x="413" y="309"/>
                      </a:lnTo>
                      <a:lnTo>
                        <a:pt x="414" y="301"/>
                      </a:lnTo>
                      <a:lnTo>
                        <a:pt x="418" y="295"/>
                      </a:lnTo>
                      <a:lnTo>
                        <a:pt x="434" y="291"/>
                      </a:lnTo>
                      <a:lnTo>
                        <a:pt x="439" y="288"/>
                      </a:lnTo>
                      <a:lnTo>
                        <a:pt x="439" y="275"/>
                      </a:lnTo>
                      <a:lnTo>
                        <a:pt x="436" y="269"/>
                      </a:lnTo>
                      <a:lnTo>
                        <a:pt x="416" y="263"/>
                      </a:lnTo>
                      <a:lnTo>
                        <a:pt x="404" y="263"/>
                      </a:lnTo>
                      <a:lnTo>
                        <a:pt x="402" y="254"/>
                      </a:lnTo>
                      <a:lnTo>
                        <a:pt x="393" y="254"/>
                      </a:lnTo>
                      <a:lnTo>
                        <a:pt x="384" y="255"/>
                      </a:lnTo>
                      <a:lnTo>
                        <a:pt x="385" y="268"/>
                      </a:lnTo>
                      <a:lnTo>
                        <a:pt x="379" y="272"/>
                      </a:lnTo>
                      <a:lnTo>
                        <a:pt x="373" y="272"/>
                      </a:lnTo>
                      <a:lnTo>
                        <a:pt x="376" y="269"/>
                      </a:lnTo>
                      <a:lnTo>
                        <a:pt x="378" y="260"/>
                      </a:lnTo>
                      <a:lnTo>
                        <a:pt x="375" y="260"/>
                      </a:lnTo>
                      <a:lnTo>
                        <a:pt x="370" y="268"/>
                      </a:lnTo>
                      <a:lnTo>
                        <a:pt x="368" y="262"/>
                      </a:lnTo>
                      <a:lnTo>
                        <a:pt x="367" y="268"/>
                      </a:lnTo>
                      <a:lnTo>
                        <a:pt x="370" y="271"/>
                      </a:lnTo>
                      <a:lnTo>
                        <a:pt x="367" y="272"/>
                      </a:lnTo>
                      <a:lnTo>
                        <a:pt x="362" y="257"/>
                      </a:lnTo>
                      <a:lnTo>
                        <a:pt x="356" y="249"/>
                      </a:lnTo>
                      <a:lnTo>
                        <a:pt x="356" y="251"/>
                      </a:lnTo>
                      <a:lnTo>
                        <a:pt x="359" y="262"/>
                      </a:lnTo>
                      <a:lnTo>
                        <a:pt x="359" y="266"/>
                      </a:lnTo>
                      <a:lnTo>
                        <a:pt x="361" y="271"/>
                      </a:lnTo>
                      <a:lnTo>
                        <a:pt x="364" y="271"/>
                      </a:lnTo>
                      <a:lnTo>
                        <a:pt x="362" y="272"/>
                      </a:lnTo>
                      <a:lnTo>
                        <a:pt x="358" y="278"/>
                      </a:lnTo>
                      <a:lnTo>
                        <a:pt x="356" y="278"/>
                      </a:lnTo>
                      <a:lnTo>
                        <a:pt x="344" y="286"/>
                      </a:lnTo>
                      <a:lnTo>
                        <a:pt x="341" y="312"/>
                      </a:lnTo>
                      <a:lnTo>
                        <a:pt x="345" y="317"/>
                      </a:lnTo>
                      <a:lnTo>
                        <a:pt x="344" y="329"/>
                      </a:lnTo>
                      <a:lnTo>
                        <a:pt x="349" y="335"/>
                      </a:lnTo>
                      <a:lnTo>
                        <a:pt x="355" y="337"/>
                      </a:lnTo>
                      <a:lnTo>
                        <a:pt x="370" y="357"/>
                      </a:lnTo>
                      <a:lnTo>
                        <a:pt x="375" y="358"/>
                      </a:lnTo>
                      <a:lnTo>
                        <a:pt x="378" y="358"/>
                      </a:lnTo>
                      <a:lnTo>
                        <a:pt x="381" y="361"/>
                      </a:lnTo>
                      <a:lnTo>
                        <a:pt x="378" y="363"/>
                      </a:lnTo>
                      <a:lnTo>
                        <a:pt x="378" y="366"/>
                      </a:lnTo>
                      <a:lnTo>
                        <a:pt x="364" y="372"/>
                      </a:lnTo>
                      <a:lnTo>
                        <a:pt x="370" y="375"/>
                      </a:lnTo>
                      <a:lnTo>
                        <a:pt x="365" y="378"/>
                      </a:lnTo>
                      <a:lnTo>
                        <a:pt x="365" y="386"/>
                      </a:lnTo>
                      <a:lnTo>
                        <a:pt x="367" y="391"/>
                      </a:lnTo>
                      <a:lnTo>
                        <a:pt x="373" y="395"/>
                      </a:lnTo>
                      <a:lnTo>
                        <a:pt x="376" y="400"/>
                      </a:lnTo>
                      <a:lnTo>
                        <a:pt x="372" y="403"/>
                      </a:lnTo>
                      <a:lnTo>
                        <a:pt x="350" y="405"/>
                      </a:lnTo>
                      <a:lnTo>
                        <a:pt x="358" y="400"/>
                      </a:lnTo>
                      <a:lnTo>
                        <a:pt x="359" y="398"/>
                      </a:lnTo>
                      <a:lnTo>
                        <a:pt x="356" y="398"/>
                      </a:lnTo>
                      <a:lnTo>
                        <a:pt x="350" y="401"/>
                      </a:lnTo>
                      <a:lnTo>
                        <a:pt x="350" y="405"/>
                      </a:lnTo>
                      <a:lnTo>
                        <a:pt x="338" y="409"/>
                      </a:lnTo>
                      <a:lnTo>
                        <a:pt x="332" y="415"/>
                      </a:lnTo>
                      <a:lnTo>
                        <a:pt x="313" y="420"/>
                      </a:lnTo>
                      <a:lnTo>
                        <a:pt x="312" y="418"/>
                      </a:lnTo>
                      <a:lnTo>
                        <a:pt x="315" y="415"/>
                      </a:lnTo>
                      <a:lnTo>
                        <a:pt x="322" y="415"/>
                      </a:lnTo>
                      <a:lnTo>
                        <a:pt x="322" y="414"/>
                      </a:lnTo>
                      <a:lnTo>
                        <a:pt x="313" y="415"/>
                      </a:lnTo>
                      <a:lnTo>
                        <a:pt x="312" y="417"/>
                      </a:lnTo>
                      <a:lnTo>
                        <a:pt x="310" y="426"/>
                      </a:lnTo>
                      <a:lnTo>
                        <a:pt x="302" y="421"/>
                      </a:lnTo>
                      <a:lnTo>
                        <a:pt x="298" y="423"/>
                      </a:lnTo>
                      <a:lnTo>
                        <a:pt x="296" y="423"/>
                      </a:lnTo>
                      <a:lnTo>
                        <a:pt x="292" y="418"/>
                      </a:lnTo>
                      <a:lnTo>
                        <a:pt x="292" y="414"/>
                      </a:lnTo>
                      <a:lnTo>
                        <a:pt x="286" y="412"/>
                      </a:lnTo>
                      <a:lnTo>
                        <a:pt x="284" y="417"/>
                      </a:lnTo>
                      <a:lnTo>
                        <a:pt x="290" y="425"/>
                      </a:lnTo>
                      <a:lnTo>
                        <a:pt x="310" y="428"/>
                      </a:lnTo>
                      <a:lnTo>
                        <a:pt x="312" y="428"/>
                      </a:lnTo>
                      <a:lnTo>
                        <a:pt x="312" y="432"/>
                      </a:lnTo>
                      <a:lnTo>
                        <a:pt x="307" y="434"/>
                      </a:lnTo>
                      <a:lnTo>
                        <a:pt x="313" y="437"/>
                      </a:lnTo>
                      <a:lnTo>
                        <a:pt x="322" y="437"/>
                      </a:lnTo>
                      <a:lnTo>
                        <a:pt x="321" y="440"/>
                      </a:lnTo>
                      <a:lnTo>
                        <a:pt x="316" y="438"/>
                      </a:lnTo>
                      <a:lnTo>
                        <a:pt x="318" y="441"/>
                      </a:lnTo>
                      <a:lnTo>
                        <a:pt x="310" y="445"/>
                      </a:lnTo>
                      <a:lnTo>
                        <a:pt x="310" y="445"/>
                      </a:lnTo>
                      <a:lnTo>
                        <a:pt x="309" y="443"/>
                      </a:lnTo>
                      <a:lnTo>
                        <a:pt x="306" y="446"/>
                      </a:lnTo>
                      <a:lnTo>
                        <a:pt x="301" y="446"/>
                      </a:lnTo>
                      <a:lnTo>
                        <a:pt x="299" y="445"/>
                      </a:lnTo>
                      <a:lnTo>
                        <a:pt x="299" y="438"/>
                      </a:lnTo>
                      <a:lnTo>
                        <a:pt x="296" y="435"/>
                      </a:lnTo>
                      <a:lnTo>
                        <a:pt x="293" y="435"/>
                      </a:lnTo>
                      <a:lnTo>
                        <a:pt x="289" y="438"/>
                      </a:lnTo>
                      <a:lnTo>
                        <a:pt x="283" y="438"/>
                      </a:lnTo>
                      <a:lnTo>
                        <a:pt x="283" y="449"/>
                      </a:lnTo>
                      <a:lnTo>
                        <a:pt x="278" y="449"/>
                      </a:lnTo>
                      <a:lnTo>
                        <a:pt x="235" y="454"/>
                      </a:lnTo>
                      <a:lnTo>
                        <a:pt x="218" y="452"/>
                      </a:lnTo>
                      <a:lnTo>
                        <a:pt x="218" y="463"/>
                      </a:lnTo>
                      <a:lnTo>
                        <a:pt x="204" y="463"/>
                      </a:lnTo>
                      <a:lnTo>
                        <a:pt x="197" y="468"/>
                      </a:lnTo>
                      <a:lnTo>
                        <a:pt x="198" y="463"/>
                      </a:lnTo>
                      <a:lnTo>
                        <a:pt x="195" y="463"/>
                      </a:lnTo>
                      <a:lnTo>
                        <a:pt x="195" y="457"/>
                      </a:lnTo>
                      <a:lnTo>
                        <a:pt x="190" y="457"/>
                      </a:lnTo>
                      <a:lnTo>
                        <a:pt x="194" y="452"/>
                      </a:lnTo>
                      <a:lnTo>
                        <a:pt x="192" y="451"/>
                      </a:lnTo>
                      <a:lnTo>
                        <a:pt x="187" y="451"/>
                      </a:lnTo>
                      <a:lnTo>
                        <a:pt x="186" y="452"/>
                      </a:lnTo>
                      <a:lnTo>
                        <a:pt x="184" y="452"/>
                      </a:lnTo>
                      <a:lnTo>
                        <a:pt x="183" y="458"/>
                      </a:lnTo>
                      <a:lnTo>
                        <a:pt x="172" y="455"/>
                      </a:lnTo>
                      <a:lnTo>
                        <a:pt x="171" y="461"/>
                      </a:lnTo>
                      <a:lnTo>
                        <a:pt x="158" y="458"/>
                      </a:lnTo>
                      <a:lnTo>
                        <a:pt x="155" y="457"/>
                      </a:lnTo>
                      <a:lnTo>
                        <a:pt x="163" y="446"/>
                      </a:lnTo>
                      <a:lnTo>
                        <a:pt x="137" y="443"/>
                      </a:lnTo>
                      <a:lnTo>
                        <a:pt x="137" y="437"/>
                      </a:lnTo>
                      <a:lnTo>
                        <a:pt x="132" y="435"/>
                      </a:lnTo>
                      <a:lnTo>
                        <a:pt x="132" y="434"/>
                      </a:lnTo>
                      <a:lnTo>
                        <a:pt x="126" y="432"/>
                      </a:lnTo>
                      <a:lnTo>
                        <a:pt x="128" y="431"/>
                      </a:lnTo>
                      <a:lnTo>
                        <a:pt x="105" y="420"/>
                      </a:lnTo>
                      <a:lnTo>
                        <a:pt x="108" y="414"/>
                      </a:lnTo>
                      <a:lnTo>
                        <a:pt x="103" y="411"/>
                      </a:lnTo>
                      <a:lnTo>
                        <a:pt x="103" y="403"/>
                      </a:lnTo>
                      <a:lnTo>
                        <a:pt x="106" y="401"/>
                      </a:lnTo>
                      <a:lnTo>
                        <a:pt x="105" y="395"/>
                      </a:lnTo>
                      <a:lnTo>
                        <a:pt x="89" y="394"/>
                      </a:lnTo>
                      <a:lnTo>
                        <a:pt x="88" y="395"/>
                      </a:lnTo>
                      <a:lnTo>
                        <a:pt x="88" y="400"/>
                      </a:lnTo>
                      <a:lnTo>
                        <a:pt x="82" y="401"/>
                      </a:lnTo>
                      <a:lnTo>
                        <a:pt x="74" y="395"/>
                      </a:lnTo>
                      <a:lnTo>
                        <a:pt x="74" y="392"/>
                      </a:lnTo>
                      <a:lnTo>
                        <a:pt x="78" y="386"/>
                      </a:lnTo>
                      <a:lnTo>
                        <a:pt x="63" y="375"/>
                      </a:lnTo>
                      <a:lnTo>
                        <a:pt x="55" y="374"/>
                      </a:lnTo>
                      <a:lnTo>
                        <a:pt x="52" y="377"/>
                      </a:lnTo>
                      <a:lnTo>
                        <a:pt x="48" y="378"/>
                      </a:lnTo>
                      <a:lnTo>
                        <a:pt x="31" y="374"/>
                      </a:lnTo>
                      <a:lnTo>
                        <a:pt x="31" y="374"/>
                      </a:lnTo>
                      <a:lnTo>
                        <a:pt x="34" y="360"/>
                      </a:lnTo>
                      <a:lnTo>
                        <a:pt x="40" y="349"/>
                      </a:lnTo>
                      <a:lnTo>
                        <a:pt x="42" y="340"/>
                      </a:lnTo>
                      <a:lnTo>
                        <a:pt x="48" y="334"/>
                      </a:lnTo>
                      <a:lnTo>
                        <a:pt x="55" y="331"/>
                      </a:lnTo>
                      <a:lnTo>
                        <a:pt x="59" y="325"/>
                      </a:lnTo>
                      <a:lnTo>
                        <a:pt x="59" y="323"/>
                      </a:lnTo>
                      <a:lnTo>
                        <a:pt x="52" y="318"/>
                      </a:lnTo>
                      <a:lnTo>
                        <a:pt x="51" y="312"/>
                      </a:lnTo>
                      <a:lnTo>
                        <a:pt x="55" y="291"/>
                      </a:lnTo>
                      <a:lnTo>
                        <a:pt x="62" y="278"/>
                      </a:lnTo>
                      <a:lnTo>
                        <a:pt x="59" y="275"/>
                      </a:lnTo>
                      <a:lnTo>
                        <a:pt x="52" y="255"/>
                      </a:lnTo>
                      <a:lnTo>
                        <a:pt x="55" y="248"/>
                      </a:lnTo>
                      <a:lnTo>
                        <a:pt x="63" y="243"/>
                      </a:lnTo>
                      <a:lnTo>
                        <a:pt x="55" y="218"/>
                      </a:lnTo>
                      <a:lnTo>
                        <a:pt x="55" y="206"/>
                      </a:lnTo>
                      <a:lnTo>
                        <a:pt x="57" y="205"/>
                      </a:lnTo>
                      <a:lnTo>
                        <a:pt x="68" y="208"/>
                      </a:lnTo>
                      <a:lnTo>
                        <a:pt x="72" y="206"/>
                      </a:lnTo>
                      <a:lnTo>
                        <a:pt x="74" y="203"/>
                      </a:lnTo>
                      <a:lnTo>
                        <a:pt x="69" y="194"/>
                      </a:lnTo>
                      <a:lnTo>
                        <a:pt x="80" y="186"/>
                      </a:lnTo>
                      <a:lnTo>
                        <a:pt x="78" y="185"/>
                      </a:lnTo>
                      <a:lnTo>
                        <a:pt x="71" y="182"/>
                      </a:lnTo>
                      <a:lnTo>
                        <a:pt x="59" y="169"/>
                      </a:lnTo>
                      <a:lnTo>
                        <a:pt x="39" y="157"/>
                      </a:lnTo>
                      <a:lnTo>
                        <a:pt x="54" y="131"/>
                      </a:lnTo>
                      <a:lnTo>
                        <a:pt x="49" y="126"/>
                      </a:lnTo>
                      <a:lnTo>
                        <a:pt x="48" y="118"/>
                      </a:lnTo>
                      <a:lnTo>
                        <a:pt x="46" y="117"/>
                      </a:lnTo>
                      <a:lnTo>
                        <a:pt x="40" y="123"/>
                      </a:lnTo>
                      <a:lnTo>
                        <a:pt x="25" y="120"/>
                      </a:lnTo>
                      <a:lnTo>
                        <a:pt x="11" y="112"/>
                      </a:lnTo>
                      <a:lnTo>
                        <a:pt x="0" y="100"/>
                      </a:lnTo>
                      <a:lnTo>
                        <a:pt x="0" y="91"/>
                      </a:lnTo>
                      <a:lnTo>
                        <a:pt x="13" y="60"/>
                      </a:lnTo>
                      <a:lnTo>
                        <a:pt x="13" y="35"/>
                      </a:lnTo>
                      <a:lnTo>
                        <a:pt x="13" y="35"/>
                      </a:lnTo>
                      <a:lnTo>
                        <a:pt x="17" y="29"/>
                      </a:lnTo>
                      <a:lnTo>
                        <a:pt x="26" y="22"/>
                      </a:lnTo>
                      <a:lnTo>
                        <a:pt x="40" y="15"/>
                      </a:lnTo>
                      <a:lnTo>
                        <a:pt x="49" y="15"/>
                      </a:lnTo>
                      <a:lnTo>
                        <a:pt x="57" y="17"/>
                      </a:lnTo>
                      <a:lnTo>
                        <a:pt x="72" y="29"/>
                      </a:lnTo>
                      <a:lnTo>
                        <a:pt x="77" y="31"/>
                      </a:lnTo>
                      <a:lnTo>
                        <a:pt x="78" y="28"/>
                      </a:lnTo>
                      <a:lnTo>
                        <a:pt x="80" y="9"/>
                      </a:lnTo>
                      <a:lnTo>
                        <a:pt x="83" y="3"/>
                      </a:lnTo>
                      <a:lnTo>
                        <a:pt x="89" y="0"/>
                      </a:lnTo>
                      <a:lnTo>
                        <a:pt x="89" y="0"/>
                      </a:lnTo>
                      <a:lnTo>
                        <a:pt x="95" y="0"/>
                      </a:lnTo>
                      <a:lnTo>
                        <a:pt x="111" y="8"/>
                      </a:lnTo>
                      <a:lnTo>
                        <a:pt x="115" y="12"/>
                      </a:lnTo>
                      <a:lnTo>
                        <a:pt x="117" y="22"/>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12" name="Timis" descr="{&quot;Key&quot;:&quot;timis&quot;,&quot;Name&quot;:&quot;Timis&quot;,&quot;Value&quot;:1.0,&quot;Formula&quot;:&quot;&quot;,&quot;Text&quot;:&quot;1&quot;,&quot;OfficeApplication&quot;:0,&quot;HasValue&quot;:true}">
                  <a:extLst>
                    <a:ext uri="{FF2B5EF4-FFF2-40B4-BE49-F238E27FC236}">
                      <a16:creationId xmlns:a16="http://schemas.microsoft.com/office/drawing/2014/main" id="{DD0A2CB0-9CF3-9D10-CB7C-31A980B1B79A}"/>
                    </a:ext>
                  </a:extLst>
                </p:cNvPr>
                <p:cNvSpPr>
                  <a:spLocks/>
                </p:cNvSpPr>
                <p:nvPr/>
              </p:nvSpPr>
              <p:spPr bwMode="auto">
                <a:xfrm>
                  <a:off x="3114675" y="3248026"/>
                  <a:ext cx="1441450" cy="903288"/>
                </a:xfrm>
                <a:custGeom>
                  <a:avLst/>
                  <a:gdLst>
                    <a:gd name="T0" fmla="*/ 167 w 908"/>
                    <a:gd name="T1" fmla="*/ 26 h 569"/>
                    <a:gd name="T2" fmla="*/ 203 w 908"/>
                    <a:gd name="T3" fmla="*/ 28 h 569"/>
                    <a:gd name="T4" fmla="*/ 247 w 908"/>
                    <a:gd name="T5" fmla="*/ 62 h 569"/>
                    <a:gd name="T6" fmla="*/ 299 w 908"/>
                    <a:gd name="T7" fmla="*/ 93 h 569"/>
                    <a:gd name="T8" fmla="*/ 327 w 908"/>
                    <a:gd name="T9" fmla="*/ 111 h 569"/>
                    <a:gd name="T10" fmla="*/ 368 w 908"/>
                    <a:gd name="T11" fmla="*/ 117 h 569"/>
                    <a:gd name="T12" fmla="*/ 408 w 908"/>
                    <a:gd name="T13" fmla="*/ 99 h 569"/>
                    <a:gd name="T14" fmla="*/ 450 w 908"/>
                    <a:gd name="T15" fmla="*/ 108 h 569"/>
                    <a:gd name="T16" fmla="*/ 503 w 908"/>
                    <a:gd name="T17" fmla="*/ 86 h 569"/>
                    <a:gd name="T18" fmla="*/ 539 w 908"/>
                    <a:gd name="T19" fmla="*/ 120 h 569"/>
                    <a:gd name="T20" fmla="*/ 545 w 908"/>
                    <a:gd name="T21" fmla="*/ 140 h 569"/>
                    <a:gd name="T22" fmla="*/ 569 w 908"/>
                    <a:gd name="T23" fmla="*/ 146 h 569"/>
                    <a:gd name="T24" fmla="*/ 600 w 908"/>
                    <a:gd name="T25" fmla="*/ 146 h 569"/>
                    <a:gd name="T26" fmla="*/ 629 w 908"/>
                    <a:gd name="T27" fmla="*/ 140 h 569"/>
                    <a:gd name="T28" fmla="*/ 663 w 908"/>
                    <a:gd name="T29" fmla="*/ 117 h 569"/>
                    <a:gd name="T30" fmla="*/ 690 w 908"/>
                    <a:gd name="T31" fmla="*/ 122 h 569"/>
                    <a:gd name="T32" fmla="*/ 747 w 908"/>
                    <a:gd name="T33" fmla="*/ 153 h 569"/>
                    <a:gd name="T34" fmla="*/ 784 w 908"/>
                    <a:gd name="T35" fmla="*/ 146 h 569"/>
                    <a:gd name="T36" fmla="*/ 816 w 908"/>
                    <a:gd name="T37" fmla="*/ 136 h 569"/>
                    <a:gd name="T38" fmla="*/ 853 w 908"/>
                    <a:gd name="T39" fmla="*/ 157 h 569"/>
                    <a:gd name="T40" fmla="*/ 850 w 908"/>
                    <a:gd name="T41" fmla="*/ 188 h 569"/>
                    <a:gd name="T42" fmla="*/ 879 w 908"/>
                    <a:gd name="T43" fmla="*/ 205 h 569"/>
                    <a:gd name="T44" fmla="*/ 888 w 908"/>
                    <a:gd name="T45" fmla="*/ 259 h 569"/>
                    <a:gd name="T46" fmla="*/ 859 w 908"/>
                    <a:gd name="T47" fmla="*/ 300 h 569"/>
                    <a:gd name="T48" fmla="*/ 810 w 908"/>
                    <a:gd name="T49" fmla="*/ 312 h 569"/>
                    <a:gd name="T50" fmla="*/ 761 w 908"/>
                    <a:gd name="T51" fmla="*/ 323 h 569"/>
                    <a:gd name="T52" fmla="*/ 720 w 908"/>
                    <a:gd name="T53" fmla="*/ 354 h 569"/>
                    <a:gd name="T54" fmla="*/ 712 w 908"/>
                    <a:gd name="T55" fmla="*/ 377 h 569"/>
                    <a:gd name="T56" fmla="*/ 674 w 908"/>
                    <a:gd name="T57" fmla="*/ 402 h 569"/>
                    <a:gd name="T58" fmla="*/ 647 w 908"/>
                    <a:gd name="T59" fmla="*/ 376 h 569"/>
                    <a:gd name="T60" fmla="*/ 628 w 908"/>
                    <a:gd name="T61" fmla="*/ 376 h 569"/>
                    <a:gd name="T62" fmla="*/ 572 w 908"/>
                    <a:gd name="T63" fmla="*/ 360 h 569"/>
                    <a:gd name="T64" fmla="*/ 525 w 908"/>
                    <a:gd name="T65" fmla="*/ 366 h 569"/>
                    <a:gd name="T66" fmla="*/ 512 w 908"/>
                    <a:gd name="T67" fmla="*/ 391 h 569"/>
                    <a:gd name="T68" fmla="*/ 480 w 908"/>
                    <a:gd name="T69" fmla="*/ 434 h 569"/>
                    <a:gd name="T70" fmla="*/ 488 w 908"/>
                    <a:gd name="T71" fmla="*/ 439 h 569"/>
                    <a:gd name="T72" fmla="*/ 476 w 908"/>
                    <a:gd name="T73" fmla="*/ 469 h 569"/>
                    <a:gd name="T74" fmla="*/ 512 w 908"/>
                    <a:gd name="T75" fmla="*/ 525 h 569"/>
                    <a:gd name="T76" fmla="*/ 491 w 908"/>
                    <a:gd name="T77" fmla="*/ 568 h 569"/>
                    <a:gd name="T78" fmla="*/ 454 w 908"/>
                    <a:gd name="T79" fmla="*/ 548 h 569"/>
                    <a:gd name="T80" fmla="*/ 420 w 908"/>
                    <a:gd name="T81" fmla="*/ 543 h 569"/>
                    <a:gd name="T82" fmla="*/ 373 w 908"/>
                    <a:gd name="T83" fmla="*/ 526 h 569"/>
                    <a:gd name="T84" fmla="*/ 364 w 908"/>
                    <a:gd name="T85" fmla="*/ 497 h 569"/>
                    <a:gd name="T86" fmla="*/ 350 w 908"/>
                    <a:gd name="T87" fmla="*/ 503 h 569"/>
                    <a:gd name="T88" fmla="*/ 299 w 908"/>
                    <a:gd name="T89" fmla="*/ 494 h 569"/>
                    <a:gd name="T90" fmla="*/ 272 w 908"/>
                    <a:gd name="T91" fmla="*/ 460 h 569"/>
                    <a:gd name="T92" fmla="*/ 241 w 908"/>
                    <a:gd name="T93" fmla="*/ 432 h 569"/>
                    <a:gd name="T94" fmla="*/ 227 w 908"/>
                    <a:gd name="T95" fmla="*/ 406 h 569"/>
                    <a:gd name="T96" fmla="*/ 221 w 908"/>
                    <a:gd name="T97" fmla="*/ 366 h 569"/>
                    <a:gd name="T98" fmla="*/ 206 w 908"/>
                    <a:gd name="T99" fmla="*/ 326 h 569"/>
                    <a:gd name="T100" fmla="*/ 213 w 908"/>
                    <a:gd name="T101" fmla="*/ 280 h 569"/>
                    <a:gd name="T102" fmla="*/ 187 w 908"/>
                    <a:gd name="T103" fmla="*/ 251 h 569"/>
                    <a:gd name="T104" fmla="*/ 160 w 908"/>
                    <a:gd name="T105" fmla="*/ 228 h 569"/>
                    <a:gd name="T106" fmla="*/ 127 w 908"/>
                    <a:gd name="T107" fmla="*/ 185 h 569"/>
                    <a:gd name="T108" fmla="*/ 74 w 908"/>
                    <a:gd name="T109" fmla="*/ 128 h 569"/>
                    <a:gd name="T110" fmla="*/ 18 w 908"/>
                    <a:gd name="T111" fmla="*/ 69 h 569"/>
                    <a:gd name="T112" fmla="*/ 0 w 908"/>
                    <a:gd name="T113" fmla="*/ 40 h 569"/>
                    <a:gd name="T114" fmla="*/ 52 w 908"/>
                    <a:gd name="T115" fmla="*/ 23 h 569"/>
                    <a:gd name="T116" fmla="*/ 92 w 908"/>
                    <a:gd name="T117" fmla="*/ 2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8" h="569">
                      <a:moveTo>
                        <a:pt x="133" y="25"/>
                      </a:moveTo>
                      <a:lnTo>
                        <a:pt x="146" y="36"/>
                      </a:lnTo>
                      <a:lnTo>
                        <a:pt x="150" y="37"/>
                      </a:lnTo>
                      <a:lnTo>
                        <a:pt x="152" y="36"/>
                      </a:lnTo>
                      <a:lnTo>
                        <a:pt x="157" y="23"/>
                      </a:lnTo>
                      <a:lnTo>
                        <a:pt x="164" y="28"/>
                      </a:lnTo>
                      <a:lnTo>
                        <a:pt x="167" y="26"/>
                      </a:lnTo>
                      <a:lnTo>
                        <a:pt x="172" y="19"/>
                      </a:lnTo>
                      <a:lnTo>
                        <a:pt x="172" y="19"/>
                      </a:lnTo>
                      <a:lnTo>
                        <a:pt x="180" y="20"/>
                      </a:lnTo>
                      <a:lnTo>
                        <a:pt x="181" y="26"/>
                      </a:lnTo>
                      <a:lnTo>
                        <a:pt x="184" y="28"/>
                      </a:lnTo>
                      <a:lnTo>
                        <a:pt x="195" y="26"/>
                      </a:lnTo>
                      <a:lnTo>
                        <a:pt x="203" y="28"/>
                      </a:lnTo>
                      <a:lnTo>
                        <a:pt x="206" y="39"/>
                      </a:lnTo>
                      <a:lnTo>
                        <a:pt x="213" y="43"/>
                      </a:lnTo>
                      <a:lnTo>
                        <a:pt x="215" y="51"/>
                      </a:lnTo>
                      <a:lnTo>
                        <a:pt x="227" y="59"/>
                      </a:lnTo>
                      <a:lnTo>
                        <a:pt x="236" y="60"/>
                      </a:lnTo>
                      <a:lnTo>
                        <a:pt x="241" y="63"/>
                      </a:lnTo>
                      <a:lnTo>
                        <a:pt x="247" y="62"/>
                      </a:lnTo>
                      <a:lnTo>
                        <a:pt x="256" y="69"/>
                      </a:lnTo>
                      <a:lnTo>
                        <a:pt x="259" y="68"/>
                      </a:lnTo>
                      <a:lnTo>
                        <a:pt x="261" y="76"/>
                      </a:lnTo>
                      <a:lnTo>
                        <a:pt x="270" y="88"/>
                      </a:lnTo>
                      <a:lnTo>
                        <a:pt x="284" y="88"/>
                      </a:lnTo>
                      <a:lnTo>
                        <a:pt x="285" y="85"/>
                      </a:lnTo>
                      <a:lnTo>
                        <a:pt x="299" y="93"/>
                      </a:lnTo>
                      <a:lnTo>
                        <a:pt x="299" y="89"/>
                      </a:lnTo>
                      <a:lnTo>
                        <a:pt x="304" y="93"/>
                      </a:lnTo>
                      <a:lnTo>
                        <a:pt x="311" y="86"/>
                      </a:lnTo>
                      <a:lnTo>
                        <a:pt x="321" y="88"/>
                      </a:lnTo>
                      <a:lnTo>
                        <a:pt x="322" y="102"/>
                      </a:lnTo>
                      <a:lnTo>
                        <a:pt x="325" y="103"/>
                      </a:lnTo>
                      <a:lnTo>
                        <a:pt x="327" y="111"/>
                      </a:lnTo>
                      <a:lnTo>
                        <a:pt x="336" y="122"/>
                      </a:lnTo>
                      <a:lnTo>
                        <a:pt x="347" y="113"/>
                      </a:lnTo>
                      <a:lnTo>
                        <a:pt x="348" y="113"/>
                      </a:lnTo>
                      <a:lnTo>
                        <a:pt x="351" y="103"/>
                      </a:lnTo>
                      <a:lnTo>
                        <a:pt x="357" y="102"/>
                      </a:lnTo>
                      <a:lnTo>
                        <a:pt x="357" y="108"/>
                      </a:lnTo>
                      <a:lnTo>
                        <a:pt x="368" y="117"/>
                      </a:lnTo>
                      <a:lnTo>
                        <a:pt x="391" y="128"/>
                      </a:lnTo>
                      <a:lnTo>
                        <a:pt x="394" y="122"/>
                      </a:lnTo>
                      <a:lnTo>
                        <a:pt x="397" y="109"/>
                      </a:lnTo>
                      <a:lnTo>
                        <a:pt x="402" y="109"/>
                      </a:lnTo>
                      <a:lnTo>
                        <a:pt x="405" y="106"/>
                      </a:lnTo>
                      <a:lnTo>
                        <a:pt x="411" y="106"/>
                      </a:lnTo>
                      <a:lnTo>
                        <a:pt x="408" y="99"/>
                      </a:lnTo>
                      <a:lnTo>
                        <a:pt x="425" y="109"/>
                      </a:lnTo>
                      <a:lnTo>
                        <a:pt x="431" y="123"/>
                      </a:lnTo>
                      <a:lnTo>
                        <a:pt x="436" y="123"/>
                      </a:lnTo>
                      <a:lnTo>
                        <a:pt x="437" y="114"/>
                      </a:lnTo>
                      <a:lnTo>
                        <a:pt x="442" y="108"/>
                      </a:lnTo>
                      <a:lnTo>
                        <a:pt x="445" y="106"/>
                      </a:lnTo>
                      <a:lnTo>
                        <a:pt x="450" y="108"/>
                      </a:lnTo>
                      <a:lnTo>
                        <a:pt x="465" y="97"/>
                      </a:lnTo>
                      <a:lnTo>
                        <a:pt x="473" y="86"/>
                      </a:lnTo>
                      <a:lnTo>
                        <a:pt x="485" y="76"/>
                      </a:lnTo>
                      <a:lnTo>
                        <a:pt x="486" y="73"/>
                      </a:lnTo>
                      <a:lnTo>
                        <a:pt x="493" y="71"/>
                      </a:lnTo>
                      <a:lnTo>
                        <a:pt x="497" y="73"/>
                      </a:lnTo>
                      <a:lnTo>
                        <a:pt x="503" y="86"/>
                      </a:lnTo>
                      <a:lnTo>
                        <a:pt x="500" y="103"/>
                      </a:lnTo>
                      <a:lnTo>
                        <a:pt x="511" y="106"/>
                      </a:lnTo>
                      <a:lnTo>
                        <a:pt x="512" y="111"/>
                      </a:lnTo>
                      <a:lnTo>
                        <a:pt x="517" y="109"/>
                      </a:lnTo>
                      <a:lnTo>
                        <a:pt x="528" y="114"/>
                      </a:lnTo>
                      <a:lnTo>
                        <a:pt x="528" y="116"/>
                      </a:lnTo>
                      <a:lnTo>
                        <a:pt x="539" y="120"/>
                      </a:lnTo>
                      <a:lnTo>
                        <a:pt x="539" y="123"/>
                      </a:lnTo>
                      <a:lnTo>
                        <a:pt x="542" y="126"/>
                      </a:lnTo>
                      <a:lnTo>
                        <a:pt x="545" y="125"/>
                      </a:lnTo>
                      <a:lnTo>
                        <a:pt x="546" y="128"/>
                      </a:lnTo>
                      <a:lnTo>
                        <a:pt x="543" y="131"/>
                      </a:lnTo>
                      <a:lnTo>
                        <a:pt x="546" y="134"/>
                      </a:lnTo>
                      <a:lnTo>
                        <a:pt x="545" y="140"/>
                      </a:lnTo>
                      <a:lnTo>
                        <a:pt x="551" y="142"/>
                      </a:lnTo>
                      <a:lnTo>
                        <a:pt x="555" y="146"/>
                      </a:lnTo>
                      <a:lnTo>
                        <a:pt x="558" y="153"/>
                      </a:lnTo>
                      <a:lnTo>
                        <a:pt x="557" y="160"/>
                      </a:lnTo>
                      <a:lnTo>
                        <a:pt x="558" y="163"/>
                      </a:lnTo>
                      <a:lnTo>
                        <a:pt x="568" y="159"/>
                      </a:lnTo>
                      <a:lnTo>
                        <a:pt x="569" y="146"/>
                      </a:lnTo>
                      <a:lnTo>
                        <a:pt x="577" y="136"/>
                      </a:lnTo>
                      <a:lnTo>
                        <a:pt x="577" y="133"/>
                      </a:lnTo>
                      <a:lnTo>
                        <a:pt x="582" y="128"/>
                      </a:lnTo>
                      <a:lnTo>
                        <a:pt x="586" y="140"/>
                      </a:lnTo>
                      <a:lnTo>
                        <a:pt x="592" y="139"/>
                      </a:lnTo>
                      <a:lnTo>
                        <a:pt x="600" y="142"/>
                      </a:lnTo>
                      <a:lnTo>
                        <a:pt x="600" y="146"/>
                      </a:lnTo>
                      <a:lnTo>
                        <a:pt x="600" y="148"/>
                      </a:lnTo>
                      <a:lnTo>
                        <a:pt x="609" y="149"/>
                      </a:lnTo>
                      <a:lnTo>
                        <a:pt x="614" y="148"/>
                      </a:lnTo>
                      <a:lnTo>
                        <a:pt x="615" y="139"/>
                      </a:lnTo>
                      <a:lnTo>
                        <a:pt x="621" y="133"/>
                      </a:lnTo>
                      <a:lnTo>
                        <a:pt x="626" y="134"/>
                      </a:lnTo>
                      <a:lnTo>
                        <a:pt x="629" y="140"/>
                      </a:lnTo>
                      <a:lnTo>
                        <a:pt x="632" y="139"/>
                      </a:lnTo>
                      <a:lnTo>
                        <a:pt x="638" y="131"/>
                      </a:lnTo>
                      <a:lnTo>
                        <a:pt x="644" y="137"/>
                      </a:lnTo>
                      <a:lnTo>
                        <a:pt x="647" y="137"/>
                      </a:lnTo>
                      <a:lnTo>
                        <a:pt x="658" y="129"/>
                      </a:lnTo>
                      <a:lnTo>
                        <a:pt x="660" y="122"/>
                      </a:lnTo>
                      <a:lnTo>
                        <a:pt x="663" y="117"/>
                      </a:lnTo>
                      <a:lnTo>
                        <a:pt x="672" y="117"/>
                      </a:lnTo>
                      <a:lnTo>
                        <a:pt x="677" y="113"/>
                      </a:lnTo>
                      <a:lnTo>
                        <a:pt x="686" y="116"/>
                      </a:lnTo>
                      <a:lnTo>
                        <a:pt x="690" y="111"/>
                      </a:lnTo>
                      <a:lnTo>
                        <a:pt x="692" y="111"/>
                      </a:lnTo>
                      <a:lnTo>
                        <a:pt x="694" y="117"/>
                      </a:lnTo>
                      <a:lnTo>
                        <a:pt x="690" y="122"/>
                      </a:lnTo>
                      <a:lnTo>
                        <a:pt x="692" y="125"/>
                      </a:lnTo>
                      <a:lnTo>
                        <a:pt x="718" y="134"/>
                      </a:lnTo>
                      <a:lnTo>
                        <a:pt x="727" y="142"/>
                      </a:lnTo>
                      <a:lnTo>
                        <a:pt x="741" y="146"/>
                      </a:lnTo>
                      <a:lnTo>
                        <a:pt x="741" y="153"/>
                      </a:lnTo>
                      <a:lnTo>
                        <a:pt x="743" y="157"/>
                      </a:lnTo>
                      <a:lnTo>
                        <a:pt x="747" y="153"/>
                      </a:lnTo>
                      <a:lnTo>
                        <a:pt x="750" y="156"/>
                      </a:lnTo>
                      <a:lnTo>
                        <a:pt x="756" y="151"/>
                      </a:lnTo>
                      <a:lnTo>
                        <a:pt x="759" y="151"/>
                      </a:lnTo>
                      <a:lnTo>
                        <a:pt x="763" y="154"/>
                      </a:lnTo>
                      <a:lnTo>
                        <a:pt x="772" y="154"/>
                      </a:lnTo>
                      <a:lnTo>
                        <a:pt x="776" y="159"/>
                      </a:lnTo>
                      <a:lnTo>
                        <a:pt x="784" y="146"/>
                      </a:lnTo>
                      <a:lnTo>
                        <a:pt x="783" y="140"/>
                      </a:lnTo>
                      <a:lnTo>
                        <a:pt x="786" y="139"/>
                      </a:lnTo>
                      <a:lnTo>
                        <a:pt x="790" y="142"/>
                      </a:lnTo>
                      <a:lnTo>
                        <a:pt x="796" y="142"/>
                      </a:lnTo>
                      <a:lnTo>
                        <a:pt x="799" y="145"/>
                      </a:lnTo>
                      <a:lnTo>
                        <a:pt x="810" y="148"/>
                      </a:lnTo>
                      <a:lnTo>
                        <a:pt x="816" y="136"/>
                      </a:lnTo>
                      <a:lnTo>
                        <a:pt x="818" y="126"/>
                      </a:lnTo>
                      <a:lnTo>
                        <a:pt x="825" y="125"/>
                      </a:lnTo>
                      <a:lnTo>
                        <a:pt x="827" y="126"/>
                      </a:lnTo>
                      <a:lnTo>
                        <a:pt x="829" y="142"/>
                      </a:lnTo>
                      <a:lnTo>
                        <a:pt x="833" y="143"/>
                      </a:lnTo>
                      <a:lnTo>
                        <a:pt x="836" y="146"/>
                      </a:lnTo>
                      <a:lnTo>
                        <a:pt x="853" y="157"/>
                      </a:lnTo>
                      <a:lnTo>
                        <a:pt x="853" y="157"/>
                      </a:lnTo>
                      <a:lnTo>
                        <a:pt x="855" y="160"/>
                      </a:lnTo>
                      <a:lnTo>
                        <a:pt x="852" y="165"/>
                      </a:lnTo>
                      <a:lnTo>
                        <a:pt x="844" y="169"/>
                      </a:lnTo>
                      <a:lnTo>
                        <a:pt x="841" y="176"/>
                      </a:lnTo>
                      <a:lnTo>
                        <a:pt x="845" y="179"/>
                      </a:lnTo>
                      <a:lnTo>
                        <a:pt x="850" y="188"/>
                      </a:lnTo>
                      <a:lnTo>
                        <a:pt x="855" y="191"/>
                      </a:lnTo>
                      <a:lnTo>
                        <a:pt x="855" y="196"/>
                      </a:lnTo>
                      <a:lnTo>
                        <a:pt x="864" y="193"/>
                      </a:lnTo>
                      <a:lnTo>
                        <a:pt x="868" y="197"/>
                      </a:lnTo>
                      <a:lnTo>
                        <a:pt x="875" y="197"/>
                      </a:lnTo>
                      <a:lnTo>
                        <a:pt x="878" y="205"/>
                      </a:lnTo>
                      <a:lnTo>
                        <a:pt x="879" y="205"/>
                      </a:lnTo>
                      <a:lnTo>
                        <a:pt x="879" y="209"/>
                      </a:lnTo>
                      <a:lnTo>
                        <a:pt x="882" y="231"/>
                      </a:lnTo>
                      <a:lnTo>
                        <a:pt x="888" y="234"/>
                      </a:lnTo>
                      <a:lnTo>
                        <a:pt x="899" y="226"/>
                      </a:lnTo>
                      <a:lnTo>
                        <a:pt x="908" y="237"/>
                      </a:lnTo>
                      <a:lnTo>
                        <a:pt x="896" y="259"/>
                      </a:lnTo>
                      <a:lnTo>
                        <a:pt x="888" y="259"/>
                      </a:lnTo>
                      <a:lnTo>
                        <a:pt x="884" y="263"/>
                      </a:lnTo>
                      <a:lnTo>
                        <a:pt x="878" y="265"/>
                      </a:lnTo>
                      <a:lnTo>
                        <a:pt x="875" y="269"/>
                      </a:lnTo>
                      <a:lnTo>
                        <a:pt x="876" y="279"/>
                      </a:lnTo>
                      <a:lnTo>
                        <a:pt x="867" y="294"/>
                      </a:lnTo>
                      <a:lnTo>
                        <a:pt x="862" y="296"/>
                      </a:lnTo>
                      <a:lnTo>
                        <a:pt x="859" y="300"/>
                      </a:lnTo>
                      <a:lnTo>
                        <a:pt x="859" y="300"/>
                      </a:lnTo>
                      <a:lnTo>
                        <a:pt x="850" y="309"/>
                      </a:lnTo>
                      <a:lnTo>
                        <a:pt x="845" y="303"/>
                      </a:lnTo>
                      <a:lnTo>
                        <a:pt x="841" y="308"/>
                      </a:lnTo>
                      <a:lnTo>
                        <a:pt x="827" y="309"/>
                      </a:lnTo>
                      <a:lnTo>
                        <a:pt x="818" y="303"/>
                      </a:lnTo>
                      <a:lnTo>
                        <a:pt x="810" y="312"/>
                      </a:lnTo>
                      <a:lnTo>
                        <a:pt x="801" y="343"/>
                      </a:lnTo>
                      <a:lnTo>
                        <a:pt x="796" y="348"/>
                      </a:lnTo>
                      <a:lnTo>
                        <a:pt x="792" y="348"/>
                      </a:lnTo>
                      <a:lnTo>
                        <a:pt x="786" y="337"/>
                      </a:lnTo>
                      <a:lnTo>
                        <a:pt x="776" y="337"/>
                      </a:lnTo>
                      <a:lnTo>
                        <a:pt x="766" y="331"/>
                      </a:lnTo>
                      <a:lnTo>
                        <a:pt x="761" y="323"/>
                      </a:lnTo>
                      <a:lnTo>
                        <a:pt x="755" y="322"/>
                      </a:lnTo>
                      <a:lnTo>
                        <a:pt x="746" y="336"/>
                      </a:lnTo>
                      <a:lnTo>
                        <a:pt x="744" y="340"/>
                      </a:lnTo>
                      <a:lnTo>
                        <a:pt x="738" y="340"/>
                      </a:lnTo>
                      <a:lnTo>
                        <a:pt x="735" y="345"/>
                      </a:lnTo>
                      <a:lnTo>
                        <a:pt x="732" y="343"/>
                      </a:lnTo>
                      <a:lnTo>
                        <a:pt x="720" y="354"/>
                      </a:lnTo>
                      <a:lnTo>
                        <a:pt x="715" y="349"/>
                      </a:lnTo>
                      <a:lnTo>
                        <a:pt x="709" y="354"/>
                      </a:lnTo>
                      <a:lnTo>
                        <a:pt x="710" y="359"/>
                      </a:lnTo>
                      <a:lnTo>
                        <a:pt x="707" y="360"/>
                      </a:lnTo>
                      <a:lnTo>
                        <a:pt x="710" y="371"/>
                      </a:lnTo>
                      <a:lnTo>
                        <a:pt x="709" y="371"/>
                      </a:lnTo>
                      <a:lnTo>
                        <a:pt x="712" y="377"/>
                      </a:lnTo>
                      <a:lnTo>
                        <a:pt x="712" y="388"/>
                      </a:lnTo>
                      <a:lnTo>
                        <a:pt x="706" y="391"/>
                      </a:lnTo>
                      <a:lnTo>
                        <a:pt x="701" y="402"/>
                      </a:lnTo>
                      <a:lnTo>
                        <a:pt x="684" y="400"/>
                      </a:lnTo>
                      <a:lnTo>
                        <a:pt x="680" y="403"/>
                      </a:lnTo>
                      <a:lnTo>
                        <a:pt x="677" y="399"/>
                      </a:lnTo>
                      <a:lnTo>
                        <a:pt x="674" y="402"/>
                      </a:lnTo>
                      <a:lnTo>
                        <a:pt x="666" y="397"/>
                      </a:lnTo>
                      <a:lnTo>
                        <a:pt x="672" y="383"/>
                      </a:lnTo>
                      <a:lnTo>
                        <a:pt x="667" y="376"/>
                      </a:lnTo>
                      <a:lnTo>
                        <a:pt x="660" y="377"/>
                      </a:lnTo>
                      <a:lnTo>
                        <a:pt x="654" y="377"/>
                      </a:lnTo>
                      <a:lnTo>
                        <a:pt x="652" y="380"/>
                      </a:lnTo>
                      <a:lnTo>
                        <a:pt x="647" y="376"/>
                      </a:lnTo>
                      <a:lnTo>
                        <a:pt x="647" y="368"/>
                      </a:lnTo>
                      <a:lnTo>
                        <a:pt x="651" y="365"/>
                      </a:lnTo>
                      <a:lnTo>
                        <a:pt x="654" y="359"/>
                      </a:lnTo>
                      <a:lnTo>
                        <a:pt x="640" y="362"/>
                      </a:lnTo>
                      <a:lnTo>
                        <a:pt x="641" y="371"/>
                      </a:lnTo>
                      <a:lnTo>
                        <a:pt x="638" y="376"/>
                      </a:lnTo>
                      <a:lnTo>
                        <a:pt x="628" y="376"/>
                      </a:lnTo>
                      <a:lnTo>
                        <a:pt x="623" y="372"/>
                      </a:lnTo>
                      <a:lnTo>
                        <a:pt x="612" y="377"/>
                      </a:lnTo>
                      <a:lnTo>
                        <a:pt x="595" y="379"/>
                      </a:lnTo>
                      <a:lnTo>
                        <a:pt x="592" y="377"/>
                      </a:lnTo>
                      <a:lnTo>
                        <a:pt x="588" y="365"/>
                      </a:lnTo>
                      <a:lnTo>
                        <a:pt x="582" y="362"/>
                      </a:lnTo>
                      <a:lnTo>
                        <a:pt x="572" y="360"/>
                      </a:lnTo>
                      <a:lnTo>
                        <a:pt x="572" y="356"/>
                      </a:lnTo>
                      <a:lnTo>
                        <a:pt x="568" y="349"/>
                      </a:lnTo>
                      <a:lnTo>
                        <a:pt x="555" y="349"/>
                      </a:lnTo>
                      <a:lnTo>
                        <a:pt x="551" y="351"/>
                      </a:lnTo>
                      <a:lnTo>
                        <a:pt x="545" y="357"/>
                      </a:lnTo>
                      <a:lnTo>
                        <a:pt x="529" y="357"/>
                      </a:lnTo>
                      <a:lnTo>
                        <a:pt x="525" y="366"/>
                      </a:lnTo>
                      <a:lnTo>
                        <a:pt x="525" y="369"/>
                      </a:lnTo>
                      <a:lnTo>
                        <a:pt x="520" y="377"/>
                      </a:lnTo>
                      <a:lnTo>
                        <a:pt x="520" y="379"/>
                      </a:lnTo>
                      <a:lnTo>
                        <a:pt x="517" y="382"/>
                      </a:lnTo>
                      <a:lnTo>
                        <a:pt x="522" y="388"/>
                      </a:lnTo>
                      <a:lnTo>
                        <a:pt x="517" y="392"/>
                      </a:lnTo>
                      <a:lnTo>
                        <a:pt x="512" y="391"/>
                      </a:lnTo>
                      <a:lnTo>
                        <a:pt x="506" y="400"/>
                      </a:lnTo>
                      <a:lnTo>
                        <a:pt x="502" y="399"/>
                      </a:lnTo>
                      <a:lnTo>
                        <a:pt x="496" y="402"/>
                      </a:lnTo>
                      <a:lnTo>
                        <a:pt x="486" y="403"/>
                      </a:lnTo>
                      <a:lnTo>
                        <a:pt x="476" y="409"/>
                      </a:lnTo>
                      <a:lnTo>
                        <a:pt x="479" y="429"/>
                      </a:lnTo>
                      <a:lnTo>
                        <a:pt x="480" y="434"/>
                      </a:lnTo>
                      <a:lnTo>
                        <a:pt x="483" y="434"/>
                      </a:lnTo>
                      <a:lnTo>
                        <a:pt x="488" y="431"/>
                      </a:lnTo>
                      <a:lnTo>
                        <a:pt x="488" y="434"/>
                      </a:lnTo>
                      <a:lnTo>
                        <a:pt x="493" y="436"/>
                      </a:lnTo>
                      <a:lnTo>
                        <a:pt x="496" y="440"/>
                      </a:lnTo>
                      <a:lnTo>
                        <a:pt x="489" y="442"/>
                      </a:lnTo>
                      <a:lnTo>
                        <a:pt x="488" y="439"/>
                      </a:lnTo>
                      <a:lnTo>
                        <a:pt x="483" y="439"/>
                      </a:lnTo>
                      <a:lnTo>
                        <a:pt x="470" y="445"/>
                      </a:lnTo>
                      <a:lnTo>
                        <a:pt x="468" y="449"/>
                      </a:lnTo>
                      <a:lnTo>
                        <a:pt x="473" y="459"/>
                      </a:lnTo>
                      <a:lnTo>
                        <a:pt x="473" y="462"/>
                      </a:lnTo>
                      <a:lnTo>
                        <a:pt x="477" y="466"/>
                      </a:lnTo>
                      <a:lnTo>
                        <a:pt x="476" y="469"/>
                      </a:lnTo>
                      <a:lnTo>
                        <a:pt x="483" y="479"/>
                      </a:lnTo>
                      <a:lnTo>
                        <a:pt x="496" y="485"/>
                      </a:lnTo>
                      <a:lnTo>
                        <a:pt x="500" y="491"/>
                      </a:lnTo>
                      <a:lnTo>
                        <a:pt x="500" y="499"/>
                      </a:lnTo>
                      <a:lnTo>
                        <a:pt x="512" y="511"/>
                      </a:lnTo>
                      <a:lnTo>
                        <a:pt x="509" y="516"/>
                      </a:lnTo>
                      <a:lnTo>
                        <a:pt x="512" y="525"/>
                      </a:lnTo>
                      <a:lnTo>
                        <a:pt x="505" y="528"/>
                      </a:lnTo>
                      <a:lnTo>
                        <a:pt x="503" y="537"/>
                      </a:lnTo>
                      <a:lnTo>
                        <a:pt x="500" y="539"/>
                      </a:lnTo>
                      <a:lnTo>
                        <a:pt x="502" y="546"/>
                      </a:lnTo>
                      <a:lnTo>
                        <a:pt x="496" y="554"/>
                      </a:lnTo>
                      <a:lnTo>
                        <a:pt x="497" y="563"/>
                      </a:lnTo>
                      <a:lnTo>
                        <a:pt x="491" y="568"/>
                      </a:lnTo>
                      <a:lnTo>
                        <a:pt x="488" y="566"/>
                      </a:lnTo>
                      <a:lnTo>
                        <a:pt x="483" y="569"/>
                      </a:lnTo>
                      <a:lnTo>
                        <a:pt x="483" y="569"/>
                      </a:lnTo>
                      <a:lnTo>
                        <a:pt x="465" y="562"/>
                      </a:lnTo>
                      <a:lnTo>
                        <a:pt x="463" y="559"/>
                      </a:lnTo>
                      <a:lnTo>
                        <a:pt x="459" y="554"/>
                      </a:lnTo>
                      <a:lnTo>
                        <a:pt x="454" y="548"/>
                      </a:lnTo>
                      <a:lnTo>
                        <a:pt x="451" y="548"/>
                      </a:lnTo>
                      <a:lnTo>
                        <a:pt x="448" y="554"/>
                      </a:lnTo>
                      <a:lnTo>
                        <a:pt x="439" y="549"/>
                      </a:lnTo>
                      <a:lnTo>
                        <a:pt x="434" y="551"/>
                      </a:lnTo>
                      <a:lnTo>
                        <a:pt x="427" y="545"/>
                      </a:lnTo>
                      <a:lnTo>
                        <a:pt x="427" y="543"/>
                      </a:lnTo>
                      <a:lnTo>
                        <a:pt x="420" y="543"/>
                      </a:lnTo>
                      <a:lnTo>
                        <a:pt x="422" y="542"/>
                      </a:lnTo>
                      <a:lnTo>
                        <a:pt x="417" y="543"/>
                      </a:lnTo>
                      <a:lnTo>
                        <a:pt x="408" y="540"/>
                      </a:lnTo>
                      <a:lnTo>
                        <a:pt x="400" y="548"/>
                      </a:lnTo>
                      <a:lnTo>
                        <a:pt x="382" y="534"/>
                      </a:lnTo>
                      <a:lnTo>
                        <a:pt x="379" y="536"/>
                      </a:lnTo>
                      <a:lnTo>
                        <a:pt x="373" y="526"/>
                      </a:lnTo>
                      <a:lnTo>
                        <a:pt x="374" y="522"/>
                      </a:lnTo>
                      <a:lnTo>
                        <a:pt x="368" y="514"/>
                      </a:lnTo>
                      <a:lnTo>
                        <a:pt x="367" y="508"/>
                      </a:lnTo>
                      <a:lnTo>
                        <a:pt x="365" y="503"/>
                      </a:lnTo>
                      <a:lnTo>
                        <a:pt x="364" y="503"/>
                      </a:lnTo>
                      <a:lnTo>
                        <a:pt x="365" y="499"/>
                      </a:lnTo>
                      <a:lnTo>
                        <a:pt x="364" y="497"/>
                      </a:lnTo>
                      <a:lnTo>
                        <a:pt x="365" y="496"/>
                      </a:lnTo>
                      <a:lnTo>
                        <a:pt x="362" y="494"/>
                      </a:lnTo>
                      <a:lnTo>
                        <a:pt x="357" y="496"/>
                      </a:lnTo>
                      <a:lnTo>
                        <a:pt x="356" y="492"/>
                      </a:lnTo>
                      <a:lnTo>
                        <a:pt x="351" y="499"/>
                      </a:lnTo>
                      <a:lnTo>
                        <a:pt x="353" y="500"/>
                      </a:lnTo>
                      <a:lnTo>
                        <a:pt x="350" y="503"/>
                      </a:lnTo>
                      <a:lnTo>
                        <a:pt x="342" y="505"/>
                      </a:lnTo>
                      <a:lnTo>
                        <a:pt x="331" y="509"/>
                      </a:lnTo>
                      <a:lnTo>
                        <a:pt x="325" y="497"/>
                      </a:lnTo>
                      <a:lnTo>
                        <a:pt x="321" y="499"/>
                      </a:lnTo>
                      <a:lnTo>
                        <a:pt x="318" y="497"/>
                      </a:lnTo>
                      <a:lnTo>
                        <a:pt x="318" y="489"/>
                      </a:lnTo>
                      <a:lnTo>
                        <a:pt x="299" y="494"/>
                      </a:lnTo>
                      <a:lnTo>
                        <a:pt x="298" y="483"/>
                      </a:lnTo>
                      <a:lnTo>
                        <a:pt x="292" y="483"/>
                      </a:lnTo>
                      <a:lnTo>
                        <a:pt x="285" y="476"/>
                      </a:lnTo>
                      <a:lnTo>
                        <a:pt x="278" y="469"/>
                      </a:lnTo>
                      <a:lnTo>
                        <a:pt x="273" y="465"/>
                      </a:lnTo>
                      <a:lnTo>
                        <a:pt x="273" y="459"/>
                      </a:lnTo>
                      <a:lnTo>
                        <a:pt x="272" y="460"/>
                      </a:lnTo>
                      <a:lnTo>
                        <a:pt x="265" y="459"/>
                      </a:lnTo>
                      <a:lnTo>
                        <a:pt x="265" y="456"/>
                      </a:lnTo>
                      <a:lnTo>
                        <a:pt x="267" y="456"/>
                      </a:lnTo>
                      <a:lnTo>
                        <a:pt x="261" y="442"/>
                      </a:lnTo>
                      <a:lnTo>
                        <a:pt x="253" y="442"/>
                      </a:lnTo>
                      <a:lnTo>
                        <a:pt x="239" y="434"/>
                      </a:lnTo>
                      <a:lnTo>
                        <a:pt x="241" y="432"/>
                      </a:lnTo>
                      <a:lnTo>
                        <a:pt x="244" y="429"/>
                      </a:lnTo>
                      <a:lnTo>
                        <a:pt x="244" y="425"/>
                      </a:lnTo>
                      <a:lnTo>
                        <a:pt x="245" y="426"/>
                      </a:lnTo>
                      <a:lnTo>
                        <a:pt x="245" y="420"/>
                      </a:lnTo>
                      <a:lnTo>
                        <a:pt x="242" y="420"/>
                      </a:lnTo>
                      <a:lnTo>
                        <a:pt x="241" y="416"/>
                      </a:lnTo>
                      <a:lnTo>
                        <a:pt x="227" y="406"/>
                      </a:lnTo>
                      <a:lnTo>
                        <a:pt x="203" y="406"/>
                      </a:lnTo>
                      <a:lnTo>
                        <a:pt x="203" y="402"/>
                      </a:lnTo>
                      <a:lnTo>
                        <a:pt x="204" y="400"/>
                      </a:lnTo>
                      <a:lnTo>
                        <a:pt x="201" y="396"/>
                      </a:lnTo>
                      <a:lnTo>
                        <a:pt x="216" y="386"/>
                      </a:lnTo>
                      <a:lnTo>
                        <a:pt x="227" y="376"/>
                      </a:lnTo>
                      <a:lnTo>
                        <a:pt x="221" y="366"/>
                      </a:lnTo>
                      <a:lnTo>
                        <a:pt x="222" y="366"/>
                      </a:lnTo>
                      <a:lnTo>
                        <a:pt x="218" y="359"/>
                      </a:lnTo>
                      <a:lnTo>
                        <a:pt x="219" y="357"/>
                      </a:lnTo>
                      <a:lnTo>
                        <a:pt x="212" y="345"/>
                      </a:lnTo>
                      <a:lnTo>
                        <a:pt x="203" y="348"/>
                      </a:lnTo>
                      <a:lnTo>
                        <a:pt x="199" y="331"/>
                      </a:lnTo>
                      <a:lnTo>
                        <a:pt x="206" y="326"/>
                      </a:lnTo>
                      <a:lnTo>
                        <a:pt x="209" y="312"/>
                      </a:lnTo>
                      <a:lnTo>
                        <a:pt x="215" y="306"/>
                      </a:lnTo>
                      <a:lnTo>
                        <a:pt x="213" y="299"/>
                      </a:lnTo>
                      <a:lnTo>
                        <a:pt x="215" y="292"/>
                      </a:lnTo>
                      <a:lnTo>
                        <a:pt x="212" y="289"/>
                      </a:lnTo>
                      <a:lnTo>
                        <a:pt x="215" y="282"/>
                      </a:lnTo>
                      <a:lnTo>
                        <a:pt x="213" y="280"/>
                      </a:lnTo>
                      <a:lnTo>
                        <a:pt x="215" y="260"/>
                      </a:lnTo>
                      <a:lnTo>
                        <a:pt x="216" y="254"/>
                      </a:lnTo>
                      <a:lnTo>
                        <a:pt x="219" y="254"/>
                      </a:lnTo>
                      <a:lnTo>
                        <a:pt x="222" y="239"/>
                      </a:lnTo>
                      <a:lnTo>
                        <a:pt x="207" y="233"/>
                      </a:lnTo>
                      <a:lnTo>
                        <a:pt x="204" y="251"/>
                      </a:lnTo>
                      <a:lnTo>
                        <a:pt x="187" y="251"/>
                      </a:lnTo>
                      <a:lnTo>
                        <a:pt x="183" y="252"/>
                      </a:lnTo>
                      <a:lnTo>
                        <a:pt x="181" y="254"/>
                      </a:lnTo>
                      <a:lnTo>
                        <a:pt x="173" y="252"/>
                      </a:lnTo>
                      <a:lnTo>
                        <a:pt x="170" y="245"/>
                      </a:lnTo>
                      <a:lnTo>
                        <a:pt x="172" y="243"/>
                      </a:lnTo>
                      <a:lnTo>
                        <a:pt x="167" y="226"/>
                      </a:lnTo>
                      <a:lnTo>
                        <a:pt x="160" y="228"/>
                      </a:lnTo>
                      <a:lnTo>
                        <a:pt x="157" y="220"/>
                      </a:lnTo>
                      <a:lnTo>
                        <a:pt x="155" y="219"/>
                      </a:lnTo>
                      <a:lnTo>
                        <a:pt x="158" y="208"/>
                      </a:lnTo>
                      <a:lnTo>
                        <a:pt x="138" y="188"/>
                      </a:lnTo>
                      <a:lnTo>
                        <a:pt x="133" y="189"/>
                      </a:lnTo>
                      <a:lnTo>
                        <a:pt x="132" y="185"/>
                      </a:lnTo>
                      <a:lnTo>
                        <a:pt x="127" y="185"/>
                      </a:lnTo>
                      <a:lnTo>
                        <a:pt x="121" y="162"/>
                      </a:lnTo>
                      <a:lnTo>
                        <a:pt x="112" y="165"/>
                      </a:lnTo>
                      <a:lnTo>
                        <a:pt x="114" y="168"/>
                      </a:lnTo>
                      <a:lnTo>
                        <a:pt x="101" y="173"/>
                      </a:lnTo>
                      <a:lnTo>
                        <a:pt x="95" y="162"/>
                      </a:lnTo>
                      <a:lnTo>
                        <a:pt x="87" y="137"/>
                      </a:lnTo>
                      <a:lnTo>
                        <a:pt x="74" y="128"/>
                      </a:lnTo>
                      <a:lnTo>
                        <a:pt x="57" y="129"/>
                      </a:lnTo>
                      <a:lnTo>
                        <a:pt x="34" y="111"/>
                      </a:lnTo>
                      <a:lnTo>
                        <a:pt x="35" y="109"/>
                      </a:lnTo>
                      <a:lnTo>
                        <a:pt x="37" y="106"/>
                      </a:lnTo>
                      <a:lnTo>
                        <a:pt x="31" y="88"/>
                      </a:lnTo>
                      <a:lnTo>
                        <a:pt x="32" y="82"/>
                      </a:lnTo>
                      <a:lnTo>
                        <a:pt x="18" y="69"/>
                      </a:lnTo>
                      <a:lnTo>
                        <a:pt x="15" y="60"/>
                      </a:lnTo>
                      <a:lnTo>
                        <a:pt x="5" y="54"/>
                      </a:lnTo>
                      <a:lnTo>
                        <a:pt x="2" y="48"/>
                      </a:lnTo>
                      <a:lnTo>
                        <a:pt x="2" y="46"/>
                      </a:lnTo>
                      <a:lnTo>
                        <a:pt x="8" y="43"/>
                      </a:lnTo>
                      <a:lnTo>
                        <a:pt x="2" y="43"/>
                      </a:lnTo>
                      <a:lnTo>
                        <a:pt x="0" y="40"/>
                      </a:lnTo>
                      <a:lnTo>
                        <a:pt x="11" y="26"/>
                      </a:lnTo>
                      <a:lnTo>
                        <a:pt x="18" y="20"/>
                      </a:lnTo>
                      <a:lnTo>
                        <a:pt x="20" y="25"/>
                      </a:lnTo>
                      <a:lnTo>
                        <a:pt x="37" y="13"/>
                      </a:lnTo>
                      <a:lnTo>
                        <a:pt x="41" y="23"/>
                      </a:lnTo>
                      <a:lnTo>
                        <a:pt x="48" y="19"/>
                      </a:lnTo>
                      <a:lnTo>
                        <a:pt x="52" y="23"/>
                      </a:lnTo>
                      <a:lnTo>
                        <a:pt x="55" y="19"/>
                      </a:lnTo>
                      <a:lnTo>
                        <a:pt x="61" y="25"/>
                      </a:lnTo>
                      <a:lnTo>
                        <a:pt x="69" y="28"/>
                      </a:lnTo>
                      <a:lnTo>
                        <a:pt x="77" y="28"/>
                      </a:lnTo>
                      <a:lnTo>
                        <a:pt x="80" y="26"/>
                      </a:lnTo>
                      <a:lnTo>
                        <a:pt x="92" y="13"/>
                      </a:lnTo>
                      <a:lnTo>
                        <a:pt x="92" y="2"/>
                      </a:lnTo>
                      <a:lnTo>
                        <a:pt x="94" y="0"/>
                      </a:lnTo>
                      <a:lnTo>
                        <a:pt x="103" y="5"/>
                      </a:lnTo>
                      <a:lnTo>
                        <a:pt x="112" y="6"/>
                      </a:lnTo>
                      <a:lnTo>
                        <a:pt x="133" y="25"/>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13" name="Teleorman" descr="{&quot;Key&quot;:&quot;teleorman&quot;,&quot;Name&quot;:&quot;Teleorman&quot;,&quot;Value&quot;:1.0,&quot;Formula&quot;:&quot;&quot;,&quot;Text&quot;:&quot;1&quot;,&quot;OfficeApplication&quot;:0,&quot;HasValue&quot;:true}">
                  <a:extLst>
                    <a:ext uri="{FF2B5EF4-FFF2-40B4-BE49-F238E27FC236}">
                      <a16:creationId xmlns:a16="http://schemas.microsoft.com/office/drawing/2014/main" id="{059311AA-E61B-4B35-B33C-40B88D556208}"/>
                    </a:ext>
                  </a:extLst>
                </p:cNvPr>
                <p:cNvSpPr>
                  <a:spLocks/>
                </p:cNvSpPr>
                <p:nvPr/>
              </p:nvSpPr>
              <p:spPr bwMode="auto">
                <a:xfrm>
                  <a:off x="5842000" y="4749801"/>
                  <a:ext cx="711200" cy="788988"/>
                </a:xfrm>
                <a:custGeom>
                  <a:avLst/>
                  <a:gdLst>
                    <a:gd name="T0" fmla="*/ 274 w 448"/>
                    <a:gd name="T1" fmla="*/ 59 h 497"/>
                    <a:gd name="T2" fmla="*/ 295 w 448"/>
                    <a:gd name="T3" fmla="*/ 39 h 497"/>
                    <a:gd name="T4" fmla="*/ 306 w 448"/>
                    <a:gd name="T5" fmla="*/ 34 h 497"/>
                    <a:gd name="T6" fmla="*/ 301 w 448"/>
                    <a:gd name="T7" fmla="*/ 3 h 497"/>
                    <a:gd name="T8" fmla="*/ 338 w 448"/>
                    <a:gd name="T9" fmla="*/ 6 h 497"/>
                    <a:gd name="T10" fmla="*/ 347 w 448"/>
                    <a:gd name="T11" fmla="*/ 26 h 497"/>
                    <a:gd name="T12" fmla="*/ 356 w 448"/>
                    <a:gd name="T13" fmla="*/ 39 h 497"/>
                    <a:gd name="T14" fmla="*/ 356 w 448"/>
                    <a:gd name="T15" fmla="*/ 54 h 497"/>
                    <a:gd name="T16" fmla="*/ 367 w 448"/>
                    <a:gd name="T17" fmla="*/ 63 h 497"/>
                    <a:gd name="T18" fmla="*/ 363 w 448"/>
                    <a:gd name="T19" fmla="*/ 73 h 497"/>
                    <a:gd name="T20" fmla="*/ 352 w 448"/>
                    <a:gd name="T21" fmla="*/ 108 h 497"/>
                    <a:gd name="T22" fmla="*/ 395 w 448"/>
                    <a:gd name="T23" fmla="*/ 114 h 497"/>
                    <a:gd name="T24" fmla="*/ 402 w 448"/>
                    <a:gd name="T25" fmla="*/ 114 h 497"/>
                    <a:gd name="T26" fmla="*/ 424 w 448"/>
                    <a:gd name="T27" fmla="*/ 136 h 497"/>
                    <a:gd name="T28" fmla="*/ 432 w 448"/>
                    <a:gd name="T29" fmla="*/ 136 h 497"/>
                    <a:gd name="T30" fmla="*/ 441 w 448"/>
                    <a:gd name="T31" fmla="*/ 148 h 497"/>
                    <a:gd name="T32" fmla="*/ 425 w 448"/>
                    <a:gd name="T33" fmla="*/ 197 h 497"/>
                    <a:gd name="T34" fmla="*/ 438 w 448"/>
                    <a:gd name="T35" fmla="*/ 226 h 497"/>
                    <a:gd name="T36" fmla="*/ 433 w 448"/>
                    <a:gd name="T37" fmla="*/ 234 h 497"/>
                    <a:gd name="T38" fmla="*/ 427 w 448"/>
                    <a:gd name="T39" fmla="*/ 223 h 497"/>
                    <a:gd name="T40" fmla="*/ 419 w 448"/>
                    <a:gd name="T41" fmla="*/ 231 h 497"/>
                    <a:gd name="T42" fmla="*/ 415 w 448"/>
                    <a:gd name="T43" fmla="*/ 257 h 497"/>
                    <a:gd name="T44" fmla="*/ 405 w 448"/>
                    <a:gd name="T45" fmla="*/ 300 h 497"/>
                    <a:gd name="T46" fmla="*/ 413 w 448"/>
                    <a:gd name="T47" fmla="*/ 322 h 497"/>
                    <a:gd name="T48" fmla="*/ 402 w 448"/>
                    <a:gd name="T49" fmla="*/ 357 h 497"/>
                    <a:gd name="T50" fmla="*/ 424 w 448"/>
                    <a:gd name="T51" fmla="*/ 386 h 497"/>
                    <a:gd name="T52" fmla="*/ 425 w 448"/>
                    <a:gd name="T53" fmla="*/ 460 h 497"/>
                    <a:gd name="T54" fmla="*/ 336 w 448"/>
                    <a:gd name="T55" fmla="*/ 494 h 497"/>
                    <a:gd name="T56" fmla="*/ 297 w 448"/>
                    <a:gd name="T57" fmla="*/ 485 h 497"/>
                    <a:gd name="T58" fmla="*/ 238 w 448"/>
                    <a:gd name="T59" fmla="*/ 454 h 497"/>
                    <a:gd name="T60" fmla="*/ 191 w 448"/>
                    <a:gd name="T61" fmla="*/ 457 h 497"/>
                    <a:gd name="T62" fmla="*/ 140 w 448"/>
                    <a:gd name="T63" fmla="*/ 437 h 497"/>
                    <a:gd name="T64" fmla="*/ 106 w 448"/>
                    <a:gd name="T65" fmla="*/ 449 h 497"/>
                    <a:gd name="T66" fmla="*/ 60 w 448"/>
                    <a:gd name="T67" fmla="*/ 462 h 497"/>
                    <a:gd name="T68" fmla="*/ 34 w 448"/>
                    <a:gd name="T69" fmla="*/ 445 h 497"/>
                    <a:gd name="T70" fmla="*/ 30 w 448"/>
                    <a:gd name="T71" fmla="*/ 429 h 497"/>
                    <a:gd name="T72" fmla="*/ 36 w 448"/>
                    <a:gd name="T73" fmla="*/ 420 h 497"/>
                    <a:gd name="T74" fmla="*/ 43 w 448"/>
                    <a:gd name="T75" fmla="*/ 408 h 497"/>
                    <a:gd name="T76" fmla="*/ 57 w 448"/>
                    <a:gd name="T77" fmla="*/ 400 h 497"/>
                    <a:gd name="T78" fmla="*/ 63 w 448"/>
                    <a:gd name="T79" fmla="*/ 388 h 497"/>
                    <a:gd name="T80" fmla="*/ 50 w 448"/>
                    <a:gd name="T81" fmla="*/ 383 h 497"/>
                    <a:gd name="T82" fmla="*/ 40 w 448"/>
                    <a:gd name="T83" fmla="*/ 383 h 497"/>
                    <a:gd name="T84" fmla="*/ 46 w 448"/>
                    <a:gd name="T85" fmla="*/ 371 h 497"/>
                    <a:gd name="T86" fmla="*/ 42 w 448"/>
                    <a:gd name="T87" fmla="*/ 360 h 497"/>
                    <a:gd name="T88" fmla="*/ 33 w 448"/>
                    <a:gd name="T89" fmla="*/ 351 h 497"/>
                    <a:gd name="T90" fmla="*/ 25 w 448"/>
                    <a:gd name="T91" fmla="*/ 331 h 497"/>
                    <a:gd name="T92" fmla="*/ 19 w 448"/>
                    <a:gd name="T93" fmla="*/ 308 h 497"/>
                    <a:gd name="T94" fmla="*/ 5 w 448"/>
                    <a:gd name="T95" fmla="*/ 296 h 497"/>
                    <a:gd name="T96" fmla="*/ 5 w 448"/>
                    <a:gd name="T97" fmla="*/ 282 h 497"/>
                    <a:gd name="T98" fmla="*/ 53 w 448"/>
                    <a:gd name="T99" fmla="*/ 254 h 497"/>
                    <a:gd name="T100" fmla="*/ 82 w 448"/>
                    <a:gd name="T101" fmla="*/ 242 h 497"/>
                    <a:gd name="T102" fmla="*/ 103 w 448"/>
                    <a:gd name="T103" fmla="*/ 214 h 497"/>
                    <a:gd name="T104" fmla="*/ 89 w 448"/>
                    <a:gd name="T105" fmla="*/ 174 h 497"/>
                    <a:gd name="T106" fmla="*/ 94 w 448"/>
                    <a:gd name="T107" fmla="*/ 154 h 497"/>
                    <a:gd name="T108" fmla="*/ 99 w 448"/>
                    <a:gd name="T109" fmla="*/ 120 h 497"/>
                    <a:gd name="T110" fmla="*/ 97 w 448"/>
                    <a:gd name="T111" fmla="*/ 105 h 497"/>
                    <a:gd name="T112" fmla="*/ 100 w 448"/>
                    <a:gd name="T113" fmla="*/ 74 h 497"/>
                    <a:gd name="T114" fmla="*/ 149 w 448"/>
                    <a:gd name="T115" fmla="*/ 77 h 497"/>
                    <a:gd name="T116" fmla="*/ 169 w 448"/>
                    <a:gd name="T117" fmla="*/ 66 h 497"/>
                    <a:gd name="T118" fmla="*/ 194 w 448"/>
                    <a:gd name="T119" fmla="*/ 66 h 497"/>
                    <a:gd name="T120" fmla="*/ 241 w 448"/>
                    <a:gd name="T121" fmla="*/ 48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8" h="497">
                      <a:moveTo>
                        <a:pt x="249" y="40"/>
                      </a:moveTo>
                      <a:lnTo>
                        <a:pt x="264" y="60"/>
                      </a:lnTo>
                      <a:lnTo>
                        <a:pt x="267" y="59"/>
                      </a:lnTo>
                      <a:lnTo>
                        <a:pt x="274" y="59"/>
                      </a:lnTo>
                      <a:lnTo>
                        <a:pt x="286" y="54"/>
                      </a:lnTo>
                      <a:lnTo>
                        <a:pt x="284" y="49"/>
                      </a:lnTo>
                      <a:lnTo>
                        <a:pt x="292" y="45"/>
                      </a:lnTo>
                      <a:lnTo>
                        <a:pt x="295" y="39"/>
                      </a:lnTo>
                      <a:lnTo>
                        <a:pt x="297" y="36"/>
                      </a:lnTo>
                      <a:lnTo>
                        <a:pt x="300" y="37"/>
                      </a:lnTo>
                      <a:lnTo>
                        <a:pt x="301" y="31"/>
                      </a:lnTo>
                      <a:lnTo>
                        <a:pt x="306" y="34"/>
                      </a:lnTo>
                      <a:lnTo>
                        <a:pt x="310" y="25"/>
                      </a:lnTo>
                      <a:lnTo>
                        <a:pt x="307" y="22"/>
                      </a:lnTo>
                      <a:lnTo>
                        <a:pt x="309" y="20"/>
                      </a:lnTo>
                      <a:lnTo>
                        <a:pt x="301" y="3"/>
                      </a:lnTo>
                      <a:lnTo>
                        <a:pt x="304" y="2"/>
                      </a:lnTo>
                      <a:lnTo>
                        <a:pt x="321" y="0"/>
                      </a:lnTo>
                      <a:lnTo>
                        <a:pt x="332" y="8"/>
                      </a:lnTo>
                      <a:lnTo>
                        <a:pt x="338" y="6"/>
                      </a:lnTo>
                      <a:lnTo>
                        <a:pt x="346" y="11"/>
                      </a:lnTo>
                      <a:lnTo>
                        <a:pt x="338" y="22"/>
                      </a:lnTo>
                      <a:lnTo>
                        <a:pt x="346" y="28"/>
                      </a:lnTo>
                      <a:lnTo>
                        <a:pt x="347" y="26"/>
                      </a:lnTo>
                      <a:lnTo>
                        <a:pt x="347" y="26"/>
                      </a:lnTo>
                      <a:lnTo>
                        <a:pt x="355" y="33"/>
                      </a:lnTo>
                      <a:lnTo>
                        <a:pt x="352" y="36"/>
                      </a:lnTo>
                      <a:lnTo>
                        <a:pt x="356" y="39"/>
                      </a:lnTo>
                      <a:lnTo>
                        <a:pt x="350" y="46"/>
                      </a:lnTo>
                      <a:lnTo>
                        <a:pt x="352" y="48"/>
                      </a:lnTo>
                      <a:lnTo>
                        <a:pt x="349" y="53"/>
                      </a:lnTo>
                      <a:lnTo>
                        <a:pt x="356" y="54"/>
                      </a:lnTo>
                      <a:lnTo>
                        <a:pt x="358" y="60"/>
                      </a:lnTo>
                      <a:lnTo>
                        <a:pt x="359" y="60"/>
                      </a:lnTo>
                      <a:lnTo>
                        <a:pt x="359" y="62"/>
                      </a:lnTo>
                      <a:lnTo>
                        <a:pt x="367" y="63"/>
                      </a:lnTo>
                      <a:lnTo>
                        <a:pt x="369" y="66"/>
                      </a:lnTo>
                      <a:lnTo>
                        <a:pt x="367" y="69"/>
                      </a:lnTo>
                      <a:lnTo>
                        <a:pt x="364" y="69"/>
                      </a:lnTo>
                      <a:lnTo>
                        <a:pt x="363" y="73"/>
                      </a:lnTo>
                      <a:lnTo>
                        <a:pt x="358" y="77"/>
                      </a:lnTo>
                      <a:lnTo>
                        <a:pt x="361" y="82"/>
                      </a:lnTo>
                      <a:lnTo>
                        <a:pt x="353" y="94"/>
                      </a:lnTo>
                      <a:lnTo>
                        <a:pt x="352" y="108"/>
                      </a:lnTo>
                      <a:lnTo>
                        <a:pt x="366" y="114"/>
                      </a:lnTo>
                      <a:lnTo>
                        <a:pt x="386" y="113"/>
                      </a:lnTo>
                      <a:lnTo>
                        <a:pt x="392" y="117"/>
                      </a:lnTo>
                      <a:lnTo>
                        <a:pt x="395" y="114"/>
                      </a:lnTo>
                      <a:lnTo>
                        <a:pt x="398" y="116"/>
                      </a:lnTo>
                      <a:lnTo>
                        <a:pt x="399" y="113"/>
                      </a:lnTo>
                      <a:lnTo>
                        <a:pt x="399" y="116"/>
                      </a:lnTo>
                      <a:lnTo>
                        <a:pt x="402" y="114"/>
                      </a:lnTo>
                      <a:lnTo>
                        <a:pt x="415" y="120"/>
                      </a:lnTo>
                      <a:lnTo>
                        <a:pt x="412" y="128"/>
                      </a:lnTo>
                      <a:lnTo>
                        <a:pt x="422" y="136"/>
                      </a:lnTo>
                      <a:lnTo>
                        <a:pt x="424" y="136"/>
                      </a:lnTo>
                      <a:lnTo>
                        <a:pt x="425" y="125"/>
                      </a:lnTo>
                      <a:lnTo>
                        <a:pt x="430" y="126"/>
                      </a:lnTo>
                      <a:lnTo>
                        <a:pt x="430" y="134"/>
                      </a:lnTo>
                      <a:lnTo>
                        <a:pt x="432" y="136"/>
                      </a:lnTo>
                      <a:lnTo>
                        <a:pt x="430" y="139"/>
                      </a:lnTo>
                      <a:lnTo>
                        <a:pt x="435" y="139"/>
                      </a:lnTo>
                      <a:lnTo>
                        <a:pt x="439" y="143"/>
                      </a:lnTo>
                      <a:lnTo>
                        <a:pt x="441" y="148"/>
                      </a:lnTo>
                      <a:lnTo>
                        <a:pt x="435" y="165"/>
                      </a:lnTo>
                      <a:lnTo>
                        <a:pt x="429" y="173"/>
                      </a:lnTo>
                      <a:lnTo>
                        <a:pt x="430" y="179"/>
                      </a:lnTo>
                      <a:lnTo>
                        <a:pt x="425" y="197"/>
                      </a:lnTo>
                      <a:lnTo>
                        <a:pt x="441" y="208"/>
                      </a:lnTo>
                      <a:lnTo>
                        <a:pt x="448" y="217"/>
                      </a:lnTo>
                      <a:lnTo>
                        <a:pt x="438" y="220"/>
                      </a:lnTo>
                      <a:lnTo>
                        <a:pt x="438" y="226"/>
                      </a:lnTo>
                      <a:lnTo>
                        <a:pt x="435" y="225"/>
                      </a:lnTo>
                      <a:lnTo>
                        <a:pt x="433" y="226"/>
                      </a:lnTo>
                      <a:lnTo>
                        <a:pt x="435" y="232"/>
                      </a:lnTo>
                      <a:lnTo>
                        <a:pt x="433" y="234"/>
                      </a:lnTo>
                      <a:lnTo>
                        <a:pt x="429" y="231"/>
                      </a:lnTo>
                      <a:lnTo>
                        <a:pt x="427" y="226"/>
                      </a:lnTo>
                      <a:lnTo>
                        <a:pt x="429" y="223"/>
                      </a:lnTo>
                      <a:lnTo>
                        <a:pt x="427" y="223"/>
                      </a:lnTo>
                      <a:lnTo>
                        <a:pt x="422" y="229"/>
                      </a:lnTo>
                      <a:lnTo>
                        <a:pt x="425" y="234"/>
                      </a:lnTo>
                      <a:lnTo>
                        <a:pt x="422" y="234"/>
                      </a:lnTo>
                      <a:lnTo>
                        <a:pt x="419" y="231"/>
                      </a:lnTo>
                      <a:lnTo>
                        <a:pt x="418" y="236"/>
                      </a:lnTo>
                      <a:lnTo>
                        <a:pt x="410" y="246"/>
                      </a:lnTo>
                      <a:lnTo>
                        <a:pt x="410" y="254"/>
                      </a:lnTo>
                      <a:lnTo>
                        <a:pt x="415" y="257"/>
                      </a:lnTo>
                      <a:lnTo>
                        <a:pt x="415" y="260"/>
                      </a:lnTo>
                      <a:lnTo>
                        <a:pt x="402" y="262"/>
                      </a:lnTo>
                      <a:lnTo>
                        <a:pt x="401" y="263"/>
                      </a:lnTo>
                      <a:lnTo>
                        <a:pt x="405" y="300"/>
                      </a:lnTo>
                      <a:lnTo>
                        <a:pt x="409" y="302"/>
                      </a:lnTo>
                      <a:lnTo>
                        <a:pt x="410" y="306"/>
                      </a:lnTo>
                      <a:lnTo>
                        <a:pt x="405" y="309"/>
                      </a:lnTo>
                      <a:lnTo>
                        <a:pt x="413" y="322"/>
                      </a:lnTo>
                      <a:lnTo>
                        <a:pt x="409" y="328"/>
                      </a:lnTo>
                      <a:lnTo>
                        <a:pt x="410" y="352"/>
                      </a:lnTo>
                      <a:lnTo>
                        <a:pt x="409" y="356"/>
                      </a:lnTo>
                      <a:lnTo>
                        <a:pt x="402" y="357"/>
                      </a:lnTo>
                      <a:lnTo>
                        <a:pt x="412" y="372"/>
                      </a:lnTo>
                      <a:lnTo>
                        <a:pt x="410" y="382"/>
                      </a:lnTo>
                      <a:lnTo>
                        <a:pt x="415" y="386"/>
                      </a:lnTo>
                      <a:lnTo>
                        <a:pt x="424" y="386"/>
                      </a:lnTo>
                      <a:lnTo>
                        <a:pt x="429" y="439"/>
                      </a:lnTo>
                      <a:lnTo>
                        <a:pt x="432" y="459"/>
                      </a:lnTo>
                      <a:lnTo>
                        <a:pt x="432" y="459"/>
                      </a:lnTo>
                      <a:lnTo>
                        <a:pt x="425" y="460"/>
                      </a:lnTo>
                      <a:lnTo>
                        <a:pt x="387" y="483"/>
                      </a:lnTo>
                      <a:lnTo>
                        <a:pt x="369" y="482"/>
                      </a:lnTo>
                      <a:lnTo>
                        <a:pt x="358" y="483"/>
                      </a:lnTo>
                      <a:lnTo>
                        <a:pt x="336" y="494"/>
                      </a:lnTo>
                      <a:lnTo>
                        <a:pt x="324" y="497"/>
                      </a:lnTo>
                      <a:lnTo>
                        <a:pt x="316" y="497"/>
                      </a:lnTo>
                      <a:lnTo>
                        <a:pt x="303" y="492"/>
                      </a:lnTo>
                      <a:lnTo>
                        <a:pt x="297" y="485"/>
                      </a:lnTo>
                      <a:lnTo>
                        <a:pt x="281" y="476"/>
                      </a:lnTo>
                      <a:lnTo>
                        <a:pt x="267" y="463"/>
                      </a:lnTo>
                      <a:lnTo>
                        <a:pt x="247" y="457"/>
                      </a:lnTo>
                      <a:lnTo>
                        <a:pt x="238" y="454"/>
                      </a:lnTo>
                      <a:lnTo>
                        <a:pt x="221" y="456"/>
                      </a:lnTo>
                      <a:lnTo>
                        <a:pt x="212" y="460"/>
                      </a:lnTo>
                      <a:lnTo>
                        <a:pt x="208" y="462"/>
                      </a:lnTo>
                      <a:lnTo>
                        <a:pt x="191" y="457"/>
                      </a:lnTo>
                      <a:lnTo>
                        <a:pt x="174" y="448"/>
                      </a:lnTo>
                      <a:lnTo>
                        <a:pt x="168" y="440"/>
                      </a:lnTo>
                      <a:lnTo>
                        <a:pt x="163" y="437"/>
                      </a:lnTo>
                      <a:lnTo>
                        <a:pt x="140" y="437"/>
                      </a:lnTo>
                      <a:lnTo>
                        <a:pt x="135" y="440"/>
                      </a:lnTo>
                      <a:lnTo>
                        <a:pt x="135" y="443"/>
                      </a:lnTo>
                      <a:lnTo>
                        <a:pt x="116" y="449"/>
                      </a:lnTo>
                      <a:lnTo>
                        <a:pt x="106" y="449"/>
                      </a:lnTo>
                      <a:lnTo>
                        <a:pt x="97" y="446"/>
                      </a:lnTo>
                      <a:lnTo>
                        <a:pt x="88" y="446"/>
                      </a:lnTo>
                      <a:lnTo>
                        <a:pt x="68" y="460"/>
                      </a:lnTo>
                      <a:lnTo>
                        <a:pt x="60" y="462"/>
                      </a:lnTo>
                      <a:lnTo>
                        <a:pt x="51" y="459"/>
                      </a:lnTo>
                      <a:lnTo>
                        <a:pt x="45" y="456"/>
                      </a:lnTo>
                      <a:lnTo>
                        <a:pt x="37" y="449"/>
                      </a:lnTo>
                      <a:lnTo>
                        <a:pt x="34" y="445"/>
                      </a:lnTo>
                      <a:lnTo>
                        <a:pt x="27" y="439"/>
                      </a:lnTo>
                      <a:lnTo>
                        <a:pt x="27" y="439"/>
                      </a:lnTo>
                      <a:lnTo>
                        <a:pt x="30" y="437"/>
                      </a:lnTo>
                      <a:lnTo>
                        <a:pt x="30" y="429"/>
                      </a:lnTo>
                      <a:lnTo>
                        <a:pt x="27" y="428"/>
                      </a:lnTo>
                      <a:lnTo>
                        <a:pt x="28" y="423"/>
                      </a:lnTo>
                      <a:lnTo>
                        <a:pt x="36" y="423"/>
                      </a:lnTo>
                      <a:lnTo>
                        <a:pt x="36" y="420"/>
                      </a:lnTo>
                      <a:lnTo>
                        <a:pt x="40" y="420"/>
                      </a:lnTo>
                      <a:lnTo>
                        <a:pt x="39" y="414"/>
                      </a:lnTo>
                      <a:lnTo>
                        <a:pt x="43" y="412"/>
                      </a:lnTo>
                      <a:lnTo>
                        <a:pt x="43" y="408"/>
                      </a:lnTo>
                      <a:lnTo>
                        <a:pt x="50" y="406"/>
                      </a:lnTo>
                      <a:lnTo>
                        <a:pt x="50" y="403"/>
                      </a:lnTo>
                      <a:lnTo>
                        <a:pt x="56" y="405"/>
                      </a:lnTo>
                      <a:lnTo>
                        <a:pt x="57" y="400"/>
                      </a:lnTo>
                      <a:lnTo>
                        <a:pt x="56" y="396"/>
                      </a:lnTo>
                      <a:lnTo>
                        <a:pt x="56" y="394"/>
                      </a:lnTo>
                      <a:lnTo>
                        <a:pt x="68" y="388"/>
                      </a:lnTo>
                      <a:lnTo>
                        <a:pt x="63" y="388"/>
                      </a:lnTo>
                      <a:lnTo>
                        <a:pt x="62" y="386"/>
                      </a:lnTo>
                      <a:lnTo>
                        <a:pt x="57" y="388"/>
                      </a:lnTo>
                      <a:lnTo>
                        <a:pt x="57" y="385"/>
                      </a:lnTo>
                      <a:lnTo>
                        <a:pt x="50" y="383"/>
                      </a:lnTo>
                      <a:lnTo>
                        <a:pt x="45" y="383"/>
                      </a:lnTo>
                      <a:lnTo>
                        <a:pt x="42" y="388"/>
                      </a:lnTo>
                      <a:lnTo>
                        <a:pt x="40" y="386"/>
                      </a:lnTo>
                      <a:lnTo>
                        <a:pt x="40" y="383"/>
                      </a:lnTo>
                      <a:lnTo>
                        <a:pt x="43" y="380"/>
                      </a:lnTo>
                      <a:lnTo>
                        <a:pt x="54" y="382"/>
                      </a:lnTo>
                      <a:lnTo>
                        <a:pt x="56" y="379"/>
                      </a:lnTo>
                      <a:lnTo>
                        <a:pt x="46" y="371"/>
                      </a:lnTo>
                      <a:lnTo>
                        <a:pt x="46" y="365"/>
                      </a:lnTo>
                      <a:lnTo>
                        <a:pt x="43" y="365"/>
                      </a:lnTo>
                      <a:lnTo>
                        <a:pt x="43" y="362"/>
                      </a:lnTo>
                      <a:lnTo>
                        <a:pt x="42" y="360"/>
                      </a:lnTo>
                      <a:lnTo>
                        <a:pt x="39" y="360"/>
                      </a:lnTo>
                      <a:lnTo>
                        <a:pt x="39" y="356"/>
                      </a:lnTo>
                      <a:lnTo>
                        <a:pt x="36" y="351"/>
                      </a:lnTo>
                      <a:lnTo>
                        <a:pt x="33" y="351"/>
                      </a:lnTo>
                      <a:lnTo>
                        <a:pt x="30" y="348"/>
                      </a:lnTo>
                      <a:lnTo>
                        <a:pt x="28" y="342"/>
                      </a:lnTo>
                      <a:lnTo>
                        <a:pt x="30" y="336"/>
                      </a:lnTo>
                      <a:lnTo>
                        <a:pt x="25" y="331"/>
                      </a:lnTo>
                      <a:lnTo>
                        <a:pt x="19" y="325"/>
                      </a:lnTo>
                      <a:lnTo>
                        <a:pt x="25" y="320"/>
                      </a:lnTo>
                      <a:lnTo>
                        <a:pt x="19" y="317"/>
                      </a:lnTo>
                      <a:lnTo>
                        <a:pt x="19" y="308"/>
                      </a:lnTo>
                      <a:lnTo>
                        <a:pt x="13" y="308"/>
                      </a:lnTo>
                      <a:lnTo>
                        <a:pt x="10" y="305"/>
                      </a:lnTo>
                      <a:lnTo>
                        <a:pt x="8" y="300"/>
                      </a:lnTo>
                      <a:lnTo>
                        <a:pt x="5" y="296"/>
                      </a:lnTo>
                      <a:lnTo>
                        <a:pt x="5" y="291"/>
                      </a:lnTo>
                      <a:lnTo>
                        <a:pt x="2" y="292"/>
                      </a:lnTo>
                      <a:lnTo>
                        <a:pt x="0" y="285"/>
                      </a:lnTo>
                      <a:lnTo>
                        <a:pt x="5" y="282"/>
                      </a:lnTo>
                      <a:lnTo>
                        <a:pt x="31" y="269"/>
                      </a:lnTo>
                      <a:lnTo>
                        <a:pt x="43" y="269"/>
                      </a:lnTo>
                      <a:lnTo>
                        <a:pt x="57" y="265"/>
                      </a:lnTo>
                      <a:lnTo>
                        <a:pt x="53" y="254"/>
                      </a:lnTo>
                      <a:lnTo>
                        <a:pt x="69" y="249"/>
                      </a:lnTo>
                      <a:lnTo>
                        <a:pt x="69" y="246"/>
                      </a:lnTo>
                      <a:lnTo>
                        <a:pt x="82" y="245"/>
                      </a:lnTo>
                      <a:lnTo>
                        <a:pt x="82" y="242"/>
                      </a:lnTo>
                      <a:lnTo>
                        <a:pt x="100" y="239"/>
                      </a:lnTo>
                      <a:lnTo>
                        <a:pt x="106" y="234"/>
                      </a:lnTo>
                      <a:lnTo>
                        <a:pt x="106" y="226"/>
                      </a:lnTo>
                      <a:lnTo>
                        <a:pt x="103" y="214"/>
                      </a:lnTo>
                      <a:lnTo>
                        <a:pt x="86" y="200"/>
                      </a:lnTo>
                      <a:lnTo>
                        <a:pt x="88" y="197"/>
                      </a:lnTo>
                      <a:lnTo>
                        <a:pt x="83" y="182"/>
                      </a:lnTo>
                      <a:lnTo>
                        <a:pt x="89" y="174"/>
                      </a:lnTo>
                      <a:lnTo>
                        <a:pt x="100" y="163"/>
                      </a:lnTo>
                      <a:lnTo>
                        <a:pt x="92" y="159"/>
                      </a:lnTo>
                      <a:lnTo>
                        <a:pt x="96" y="157"/>
                      </a:lnTo>
                      <a:lnTo>
                        <a:pt x="94" y="154"/>
                      </a:lnTo>
                      <a:lnTo>
                        <a:pt x="96" y="153"/>
                      </a:lnTo>
                      <a:lnTo>
                        <a:pt x="97" y="139"/>
                      </a:lnTo>
                      <a:lnTo>
                        <a:pt x="96" y="123"/>
                      </a:lnTo>
                      <a:lnTo>
                        <a:pt x="99" y="120"/>
                      </a:lnTo>
                      <a:lnTo>
                        <a:pt x="97" y="116"/>
                      </a:lnTo>
                      <a:lnTo>
                        <a:pt x="100" y="116"/>
                      </a:lnTo>
                      <a:lnTo>
                        <a:pt x="105" y="111"/>
                      </a:lnTo>
                      <a:lnTo>
                        <a:pt x="97" y="105"/>
                      </a:lnTo>
                      <a:lnTo>
                        <a:pt x="91" y="86"/>
                      </a:lnTo>
                      <a:lnTo>
                        <a:pt x="89" y="77"/>
                      </a:lnTo>
                      <a:lnTo>
                        <a:pt x="89" y="77"/>
                      </a:lnTo>
                      <a:lnTo>
                        <a:pt x="100" y="74"/>
                      </a:lnTo>
                      <a:lnTo>
                        <a:pt x="108" y="80"/>
                      </a:lnTo>
                      <a:lnTo>
                        <a:pt x="120" y="79"/>
                      </a:lnTo>
                      <a:lnTo>
                        <a:pt x="120" y="76"/>
                      </a:lnTo>
                      <a:lnTo>
                        <a:pt x="149" y="77"/>
                      </a:lnTo>
                      <a:lnTo>
                        <a:pt x="163" y="63"/>
                      </a:lnTo>
                      <a:lnTo>
                        <a:pt x="165" y="66"/>
                      </a:lnTo>
                      <a:lnTo>
                        <a:pt x="166" y="63"/>
                      </a:lnTo>
                      <a:lnTo>
                        <a:pt x="169" y="66"/>
                      </a:lnTo>
                      <a:lnTo>
                        <a:pt x="172" y="62"/>
                      </a:lnTo>
                      <a:lnTo>
                        <a:pt x="183" y="66"/>
                      </a:lnTo>
                      <a:lnTo>
                        <a:pt x="186" y="63"/>
                      </a:lnTo>
                      <a:lnTo>
                        <a:pt x="194" y="66"/>
                      </a:lnTo>
                      <a:lnTo>
                        <a:pt x="197" y="62"/>
                      </a:lnTo>
                      <a:lnTo>
                        <a:pt x="197" y="62"/>
                      </a:lnTo>
                      <a:lnTo>
                        <a:pt x="240" y="43"/>
                      </a:lnTo>
                      <a:lnTo>
                        <a:pt x="241" y="48"/>
                      </a:lnTo>
                      <a:lnTo>
                        <a:pt x="249" y="40"/>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14" name="Vâlcea" descr="{&quot;Key&quot;:&quot;vâlcea&quot;,&quot;Name&quot;:&quot;Vâlcea&quot;,&quot;Value&quot;:1.0,&quot;Formula&quot;:&quot;&quot;,&quot;Text&quot;:&quot;1&quot;,&quot;OfficeApplication&quot;:0,&quot;HasValue&quot;:true}">
                  <a:extLst>
                    <a:ext uri="{FF2B5EF4-FFF2-40B4-BE49-F238E27FC236}">
                      <a16:creationId xmlns:a16="http://schemas.microsoft.com/office/drawing/2014/main" id="{13412B52-FEC5-6C4F-E721-760FB2F55B7E}"/>
                    </a:ext>
                  </a:extLst>
                </p:cNvPr>
                <p:cNvSpPr>
                  <a:spLocks/>
                </p:cNvSpPr>
                <p:nvPr/>
              </p:nvSpPr>
              <p:spPr bwMode="auto">
                <a:xfrm>
                  <a:off x="5203825" y="3795713"/>
                  <a:ext cx="596900" cy="976313"/>
                </a:xfrm>
                <a:custGeom>
                  <a:avLst/>
                  <a:gdLst>
                    <a:gd name="T0" fmla="*/ 46 w 376"/>
                    <a:gd name="T1" fmla="*/ 61 h 615"/>
                    <a:gd name="T2" fmla="*/ 85 w 376"/>
                    <a:gd name="T3" fmla="*/ 35 h 615"/>
                    <a:gd name="T4" fmla="*/ 119 w 376"/>
                    <a:gd name="T5" fmla="*/ 37 h 615"/>
                    <a:gd name="T6" fmla="*/ 165 w 376"/>
                    <a:gd name="T7" fmla="*/ 31 h 615"/>
                    <a:gd name="T8" fmla="*/ 203 w 376"/>
                    <a:gd name="T9" fmla="*/ 44 h 615"/>
                    <a:gd name="T10" fmla="*/ 274 w 376"/>
                    <a:gd name="T11" fmla="*/ 26 h 615"/>
                    <a:gd name="T12" fmla="*/ 321 w 376"/>
                    <a:gd name="T13" fmla="*/ 4 h 615"/>
                    <a:gd name="T14" fmla="*/ 356 w 376"/>
                    <a:gd name="T15" fmla="*/ 4 h 615"/>
                    <a:gd name="T16" fmla="*/ 366 w 376"/>
                    <a:gd name="T17" fmla="*/ 32 h 615"/>
                    <a:gd name="T18" fmla="*/ 343 w 376"/>
                    <a:gd name="T19" fmla="*/ 67 h 615"/>
                    <a:gd name="T20" fmla="*/ 349 w 376"/>
                    <a:gd name="T21" fmla="*/ 100 h 615"/>
                    <a:gd name="T22" fmla="*/ 361 w 376"/>
                    <a:gd name="T23" fmla="*/ 129 h 615"/>
                    <a:gd name="T24" fmla="*/ 366 w 376"/>
                    <a:gd name="T25" fmla="*/ 163 h 615"/>
                    <a:gd name="T26" fmla="*/ 361 w 376"/>
                    <a:gd name="T27" fmla="*/ 186 h 615"/>
                    <a:gd name="T28" fmla="*/ 369 w 376"/>
                    <a:gd name="T29" fmla="*/ 220 h 615"/>
                    <a:gd name="T30" fmla="*/ 375 w 376"/>
                    <a:gd name="T31" fmla="*/ 240 h 615"/>
                    <a:gd name="T32" fmla="*/ 372 w 376"/>
                    <a:gd name="T33" fmla="*/ 271 h 615"/>
                    <a:gd name="T34" fmla="*/ 372 w 376"/>
                    <a:gd name="T35" fmla="*/ 284 h 615"/>
                    <a:gd name="T36" fmla="*/ 370 w 376"/>
                    <a:gd name="T37" fmla="*/ 312 h 615"/>
                    <a:gd name="T38" fmla="*/ 355 w 376"/>
                    <a:gd name="T39" fmla="*/ 361 h 615"/>
                    <a:gd name="T40" fmla="*/ 358 w 376"/>
                    <a:gd name="T41" fmla="*/ 389 h 615"/>
                    <a:gd name="T42" fmla="*/ 338 w 376"/>
                    <a:gd name="T43" fmla="*/ 394 h 615"/>
                    <a:gd name="T44" fmla="*/ 313 w 376"/>
                    <a:gd name="T45" fmla="*/ 398 h 615"/>
                    <a:gd name="T46" fmla="*/ 293 w 376"/>
                    <a:gd name="T47" fmla="*/ 430 h 615"/>
                    <a:gd name="T48" fmla="*/ 286 w 376"/>
                    <a:gd name="T49" fmla="*/ 458 h 615"/>
                    <a:gd name="T50" fmla="*/ 280 w 376"/>
                    <a:gd name="T51" fmla="*/ 480 h 615"/>
                    <a:gd name="T52" fmla="*/ 283 w 376"/>
                    <a:gd name="T53" fmla="*/ 507 h 615"/>
                    <a:gd name="T54" fmla="*/ 292 w 376"/>
                    <a:gd name="T55" fmla="*/ 529 h 615"/>
                    <a:gd name="T56" fmla="*/ 283 w 376"/>
                    <a:gd name="T57" fmla="*/ 566 h 615"/>
                    <a:gd name="T58" fmla="*/ 254 w 376"/>
                    <a:gd name="T59" fmla="*/ 581 h 615"/>
                    <a:gd name="T60" fmla="*/ 232 w 376"/>
                    <a:gd name="T61" fmla="*/ 578 h 615"/>
                    <a:gd name="T62" fmla="*/ 221 w 376"/>
                    <a:gd name="T63" fmla="*/ 587 h 615"/>
                    <a:gd name="T64" fmla="*/ 209 w 376"/>
                    <a:gd name="T65" fmla="*/ 603 h 615"/>
                    <a:gd name="T66" fmla="*/ 185 w 376"/>
                    <a:gd name="T67" fmla="*/ 606 h 615"/>
                    <a:gd name="T68" fmla="*/ 171 w 376"/>
                    <a:gd name="T69" fmla="*/ 590 h 615"/>
                    <a:gd name="T70" fmla="*/ 142 w 376"/>
                    <a:gd name="T71" fmla="*/ 595 h 615"/>
                    <a:gd name="T72" fmla="*/ 126 w 376"/>
                    <a:gd name="T73" fmla="*/ 552 h 615"/>
                    <a:gd name="T74" fmla="*/ 89 w 376"/>
                    <a:gd name="T75" fmla="*/ 527 h 615"/>
                    <a:gd name="T76" fmla="*/ 80 w 376"/>
                    <a:gd name="T77" fmla="*/ 520 h 615"/>
                    <a:gd name="T78" fmla="*/ 76 w 376"/>
                    <a:gd name="T79" fmla="*/ 500 h 615"/>
                    <a:gd name="T80" fmla="*/ 79 w 376"/>
                    <a:gd name="T81" fmla="*/ 455 h 615"/>
                    <a:gd name="T82" fmla="*/ 89 w 376"/>
                    <a:gd name="T83" fmla="*/ 426 h 615"/>
                    <a:gd name="T84" fmla="*/ 77 w 376"/>
                    <a:gd name="T85" fmla="*/ 384 h 615"/>
                    <a:gd name="T86" fmla="*/ 73 w 376"/>
                    <a:gd name="T87" fmla="*/ 331 h 615"/>
                    <a:gd name="T88" fmla="*/ 97 w 376"/>
                    <a:gd name="T89" fmla="*/ 292 h 615"/>
                    <a:gd name="T90" fmla="*/ 112 w 376"/>
                    <a:gd name="T91" fmla="*/ 249 h 615"/>
                    <a:gd name="T92" fmla="*/ 89 w 376"/>
                    <a:gd name="T93" fmla="*/ 184 h 615"/>
                    <a:gd name="T94" fmla="*/ 108 w 376"/>
                    <a:gd name="T95" fmla="*/ 147 h 615"/>
                    <a:gd name="T96" fmla="*/ 79 w 376"/>
                    <a:gd name="T97" fmla="*/ 137 h 615"/>
                    <a:gd name="T98" fmla="*/ 43 w 376"/>
                    <a:gd name="T99" fmla="*/ 146 h 615"/>
                    <a:gd name="T100" fmla="*/ 27 w 376"/>
                    <a:gd name="T101" fmla="*/ 134 h 615"/>
                    <a:gd name="T102" fmla="*/ 17 w 376"/>
                    <a:gd name="T103" fmla="*/ 140 h 615"/>
                    <a:gd name="T104" fmla="*/ 11 w 376"/>
                    <a:gd name="T105" fmla="*/ 120 h 615"/>
                    <a:gd name="T106" fmla="*/ 5 w 376"/>
                    <a:gd name="T107" fmla="*/ 87 h 615"/>
                    <a:gd name="T108" fmla="*/ 16 w 376"/>
                    <a:gd name="T109" fmla="*/ 67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6" h="615">
                      <a:moveTo>
                        <a:pt x="23" y="69"/>
                      </a:moveTo>
                      <a:lnTo>
                        <a:pt x="23" y="74"/>
                      </a:lnTo>
                      <a:lnTo>
                        <a:pt x="33" y="72"/>
                      </a:lnTo>
                      <a:lnTo>
                        <a:pt x="37" y="71"/>
                      </a:lnTo>
                      <a:lnTo>
                        <a:pt x="46" y="61"/>
                      </a:lnTo>
                      <a:lnTo>
                        <a:pt x="53" y="51"/>
                      </a:lnTo>
                      <a:lnTo>
                        <a:pt x="68" y="49"/>
                      </a:lnTo>
                      <a:lnTo>
                        <a:pt x="74" y="43"/>
                      </a:lnTo>
                      <a:lnTo>
                        <a:pt x="80" y="41"/>
                      </a:lnTo>
                      <a:lnTo>
                        <a:pt x="85" y="35"/>
                      </a:lnTo>
                      <a:lnTo>
                        <a:pt x="89" y="32"/>
                      </a:lnTo>
                      <a:lnTo>
                        <a:pt x="96" y="34"/>
                      </a:lnTo>
                      <a:lnTo>
                        <a:pt x="111" y="31"/>
                      </a:lnTo>
                      <a:lnTo>
                        <a:pt x="114" y="32"/>
                      </a:lnTo>
                      <a:lnTo>
                        <a:pt x="119" y="37"/>
                      </a:lnTo>
                      <a:lnTo>
                        <a:pt x="126" y="34"/>
                      </a:lnTo>
                      <a:lnTo>
                        <a:pt x="134" y="34"/>
                      </a:lnTo>
                      <a:lnTo>
                        <a:pt x="139" y="31"/>
                      </a:lnTo>
                      <a:lnTo>
                        <a:pt x="157" y="32"/>
                      </a:lnTo>
                      <a:lnTo>
                        <a:pt x="165" y="31"/>
                      </a:lnTo>
                      <a:lnTo>
                        <a:pt x="171" y="35"/>
                      </a:lnTo>
                      <a:lnTo>
                        <a:pt x="178" y="32"/>
                      </a:lnTo>
                      <a:lnTo>
                        <a:pt x="185" y="38"/>
                      </a:lnTo>
                      <a:lnTo>
                        <a:pt x="192" y="38"/>
                      </a:lnTo>
                      <a:lnTo>
                        <a:pt x="203" y="44"/>
                      </a:lnTo>
                      <a:lnTo>
                        <a:pt x="214" y="43"/>
                      </a:lnTo>
                      <a:lnTo>
                        <a:pt x="217" y="38"/>
                      </a:lnTo>
                      <a:lnTo>
                        <a:pt x="251" y="37"/>
                      </a:lnTo>
                      <a:lnTo>
                        <a:pt x="261" y="26"/>
                      </a:lnTo>
                      <a:lnTo>
                        <a:pt x="274" y="26"/>
                      </a:lnTo>
                      <a:lnTo>
                        <a:pt x="284" y="9"/>
                      </a:lnTo>
                      <a:lnTo>
                        <a:pt x="292" y="12"/>
                      </a:lnTo>
                      <a:lnTo>
                        <a:pt x="301" y="4"/>
                      </a:lnTo>
                      <a:lnTo>
                        <a:pt x="309" y="1"/>
                      </a:lnTo>
                      <a:lnTo>
                        <a:pt x="321" y="4"/>
                      </a:lnTo>
                      <a:lnTo>
                        <a:pt x="335" y="3"/>
                      </a:lnTo>
                      <a:lnTo>
                        <a:pt x="341" y="4"/>
                      </a:lnTo>
                      <a:lnTo>
                        <a:pt x="347" y="0"/>
                      </a:lnTo>
                      <a:lnTo>
                        <a:pt x="352" y="4"/>
                      </a:lnTo>
                      <a:lnTo>
                        <a:pt x="356" y="4"/>
                      </a:lnTo>
                      <a:lnTo>
                        <a:pt x="364" y="9"/>
                      </a:lnTo>
                      <a:lnTo>
                        <a:pt x="364" y="9"/>
                      </a:lnTo>
                      <a:lnTo>
                        <a:pt x="367" y="21"/>
                      </a:lnTo>
                      <a:lnTo>
                        <a:pt x="364" y="27"/>
                      </a:lnTo>
                      <a:lnTo>
                        <a:pt x="366" y="32"/>
                      </a:lnTo>
                      <a:lnTo>
                        <a:pt x="363" y="35"/>
                      </a:lnTo>
                      <a:lnTo>
                        <a:pt x="356" y="41"/>
                      </a:lnTo>
                      <a:lnTo>
                        <a:pt x="350" y="63"/>
                      </a:lnTo>
                      <a:lnTo>
                        <a:pt x="344" y="64"/>
                      </a:lnTo>
                      <a:lnTo>
                        <a:pt x="343" y="67"/>
                      </a:lnTo>
                      <a:lnTo>
                        <a:pt x="347" y="75"/>
                      </a:lnTo>
                      <a:lnTo>
                        <a:pt x="349" y="81"/>
                      </a:lnTo>
                      <a:lnTo>
                        <a:pt x="347" y="89"/>
                      </a:lnTo>
                      <a:lnTo>
                        <a:pt x="350" y="92"/>
                      </a:lnTo>
                      <a:lnTo>
                        <a:pt x="349" y="100"/>
                      </a:lnTo>
                      <a:lnTo>
                        <a:pt x="353" y="106"/>
                      </a:lnTo>
                      <a:lnTo>
                        <a:pt x="355" y="118"/>
                      </a:lnTo>
                      <a:lnTo>
                        <a:pt x="366" y="123"/>
                      </a:lnTo>
                      <a:lnTo>
                        <a:pt x="366" y="126"/>
                      </a:lnTo>
                      <a:lnTo>
                        <a:pt x="361" y="129"/>
                      </a:lnTo>
                      <a:lnTo>
                        <a:pt x="364" y="141"/>
                      </a:lnTo>
                      <a:lnTo>
                        <a:pt x="356" y="146"/>
                      </a:lnTo>
                      <a:lnTo>
                        <a:pt x="364" y="147"/>
                      </a:lnTo>
                      <a:lnTo>
                        <a:pt x="364" y="151"/>
                      </a:lnTo>
                      <a:lnTo>
                        <a:pt x="366" y="163"/>
                      </a:lnTo>
                      <a:lnTo>
                        <a:pt x="367" y="164"/>
                      </a:lnTo>
                      <a:lnTo>
                        <a:pt x="364" y="167"/>
                      </a:lnTo>
                      <a:lnTo>
                        <a:pt x="367" y="172"/>
                      </a:lnTo>
                      <a:lnTo>
                        <a:pt x="359" y="181"/>
                      </a:lnTo>
                      <a:lnTo>
                        <a:pt x="361" y="186"/>
                      </a:lnTo>
                      <a:lnTo>
                        <a:pt x="358" y="187"/>
                      </a:lnTo>
                      <a:lnTo>
                        <a:pt x="359" y="192"/>
                      </a:lnTo>
                      <a:lnTo>
                        <a:pt x="355" y="203"/>
                      </a:lnTo>
                      <a:lnTo>
                        <a:pt x="361" y="211"/>
                      </a:lnTo>
                      <a:lnTo>
                        <a:pt x="369" y="220"/>
                      </a:lnTo>
                      <a:lnTo>
                        <a:pt x="367" y="223"/>
                      </a:lnTo>
                      <a:lnTo>
                        <a:pt x="372" y="227"/>
                      </a:lnTo>
                      <a:lnTo>
                        <a:pt x="375" y="227"/>
                      </a:lnTo>
                      <a:lnTo>
                        <a:pt x="376" y="229"/>
                      </a:lnTo>
                      <a:lnTo>
                        <a:pt x="375" y="240"/>
                      </a:lnTo>
                      <a:lnTo>
                        <a:pt x="370" y="241"/>
                      </a:lnTo>
                      <a:lnTo>
                        <a:pt x="369" y="244"/>
                      </a:lnTo>
                      <a:lnTo>
                        <a:pt x="376" y="257"/>
                      </a:lnTo>
                      <a:lnTo>
                        <a:pt x="373" y="271"/>
                      </a:lnTo>
                      <a:lnTo>
                        <a:pt x="372" y="271"/>
                      </a:lnTo>
                      <a:lnTo>
                        <a:pt x="367" y="267"/>
                      </a:lnTo>
                      <a:lnTo>
                        <a:pt x="364" y="269"/>
                      </a:lnTo>
                      <a:lnTo>
                        <a:pt x="363" y="278"/>
                      </a:lnTo>
                      <a:lnTo>
                        <a:pt x="369" y="278"/>
                      </a:lnTo>
                      <a:lnTo>
                        <a:pt x="372" y="284"/>
                      </a:lnTo>
                      <a:lnTo>
                        <a:pt x="364" y="289"/>
                      </a:lnTo>
                      <a:lnTo>
                        <a:pt x="363" y="294"/>
                      </a:lnTo>
                      <a:lnTo>
                        <a:pt x="364" y="297"/>
                      </a:lnTo>
                      <a:lnTo>
                        <a:pt x="373" y="304"/>
                      </a:lnTo>
                      <a:lnTo>
                        <a:pt x="370" y="312"/>
                      </a:lnTo>
                      <a:lnTo>
                        <a:pt x="369" y="320"/>
                      </a:lnTo>
                      <a:lnTo>
                        <a:pt x="366" y="327"/>
                      </a:lnTo>
                      <a:lnTo>
                        <a:pt x="370" y="334"/>
                      </a:lnTo>
                      <a:lnTo>
                        <a:pt x="361" y="344"/>
                      </a:lnTo>
                      <a:lnTo>
                        <a:pt x="355" y="361"/>
                      </a:lnTo>
                      <a:lnTo>
                        <a:pt x="358" y="358"/>
                      </a:lnTo>
                      <a:lnTo>
                        <a:pt x="363" y="360"/>
                      </a:lnTo>
                      <a:lnTo>
                        <a:pt x="355" y="381"/>
                      </a:lnTo>
                      <a:lnTo>
                        <a:pt x="355" y="386"/>
                      </a:lnTo>
                      <a:lnTo>
                        <a:pt x="358" y="389"/>
                      </a:lnTo>
                      <a:lnTo>
                        <a:pt x="340" y="417"/>
                      </a:lnTo>
                      <a:lnTo>
                        <a:pt x="340" y="417"/>
                      </a:lnTo>
                      <a:lnTo>
                        <a:pt x="336" y="412"/>
                      </a:lnTo>
                      <a:lnTo>
                        <a:pt x="340" y="397"/>
                      </a:lnTo>
                      <a:lnTo>
                        <a:pt x="338" y="394"/>
                      </a:lnTo>
                      <a:lnTo>
                        <a:pt x="330" y="389"/>
                      </a:lnTo>
                      <a:lnTo>
                        <a:pt x="326" y="397"/>
                      </a:lnTo>
                      <a:lnTo>
                        <a:pt x="323" y="395"/>
                      </a:lnTo>
                      <a:lnTo>
                        <a:pt x="318" y="398"/>
                      </a:lnTo>
                      <a:lnTo>
                        <a:pt x="313" y="398"/>
                      </a:lnTo>
                      <a:lnTo>
                        <a:pt x="303" y="404"/>
                      </a:lnTo>
                      <a:lnTo>
                        <a:pt x="301" y="407"/>
                      </a:lnTo>
                      <a:lnTo>
                        <a:pt x="306" y="415"/>
                      </a:lnTo>
                      <a:lnTo>
                        <a:pt x="295" y="424"/>
                      </a:lnTo>
                      <a:lnTo>
                        <a:pt x="293" y="430"/>
                      </a:lnTo>
                      <a:lnTo>
                        <a:pt x="295" y="438"/>
                      </a:lnTo>
                      <a:lnTo>
                        <a:pt x="292" y="443"/>
                      </a:lnTo>
                      <a:lnTo>
                        <a:pt x="293" y="455"/>
                      </a:lnTo>
                      <a:lnTo>
                        <a:pt x="286" y="455"/>
                      </a:lnTo>
                      <a:lnTo>
                        <a:pt x="286" y="458"/>
                      </a:lnTo>
                      <a:lnTo>
                        <a:pt x="284" y="460"/>
                      </a:lnTo>
                      <a:lnTo>
                        <a:pt x="286" y="464"/>
                      </a:lnTo>
                      <a:lnTo>
                        <a:pt x="281" y="469"/>
                      </a:lnTo>
                      <a:lnTo>
                        <a:pt x="281" y="475"/>
                      </a:lnTo>
                      <a:lnTo>
                        <a:pt x="280" y="480"/>
                      </a:lnTo>
                      <a:lnTo>
                        <a:pt x="281" y="483"/>
                      </a:lnTo>
                      <a:lnTo>
                        <a:pt x="278" y="490"/>
                      </a:lnTo>
                      <a:lnTo>
                        <a:pt x="278" y="500"/>
                      </a:lnTo>
                      <a:lnTo>
                        <a:pt x="281" y="503"/>
                      </a:lnTo>
                      <a:lnTo>
                        <a:pt x="283" y="507"/>
                      </a:lnTo>
                      <a:lnTo>
                        <a:pt x="284" y="506"/>
                      </a:lnTo>
                      <a:lnTo>
                        <a:pt x="287" y="515"/>
                      </a:lnTo>
                      <a:lnTo>
                        <a:pt x="293" y="517"/>
                      </a:lnTo>
                      <a:lnTo>
                        <a:pt x="290" y="521"/>
                      </a:lnTo>
                      <a:lnTo>
                        <a:pt x="292" y="529"/>
                      </a:lnTo>
                      <a:lnTo>
                        <a:pt x="300" y="543"/>
                      </a:lnTo>
                      <a:lnTo>
                        <a:pt x="298" y="546"/>
                      </a:lnTo>
                      <a:lnTo>
                        <a:pt x="300" y="567"/>
                      </a:lnTo>
                      <a:lnTo>
                        <a:pt x="283" y="555"/>
                      </a:lnTo>
                      <a:lnTo>
                        <a:pt x="283" y="566"/>
                      </a:lnTo>
                      <a:lnTo>
                        <a:pt x="270" y="569"/>
                      </a:lnTo>
                      <a:lnTo>
                        <a:pt x="266" y="567"/>
                      </a:lnTo>
                      <a:lnTo>
                        <a:pt x="266" y="578"/>
                      </a:lnTo>
                      <a:lnTo>
                        <a:pt x="263" y="580"/>
                      </a:lnTo>
                      <a:lnTo>
                        <a:pt x="254" y="581"/>
                      </a:lnTo>
                      <a:lnTo>
                        <a:pt x="249" y="580"/>
                      </a:lnTo>
                      <a:lnTo>
                        <a:pt x="247" y="581"/>
                      </a:lnTo>
                      <a:lnTo>
                        <a:pt x="246" y="578"/>
                      </a:lnTo>
                      <a:lnTo>
                        <a:pt x="240" y="574"/>
                      </a:lnTo>
                      <a:lnTo>
                        <a:pt x="232" y="578"/>
                      </a:lnTo>
                      <a:lnTo>
                        <a:pt x="229" y="575"/>
                      </a:lnTo>
                      <a:lnTo>
                        <a:pt x="228" y="577"/>
                      </a:lnTo>
                      <a:lnTo>
                        <a:pt x="224" y="577"/>
                      </a:lnTo>
                      <a:lnTo>
                        <a:pt x="226" y="580"/>
                      </a:lnTo>
                      <a:lnTo>
                        <a:pt x="221" y="587"/>
                      </a:lnTo>
                      <a:lnTo>
                        <a:pt x="215" y="589"/>
                      </a:lnTo>
                      <a:lnTo>
                        <a:pt x="215" y="598"/>
                      </a:lnTo>
                      <a:lnTo>
                        <a:pt x="212" y="598"/>
                      </a:lnTo>
                      <a:lnTo>
                        <a:pt x="214" y="600"/>
                      </a:lnTo>
                      <a:lnTo>
                        <a:pt x="209" y="603"/>
                      </a:lnTo>
                      <a:lnTo>
                        <a:pt x="211" y="609"/>
                      </a:lnTo>
                      <a:lnTo>
                        <a:pt x="205" y="615"/>
                      </a:lnTo>
                      <a:lnTo>
                        <a:pt x="192" y="615"/>
                      </a:lnTo>
                      <a:lnTo>
                        <a:pt x="189" y="607"/>
                      </a:lnTo>
                      <a:lnTo>
                        <a:pt x="185" y="606"/>
                      </a:lnTo>
                      <a:lnTo>
                        <a:pt x="186" y="604"/>
                      </a:lnTo>
                      <a:lnTo>
                        <a:pt x="186" y="598"/>
                      </a:lnTo>
                      <a:lnTo>
                        <a:pt x="180" y="601"/>
                      </a:lnTo>
                      <a:lnTo>
                        <a:pt x="181" y="595"/>
                      </a:lnTo>
                      <a:lnTo>
                        <a:pt x="171" y="590"/>
                      </a:lnTo>
                      <a:lnTo>
                        <a:pt x="163" y="590"/>
                      </a:lnTo>
                      <a:lnTo>
                        <a:pt x="151" y="595"/>
                      </a:lnTo>
                      <a:lnTo>
                        <a:pt x="145" y="594"/>
                      </a:lnTo>
                      <a:lnTo>
                        <a:pt x="142" y="595"/>
                      </a:lnTo>
                      <a:lnTo>
                        <a:pt x="142" y="595"/>
                      </a:lnTo>
                      <a:lnTo>
                        <a:pt x="139" y="577"/>
                      </a:lnTo>
                      <a:lnTo>
                        <a:pt x="135" y="567"/>
                      </a:lnTo>
                      <a:lnTo>
                        <a:pt x="129" y="569"/>
                      </a:lnTo>
                      <a:lnTo>
                        <a:pt x="128" y="564"/>
                      </a:lnTo>
                      <a:lnTo>
                        <a:pt x="126" y="552"/>
                      </a:lnTo>
                      <a:lnTo>
                        <a:pt x="129" y="550"/>
                      </a:lnTo>
                      <a:lnTo>
                        <a:pt x="129" y="543"/>
                      </a:lnTo>
                      <a:lnTo>
                        <a:pt x="105" y="534"/>
                      </a:lnTo>
                      <a:lnTo>
                        <a:pt x="96" y="534"/>
                      </a:lnTo>
                      <a:lnTo>
                        <a:pt x="89" y="527"/>
                      </a:lnTo>
                      <a:lnTo>
                        <a:pt x="88" y="529"/>
                      </a:lnTo>
                      <a:lnTo>
                        <a:pt x="88" y="537"/>
                      </a:lnTo>
                      <a:lnTo>
                        <a:pt x="85" y="538"/>
                      </a:lnTo>
                      <a:lnTo>
                        <a:pt x="82" y="521"/>
                      </a:lnTo>
                      <a:lnTo>
                        <a:pt x="80" y="520"/>
                      </a:lnTo>
                      <a:lnTo>
                        <a:pt x="77" y="520"/>
                      </a:lnTo>
                      <a:lnTo>
                        <a:pt x="77" y="518"/>
                      </a:lnTo>
                      <a:lnTo>
                        <a:pt x="77" y="512"/>
                      </a:lnTo>
                      <a:lnTo>
                        <a:pt x="80" y="506"/>
                      </a:lnTo>
                      <a:lnTo>
                        <a:pt x="76" y="500"/>
                      </a:lnTo>
                      <a:lnTo>
                        <a:pt x="76" y="495"/>
                      </a:lnTo>
                      <a:lnTo>
                        <a:pt x="76" y="495"/>
                      </a:lnTo>
                      <a:lnTo>
                        <a:pt x="79" y="495"/>
                      </a:lnTo>
                      <a:lnTo>
                        <a:pt x="83" y="474"/>
                      </a:lnTo>
                      <a:lnTo>
                        <a:pt x="79" y="455"/>
                      </a:lnTo>
                      <a:lnTo>
                        <a:pt x="80" y="438"/>
                      </a:lnTo>
                      <a:lnTo>
                        <a:pt x="82" y="435"/>
                      </a:lnTo>
                      <a:lnTo>
                        <a:pt x="83" y="429"/>
                      </a:lnTo>
                      <a:lnTo>
                        <a:pt x="86" y="429"/>
                      </a:lnTo>
                      <a:lnTo>
                        <a:pt x="89" y="426"/>
                      </a:lnTo>
                      <a:lnTo>
                        <a:pt x="80" y="406"/>
                      </a:lnTo>
                      <a:lnTo>
                        <a:pt x="73" y="404"/>
                      </a:lnTo>
                      <a:lnTo>
                        <a:pt x="76" y="397"/>
                      </a:lnTo>
                      <a:lnTo>
                        <a:pt x="74" y="389"/>
                      </a:lnTo>
                      <a:lnTo>
                        <a:pt x="77" y="384"/>
                      </a:lnTo>
                      <a:lnTo>
                        <a:pt x="79" y="360"/>
                      </a:lnTo>
                      <a:lnTo>
                        <a:pt x="77" y="354"/>
                      </a:lnTo>
                      <a:lnTo>
                        <a:pt x="76" y="350"/>
                      </a:lnTo>
                      <a:lnTo>
                        <a:pt x="73" y="337"/>
                      </a:lnTo>
                      <a:lnTo>
                        <a:pt x="73" y="331"/>
                      </a:lnTo>
                      <a:lnTo>
                        <a:pt x="83" y="324"/>
                      </a:lnTo>
                      <a:lnTo>
                        <a:pt x="85" y="318"/>
                      </a:lnTo>
                      <a:lnTo>
                        <a:pt x="91" y="306"/>
                      </a:lnTo>
                      <a:lnTo>
                        <a:pt x="93" y="295"/>
                      </a:lnTo>
                      <a:lnTo>
                        <a:pt x="97" y="292"/>
                      </a:lnTo>
                      <a:lnTo>
                        <a:pt x="100" y="274"/>
                      </a:lnTo>
                      <a:lnTo>
                        <a:pt x="99" y="264"/>
                      </a:lnTo>
                      <a:lnTo>
                        <a:pt x="96" y="260"/>
                      </a:lnTo>
                      <a:lnTo>
                        <a:pt x="100" y="255"/>
                      </a:lnTo>
                      <a:lnTo>
                        <a:pt x="112" y="249"/>
                      </a:lnTo>
                      <a:lnTo>
                        <a:pt x="109" y="232"/>
                      </a:lnTo>
                      <a:lnTo>
                        <a:pt x="106" y="224"/>
                      </a:lnTo>
                      <a:lnTo>
                        <a:pt x="96" y="212"/>
                      </a:lnTo>
                      <a:lnTo>
                        <a:pt x="89" y="186"/>
                      </a:lnTo>
                      <a:lnTo>
                        <a:pt x="89" y="184"/>
                      </a:lnTo>
                      <a:lnTo>
                        <a:pt x="88" y="181"/>
                      </a:lnTo>
                      <a:lnTo>
                        <a:pt x="91" y="180"/>
                      </a:lnTo>
                      <a:lnTo>
                        <a:pt x="97" y="169"/>
                      </a:lnTo>
                      <a:lnTo>
                        <a:pt x="106" y="157"/>
                      </a:lnTo>
                      <a:lnTo>
                        <a:pt x="108" y="147"/>
                      </a:lnTo>
                      <a:lnTo>
                        <a:pt x="106" y="144"/>
                      </a:lnTo>
                      <a:lnTo>
                        <a:pt x="102" y="143"/>
                      </a:lnTo>
                      <a:lnTo>
                        <a:pt x="96" y="137"/>
                      </a:lnTo>
                      <a:lnTo>
                        <a:pt x="86" y="135"/>
                      </a:lnTo>
                      <a:lnTo>
                        <a:pt x="79" y="137"/>
                      </a:lnTo>
                      <a:lnTo>
                        <a:pt x="76" y="140"/>
                      </a:lnTo>
                      <a:lnTo>
                        <a:pt x="65" y="144"/>
                      </a:lnTo>
                      <a:lnTo>
                        <a:pt x="60" y="149"/>
                      </a:lnTo>
                      <a:lnTo>
                        <a:pt x="57" y="144"/>
                      </a:lnTo>
                      <a:lnTo>
                        <a:pt x="43" y="146"/>
                      </a:lnTo>
                      <a:lnTo>
                        <a:pt x="42" y="144"/>
                      </a:lnTo>
                      <a:lnTo>
                        <a:pt x="40" y="140"/>
                      </a:lnTo>
                      <a:lnTo>
                        <a:pt x="34" y="138"/>
                      </a:lnTo>
                      <a:lnTo>
                        <a:pt x="33" y="135"/>
                      </a:lnTo>
                      <a:lnTo>
                        <a:pt x="27" y="134"/>
                      </a:lnTo>
                      <a:lnTo>
                        <a:pt x="27" y="134"/>
                      </a:lnTo>
                      <a:lnTo>
                        <a:pt x="23" y="143"/>
                      </a:lnTo>
                      <a:lnTo>
                        <a:pt x="19" y="144"/>
                      </a:lnTo>
                      <a:lnTo>
                        <a:pt x="19" y="144"/>
                      </a:lnTo>
                      <a:lnTo>
                        <a:pt x="17" y="140"/>
                      </a:lnTo>
                      <a:lnTo>
                        <a:pt x="10" y="138"/>
                      </a:lnTo>
                      <a:lnTo>
                        <a:pt x="7" y="134"/>
                      </a:lnTo>
                      <a:lnTo>
                        <a:pt x="7" y="134"/>
                      </a:lnTo>
                      <a:lnTo>
                        <a:pt x="5" y="127"/>
                      </a:lnTo>
                      <a:lnTo>
                        <a:pt x="11" y="120"/>
                      </a:lnTo>
                      <a:lnTo>
                        <a:pt x="11" y="114"/>
                      </a:lnTo>
                      <a:lnTo>
                        <a:pt x="7" y="106"/>
                      </a:lnTo>
                      <a:lnTo>
                        <a:pt x="8" y="95"/>
                      </a:lnTo>
                      <a:lnTo>
                        <a:pt x="0" y="92"/>
                      </a:lnTo>
                      <a:lnTo>
                        <a:pt x="5" y="87"/>
                      </a:lnTo>
                      <a:lnTo>
                        <a:pt x="8" y="78"/>
                      </a:lnTo>
                      <a:lnTo>
                        <a:pt x="10" y="67"/>
                      </a:lnTo>
                      <a:lnTo>
                        <a:pt x="10" y="67"/>
                      </a:lnTo>
                      <a:lnTo>
                        <a:pt x="13" y="69"/>
                      </a:lnTo>
                      <a:lnTo>
                        <a:pt x="16" y="67"/>
                      </a:lnTo>
                      <a:lnTo>
                        <a:pt x="23" y="69"/>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15" name="Vrancea" descr="{&quot;Key&quot;:&quot;vrancea&quot;,&quot;Name&quot;:&quot;Vrancea&quot;,&quot;Value&quot;:1.0,&quot;Formula&quot;:&quot;&quot;,&quot;Text&quot;:&quot;1&quot;,&quot;OfficeApplication&quot;:0,&quot;HasValue&quot;:true}">
                  <a:extLst>
                    <a:ext uri="{FF2B5EF4-FFF2-40B4-BE49-F238E27FC236}">
                      <a16:creationId xmlns:a16="http://schemas.microsoft.com/office/drawing/2014/main" id="{E53BD860-C197-32E1-D72C-8F7564016C4B}"/>
                    </a:ext>
                  </a:extLst>
                </p:cNvPr>
                <p:cNvSpPr>
                  <a:spLocks/>
                </p:cNvSpPr>
                <p:nvPr/>
              </p:nvSpPr>
              <p:spPr bwMode="auto">
                <a:xfrm>
                  <a:off x="6967538" y="3238501"/>
                  <a:ext cx="747713" cy="757238"/>
                </a:xfrm>
                <a:custGeom>
                  <a:avLst/>
                  <a:gdLst>
                    <a:gd name="T0" fmla="*/ 79 w 471"/>
                    <a:gd name="T1" fmla="*/ 103 h 477"/>
                    <a:gd name="T2" fmla="*/ 108 w 471"/>
                    <a:gd name="T3" fmla="*/ 75 h 477"/>
                    <a:gd name="T4" fmla="*/ 140 w 471"/>
                    <a:gd name="T5" fmla="*/ 66 h 477"/>
                    <a:gd name="T6" fmla="*/ 160 w 471"/>
                    <a:gd name="T7" fmla="*/ 69 h 477"/>
                    <a:gd name="T8" fmla="*/ 210 w 471"/>
                    <a:gd name="T9" fmla="*/ 71 h 477"/>
                    <a:gd name="T10" fmla="*/ 247 w 471"/>
                    <a:gd name="T11" fmla="*/ 51 h 477"/>
                    <a:gd name="T12" fmla="*/ 283 w 471"/>
                    <a:gd name="T13" fmla="*/ 66 h 477"/>
                    <a:gd name="T14" fmla="*/ 307 w 471"/>
                    <a:gd name="T15" fmla="*/ 52 h 477"/>
                    <a:gd name="T16" fmla="*/ 299 w 471"/>
                    <a:gd name="T17" fmla="*/ 39 h 477"/>
                    <a:gd name="T18" fmla="*/ 321 w 471"/>
                    <a:gd name="T19" fmla="*/ 12 h 477"/>
                    <a:gd name="T20" fmla="*/ 333 w 471"/>
                    <a:gd name="T21" fmla="*/ 9 h 477"/>
                    <a:gd name="T22" fmla="*/ 355 w 471"/>
                    <a:gd name="T23" fmla="*/ 0 h 477"/>
                    <a:gd name="T24" fmla="*/ 381 w 471"/>
                    <a:gd name="T25" fmla="*/ 12 h 477"/>
                    <a:gd name="T26" fmla="*/ 398 w 471"/>
                    <a:gd name="T27" fmla="*/ 25 h 477"/>
                    <a:gd name="T28" fmla="*/ 405 w 471"/>
                    <a:gd name="T29" fmla="*/ 6 h 477"/>
                    <a:gd name="T30" fmla="*/ 438 w 471"/>
                    <a:gd name="T31" fmla="*/ 28 h 477"/>
                    <a:gd name="T32" fmla="*/ 442 w 471"/>
                    <a:gd name="T33" fmla="*/ 40 h 477"/>
                    <a:gd name="T34" fmla="*/ 416 w 471"/>
                    <a:gd name="T35" fmla="*/ 42 h 477"/>
                    <a:gd name="T36" fmla="*/ 404 w 471"/>
                    <a:gd name="T37" fmla="*/ 69 h 477"/>
                    <a:gd name="T38" fmla="*/ 361 w 471"/>
                    <a:gd name="T39" fmla="*/ 83 h 477"/>
                    <a:gd name="T40" fmla="*/ 349 w 471"/>
                    <a:gd name="T41" fmla="*/ 102 h 477"/>
                    <a:gd name="T42" fmla="*/ 344 w 471"/>
                    <a:gd name="T43" fmla="*/ 131 h 477"/>
                    <a:gd name="T44" fmla="*/ 355 w 471"/>
                    <a:gd name="T45" fmla="*/ 152 h 477"/>
                    <a:gd name="T46" fmla="*/ 375 w 471"/>
                    <a:gd name="T47" fmla="*/ 208 h 477"/>
                    <a:gd name="T48" fmla="*/ 388 w 471"/>
                    <a:gd name="T49" fmla="*/ 243 h 477"/>
                    <a:gd name="T50" fmla="*/ 411 w 471"/>
                    <a:gd name="T51" fmla="*/ 298 h 477"/>
                    <a:gd name="T52" fmla="*/ 428 w 471"/>
                    <a:gd name="T53" fmla="*/ 308 h 477"/>
                    <a:gd name="T54" fmla="*/ 436 w 471"/>
                    <a:gd name="T55" fmla="*/ 325 h 477"/>
                    <a:gd name="T56" fmla="*/ 450 w 471"/>
                    <a:gd name="T57" fmla="*/ 329 h 477"/>
                    <a:gd name="T58" fmla="*/ 456 w 471"/>
                    <a:gd name="T59" fmla="*/ 342 h 477"/>
                    <a:gd name="T60" fmla="*/ 453 w 471"/>
                    <a:gd name="T61" fmla="*/ 358 h 477"/>
                    <a:gd name="T62" fmla="*/ 458 w 471"/>
                    <a:gd name="T63" fmla="*/ 386 h 477"/>
                    <a:gd name="T64" fmla="*/ 468 w 471"/>
                    <a:gd name="T65" fmla="*/ 402 h 477"/>
                    <a:gd name="T66" fmla="*/ 448 w 471"/>
                    <a:gd name="T67" fmla="*/ 437 h 477"/>
                    <a:gd name="T68" fmla="*/ 424 w 471"/>
                    <a:gd name="T69" fmla="*/ 462 h 477"/>
                    <a:gd name="T70" fmla="*/ 392 w 471"/>
                    <a:gd name="T71" fmla="*/ 474 h 477"/>
                    <a:gd name="T72" fmla="*/ 361 w 471"/>
                    <a:gd name="T73" fmla="*/ 437 h 477"/>
                    <a:gd name="T74" fmla="*/ 347 w 471"/>
                    <a:gd name="T75" fmla="*/ 442 h 477"/>
                    <a:gd name="T76" fmla="*/ 315 w 471"/>
                    <a:gd name="T77" fmla="*/ 448 h 477"/>
                    <a:gd name="T78" fmla="*/ 292 w 471"/>
                    <a:gd name="T79" fmla="*/ 417 h 477"/>
                    <a:gd name="T80" fmla="*/ 253 w 471"/>
                    <a:gd name="T81" fmla="*/ 412 h 477"/>
                    <a:gd name="T82" fmla="*/ 240 w 471"/>
                    <a:gd name="T83" fmla="*/ 383 h 477"/>
                    <a:gd name="T84" fmla="*/ 194 w 471"/>
                    <a:gd name="T85" fmla="*/ 388 h 477"/>
                    <a:gd name="T86" fmla="*/ 166 w 471"/>
                    <a:gd name="T87" fmla="*/ 374 h 477"/>
                    <a:gd name="T88" fmla="*/ 128 w 471"/>
                    <a:gd name="T89" fmla="*/ 352 h 477"/>
                    <a:gd name="T90" fmla="*/ 89 w 471"/>
                    <a:gd name="T91" fmla="*/ 332 h 477"/>
                    <a:gd name="T92" fmla="*/ 45 w 471"/>
                    <a:gd name="T93" fmla="*/ 288 h 477"/>
                    <a:gd name="T94" fmla="*/ 26 w 471"/>
                    <a:gd name="T95" fmla="*/ 266 h 477"/>
                    <a:gd name="T96" fmla="*/ 8 w 471"/>
                    <a:gd name="T97" fmla="*/ 231 h 477"/>
                    <a:gd name="T98" fmla="*/ 6 w 471"/>
                    <a:gd name="T99" fmla="*/ 186 h 477"/>
                    <a:gd name="T100" fmla="*/ 6 w 471"/>
                    <a:gd name="T101" fmla="*/ 151 h 477"/>
                    <a:gd name="T102" fmla="*/ 28 w 471"/>
                    <a:gd name="T103" fmla="*/ 122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1" h="477">
                      <a:moveTo>
                        <a:pt x="28" y="91"/>
                      </a:moveTo>
                      <a:lnTo>
                        <a:pt x="36" y="95"/>
                      </a:lnTo>
                      <a:lnTo>
                        <a:pt x="49" y="92"/>
                      </a:lnTo>
                      <a:lnTo>
                        <a:pt x="57" y="102"/>
                      </a:lnTo>
                      <a:lnTo>
                        <a:pt x="79" y="103"/>
                      </a:lnTo>
                      <a:lnTo>
                        <a:pt x="80" y="102"/>
                      </a:lnTo>
                      <a:lnTo>
                        <a:pt x="86" y="94"/>
                      </a:lnTo>
                      <a:lnTo>
                        <a:pt x="95" y="89"/>
                      </a:lnTo>
                      <a:lnTo>
                        <a:pt x="105" y="83"/>
                      </a:lnTo>
                      <a:lnTo>
                        <a:pt x="108" y="75"/>
                      </a:lnTo>
                      <a:lnTo>
                        <a:pt x="114" y="71"/>
                      </a:lnTo>
                      <a:lnTo>
                        <a:pt x="123" y="71"/>
                      </a:lnTo>
                      <a:lnTo>
                        <a:pt x="131" y="65"/>
                      </a:lnTo>
                      <a:lnTo>
                        <a:pt x="134" y="63"/>
                      </a:lnTo>
                      <a:lnTo>
                        <a:pt x="140" y="66"/>
                      </a:lnTo>
                      <a:lnTo>
                        <a:pt x="145" y="62"/>
                      </a:lnTo>
                      <a:lnTo>
                        <a:pt x="149" y="66"/>
                      </a:lnTo>
                      <a:lnTo>
                        <a:pt x="157" y="66"/>
                      </a:lnTo>
                      <a:lnTo>
                        <a:pt x="160" y="65"/>
                      </a:lnTo>
                      <a:lnTo>
                        <a:pt x="160" y="69"/>
                      </a:lnTo>
                      <a:lnTo>
                        <a:pt x="178" y="75"/>
                      </a:lnTo>
                      <a:lnTo>
                        <a:pt x="189" y="75"/>
                      </a:lnTo>
                      <a:lnTo>
                        <a:pt x="200" y="68"/>
                      </a:lnTo>
                      <a:lnTo>
                        <a:pt x="207" y="72"/>
                      </a:lnTo>
                      <a:lnTo>
                        <a:pt x="210" y="71"/>
                      </a:lnTo>
                      <a:lnTo>
                        <a:pt x="220" y="79"/>
                      </a:lnTo>
                      <a:lnTo>
                        <a:pt x="224" y="79"/>
                      </a:lnTo>
                      <a:lnTo>
                        <a:pt x="226" y="75"/>
                      </a:lnTo>
                      <a:lnTo>
                        <a:pt x="227" y="71"/>
                      </a:lnTo>
                      <a:lnTo>
                        <a:pt x="247" y="51"/>
                      </a:lnTo>
                      <a:lnTo>
                        <a:pt x="260" y="59"/>
                      </a:lnTo>
                      <a:lnTo>
                        <a:pt x="261" y="57"/>
                      </a:lnTo>
                      <a:lnTo>
                        <a:pt x="269" y="62"/>
                      </a:lnTo>
                      <a:lnTo>
                        <a:pt x="272" y="62"/>
                      </a:lnTo>
                      <a:lnTo>
                        <a:pt x="283" y="66"/>
                      </a:lnTo>
                      <a:lnTo>
                        <a:pt x="286" y="62"/>
                      </a:lnTo>
                      <a:lnTo>
                        <a:pt x="283" y="54"/>
                      </a:lnTo>
                      <a:lnTo>
                        <a:pt x="286" y="49"/>
                      </a:lnTo>
                      <a:lnTo>
                        <a:pt x="304" y="57"/>
                      </a:lnTo>
                      <a:lnTo>
                        <a:pt x="307" y="52"/>
                      </a:lnTo>
                      <a:lnTo>
                        <a:pt x="309" y="52"/>
                      </a:lnTo>
                      <a:lnTo>
                        <a:pt x="310" y="51"/>
                      </a:lnTo>
                      <a:lnTo>
                        <a:pt x="306" y="49"/>
                      </a:lnTo>
                      <a:lnTo>
                        <a:pt x="309" y="40"/>
                      </a:lnTo>
                      <a:lnTo>
                        <a:pt x="299" y="39"/>
                      </a:lnTo>
                      <a:lnTo>
                        <a:pt x="299" y="32"/>
                      </a:lnTo>
                      <a:lnTo>
                        <a:pt x="310" y="26"/>
                      </a:lnTo>
                      <a:lnTo>
                        <a:pt x="318" y="19"/>
                      </a:lnTo>
                      <a:lnTo>
                        <a:pt x="319" y="12"/>
                      </a:lnTo>
                      <a:lnTo>
                        <a:pt x="321" y="12"/>
                      </a:lnTo>
                      <a:lnTo>
                        <a:pt x="324" y="17"/>
                      </a:lnTo>
                      <a:lnTo>
                        <a:pt x="329" y="19"/>
                      </a:lnTo>
                      <a:lnTo>
                        <a:pt x="330" y="12"/>
                      </a:lnTo>
                      <a:lnTo>
                        <a:pt x="332" y="12"/>
                      </a:lnTo>
                      <a:lnTo>
                        <a:pt x="333" y="9"/>
                      </a:lnTo>
                      <a:lnTo>
                        <a:pt x="335" y="8"/>
                      </a:lnTo>
                      <a:lnTo>
                        <a:pt x="347" y="15"/>
                      </a:lnTo>
                      <a:lnTo>
                        <a:pt x="350" y="15"/>
                      </a:lnTo>
                      <a:lnTo>
                        <a:pt x="358" y="11"/>
                      </a:lnTo>
                      <a:lnTo>
                        <a:pt x="355" y="0"/>
                      </a:lnTo>
                      <a:lnTo>
                        <a:pt x="361" y="3"/>
                      </a:lnTo>
                      <a:lnTo>
                        <a:pt x="369" y="3"/>
                      </a:lnTo>
                      <a:lnTo>
                        <a:pt x="376" y="0"/>
                      </a:lnTo>
                      <a:lnTo>
                        <a:pt x="381" y="9"/>
                      </a:lnTo>
                      <a:lnTo>
                        <a:pt x="381" y="12"/>
                      </a:lnTo>
                      <a:lnTo>
                        <a:pt x="378" y="14"/>
                      </a:lnTo>
                      <a:lnTo>
                        <a:pt x="379" y="17"/>
                      </a:lnTo>
                      <a:lnTo>
                        <a:pt x="388" y="19"/>
                      </a:lnTo>
                      <a:lnTo>
                        <a:pt x="392" y="25"/>
                      </a:lnTo>
                      <a:lnTo>
                        <a:pt x="398" y="25"/>
                      </a:lnTo>
                      <a:lnTo>
                        <a:pt x="401" y="25"/>
                      </a:lnTo>
                      <a:lnTo>
                        <a:pt x="401" y="12"/>
                      </a:lnTo>
                      <a:lnTo>
                        <a:pt x="402" y="9"/>
                      </a:lnTo>
                      <a:lnTo>
                        <a:pt x="405" y="11"/>
                      </a:lnTo>
                      <a:lnTo>
                        <a:pt x="405" y="6"/>
                      </a:lnTo>
                      <a:lnTo>
                        <a:pt x="421" y="6"/>
                      </a:lnTo>
                      <a:lnTo>
                        <a:pt x="424" y="11"/>
                      </a:lnTo>
                      <a:lnTo>
                        <a:pt x="428" y="9"/>
                      </a:lnTo>
                      <a:lnTo>
                        <a:pt x="433" y="25"/>
                      </a:lnTo>
                      <a:lnTo>
                        <a:pt x="438" y="28"/>
                      </a:lnTo>
                      <a:lnTo>
                        <a:pt x="442" y="32"/>
                      </a:lnTo>
                      <a:lnTo>
                        <a:pt x="442" y="32"/>
                      </a:lnTo>
                      <a:lnTo>
                        <a:pt x="442" y="34"/>
                      </a:lnTo>
                      <a:lnTo>
                        <a:pt x="442" y="40"/>
                      </a:lnTo>
                      <a:lnTo>
                        <a:pt x="442" y="40"/>
                      </a:lnTo>
                      <a:lnTo>
                        <a:pt x="442" y="46"/>
                      </a:lnTo>
                      <a:lnTo>
                        <a:pt x="439" y="51"/>
                      </a:lnTo>
                      <a:lnTo>
                        <a:pt x="421" y="37"/>
                      </a:lnTo>
                      <a:lnTo>
                        <a:pt x="418" y="40"/>
                      </a:lnTo>
                      <a:lnTo>
                        <a:pt x="416" y="42"/>
                      </a:lnTo>
                      <a:lnTo>
                        <a:pt x="419" y="49"/>
                      </a:lnTo>
                      <a:lnTo>
                        <a:pt x="421" y="60"/>
                      </a:lnTo>
                      <a:lnTo>
                        <a:pt x="419" y="65"/>
                      </a:lnTo>
                      <a:lnTo>
                        <a:pt x="404" y="66"/>
                      </a:lnTo>
                      <a:lnTo>
                        <a:pt x="404" y="69"/>
                      </a:lnTo>
                      <a:lnTo>
                        <a:pt x="396" y="71"/>
                      </a:lnTo>
                      <a:lnTo>
                        <a:pt x="384" y="71"/>
                      </a:lnTo>
                      <a:lnTo>
                        <a:pt x="370" y="72"/>
                      </a:lnTo>
                      <a:lnTo>
                        <a:pt x="364" y="82"/>
                      </a:lnTo>
                      <a:lnTo>
                        <a:pt x="361" y="83"/>
                      </a:lnTo>
                      <a:lnTo>
                        <a:pt x="364" y="91"/>
                      </a:lnTo>
                      <a:lnTo>
                        <a:pt x="362" y="92"/>
                      </a:lnTo>
                      <a:lnTo>
                        <a:pt x="356" y="95"/>
                      </a:lnTo>
                      <a:lnTo>
                        <a:pt x="352" y="95"/>
                      </a:lnTo>
                      <a:lnTo>
                        <a:pt x="349" y="102"/>
                      </a:lnTo>
                      <a:lnTo>
                        <a:pt x="341" y="105"/>
                      </a:lnTo>
                      <a:lnTo>
                        <a:pt x="341" y="108"/>
                      </a:lnTo>
                      <a:lnTo>
                        <a:pt x="342" y="114"/>
                      </a:lnTo>
                      <a:lnTo>
                        <a:pt x="341" y="117"/>
                      </a:lnTo>
                      <a:lnTo>
                        <a:pt x="344" y="131"/>
                      </a:lnTo>
                      <a:lnTo>
                        <a:pt x="349" y="137"/>
                      </a:lnTo>
                      <a:lnTo>
                        <a:pt x="349" y="148"/>
                      </a:lnTo>
                      <a:lnTo>
                        <a:pt x="352" y="148"/>
                      </a:lnTo>
                      <a:lnTo>
                        <a:pt x="352" y="151"/>
                      </a:lnTo>
                      <a:lnTo>
                        <a:pt x="355" y="152"/>
                      </a:lnTo>
                      <a:lnTo>
                        <a:pt x="361" y="169"/>
                      </a:lnTo>
                      <a:lnTo>
                        <a:pt x="364" y="177"/>
                      </a:lnTo>
                      <a:lnTo>
                        <a:pt x="365" y="183"/>
                      </a:lnTo>
                      <a:lnTo>
                        <a:pt x="370" y="189"/>
                      </a:lnTo>
                      <a:lnTo>
                        <a:pt x="375" y="208"/>
                      </a:lnTo>
                      <a:lnTo>
                        <a:pt x="379" y="215"/>
                      </a:lnTo>
                      <a:lnTo>
                        <a:pt x="381" y="234"/>
                      </a:lnTo>
                      <a:lnTo>
                        <a:pt x="384" y="237"/>
                      </a:lnTo>
                      <a:lnTo>
                        <a:pt x="388" y="237"/>
                      </a:lnTo>
                      <a:lnTo>
                        <a:pt x="388" y="243"/>
                      </a:lnTo>
                      <a:lnTo>
                        <a:pt x="393" y="249"/>
                      </a:lnTo>
                      <a:lnTo>
                        <a:pt x="395" y="258"/>
                      </a:lnTo>
                      <a:lnTo>
                        <a:pt x="393" y="265"/>
                      </a:lnTo>
                      <a:lnTo>
                        <a:pt x="395" y="271"/>
                      </a:lnTo>
                      <a:lnTo>
                        <a:pt x="411" y="298"/>
                      </a:lnTo>
                      <a:lnTo>
                        <a:pt x="419" y="305"/>
                      </a:lnTo>
                      <a:lnTo>
                        <a:pt x="421" y="306"/>
                      </a:lnTo>
                      <a:lnTo>
                        <a:pt x="422" y="302"/>
                      </a:lnTo>
                      <a:lnTo>
                        <a:pt x="428" y="300"/>
                      </a:lnTo>
                      <a:lnTo>
                        <a:pt x="428" y="308"/>
                      </a:lnTo>
                      <a:lnTo>
                        <a:pt x="433" y="311"/>
                      </a:lnTo>
                      <a:lnTo>
                        <a:pt x="430" y="314"/>
                      </a:lnTo>
                      <a:lnTo>
                        <a:pt x="433" y="318"/>
                      </a:lnTo>
                      <a:lnTo>
                        <a:pt x="436" y="320"/>
                      </a:lnTo>
                      <a:lnTo>
                        <a:pt x="436" y="325"/>
                      </a:lnTo>
                      <a:lnTo>
                        <a:pt x="444" y="322"/>
                      </a:lnTo>
                      <a:lnTo>
                        <a:pt x="444" y="326"/>
                      </a:lnTo>
                      <a:lnTo>
                        <a:pt x="447" y="328"/>
                      </a:lnTo>
                      <a:lnTo>
                        <a:pt x="445" y="331"/>
                      </a:lnTo>
                      <a:lnTo>
                        <a:pt x="450" y="329"/>
                      </a:lnTo>
                      <a:lnTo>
                        <a:pt x="454" y="334"/>
                      </a:lnTo>
                      <a:lnTo>
                        <a:pt x="454" y="337"/>
                      </a:lnTo>
                      <a:lnTo>
                        <a:pt x="448" y="342"/>
                      </a:lnTo>
                      <a:lnTo>
                        <a:pt x="453" y="340"/>
                      </a:lnTo>
                      <a:lnTo>
                        <a:pt x="456" y="342"/>
                      </a:lnTo>
                      <a:lnTo>
                        <a:pt x="458" y="351"/>
                      </a:lnTo>
                      <a:lnTo>
                        <a:pt x="462" y="354"/>
                      </a:lnTo>
                      <a:lnTo>
                        <a:pt x="464" y="355"/>
                      </a:lnTo>
                      <a:lnTo>
                        <a:pt x="462" y="357"/>
                      </a:lnTo>
                      <a:lnTo>
                        <a:pt x="453" y="358"/>
                      </a:lnTo>
                      <a:lnTo>
                        <a:pt x="451" y="363"/>
                      </a:lnTo>
                      <a:lnTo>
                        <a:pt x="451" y="366"/>
                      </a:lnTo>
                      <a:lnTo>
                        <a:pt x="458" y="371"/>
                      </a:lnTo>
                      <a:lnTo>
                        <a:pt x="461" y="375"/>
                      </a:lnTo>
                      <a:lnTo>
                        <a:pt x="458" y="386"/>
                      </a:lnTo>
                      <a:lnTo>
                        <a:pt x="465" y="397"/>
                      </a:lnTo>
                      <a:lnTo>
                        <a:pt x="462" y="398"/>
                      </a:lnTo>
                      <a:lnTo>
                        <a:pt x="459" y="403"/>
                      </a:lnTo>
                      <a:lnTo>
                        <a:pt x="464" y="405"/>
                      </a:lnTo>
                      <a:lnTo>
                        <a:pt x="468" y="402"/>
                      </a:lnTo>
                      <a:lnTo>
                        <a:pt x="467" y="405"/>
                      </a:lnTo>
                      <a:lnTo>
                        <a:pt x="471" y="409"/>
                      </a:lnTo>
                      <a:lnTo>
                        <a:pt x="471" y="409"/>
                      </a:lnTo>
                      <a:lnTo>
                        <a:pt x="447" y="432"/>
                      </a:lnTo>
                      <a:lnTo>
                        <a:pt x="448" y="437"/>
                      </a:lnTo>
                      <a:lnTo>
                        <a:pt x="444" y="440"/>
                      </a:lnTo>
                      <a:lnTo>
                        <a:pt x="445" y="443"/>
                      </a:lnTo>
                      <a:lnTo>
                        <a:pt x="428" y="454"/>
                      </a:lnTo>
                      <a:lnTo>
                        <a:pt x="421" y="455"/>
                      </a:lnTo>
                      <a:lnTo>
                        <a:pt x="424" y="462"/>
                      </a:lnTo>
                      <a:lnTo>
                        <a:pt x="424" y="462"/>
                      </a:lnTo>
                      <a:lnTo>
                        <a:pt x="410" y="471"/>
                      </a:lnTo>
                      <a:lnTo>
                        <a:pt x="408" y="468"/>
                      </a:lnTo>
                      <a:lnTo>
                        <a:pt x="401" y="472"/>
                      </a:lnTo>
                      <a:lnTo>
                        <a:pt x="392" y="474"/>
                      </a:lnTo>
                      <a:lnTo>
                        <a:pt x="373" y="472"/>
                      </a:lnTo>
                      <a:lnTo>
                        <a:pt x="370" y="477"/>
                      </a:lnTo>
                      <a:lnTo>
                        <a:pt x="359" y="468"/>
                      </a:lnTo>
                      <a:lnTo>
                        <a:pt x="356" y="446"/>
                      </a:lnTo>
                      <a:lnTo>
                        <a:pt x="361" y="437"/>
                      </a:lnTo>
                      <a:lnTo>
                        <a:pt x="361" y="428"/>
                      </a:lnTo>
                      <a:lnTo>
                        <a:pt x="353" y="429"/>
                      </a:lnTo>
                      <a:lnTo>
                        <a:pt x="352" y="434"/>
                      </a:lnTo>
                      <a:lnTo>
                        <a:pt x="349" y="434"/>
                      </a:lnTo>
                      <a:lnTo>
                        <a:pt x="347" y="442"/>
                      </a:lnTo>
                      <a:lnTo>
                        <a:pt x="346" y="440"/>
                      </a:lnTo>
                      <a:lnTo>
                        <a:pt x="339" y="442"/>
                      </a:lnTo>
                      <a:lnTo>
                        <a:pt x="336" y="435"/>
                      </a:lnTo>
                      <a:lnTo>
                        <a:pt x="332" y="434"/>
                      </a:lnTo>
                      <a:lnTo>
                        <a:pt x="315" y="448"/>
                      </a:lnTo>
                      <a:lnTo>
                        <a:pt x="299" y="434"/>
                      </a:lnTo>
                      <a:lnTo>
                        <a:pt x="293" y="435"/>
                      </a:lnTo>
                      <a:lnTo>
                        <a:pt x="299" y="422"/>
                      </a:lnTo>
                      <a:lnTo>
                        <a:pt x="295" y="418"/>
                      </a:lnTo>
                      <a:lnTo>
                        <a:pt x="292" y="417"/>
                      </a:lnTo>
                      <a:lnTo>
                        <a:pt x="290" y="422"/>
                      </a:lnTo>
                      <a:lnTo>
                        <a:pt x="280" y="431"/>
                      </a:lnTo>
                      <a:lnTo>
                        <a:pt x="263" y="426"/>
                      </a:lnTo>
                      <a:lnTo>
                        <a:pt x="260" y="417"/>
                      </a:lnTo>
                      <a:lnTo>
                        <a:pt x="253" y="412"/>
                      </a:lnTo>
                      <a:lnTo>
                        <a:pt x="247" y="403"/>
                      </a:lnTo>
                      <a:lnTo>
                        <a:pt x="249" y="400"/>
                      </a:lnTo>
                      <a:lnTo>
                        <a:pt x="246" y="395"/>
                      </a:lnTo>
                      <a:lnTo>
                        <a:pt x="244" y="389"/>
                      </a:lnTo>
                      <a:lnTo>
                        <a:pt x="240" y="383"/>
                      </a:lnTo>
                      <a:lnTo>
                        <a:pt x="229" y="386"/>
                      </a:lnTo>
                      <a:lnTo>
                        <a:pt x="221" y="382"/>
                      </a:lnTo>
                      <a:lnTo>
                        <a:pt x="214" y="382"/>
                      </a:lnTo>
                      <a:lnTo>
                        <a:pt x="209" y="388"/>
                      </a:lnTo>
                      <a:lnTo>
                        <a:pt x="194" y="388"/>
                      </a:lnTo>
                      <a:lnTo>
                        <a:pt x="184" y="389"/>
                      </a:lnTo>
                      <a:lnTo>
                        <a:pt x="180" y="386"/>
                      </a:lnTo>
                      <a:lnTo>
                        <a:pt x="174" y="375"/>
                      </a:lnTo>
                      <a:lnTo>
                        <a:pt x="168" y="372"/>
                      </a:lnTo>
                      <a:lnTo>
                        <a:pt x="166" y="374"/>
                      </a:lnTo>
                      <a:lnTo>
                        <a:pt x="158" y="371"/>
                      </a:lnTo>
                      <a:lnTo>
                        <a:pt x="151" y="372"/>
                      </a:lnTo>
                      <a:lnTo>
                        <a:pt x="141" y="363"/>
                      </a:lnTo>
                      <a:lnTo>
                        <a:pt x="132" y="351"/>
                      </a:lnTo>
                      <a:lnTo>
                        <a:pt x="128" y="352"/>
                      </a:lnTo>
                      <a:lnTo>
                        <a:pt x="125" y="352"/>
                      </a:lnTo>
                      <a:lnTo>
                        <a:pt x="118" y="352"/>
                      </a:lnTo>
                      <a:lnTo>
                        <a:pt x="108" y="332"/>
                      </a:lnTo>
                      <a:lnTo>
                        <a:pt x="108" y="326"/>
                      </a:lnTo>
                      <a:lnTo>
                        <a:pt x="89" y="332"/>
                      </a:lnTo>
                      <a:lnTo>
                        <a:pt x="82" y="325"/>
                      </a:lnTo>
                      <a:lnTo>
                        <a:pt x="75" y="328"/>
                      </a:lnTo>
                      <a:lnTo>
                        <a:pt x="69" y="326"/>
                      </a:lnTo>
                      <a:lnTo>
                        <a:pt x="49" y="302"/>
                      </a:lnTo>
                      <a:lnTo>
                        <a:pt x="45" y="288"/>
                      </a:lnTo>
                      <a:lnTo>
                        <a:pt x="40" y="286"/>
                      </a:lnTo>
                      <a:lnTo>
                        <a:pt x="39" y="280"/>
                      </a:lnTo>
                      <a:lnTo>
                        <a:pt x="42" y="277"/>
                      </a:lnTo>
                      <a:lnTo>
                        <a:pt x="39" y="277"/>
                      </a:lnTo>
                      <a:lnTo>
                        <a:pt x="26" y="266"/>
                      </a:lnTo>
                      <a:lnTo>
                        <a:pt x="29" y="258"/>
                      </a:lnTo>
                      <a:lnTo>
                        <a:pt x="28" y="243"/>
                      </a:lnTo>
                      <a:lnTo>
                        <a:pt x="22" y="239"/>
                      </a:lnTo>
                      <a:lnTo>
                        <a:pt x="16" y="237"/>
                      </a:lnTo>
                      <a:lnTo>
                        <a:pt x="8" y="231"/>
                      </a:lnTo>
                      <a:lnTo>
                        <a:pt x="8" y="231"/>
                      </a:lnTo>
                      <a:lnTo>
                        <a:pt x="2" y="220"/>
                      </a:lnTo>
                      <a:lnTo>
                        <a:pt x="3" y="211"/>
                      </a:lnTo>
                      <a:lnTo>
                        <a:pt x="0" y="205"/>
                      </a:lnTo>
                      <a:lnTo>
                        <a:pt x="6" y="186"/>
                      </a:lnTo>
                      <a:lnTo>
                        <a:pt x="3" y="180"/>
                      </a:lnTo>
                      <a:lnTo>
                        <a:pt x="2" y="171"/>
                      </a:lnTo>
                      <a:lnTo>
                        <a:pt x="5" y="163"/>
                      </a:lnTo>
                      <a:lnTo>
                        <a:pt x="9" y="162"/>
                      </a:lnTo>
                      <a:lnTo>
                        <a:pt x="6" y="151"/>
                      </a:lnTo>
                      <a:lnTo>
                        <a:pt x="8" y="148"/>
                      </a:lnTo>
                      <a:lnTo>
                        <a:pt x="8" y="140"/>
                      </a:lnTo>
                      <a:lnTo>
                        <a:pt x="11" y="135"/>
                      </a:lnTo>
                      <a:lnTo>
                        <a:pt x="19" y="131"/>
                      </a:lnTo>
                      <a:lnTo>
                        <a:pt x="28" y="122"/>
                      </a:lnTo>
                      <a:lnTo>
                        <a:pt x="25" y="115"/>
                      </a:lnTo>
                      <a:lnTo>
                        <a:pt x="29" y="105"/>
                      </a:lnTo>
                      <a:lnTo>
                        <a:pt x="28" y="91"/>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sp>
              <p:nvSpPr>
                <p:cNvPr id="116" name="Vaslui" descr="{&quot;Key&quot;:&quot;vaslui&quot;,&quot;Name&quot;:&quot;Vaslui&quot;,&quot;Value&quot;:1.0,&quot;Formula&quot;:&quot;&quot;,&quot;Text&quot;:&quot;1&quot;,&quot;OfficeApplication&quot;:0,&quot;HasValue&quot;:true}">
                  <a:extLst>
                    <a:ext uri="{FF2B5EF4-FFF2-40B4-BE49-F238E27FC236}">
                      <a16:creationId xmlns:a16="http://schemas.microsoft.com/office/drawing/2014/main" id="{EC65F4B2-4674-B957-6A72-BB4075B3FE4B}"/>
                    </a:ext>
                  </a:extLst>
                </p:cNvPr>
                <p:cNvSpPr>
                  <a:spLocks/>
                </p:cNvSpPr>
                <p:nvPr/>
              </p:nvSpPr>
              <p:spPr bwMode="auto">
                <a:xfrm>
                  <a:off x="7481888" y="2517776"/>
                  <a:ext cx="679450" cy="901700"/>
                </a:xfrm>
                <a:custGeom>
                  <a:avLst/>
                  <a:gdLst>
                    <a:gd name="T0" fmla="*/ 49 w 428"/>
                    <a:gd name="T1" fmla="*/ 74 h 568"/>
                    <a:gd name="T2" fmla="*/ 103 w 428"/>
                    <a:gd name="T3" fmla="*/ 70 h 568"/>
                    <a:gd name="T4" fmla="*/ 138 w 428"/>
                    <a:gd name="T5" fmla="*/ 63 h 568"/>
                    <a:gd name="T6" fmla="*/ 180 w 428"/>
                    <a:gd name="T7" fmla="*/ 43 h 568"/>
                    <a:gd name="T8" fmla="*/ 178 w 428"/>
                    <a:gd name="T9" fmla="*/ 0 h 568"/>
                    <a:gd name="T10" fmla="*/ 226 w 428"/>
                    <a:gd name="T11" fmla="*/ 59 h 568"/>
                    <a:gd name="T12" fmla="*/ 264 w 428"/>
                    <a:gd name="T13" fmla="*/ 71 h 568"/>
                    <a:gd name="T14" fmla="*/ 298 w 428"/>
                    <a:gd name="T15" fmla="*/ 85 h 568"/>
                    <a:gd name="T16" fmla="*/ 330 w 428"/>
                    <a:gd name="T17" fmla="*/ 88 h 568"/>
                    <a:gd name="T18" fmla="*/ 367 w 428"/>
                    <a:gd name="T19" fmla="*/ 82 h 568"/>
                    <a:gd name="T20" fmla="*/ 370 w 428"/>
                    <a:gd name="T21" fmla="*/ 99 h 568"/>
                    <a:gd name="T22" fmla="*/ 384 w 428"/>
                    <a:gd name="T23" fmla="*/ 110 h 568"/>
                    <a:gd name="T24" fmla="*/ 394 w 428"/>
                    <a:gd name="T25" fmla="*/ 123 h 568"/>
                    <a:gd name="T26" fmla="*/ 394 w 428"/>
                    <a:gd name="T27" fmla="*/ 134 h 568"/>
                    <a:gd name="T28" fmla="*/ 396 w 428"/>
                    <a:gd name="T29" fmla="*/ 148 h 568"/>
                    <a:gd name="T30" fmla="*/ 407 w 428"/>
                    <a:gd name="T31" fmla="*/ 160 h 568"/>
                    <a:gd name="T32" fmla="*/ 410 w 428"/>
                    <a:gd name="T33" fmla="*/ 173 h 568"/>
                    <a:gd name="T34" fmla="*/ 422 w 428"/>
                    <a:gd name="T35" fmla="*/ 199 h 568"/>
                    <a:gd name="T36" fmla="*/ 423 w 428"/>
                    <a:gd name="T37" fmla="*/ 223 h 568"/>
                    <a:gd name="T38" fmla="*/ 414 w 428"/>
                    <a:gd name="T39" fmla="*/ 246 h 568"/>
                    <a:gd name="T40" fmla="*/ 414 w 428"/>
                    <a:gd name="T41" fmla="*/ 262 h 568"/>
                    <a:gd name="T42" fmla="*/ 408 w 428"/>
                    <a:gd name="T43" fmla="*/ 280 h 568"/>
                    <a:gd name="T44" fmla="*/ 414 w 428"/>
                    <a:gd name="T45" fmla="*/ 296 h 568"/>
                    <a:gd name="T46" fmla="*/ 427 w 428"/>
                    <a:gd name="T47" fmla="*/ 305 h 568"/>
                    <a:gd name="T48" fmla="*/ 423 w 428"/>
                    <a:gd name="T49" fmla="*/ 333 h 568"/>
                    <a:gd name="T50" fmla="*/ 416 w 428"/>
                    <a:gd name="T51" fmla="*/ 342 h 568"/>
                    <a:gd name="T52" fmla="*/ 407 w 428"/>
                    <a:gd name="T53" fmla="*/ 357 h 568"/>
                    <a:gd name="T54" fmla="*/ 407 w 428"/>
                    <a:gd name="T55" fmla="*/ 365 h 568"/>
                    <a:gd name="T56" fmla="*/ 397 w 428"/>
                    <a:gd name="T57" fmla="*/ 368 h 568"/>
                    <a:gd name="T58" fmla="*/ 397 w 428"/>
                    <a:gd name="T59" fmla="*/ 380 h 568"/>
                    <a:gd name="T60" fmla="*/ 405 w 428"/>
                    <a:gd name="T61" fmla="*/ 393 h 568"/>
                    <a:gd name="T62" fmla="*/ 396 w 428"/>
                    <a:gd name="T63" fmla="*/ 406 h 568"/>
                    <a:gd name="T64" fmla="*/ 390 w 428"/>
                    <a:gd name="T65" fmla="*/ 406 h 568"/>
                    <a:gd name="T66" fmla="*/ 379 w 428"/>
                    <a:gd name="T67" fmla="*/ 408 h 568"/>
                    <a:gd name="T68" fmla="*/ 377 w 428"/>
                    <a:gd name="T69" fmla="*/ 426 h 568"/>
                    <a:gd name="T70" fmla="*/ 367 w 428"/>
                    <a:gd name="T71" fmla="*/ 443 h 568"/>
                    <a:gd name="T72" fmla="*/ 371 w 428"/>
                    <a:gd name="T73" fmla="*/ 449 h 568"/>
                    <a:gd name="T74" fmla="*/ 377 w 428"/>
                    <a:gd name="T75" fmla="*/ 463 h 568"/>
                    <a:gd name="T76" fmla="*/ 376 w 428"/>
                    <a:gd name="T77" fmla="*/ 482 h 568"/>
                    <a:gd name="T78" fmla="*/ 376 w 428"/>
                    <a:gd name="T79" fmla="*/ 499 h 568"/>
                    <a:gd name="T80" fmla="*/ 338 w 428"/>
                    <a:gd name="T81" fmla="*/ 509 h 568"/>
                    <a:gd name="T82" fmla="*/ 292 w 428"/>
                    <a:gd name="T83" fmla="*/ 486 h 568"/>
                    <a:gd name="T84" fmla="*/ 264 w 428"/>
                    <a:gd name="T85" fmla="*/ 480 h 568"/>
                    <a:gd name="T86" fmla="*/ 235 w 428"/>
                    <a:gd name="T87" fmla="*/ 506 h 568"/>
                    <a:gd name="T88" fmla="*/ 193 w 428"/>
                    <a:gd name="T89" fmla="*/ 496 h 568"/>
                    <a:gd name="T90" fmla="*/ 167 w 428"/>
                    <a:gd name="T91" fmla="*/ 488 h 568"/>
                    <a:gd name="T92" fmla="*/ 163 w 428"/>
                    <a:gd name="T93" fmla="*/ 511 h 568"/>
                    <a:gd name="T94" fmla="*/ 167 w 428"/>
                    <a:gd name="T95" fmla="*/ 560 h 568"/>
                    <a:gd name="T96" fmla="*/ 134 w 428"/>
                    <a:gd name="T97" fmla="*/ 523 h 568"/>
                    <a:gd name="T98" fmla="*/ 118 w 428"/>
                    <a:gd name="T99" fmla="*/ 486 h 568"/>
                    <a:gd name="T100" fmla="*/ 121 w 428"/>
                    <a:gd name="T101" fmla="*/ 460 h 568"/>
                    <a:gd name="T102" fmla="*/ 112 w 428"/>
                    <a:gd name="T103" fmla="*/ 397 h 568"/>
                    <a:gd name="T104" fmla="*/ 104 w 428"/>
                    <a:gd name="T105" fmla="*/ 340 h 568"/>
                    <a:gd name="T106" fmla="*/ 74 w 428"/>
                    <a:gd name="T107" fmla="*/ 273 h 568"/>
                    <a:gd name="T108" fmla="*/ 41 w 428"/>
                    <a:gd name="T109" fmla="*/ 203 h 568"/>
                    <a:gd name="T110" fmla="*/ 15 w 428"/>
                    <a:gd name="T111" fmla="*/ 143 h 568"/>
                    <a:gd name="T112" fmla="*/ 11 w 428"/>
                    <a:gd name="T113" fmla="*/ 102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8" h="568">
                      <a:moveTo>
                        <a:pt x="5" y="62"/>
                      </a:moveTo>
                      <a:lnTo>
                        <a:pt x="14" y="68"/>
                      </a:lnTo>
                      <a:lnTo>
                        <a:pt x="23" y="68"/>
                      </a:lnTo>
                      <a:lnTo>
                        <a:pt x="26" y="65"/>
                      </a:lnTo>
                      <a:lnTo>
                        <a:pt x="29" y="66"/>
                      </a:lnTo>
                      <a:lnTo>
                        <a:pt x="45" y="66"/>
                      </a:lnTo>
                      <a:lnTo>
                        <a:pt x="49" y="74"/>
                      </a:lnTo>
                      <a:lnTo>
                        <a:pt x="57" y="71"/>
                      </a:lnTo>
                      <a:lnTo>
                        <a:pt x="58" y="63"/>
                      </a:lnTo>
                      <a:lnTo>
                        <a:pt x="80" y="59"/>
                      </a:lnTo>
                      <a:lnTo>
                        <a:pt x="86" y="62"/>
                      </a:lnTo>
                      <a:lnTo>
                        <a:pt x="89" y="66"/>
                      </a:lnTo>
                      <a:lnTo>
                        <a:pt x="100" y="65"/>
                      </a:lnTo>
                      <a:lnTo>
                        <a:pt x="103" y="70"/>
                      </a:lnTo>
                      <a:lnTo>
                        <a:pt x="112" y="66"/>
                      </a:lnTo>
                      <a:lnTo>
                        <a:pt x="117" y="76"/>
                      </a:lnTo>
                      <a:lnTo>
                        <a:pt x="120" y="76"/>
                      </a:lnTo>
                      <a:lnTo>
                        <a:pt x="123" y="73"/>
                      </a:lnTo>
                      <a:lnTo>
                        <a:pt x="120" y="65"/>
                      </a:lnTo>
                      <a:lnTo>
                        <a:pt x="137" y="65"/>
                      </a:lnTo>
                      <a:lnTo>
                        <a:pt x="138" y="63"/>
                      </a:lnTo>
                      <a:lnTo>
                        <a:pt x="135" y="56"/>
                      </a:lnTo>
                      <a:lnTo>
                        <a:pt x="135" y="51"/>
                      </a:lnTo>
                      <a:lnTo>
                        <a:pt x="164" y="57"/>
                      </a:lnTo>
                      <a:lnTo>
                        <a:pt x="170" y="56"/>
                      </a:lnTo>
                      <a:lnTo>
                        <a:pt x="183" y="50"/>
                      </a:lnTo>
                      <a:lnTo>
                        <a:pt x="184" y="46"/>
                      </a:lnTo>
                      <a:lnTo>
                        <a:pt x="180" y="43"/>
                      </a:lnTo>
                      <a:lnTo>
                        <a:pt x="176" y="37"/>
                      </a:lnTo>
                      <a:lnTo>
                        <a:pt x="170" y="39"/>
                      </a:lnTo>
                      <a:lnTo>
                        <a:pt x="172" y="34"/>
                      </a:lnTo>
                      <a:lnTo>
                        <a:pt x="169" y="16"/>
                      </a:lnTo>
                      <a:lnTo>
                        <a:pt x="172" y="11"/>
                      </a:lnTo>
                      <a:lnTo>
                        <a:pt x="173" y="6"/>
                      </a:lnTo>
                      <a:lnTo>
                        <a:pt x="178" y="0"/>
                      </a:lnTo>
                      <a:lnTo>
                        <a:pt x="183" y="5"/>
                      </a:lnTo>
                      <a:lnTo>
                        <a:pt x="189" y="8"/>
                      </a:lnTo>
                      <a:lnTo>
                        <a:pt x="190" y="11"/>
                      </a:lnTo>
                      <a:lnTo>
                        <a:pt x="196" y="13"/>
                      </a:lnTo>
                      <a:lnTo>
                        <a:pt x="196" y="19"/>
                      </a:lnTo>
                      <a:lnTo>
                        <a:pt x="216" y="40"/>
                      </a:lnTo>
                      <a:lnTo>
                        <a:pt x="226" y="59"/>
                      </a:lnTo>
                      <a:lnTo>
                        <a:pt x="233" y="57"/>
                      </a:lnTo>
                      <a:lnTo>
                        <a:pt x="238" y="59"/>
                      </a:lnTo>
                      <a:lnTo>
                        <a:pt x="241" y="57"/>
                      </a:lnTo>
                      <a:lnTo>
                        <a:pt x="253" y="60"/>
                      </a:lnTo>
                      <a:lnTo>
                        <a:pt x="253" y="62"/>
                      </a:lnTo>
                      <a:lnTo>
                        <a:pt x="253" y="71"/>
                      </a:lnTo>
                      <a:lnTo>
                        <a:pt x="264" y="71"/>
                      </a:lnTo>
                      <a:lnTo>
                        <a:pt x="282" y="83"/>
                      </a:lnTo>
                      <a:lnTo>
                        <a:pt x="287" y="90"/>
                      </a:lnTo>
                      <a:lnTo>
                        <a:pt x="293" y="93"/>
                      </a:lnTo>
                      <a:lnTo>
                        <a:pt x="296" y="97"/>
                      </a:lnTo>
                      <a:lnTo>
                        <a:pt x="302" y="97"/>
                      </a:lnTo>
                      <a:lnTo>
                        <a:pt x="298" y="88"/>
                      </a:lnTo>
                      <a:lnTo>
                        <a:pt x="298" y="85"/>
                      </a:lnTo>
                      <a:lnTo>
                        <a:pt x="293" y="79"/>
                      </a:lnTo>
                      <a:lnTo>
                        <a:pt x="299" y="74"/>
                      </a:lnTo>
                      <a:lnTo>
                        <a:pt x="302" y="77"/>
                      </a:lnTo>
                      <a:lnTo>
                        <a:pt x="316" y="76"/>
                      </a:lnTo>
                      <a:lnTo>
                        <a:pt x="321" y="86"/>
                      </a:lnTo>
                      <a:lnTo>
                        <a:pt x="325" y="85"/>
                      </a:lnTo>
                      <a:lnTo>
                        <a:pt x="330" y="88"/>
                      </a:lnTo>
                      <a:lnTo>
                        <a:pt x="335" y="88"/>
                      </a:lnTo>
                      <a:lnTo>
                        <a:pt x="341" y="85"/>
                      </a:lnTo>
                      <a:lnTo>
                        <a:pt x="351" y="83"/>
                      </a:lnTo>
                      <a:lnTo>
                        <a:pt x="354" y="85"/>
                      </a:lnTo>
                      <a:lnTo>
                        <a:pt x="359" y="82"/>
                      </a:lnTo>
                      <a:lnTo>
                        <a:pt x="364" y="83"/>
                      </a:lnTo>
                      <a:lnTo>
                        <a:pt x="367" y="82"/>
                      </a:lnTo>
                      <a:lnTo>
                        <a:pt x="370" y="83"/>
                      </a:lnTo>
                      <a:lnTo>
                        <a:pt x="370" y="83"/>
                      </a:lnTo>
                      <a:lnTo>
                        <a:pt x="370" y="86"/>
                      </a:lnTo>
                      <a:lnTo>
                        <a:pt x="368" y="83"/>
                      </a:lnTo>
                      <a:lnTo>
                        <a:pt x="367" y="85"/>
                      </a:lnTo>
                      <a:lnTo>
                        <a:pt x="370" y="90"/>
                      </a:lnTo>
                      <a:lnTo>
                        <a:pt x="370" y="99"/>
                      </a:lnTo>
                      <a:lnTo>
                        <a:pt x="371" y="99"/>
                      </a:lnTo>
                      <a:lnTo>
                        <a:pt x="373" y="97"/>
                      </a:lnTo>
                      <a:lnTo>
                        <a:pt x="373" y="102"/>
                      </a:lnTo>
                      <a:lnTo>
                        <a:pt x="376" y="102"/>
                      </a:lnTo>
                      <a:lnTo>
                        <a:pt x="374" y="105"/>
                      </a:lnTo>
                      <a:lnTo>
                        <a:pt x="376" y="108"/>
                      </a:lnTo>
                      <a:lnTo>
                        <a:pt x="384" y="110"/>
                      </a:lnTo>
                      <a:lnTo>
                        <a:pt x="384" y="114"/>
                      </a:lnTo>
                      <a:lnTo>
                        <a:pt x="388" y="119"/>
                      </a:lnTo>
                      <a:lnTo>
                        <a:pt x="388" y="116"/>
                      </a:lnTo>
                      <a:lnTo>
                        <a:pt x="390" y="114"/>
                      </a:lnTo>
                      <a:lnTo>
                        <a:pt x="390" y="119"/>
                      </a:lnTo>
                      <a:lnTo>
                        <a:pt x="394" y="122"/>
                      </a:lnTo>
                      <a:lnTo>
                        <a:pt x="394" y="123"/>
                      </a:lnTo>
                      <a:lnTo>
                        <a:pt x="388" y="122"/>
                      </a:lnTo>
                      <a:lnTo>
                        <a:pt x="388" y="123"/>
                      </a:lnTo>
                      <a:lnTo>
                        <a:pt x="390" y="125"/>
                      </a:lnTo>
                      <a:lnTo>
                        <a:pt x="393" y="125"/>
                      </a:lnTo>
                      <a:lnTo>
                        <a:pt x="391" y="128"/>
                      </a:lnTo>
                      <a:lnTo>
                        <a:pt x="394" y="126"/>
                      </a:lnTo>
                      <a:lnTo>
                        <a:pt x="394" y="134"/>
                      </a:lnTo>
                      <a:lnTo>
                        <a:pt x="397" y="133"/>
                      </a:lnTo>
                      <a:lnTo>
                        <a:pt x="396" y="136"/>
                      </a:lnTo>
                      <a:lnTo>
                        <a:pt x="394" y="136"/>
                      </a:lnTo>
                      <a:lnTo>
                        <a:pt x="393" y="139"/>
                      </a:lnTo>
                      <a:lnTo>
                        <a:pt x="397" y="142"/>
                      </a:lnTo>
                      <a:lnTo>
                        <a:pt x="394" y="143"/>
                      </a:lnTo>
                      <a:lnTo>
                        <a:pt x="396" y="148"/>
                      </a:lnTo>
                      <a:lnTo>
                        <a:pt x="402" y="148"/>
                      </a:lnTo>
                      <a:lnTo>
                        <a:pt x="402" y="150"/>
                      </a:lnTo>
                      <a:lnTo>
                        <a:pt x="399" y="151"/>
                      </a:lnTo>
                      <a:lnTo>
                        <a:pt x="397" y="154"/>
                      </a:lnTo>
                      <a:lnTo>
                        <a:pt x="404" y="156"/>
                      </a:lnTo>
                      <a:lnTo>
                        <a:pt x="405" y="159"/>
                      </a:lnTo>
                      <a:lnTo>
                        <a:pt x="407" y="160"/>
                      </a:lnTo>
                      <a:lnTo>
                        <a:pt x="407" y="165"/>
                      </a:lnTo>
                      <a:lnTo>
                        <a:pt x="404" y="166"/>
                      </a:lnTo>
                      <a:lnTo>
                        <a:pt x="410" y="170"/>
                      </a:lnTo>
                      <a:lnTo>
                        <a:pt x="408" y="174"/>
                      </a:lnTo>
                      <a:lnTo>
                        <a:pt x="407" y="176"/>
                      </a:lnTo>
                      <a:lnTo>
                        <a:pt x="410" y="177"/>
                      </a:lnTo>
                      <a:lnTo>
                        <a:pt x="410" y="173"/>
                      </a:lnTo>
                      <a:lnTo>
                        <a:pt x="411" y="173"/>
                      </a:lnTo>
                      <a:lnTo>
                        <a:pt x="413" y="182"/>
                      </a:lnTo>
                      <a:lnTo>
                        <a:pt x="414" y="183"/>
                      </a:lnTo>
                      <a:lnTo>
                        <a:pt x="416" y="177"/>
                      </a:lnTo>
                      <a:lnTo>
                        <a:pt x="417" y="179"/>
                      </a:lnTo>
                      <a:lnTo>
                        <a:pt x="419" y="196"/>
                      </a:lnTo>
                      <a:lnTo>
                        <a:pt x="422" y="199"/>
                      </a:lnTo>
                      <a:lnTo>
                        <a:pt x="419" y="199"/>
                      </a:lnTo>
                      <a:lnTo>
                        <a:pt x="422" y="203"/>
                      </a:lnTo>
                      <a:lnTo>
                        <a:pt x="419" y="208"/>
                      </a:lnTo>
                      <a:lnTo>
                        <a:pt x="423" y="210"/>
                      </a:lnTo>
                      <a:lnTo>
                        <a:pt x="425" y="219"/>
                      </a:lnTo>
                      <a:lnTo>
                        <a:pt x="422" y="220"/>
                      </a:lnTo>
                      <a:lnTo>
                        <a:pt x="423" y="223"/>
                      </a:lnTo>
                      <a:lnTo>
                        <a:pt x="419" y="226"/>
                      </a:lnTo>
                      <a:lnTo>
                        <a:pt x="420" y="231"/>
                      </a:lnTo>
                      <a:lnTo>
                        <a:pt x="417" y="234"/>
                      </a:lnTo>
                      <a:lnTo>
                        <a:pt x="420" y="236"/>
                      </a:lnTo>
                      <a:lnTo>
                        <a:pt x="413" y="237"/>
                      </a:lnTo>
                      <a:lnTo>
                        <a:pt x="416" y="243"/>
                      </a:lnTo>
                      <a:lnTo>
                        <a:pt x="414" y="246"/>
                      </a:lnTo>
                      <a:lnTo>
                        <a:pt x="417" y="246"/>
                      </a:lnTo>
                      <a:lnTo>
                        <a:pt x="417" y="253"/>
                      </a:lnTo>
                      <a:lnTo>
                        <a:pt x="414" y="253"/>
                      </a:lnTo>
                      <a:lnTo>
                        <a:pt x="410" y="262"/>
                      </a:lnTo>
                      <a:lnTo>
                        <a:pt x="413" y="263"/>
                      </a:lnTo>
                      <a:lnTo>
                        <a:pt x="413" y="262"/>
                      </a:lnTo>
                      <a:lnTo>
                        <a:pt x="414" y="262"/>
                      </a:lnTo>
                      <a:lnTo>
                        <a:pt x="414" y="266"/>
                      </a:lnTo>
                      <a:lnTo>
                        <a:pt x="416" y="266"/>
                      </a:lnTo>
                      <a:lnTo>
                        <a:pt x="413" y="271"/>
                      </a:lnTo>
                      <a:lnTo>
                        <a:pt x="410" y="271"/>
                      </a:lnTo>
                      <a:lnTo>
                        <a:pt x="413" y="277"/>
                      </a:lnTo>
                      <a:lnTo>
                        <a:pt x="410" y="276"/>
                      </a:lnTo>
                      <a:lnTo>
                        <a:pt x="408" y="280"/>
                      </a:lnTo>
                      <a:lnTo>
                        <a:pt x="410" y="282"/>
                      </a:lnTo>
                      <a:lnTo>
                        <a:pt x="408" y="285"/>
                      </a:lnTo>
                      <a:lnTo>
                        <a:pt x="413" y="282"/>
                      </a:lnTo>
                      <a:lnTo>
                        <a:pt x="413" y="286"/>
                      </a:lnTo>
                      <a:lnTo>
                        <a:pt x="416" y="286"/>
                      </a:lnTo>
                      <a:lnTo>
                        <a:pt x="416" y="293"/>
                      </a:lnTo>
                      <a:lnTo>
                        <a:pt x="414" y="296"/>
                      </a:lnTo>
                      <a:lnTo>
                        <a:pt x="419" y="297"/>
                      </a:lnTo>
                      <a:lnTo>
                        <a:pt x="420" y="296"/>
                      </a:lnTo>
                      <a:lnTo>
                        <a:pt x="422" y="297"/>
                      </a:lnTo>
                      <a:lnTo>
                        <a:pt x="422" y="302"/>
                      </a:lnTo>
                      <a:lnTo>
                        <a:pt x="425" y="302"/>
                      </a:lnTo>
                      <a:lnTo>
                        <a:pt x="422" y="305"/>
                      </a:lnTo>
                      <a:lnTo>
                        <a:pt x="427" y="305"/>
                      </a:lnTo>
                      <a:lnTo>
                        <a:pt x="420" y="311"/>
                      </a:lnTo>
                      <a:lnTo>
                        <a:pt x="422" y="314"/>
                      </a:lnTo>
                      <a:lnTo>
                        <a:pt x="427" y="314"/>
                      </a:lnTo>
                      <a:lnTo>
                        <a:pt x="428" y="319"/>
                      </a:lnTo>
                      <a:lnTo>
                        <a:pt x="427" y="322"/>
                      </a:lnTo>
                      <a:lnTo>
                        <a:pt x="427" y="326"/>
                      </a:lnTo>
                      <a:lnTo>
                        <a:pt x="423" y="333"/>
                      </a:lnTo>
                      <a:lnTo>
                        <a:pt x="417" y="331"/>
                      </a:lnTo>
                      <a:lnTo>
                        <a:pt x="416" y="334"/>
                      </a:lnTo>
                      <a:lnTo>
                        <a:pt x="416" y="337"/>
                      </a:lnTo>
                      <a:lnTo>
                        <a:pt x="419" y="337"/>
                      </a:lnTo>
                      <a:lnTo>
                        <a:pt x="414" y="340"/>
                      </a:lnTo>
                      <a:lnTo>
                        <a:pt x="414" y="342"/>
                      </a:lnTo>
                      <a:lnTo>
                        <a:pt x="416" y="342"/>
                      </a:lnTo>
                      <a:lnTo>
                        <a:pt x="419" y="340"/>
                      </a:lnTo>
                      <a:lnTo>
                        <a:pt x="420" y="345"/>
                      </a:lnTo>
                      <a:lnTo>
                        <a:pt x="417" y="346"/>
                      </a:lnTo>
                      <a:lnTo>
                        <a:pt x="411" y="343"/>
                      </a:lnTo>
                      <a:lnTo>
                        <a:pt x="410" y="346"/>
                      </a:lnTo>
                      <a:lnTo>
                        <a:pt x="413" y="348"/>
                      </a:lnTo>
                      <a:lnTo>
                        <a:pt x="407" y="357"/>
                      </a:lnTo>
                      <a:lnTo>
                        <a:pt x="404" y="356"/>
                      </a:lnTo>
                      <a:lnTo>
                        <a:pt x="404" y="359"/>
                      </a:lnTo>
                      <a:lnTo>
                        <a:pt x="407" y="359"/>
                      </a:lnTo>
                      <a:lnTo>
                        <a:pt x="407" y="362"/>
                      </a:lnTo>
                      <a:lnTo>
                        <a:pt x="404" y="362"/>
                      </a:lnTo>
                      <a:lnTo>
                        <a:pt x="404" y="365"/>
                      </a:lnTo>
                      <a:lnTo>
                        <a:pt x="407" y="365"/>
                      </a:lnTo>
                      <a:lnTo>
                        <a:pt x="407" y="365"/>
                      </a:lnTo>
                      <a:lnTo>
                        <a:pt x="402" y="366"/>
                      </a:lnTo>
                      <a:lnTo>
                        <a:pt x="400" y="365"/>
                      </a:lnTo>
                      <a:lnTo>
                        <a:pt x="402" y="371"/>
                      </a:lnTo>
                      <a:lnTo>
                        <a:pt x="399" y="369"/>
                      </a:lnTo>
                      <a:lnTo>
                        <a:pt x="399" y="368"/>
                      </a:lnTo>
                      <a:lnTo>
                        <a:pt x="397" y="368"/>
                      </a:lnTo>
                      <a:lnTo>
                        <a:pt x="400" y="374"/>
                      </a:lnTo>
                      <a:lnTo>
                        <a:pt x="402" y="374"/>
                      </a:lnTo>
                      <a:lnTo>
                        <a:pt x="402" y="371"/>
                      </a:lnTo>
                      <a:lnTo>
                        <a:pt x="404" y="373"/>
                      </a:lnTo>
                      <a:lnTo>
                        <a:pt x="402" y="379"/>
                      </a:lnTo>
                      <a:lnTo>
                        <a:pt x="399" y="377"/>
                      </a:lnTo>
                      <a:lnTo>
                        <a:pt x="397" y="380"/>
                      </a:lnTo>
                      <a:lnTo>
                        <a:pt x="400" y="380"/>
                      </a:lnTo>
                      <a:lnTo>
                        <a:pt x="399" y="383"/>
                      </a:lnTo>
                      <a:lnTo>
                        <a:pt x="400" y="385"/>
                      </a:lnTo>
                      <a:lnTo>
                        <a:pt x="404" y="382"/>
                      </a:lnTo>
                      <a:lnTo>
                        <a:pt x="405" y="386"/>
                      </a:lnTo>
                      <a:lnTo>
                        <a:pt x="408" y="386"/>
                      </a:lnTo>
                      <a:lnTo>
                        <a:pt x="405" y="393"/>
                      </a:lnTo>
                      <a:lnTo>
                        <a:pt x="402" y="396"/>
                      </a:lnTo>
                      <a:lnTo>
                        <a:pt x="396" y="399"/>
                      </a:lnTo>
                      <a:lnTo>
                        <a:pt x="396" y="400"/>
                      </a:lnTo>
                      <a:lnTo>
                        <a:pt x="399" y="402"/>
                      </a:lnTo>
                      <a:lnTo>
                        <a:pt x="399" y="403"/>
                      </a:lnTo>
                      <a:lnTo>
                        <a:pt x="396" y="403"/>
                      </a:lnTo>
                      <a:lnTo>
                        <a:pt x="396" y="406"/>
                      </a:lnTo>
                      <a:lnTo>
                        <a:pt x="393" y="403"/>
                      </a:lnTo>
                      <a:lnTo>
                        <a:pt x="394" y="402"/>
                      </a:lnTo>
                      <a:lnTo>
                        <a:pt x="393" y="400"/>
                      </a:lnTo>
                      <a:lnTo>
                        <a:pt x="391" y="402"/>
                      </a:lnTo>
                      <a:lnTo>
                        <a:pt x="391" y="408"/>
                      </a:lnTo>
                      <a:lnTo>
                        <a:pt x="390" y="408"/>
                      </a:lnTo>
                      <a:lnTo>
                        <a:pt x="390" y="406"/>
                      </a:lnTo>
                      <a:lnTo>
                        <a:pt x="387" y="406"/>
                      </a:lnTo>
                      <a:lnTo>
                        <a:pt x="385" y="403"/>
                      </a:lnTo>
                      <a:lnTo>
                        <a:pt x="384" y="403"/>
                      </a:lnTo>
                      <a:lnTo>
                        <a:pt x="385" y="411"/>
                      </a:lnTo>
                      <a:lnTo>
                        <a:pt x="382" y="411"/>
                      </a:lnTo>
                      <a:lnTo>
                        <a:pt x="382" y="406"/>
                      </a:lnTo>
                      <a:lnTo>
                        <a:pt x="379" y="408"/>
                      </a:lnTo>
                      <a:lnTo>
                        <a:pt x="377" y="419"/>
                      </a:lnTo>
                      <a:lnTo>
                        <a:pt x="374" y="420"/>
                      </a:lnTo>
                      <a:lnTo>
                        <a:pt x="376" y="423"/>
                      </a:lnTo>
                      <a:lnTo>
                        <a:pt x="381" y="423"/>
                      </a:lnTo>
                      <a:lnTo>
                        <a:pt x="382" y="426"/>
                      </a:lnTo>
                      <a:lnTo>
                        <a:pt x="379" y="428"/>
                      </a:lnTo>
                      <a:lnTo>
                        <a:pt x="377" y="426"/>
                      </a:lnTo>
                      <a:lnTo>
                        <a:pt x="373" y="433"/>
                      </a:lnTo>
                      <a:lnTo>
                        <a:pt x="371" y="431"/>
                      </a:lnTo>
                      <a:lnTo>
                        <a:pt x="371" y="434"/>
                      </a:lnTo>
                      <a:lnTo>
                        <a:pt x="370" y="429"/>
                      </a:lnTo>
                      <a:lnTo>
                        <a:pt x="368" y="431"/>
                      </a:lnTo>
                      <a:lnTo>
                        <a:pt x="368" y="439"/>
                      </a:lnTo>
                      <a:lnTo>
                        <a:pt x="367" y="443"/>
                      </a:lnTo>
                      <a:lnTo>
                        <a:pt x="368" y="445"/>
                      </a:lnTo>
                      <a:lnTo>
                        <a:pt x="367" y="446"/>
                      </a:lnTo>
                      <a:lnTo>
                        <a:pt x="370" y="449"/>
                      </a:lnTo>
                      <a:lnTo>
                        <a:pt x="368" y="454"/>
                      </a:lnTo>
                      <a:lnTo>
                        <a:pt x="370" y="454"/>
                      </a:lnTo>
                      <a:lnTo>
                        <a:pt x="371" y="453"/>
                      </a:lnTo>
                      <a:lnTo>
                        <a:pt x="371" y="449"/>
                      </a:lnTo>
                      <a:lnTo>
                        <a:pt x="373" y="449"/>
                      </a:lnTo>
                      <a:lnTo>
                        <a:pt x="374" y="454"/>
                      </a:lnTo>
                      <a:lnTo>
                        <a:pt x="371" y="460"/>
                      </a:lnTo>
                      <a:lnTo>
                        <a:pt x="377" y="459"/>
                      </a:lnTo>
                      <a:lnTo>
                        <a:pt x="381" y="460"/>
                      </a:lnTo>
                      <a:lnTo>
                        <a:pt x="381" y="465"/>
                      </a:lnTo>
                      <a:lnTo>
                        <a:pt x="377" y="463"/>
                      </a:lnTo>
                      <a:lnTo>
                        <a:pt x="376" y="466"/>
                      </a:lnTo>
                      <a:lnTo>
                        <a:pt x="382" y="468"/>
                      </a:lnTo>
                      <a:lnTo>
                        <a:pt x="379" y="469"/>
                      </a:lnTo>
                      <a:lnTo>
                        <a:pt x="376" y="468"/>
                      </a:lnTo>
                      <a:lnTo>
                        <a:pt x="381" y="476"/>
                      </a:lnTo>
                      <a:lnTo>
                        <a:pt x="377" y="477"/>
                      </a:lnTo>
                      <a:lnTo>
                        <a:pt x="376" y="482"/>
                      </a:lnTo>
                      <a:lnTo>
                        <a:pt x="374" y="482"/>
                      </a:lnTo>
                      <a:lnTo>
                        <a:pt x="373" y="485"/>
                      </a:lnTo>
                      <a:lnTo>
                        <a:pt x="376" y="488"/>
                      </a:lnTo>
                      <a:lnTo>
                        <a:pt x="374" y="491"/>
                      </a:lnTo>
                      <a:lnTo>
                        <a:pt x="376" y="496"/>
                      </a:lnTo>
                      <a:lnTo>
                        <a:pt x="377" y="496"/>
                      </a:lnTo>
                      <a:lnTo>
                        <a:pt x="376" y="499"/>
                      </a:lnTo>
                      <a:lnTo>
                        <a:pt x="374" y="497"/>
                      </a:lnTo>
                      <a:lnTo>
                        <a:pt x="373" y="506"/>
                      </a:lnTo>
                      <a:lnTo>
                        <a:pt x="370" y="506"/>
                      </a:lnTo>
                      <a:lnTo>
                        <a:pt x="370" y="506"/>
                      </a:lnTo>
                      <a:lnTo>
                        <a:pt x="367" y="503"/>
                      </a:lnTo>
                      <a:lnTo>
                        <a:pt x="354" y="503"/>
                      </a:lnTo>
                      <a:lnTo>
                        <a:pt x="338" y="509"/>
                      </a:lnTo>
                      <a:lnTo>
                        <a:pt x="331" y="511"/>
                      </a:lnTo>
                      <a:lnTo>
                        <a:pt x="327" y="502"/>
                      </a:lnTo>
                      <a:lnTo>
                        <a:pt x="316" y="508"/>
                      </a:lnTo>
                      <a:lnTo>
                        <a:pt x="311" y="489"/>
                      </a:lnTo>
                      <a:lnTo>
                        <a:pt x="301" y="493"/>
                      </a:lnTo>
                      <a:lnTo>
                        <a:pt x="296" y="485"/>
                      </a:lnTo>
                      <a:lnTo>
                        <a:pt x="292" y="486"/>
                      </a:lnTo>
                      <a:lnTo>
                        <a:pt x="288" y="483"/>
                      </a:lnTo>
                      <a:lnTo>
                        <a:pt x="275" y="489"/>
                      </a:lnTo>
                      <a:lnTo>
                        <a:pt x="273" y="486"/>
                      </a:lnTo>
                      <a:lnTo>
                        <a:pt x="275" y="476"/>
                      </a:lnTo>
                      <a:lnTo>
                        <a:pt x="273" y="476"/>
                      </a:lnTo>
                      <a:lnTo>
                        <a:pt x="272" y="479"/>
                      </a:lnTo>
                      <a:lnTo>
                        <a:pt x="264" y="480"/>
                      </a:lnTo>
                      <a:lnTo>
                        <a:pt x="262" y="485"/>
                      </a:lnTo>
                      <a:lnTo>
                        <a:pt x="264" y="491"/>
                      </a:lnTo>
                      <a:lnTo>
                        <a:pt x="256" y="497"/>
                      </a:lnTo>
                      <a:lnTo>
                        <a:pt x="256" y="503"/>
                      </a:lnTo>
                      <a:lnTo>
                        <a:pt x="253" y="502"/>
                      </a:lnTo>
                      <a:lnTo>
                        <a:pt x="247" y="505"/>
                      </a:lnTo>
                      <a:lnTo>
                        <a:pt x="235" y="506"/>
                      </a:lnTo>
                      <a:lnTo>
                        <a:pt x="230" y="505"/>
                      </a:lnTo>
                      <a:lnTo>
                        <a:pt x="227" y="494"/>
                      </a:lnTo>
                      <a:lnTo>
                        <a:pt x="221" y="497"/>
                      </a:lnTo>
                      <a:lnTo>
                        <a:pt x="210" y="496"/>
                      </a:lnTo>
                      <a:lnTo>
                        <a:pt x="201" y="491"/>
                      </a:lnTo>
                      <a:lnTo>
                        <a:pt x="196" y="497"/>
                      </a:lnTo>
                      <a:lnTo>
                        <a:pt x="193" y="496"/>
                      </a:lnTo>
                      <a:lnTo>
                        <a:pt x="192" y="499"/>
                      </a:lnTo>
                      <a:lnTo>
                        <a:pt x="186" y="494"/>
                      </a:lnTo>
                      <a:lnTo>
                        <a:pt x="184" y="496"/>
                      </a:lnTo>
                      <a:lnTo>
                        <a:pt x="175" y="493"/>
                      </a:lnTo>
                      <a:lnTo>
                        <a:pt x="170" y="491"/>
                      </a:lnTo>
                      <a:lnTo>
                        <a:pt x="169" y="486"/>
                      </a:lnTo>
                      <a:lnTo>
                        <a:pt x="167" y="488"/>
                      </a:lnTo>
                      <a:lnTo>
                        <a:pt x="161" y="485"/>
                      </a:lnTo>
                      <a:lnTo>
                        <a:pt x="160" y="494"/>
                      </a:lnTo>
                      <a:lnTo>
                        <a:pt x="166" y="500"/>
                      </a:lnTo>
                      <a:lnTo>
                        <a:pt x="161" y="499"/>
                      </a:lnTo>
                      <a:lnTo>
                        <a:pt x="160" y="502"/>
                      </a:lnTo>
                      <a:lnTo>
                        <a:pt x="164" y="508"/>
                      </a:lnTo>
                      <a:lnTo>
                        <a:pt x="163" y="511"/>
                      </a:lnTo>
                      <a:lnTo>
                        <a:pt x="166" y="516"/>
                      </a:lnTo>
                      <a:lnTo>
                        <a:pt x="170" y="526"/>
                      </a:lnTo>
                      <a:lnTo>
                        <a:pt x="176" y="536"/>
                      </a:lnTo>
                      <a:lnTo>
                        <a:pt x="167" y="539"/>
                      </a:lnTo>
                      <a:lnTo>
                        <a:pt x="166" y="548"/>
                      </a:lnTo>
                      <a:lnTo>
                        <a:pt x="167" y="551"/>
                      </a:lnTo>
                      <a:lnTo>
                        <a:pt x="167" y="560"/>
                      </a:lnTo>
                      <a:lnTo>
                        <a:pt x="160" y="566"/>
                      </a:lnTo>
                      <a:lnTo>
                        <a:pt x="155" y="568"/>
                      </a:lnTo>
                      <a:lnTo>
                        <a:pt x="141" y="557"/>
                      </a:lnTo>
                      <a:lnTo>
                        <a:pt x="137" y="545"/>
                      </a:lnTo>
                      <a:lnTo>
                        <a:pt x="132" y="539"/>
                      </a:lnTo>
                      <a:lnTo>
                        <a:pt x="138" y="533"/>
                      </a:lnTo>
                      <a:lnTo>
                        <a:pt x="134" y="523"/>
                      </a:lnTo>
                      <a:lnTo>
                        <a:pt x="138" y="509"/>
                      </a:lnTo>
                      <a:lnTo>
                        <a:pt x="135" y="505"/>
                      </a:lnTo>
                      <a:lnTo>
                        <a:pt x="129" y="496"/>
                      </a:lnTo>
                      <a:lnTo>
                        <a:pt x="118" y="494"/>
                      </a:lnTo>
                      <a:lnTo>
                        <a:pt x="118" y="494"/>
                      </a:lnTo>
                      <a:lnTo>
                        <a:pt x="118" y="488"/>
                      </a:lnTo>
                      <a:lnTo>
                        <a:pt x="118" y="486"/>
                      </a:lnTo>
                      <a:lnTo>
                        <a:pt x="118" y="486"/>
                      </a:lnTo>
                      <a:lnTo>
                        <a:pt x="120" y="485"/>
                      </a:lnTo>
                      <a:lnTo>
                        <a:pt x="121" y="477"/>
                      </a:lnTo>
                      <a:lnTo>
                        <a:pt x="126" y="471"/>
                      </a:lnTo>
                      <a:lnTo>
                        <a:pt x="127" y="462"/>
                      </a:lnTo>
                      <a:lnTo>
                        <a:pt x="127" y="460"/>
                      </a:lnTo>
                      <a:lnTo>
                        <a:pt x="121" y="460"/>
                      </a:lnTo>
                      <a:lnTo>
                        <a:pt x="120" y="456"/>
                      </a:lnTo>
                      <a:lnTo>
                        <a:pt x="117" y="440"/>
                      </a:lnTo>
                      <a:lnTo>
                        <a:pt x="117" y="434"/>
                      </a:lnTo>
                      <a:lnTo>
                        <a:pt x="114" y="429"/>
                      </a:lnTo>
                      <a:lnTo>
                        <a:pt x="115" y="426"/>
                      </a:lnTo>
                      <a:lnTo>
                        <a:pt x="110" y="403"/>
                      </a:lnTo>
                      <a:lnTo>
                        <a:pt x="112" y="397"/>
                      </a:lnTo>
                      <a:lnTo>
                        <a:pt x="109" y="394"/>
                      </a:lnTo>
                      <a:lnTo>
                        <a:pt x="109" y="388"/>
                      </a:lnTo>
                      <a:lnTo>
                        <a:pt x="112" y="386"/>
                      </a:lnTo>
                      <a:lnTo>
                        <a:pt x="114" y="383"/>
                      </a:lnTo>
                      <a:lnTo>
                        <a:pt x="117" y="382"/>
                      </a:lnTo>
                      <a:lnTo>
                        <a:pt x="106" y="357"/>
                      </a:lnTo>
                      <a:lnTo>
                        <a:pt x="104" y="340"/>
                      </a:lnTo>
                      <a:lnTo>
                        <a:pt x="98" y="334"/>
                      </a:lnTo>
                      <a:lnTo>
                        <a:pt x="94" y="326"/>
                      </a:lnTo>
                      <a:lnTo>
                        <a:pt x="91" y="311"/>
                      </a:lnTo>
                      <a:lnTo>
                        <a:pt x="87" y="305"/>
                      </a:lnTo>
                      <a:lnTo>
                        <a:pt x="80" y="288"/>
                      </a:lnTo>
                      <a:lnTo>
                        <a:pt x="78" y="276"/>
                      </a:lnTo>
                      <a:lnTo>
                        <a:pt x="74" y="273"/>
                      </a:lnTo>
                      <a:lnTo>
                        <a:pt x="72" y="265"/>
                      </a:lnTo>
                      <a:lnTo>
                        <a:pt x="61" y="250"/>
                      </a:lnTo>
                      <a:lnTo>
                        <a:pt x="57" y="234"/>
                      </a:lnTo>
                      <a:lnTo>
                        <a:pt x="52" y="233"/>
                      </a:lnTo>
                      <a:lnTo>
                        <a:pt x="48" y="223"/>
                      </a:lnTo>
                      <a:lnTo>
                        <a:pt x="37" y="211"/>
                      </a:lnTo>
                      <a:lnTo>
                        <a:pt x="41" y="203"/>
                      </a:lnTo>
                      <a:lnTo>
                        <a:pt x="52" y="194"/>
                      </a:lnTo>
                      <a:lnTo>
                        <a:pt x="51" y="190"/>
                      </a:lnTo>
                      <a:lnTo>
                        <a:pt x="45" y="183"/>
                      </a:lnTo>
                      <a:lnTo>
                        <a:pt x="51" y="176"/>
                      </a:lnTo>
                      <a:lnTo>
                        <a:pt x="51" y="170"/>
                      </a:lnTo>
                      <a:lnTo>
                        <a:pt x="46" y="162"/>
                      </a:lnTo>
                      <a:lnTo>
                        <a:pt x="15" y="143"/>
                      </a:lnTo>
                      <a:lnTo>
                        <a:pt x="5" y="133"/>
                      </a:lnTo>
                      <a:lnTo>
                        <a:pt x="5" y="133"/>
                      </a:lnTo>
                      <a:lnTo>
                        <a:pt x="6" y="128"/>
                      </a:lnTo>
                      <a:lnTo>
                        <a:pt x="12" y="126"/>
                      </a:lnTo>
                      <a:lnTo>
                        <a:pt x="9" y="110"/>
                      </a:lnTo>
                      <a:lnTo>
                        <a:pt x="12" y="108"/>
                      </a:lnTo>
                      <a:lnTo>
                        <a:pt x="11" y="102"/>
                      </a:lnTo>
                      <a:lnTo>
                        <a:pt x="14" y="102"/>
                      </a:lnTo>
                      <a:lnTo>
                        <a:pt x="14" y="99"/>
                      </a:lnTo>
                      <a:lnTo>
                        <a:pt x="11" y="90"/>
                      </a:lnTo>
                      <a:lnTo>
                        <a:pt x="12" y="80"/>
                      </a:lnTo>
                      <a:lnTo>
                        <a:pt x="0" y="66"/>
                      </a:lnTo>
                      <a:lnTo>
                        <a:pt x="5" y="62"/>
                      </a:lnTo>
                      <a:close/>
                    </a:path>
                  </a:pathLst>
                </a:custGeom>
                <a:solidFill>
                  <a:schemeClr val="accent2"/>
                </a:solidFill>
                <a:ln w="4763" cap="flat">
                  <a:solidFill>
                    <a:schemeClr val="dk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800" dirty="0"/>
                </a:p>
              </p:txBody>
            </p:sp>
          </p:grpSp>
          <p:grpSp>
            <p:nvGrpSpPr>
              <p:cNvPr id="6" name="Etiquettes">
                <a:extLst>
                  <a:ext uri="{FF2B5EF4-FFF2-40B4-BE49-F238E27FC236}">
                    <a16:creationId xmlns:a16="http://schemas.microsoft.com/office/drawing/2014/main" id="{D457CD05-0E5F-7D25-AFCA-82619BEF63A0}"/>
                  </a:ext>
                </a:extLst>
              </p:cNvPr>
              <p:cNvGrpSpPr/>
              <p:nvPr/>
            </p:nvGrpSpPr>
            <p:grpSpPr>
              <a:xfrm>
                <a:off x="3226161" y="1522359"/>
                <a:ext cx="6578455" cy="5025597"/>
                <a:chOff x="3226161" y="1522359"/>
                <a:chExt cx="6578455" cy="5025597"/>
              </a:xfrm>
            </p:grpSpPr>
            <p:sp>
              <p:nvSpPr>
                <p:cNvPr id="32" name="Etiquette - Suceava" hidden="1">
                  <a:extLst>
                    <a:ext uri="{FF2B5EF4-FFF2-40B4-BE49-F238E27FC236}">
                      <a16:creationId xmlns:a16="http://schemas.microsoft.com/office/drawing/2014/main" id="{F1F43B80-E157-951E-BD34-DF595C203463}"/>
                    </a:ext>
                  </a:extLst>
                </p:cNvPr>
                <p:cNvSpPr>
                  <a:spLocks noChangeArrowheads="1"/>
                </p:cNvSpPr>
                <p:nvPr>
                  <p:custDataLst>
                    <p:tags r:id="rId4"/>
                  </p:custDataLst>
                </p:nvPr>
              </p:nvSpPr>
              <p:spPr bwMode="auto">
                <a:xfrm>
                  <a:off x="6488201" y="1824251"/>
                  <a:ext cx="1212072"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Suceava</a:t>
                  </a:r>
                  <a:endParaRPr lang="en-US" altLang="fr-FR" sz="800" dirty="0">
                    <a:solidFill>
                      <a:schemeClr val="lt2"/>
                    </a:solidFill>
                    <a:latin typeface="+mn-lt"/>
                  </a:endParaRPr>
                </a:p>
              </p:txBody>
            </p:sp>
            <p:sp>
              <p:nvSpPr>
                <p:cNvPr id="33" name="Etiquette - Neamt" hidden="1">
                  <a:extLst>
                    <a:ext uri="{FF2B5EF4-FFF2-40B4-BE49-F238E27FC236}">
                      <a16:creationId xmlns:a16="http://schemas.microsoft.com/office/drawing/2014/main" id="{E4863300-07F3-A288-4380-FC4FFCC651AA}"/>
                    </a:ext>
                  </a:extLst>
                </p:cNvPr>
                <p:cNvSpPr>
                  <a:spLocks noChangeArrowheads="1"/>
                </p:cNvSpPr>
                <p:nvPr>
                  <p:custDataLst>
                    <p:tags r:id="rId5"/>
                  </p:custDataLst>
                </p:nvPr>
              </p:nvSpPr>
              <p:spPr bwMode="auto">
                <a:xfrm>
                  <a:off x="7041865" y="2589243"/>
                  <a:ext cx="953765"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Neamt</a:t>
                  </a:r>
                  <a:endParaRPr lang="en-US" altLang="fr-FR" sz="800" dirty="0">
                    <a:solidFill>
                      <a:schemeClr val="lt2"/>
                    </a:solidFill>
                    <a:latin typeface="+mn-lt"/>
                  </a:endParaRPr>
                </a:p>
              </p:txBody>
            </p:sp>
            <p:sp>
              <p:nvSpPr>
                <p:cNvPr id="34" name="Etiquette - Botosani" hidden="1">
                  <a:extLst>
                    <a:ext uri="{FF2B5EF4-FFF2-40B4-BE49-F238E27FC236}">
                      <a16:creationId xmlns:a16="http://schemas.microsoft.com/office/drawing/2014/main" id="{4C7A35CA-D6B0-BA03-1EAB-18EEB01AD84C}"/>
                    </a:ext>
                  </a:extLst>
                </p:cNvPr>
                <p:cNvSpPr>
                  <a:spLocks noChangeArrowheads="1"/>
                </p:cNvSpPr>
                <p:nvPr>
                  <p:custDataLst>
                    <p:tags r:id="rId6"/>
                  </p:custDataLst>
                </p:nvPr>
              </p:nvSpPr>
              <p:spPr bwMode="auto">
                <a:xfrm>
                  <a:off x="7248411" y="1522359"/>
                  <a:ext cx="1256780"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Botosani</a:t>
                  </a:r>
                  <a:endParaRPr lang="en-US" altLang="fr-FR" sz="800" dirty="0">
                    <a:solidFill>
                      <a:schemeClr val="lt2"/>
                    </a:solidFill>
                    <a:latin typeface="+mn-lt"/>
                  </a:endParaRPr>
                </a:p>
              </p:txBody>
            </p:sp>
            <p:sp>
              <p:nvSpPr>
                <p:cNvPr id="35" name="Etiquette - Iasi" hidden="1">
                  <a:extLst>
                    <a:ext uri="{FF2B5EF4-FFF2-40B4-BE49-F238E27FC236}">
                      <a16:creationId xmlns:a16="http://schemas.microsoft.com/office/drawing/2014/main" id="{7C5619B9-03BE-784E-E82A-C0323D174110}"/>
                    </a:ext>
                  </a:extLst>
                </p:cNvPr>
                <p:cNvSpPr>
                  <a:spLocks noChangeArrowheads="1"/>
                </p:cNvSpPr>
                <p:nvPr>
                  <p:custDataLst>
                    <p:tags r:id="rId7"/>
                  </p:custDataLst>
                </p:nvPr>
              </p:nvSpPr>
              <p:spPr bwMode="auto">
                <a:xfrm>
                  <a:off x="8008589" y="2269529"/>
                  <a:ext cx="486818"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chemeClr val="lt2"/>
                      </a:solidFill>
                      <a:latin typeface="+mn-lt"/>
                    </a:rPr>
                    <a:t>Iasi</a:t>
                  </a:r>
                </a:p>
              </p:txBody>
            </p:sp>
            <p:sp>
              <p:nvSpPr>
                <p:cNvPr id="36" name="Etiquette - Vaslui" hidden="1">
                  <a:extLst>
                    <a:ext uri="{FF2B5EF4-FFF2-40B4-BE49-F238E27FC236}">
                      <a16:creationId xmlns:a16="http://schemas.microsoft.com/office/drawing/2014/main" id="{2C6A86E4-6DC0-6D76-9C32-CB48EC384505}"/>
                    </a:ext>
                  </a:extLst>
                </p:cNvPr>
                <p:cNvSpPr>
                  <a:spLocks noChangeArrowheads="1"/>
                </p:cNvSpPr>
                <p:nvPr>
                  <p:custDataLst>
                    <p:tags r:id="rId8"/>
                  </p:custDataLst>
                </p:nvPr>
              </p:nvSpPr>
              <p:spPr bwMode="auto">
                <a:xfrm>
                  <a:off x="8234147" y="3076334"/>
                  <a:ext cx="874285"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Vaslui</a:t>
                  </a:r>
                  <a:endParaRPr lang="en-US" altLang="fr-FR" sz="800" dirty="0">
                    <a:solidFill>
                      <a:schemeClr val="lt2"/>
                    </a:solidFill>
                    <a:latin typeface="+mn-lt"/>
                  </a:endParaRPr>
                </a:p>
              </p:txBody>
            </p:sp>
            <p:sp>
              <p:nvSpPr>
                <p:cNvPr id="37" name="Etiquette - Bacau" hidden="1">
                  <a:extLst>
                    <a:ext uri="{FF2B5EF4-FFF2-40B4-BE49-F238E27FC236}">
                      <a16:creationId xmlns:a16="http://schemas.microsoft.com/office/drawing/2014/main" id="{E663D829-E466-4029-3E11-40ED2C5F2F45}"/>
                    </a:ext>
                  </a:extLst>
                </p:cNvPr>
                <p:cNvSpPr>
                  <a:spLocks noChangeArrowheads="1"/>
                </p:cNvSpPr>
                <p:nvPr>
                  <p:custDataLst>
                    <p:tags r:id="rId9"/>
                  </p:custDataLst>
                </p:nvPr>
              </p:nvSpPr>
              <p:spPr bwMode="auto">
                <a:xfrm>
                  <a:off x="7434690" y="3212114"/>
                  <a:ext cx="884217"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chemeClr val="lt2"/>
                      </a:solidFill>
                      <a:latin typeface="+mn-lt"/>
                    </a:rPr>
                    <a:t>Bacau</a:t>
                  </a:r>
                </a:p>
              </p:txBody>
            </p:sp>
            <p:sp>
              <p:nvSpPr>
                <p:cNvPr id="38" name="Etiquette - Vrancea" hidden="1">
                  <a:extLst>
                    <a:ext uri="{FF2B5EF4-FFF2-40B4-BE49-F238E27FC236}">
                      <a16:creationId xmlns:a16="http://schemas.microsoft.com/office/drawing/2014/main" id="{CA388FE3-4826-CA7F-5737-4E802BF6CD7E}"/>
                    </a:ext>
                  </a:extLst>
                </p:cNvPr>
                <p:cNvSpPr>
                  <a:spLocks noChangeArrowheads="1"/>
                </p:cNvSpPr>
                <p:nvPr>
                  <p:custDataLst>
                    <p:tags r:id="rId10"/>
                  </p:custDataLst>
                </p:nvPr>
              </p:nvSpPr>
              <p:spPr bwMode="auto">
                <a:xfrm>
                  <a:off x="7407715" y="3910710"/>
                  <a:ext cx="1202137"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Vrancea</a:t>
                  </a:r>
                  <a:endParaRPr lang="en-US" altLang="fr-FR" sz="800" dirty="0">
                    <a:solidFill>
                      <a:schemeClr val="lt2"/>
                    </a:solidFill>
                    <a:latin typeface="+mn-lt"/>
                  </a:endParaRPr>
                </a:p>
              </p:txBody>
            </p:sp>
            <p:sp>
              <p:nvSpPr>
                <p:cNvPr id="39" name="Etiquette - Galati" hidden="1">
                  <a:extLst>
                    <a:ext uri="{FF2B5EF4-FFF2-40B4-BE49-F238E27FC236}">
                      <a16:creationId xmlns:a16="http://schemas.microsoft.com/office/drawing/2014/main" id="{FD45BA49-A563-FCB1-7EDB-756D9F5B5288}"/>
                    </a:ext>
                  </a:extLst>
                </p:cNvPr>
                <p:cNvSpPr>
                  <a:spLocks noChangeArrowheads="1"/>
                </p:cNvSpPr>
                <p:nvPr>
                  <p:custDataLst>
                    <p:tags r:id="rId11"/>
                  </p:custDataLst>
                </p:nvPr>
              </p:nvSpPr>
              <p:spPr bwMode="auto">
                <a:xfrm>
                  <a:off x="8248789" y="3946920"/>
                  <a:ext cx="834545"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chemeClr val="lt2"/>
                      </a:solidFill>
                      <a:latin typeface="+mn-lt"/>
                    </a:rPr>
                    <a:t>Galati</a:t>
                  </a:r>
                </a:p>
              </p:txBody>
            </p:sp>
            <p:sp>
              <p:nvSpPr>
                <p:cNvPr id="40" name="Etiquette - Bistrita-Nasaud" hidden="1">
                  <a:extLst>
                    <a:ext uri="{FF2B5EF4-FFF2-40B4-BE49-F238E27FC236}">
                      <a16:creationId xmlns:a16="http://schemas.microsoft.com/office/drawing/2014/main" id="{8002A398-3EB6-4136-E8D8-19BE12FA7610}"/>
                    </a:ext>
                  </a:extLst>
                </p:cNvPr>
                <p:cNvSpPr>
                  <a:spLocks noChangeArrowheads="1"/>
                </p:cNvSpPr>
                <p:nvPr>
                  <p:custDataLst>
                    <p:tags r:id="rId12"/>
                  </p:custDataLst>
                </p:nvPr>
              </p:nvSpPr>
              <p:spPr bwMode="auto">
                <a:xfrm>
                  <a:off x="5037943" y="2264868"/>
                  <a:ext cx="2225444"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Bistrita-Nasaud</a:t>
                  </a:r>
                  <a:endParaRPr lang="en-US" altLang="fr-FR" sz="800" dirty="0">
                    <a:solidFill>
                      <a:schemeClr val="lt2"/>
                    </a:solidFill>
                    <a:latin typeface="+mn-lt"/>
                  </a:endParaRPr>
                </a:p>
              </p:txBody>
            </p:sp>
            <p:sp>
              <p:nvSpPr>
                <p:cNvPr id="41" name="Etiquette - Harghita" hidden="1">
                  <a:extLst>
                    <a:ext uri="{FF2B5EF4-FFF2-40B4-BE49-F238E27FC236}">
                      <a16:creationId xmlns:a16="http://schemas.microsoft.com/office/drawing/2014/main" id="{98F677F2-4307-D75D-3FF3-86D1D91AF888}"/>
                    </a:ext>
                  </a:extLst>
                </p:cNvPr>
                <p:cNvSpPr>
                  <a:spLocks noChangeArrowheads="1"/>
                </p:cNvSpPr>
                <p:nvPr>
                  <p:custDataLst>
                    <p:tags r:id="rId13"/>
                  </p:custDataLst>
                </p:nvPr>
              </p:nvSpPr>
              <p:spPr bwMode="auto">
                <a:xfrm>
                  <a:off x="6347890" y="3024530"/>
                  <a:ext cx="1251815"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Harghita</a:t>
                  </a:r>
                  <a:endParaRPr lang="en-US" altLang="fr-FR" sz="800" dirty="0">
                    <a:solidFill>
                      <a:schemeClr val="lt2"/>
                    </a:solidFill>
                    <a:latin typeface="+mn-lt"/>
                  </a:endParaRPr>
                </a:p>
              </p:txBody>
            </p:sp>
            <p:sp>
              <p:nvSpPr>
                <p:cNvPr id="42" name="Etiquette - Mures" hidden="1">
                  <a:extLst>
                    <a:ext uri="{FF2B5EF4-FFF2-40B4-BE49-F238E27FC236}">
                      <a16:creationId xmlns:a16="http://schemas.microsoft.com/office/drawing/2014/main" id="{F8A70423-E424-92E4-6BBE-41FCC61B8394}"/>
                    </a:ext>
                  </a:extLst>
                </p:cNvPr>
                <p:cNvSpPr>
                  <a:spLocks noChangeArrowheads="1"/>
                </p:cNvSpPr>
                <p:nvPr>
                  <p:custDataLst>
                    <p:tags r:id="rId14"/>
                  </p:custDataLst>
                </p:nvPr>
              </p:nvSpPr>
              <p:spPr bwMode="auto">
                <a:xfrm>
                  <a:off x="5770000" y="3066467"/>
                  <a:ext cx="879250"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Mures</a:t>
                  </a:r>
                  <a:endParaRPr lang="en-US" altLang="fr-FR" sz="800" dirty="0">
                    <a:solidFill>
                      <a:schemeClr val="lt2"/>
                    </a:solidFill>
                    <a:latin typeface="+mn-lt"/>
                  </a:endParaRPr>
                </a:p>
              </p:txBody>
            </p:sp>
            <p:sp>
              <p:nvSpPr>
                <p:cNvPr id="43" name="Etiquette - Cluj" hidden="1">
                  <a:extLst>
                    <a:ext uri="{FF2B5EF4-FFF2-40B4-BE49-F238E27FC236}">
                      <a16:creationId xmlns:a16="http://schemas.microsoft.com/office/drawing/2014/main" id="{985D2E5B-C02A-1E10-9661-6E1EB3C7EBA8}"/>
                    </a:ext>
                  </a:extLst>
                </p:cNvPr>
                <p:cNvSpPr>
                  <a:spLocks noChangeArrowheads="1"/>
                </p:cNvSpPr>
                <p:nvPr>
                  <p:custDataLst>
                    <p:tags r:id="rId15"/>
                  </p:custDataLst>
                </p:nvPr>
              </p:nvSpPr>
              <p:spPr bwMode="auto">
                <a:xfrm>
                  <a:off x="5191025" y="2748879"/>
                  <a:ext cx="536490"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Cluj</a:t>
                  </a:r>
                  <a:endParaRPr lang="en-US" altLang="fr-FR" sz="800" dirty="0">
                    <a:solidFill>
                      <a:schemeClr val="lt2"/>
                    </a:solidFill>
                    <a:latin typeface="+mn-lt"/>
                  </a:endParaRPr>
                </a:p>
              </p:txBody>
            </p:sp>
            <p:sp>
              <p:nvSpPr>
                <p:cNvPr id="44" name="Etiquette - Maramures" hidden="1">
                  <a:extLst>
                    <a:ext uri="{FF2B5EF4-FFF2-40B4-BE49-F238E27FC236}">
                      <a16:creationId xmlns:a16="http://schemas.microsoft.com/office/drawing/2014/main" id="{F05C8310-F45E-9A7E-C646-371E0FAA693B}"/>
                    </a:ext>
                  </a:extLst>
                </p:cNvPr>
                <p:cNvSpPr>
                  <a:spLocks noChangeArrowheads="1"/>
                </p:cNvSpPr>
                <p:nvPr>
                  <p:custDataLst>
                    <p:tags r:id="rId16"/>
                  </p:custDataLst>
                </p:nvPr>
              </p:nvSpPr>
              <p:spPr bwMode="auto">
                <a:xfrm>
                  <a:off x="4926260" y="1747310"/>
                  <a:ext cx="1624374"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Maramures</a:t>
                  </a:r>
                  <a:endParaRPr lang="en-US" altLang="fr-FR" sz="800" dirty="0">
                    <a:solidFill>
                      <a:schemeClr val="lt2"/>
                    </a:solidFill>
                    <a:latin typeface="+mn-lt"/>
                  </a:endParaRPr>
                </a:p>
              </p:txBody>
            </p:sp>
            <p:sp>
              <p:nvSpPr>
                <p:cNvPr id="45" name="Etiquette - Salaj" hidden="1">
                  <a:extLst>
                    <a:ext uri="{FF2B5EF4-FFF2-40B4-BE49-F238E27FC236}">
                      <a16:creationId xmlns:a16="http://schemas.microsoft.com/office/drawing/2014/main" id="{6004FC5C-FD9D-6401-EF80-D2D7CA1ECA54}"/>
                    </a:ext>
                  </a:extLst>
                </p:cNvPr>
                <p:cNvSpPr>
                  <a:spLocks noChangeArrowheads="1"/>
                </p:cNvSpPr>
                <p:nvPr>
                  <p:custDataLst>
                    <p:tags r:id="rId17"/>
                  </p:custDataLst>
                </p:nvPr>
              </p:nvSpPr>
              <p:spPr bwMode="auto">
                <a:xfrm>
                  <a:off x="4691471" y="2357066"/>
                  <a:ext cx="695452"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Salaj</a:t>
                  </a:r>
                  <a:endParaRPr lang="en-US" altLang="fr-FR" sz="800" dirty="0">
                    <a:solidFill>
                      <a:schemeClr val="lt2"/>
                    </a:solidFill>
                    <a:latin typeface="+mn-lt"/>
                  </a:endParaRPr>
                </a:p>
              </p:txBody>
            </p:sp>
            <p:sp>
              <p:nvSpPr>
                <p:cNvPr id="46" name="Etiquette - Satu Mare" hidden="1">
                  <a:extLst>
                    <a:ext uri="{FF2B5EF4-FFF2-40B4-BE49-F238E27FC236}">
                      <a16:creationId xmlns:a16="http://schemas.microsoft.com/office/drawing/2014/main" id="{28CC5C9F-3D83-C84D-AE34-CEC1A8CB2C17}"/>
                    </a:ext>
                  </a:extLst>
                </p:cNvPr>
                <p:cNvSpPr>
                  <a:spLocks noChangeArrowheads="1"/>
                </p:cNvSpPr>
                <p:nvPr>
                  <p:custDataLst>
                    <p:tags r:id="rId18"/>
                  </p:custDataLst>
                </p:nvPr>
              </p:nvSpPr>
              <p:spPr bwMode="auto">
                <a:xfrm>
                  <a:off x="4102158" y="1824379"/>
                  <a:ext cx="1470382"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Satu</a:t>
                  </a:r>
                  <a:r>
                    <a:rPr lang="en-US" altLang="fr-FR" sz="800" dirty="0">
                      <a:solidFill>
                        <a:schemeClr val="lt2"/>
                      </a:solidFill>
                      <a:latin typeface="+mn-lt"/>
                    </a:rPr>
                    <a:t> Mare</a:t>
                  </a:r>
                </a:p>
              </p:txBody>
            </p:sp>
            <p:sp>
              <p:nvSpPr>
                <p:cNvPr id="47" name="Etiquette - Bihor" hidden="1">
                  <a:extLst>
                    <a:ext uri="{FF2B5EF4-FFF2-40B4-BE49-F238E27FC236}">
                      <a16:creationId xmlns:a16="http://schemas.microsoft.com/office/drawing/2014/main" id="{1E9FB42F-1A11-B219-9522-915BACC13F82}"/>
                    </a:ext>
                  </a:extLst>
                </p:cNvPr>
                <p:cNvSpPr>
                  <a:spLocks noChangeArrowheads="1"/>
                </p:cNvSpPr>
                <p:nvPr>
                  <p:custDataLst>
                    <p:tags r:id="rId19"/>
                  </p:custDataLst>
                </p:nvPr>
              </p:nvSpPr>
              <p:spPr bwMode="auto">
                <a:xfrm>
                  <a:off x="3932002" y="2563752"/>
                  <a:ext cx="764994"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chemeClr val="lt2"/>
                      </a:solidFill>
                      <a:latin typeface="+mn-lt"/>
                    </a:rPr>
                    <a:t>Bihor</a:t>
                  </a:r>
                </a:p>
              </p:txBody>
            </p:sp>
            <p:sp>
              <p:nvSpPr>
                <p:cNvPr id="48" name="Etiquette - Arad" hidden="1">
                  <a:extLst>
                    <a:ext uri="{FF2B5EF4-FFF2-40B4-BE49-F238E27FC236}">
                      <a16:creationId xmlns:a16="http://schemas.microsoft.com/office/drawing/2014/main" id="{2C90CAA1-C3AB-0E74-125B-DD621FD68C13}"/>
                    </a:ext>
                  </a:extLst>
                </p:cNvPr>
                <p:cNvSpPr>
                  <a:spLocks noChangeArrowheads="1"/>
                </p:cNvSpPr>
                <p:nvPr>
                  <p:custDataLst>
                    <p:tags r:id="rId20"/>
                  </p:custDataLst>
                </p:nvPr>
              </p:nvSpPr>
              <p:spPr bwMode="auto">
                <a:xfrm>
                  <a:off x="3631181" y="3297832"/>
                  <a:ext cx="695452"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chemeClr val="lt2"/>
                      </a:solidFill>
                      <a:latin typeface="+mn-lt"/>
                    </a:rPr>
                    <a:t>Arad</a:t>
                  </a:r>
                </a:p>
              </p:txBody>
            </p:sp>
            <p:sp>
              <p:nvSpPr>
                <p:cNvPr id="49" name="Etiquette - Alba" hidden="1">
                  <a:extLst>
                    <a:ext uri="{FF2B5EF4-FFF2-40B4-BE49-F238E27FC236}">
                      <a16:creationId xmlns:a16="http://schemas.microsoft.com/office/drawing/2014/main" id="{08B32918-9C1C-2A45-E12C-13AFE23AF85D}"/>
                    </a:ext>
                  </a:extLst>
                </p:cNvPr>
                <p:cNvSpPr>
                  <a:spLocks noChangeArrowheads="1"/>
                </p:cNvSpPr>
                <p:nvPr>
                  <p:custDataLst>
                    <p:tags r:id="rId21"/>
                  </p:custDataLst>
                </p:nvPr>
              </p:nvSpPr>
              <p:spPr bwMode="auto">
                <a:xfrm>
                  <a:off x="5042384" y="3431202"/>
                  <a:ext cx="645774"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chemeClr val="lt2"/>
                      </a:solidFill>
                      <a:latin typeface="+mn-lt"/>
                    </a:rPr>
                    <a:t>Alba</a:t>
                  </a:r>
                </a:p>
              </p:txBody>
            </p:sp>
            <p:sp>
              <p:nvSpPr>
                <p:cNvPr id="50" name="Etiquette - Hunedoara" hidden="1">
                  <a:extLst>
                    <a:ext uri="{FF2B5EF4-FFF2-40B4-BE49-F238E27FC236}">
                      <a16:creationId xmlns:a16="http://schemas.microsoft.com/office/drawing/2014/main" id="{28F38082-4C00-5D9B-D396-607CE112628D}"/>
                    </a:ext>
                  </a:extLst>
                </p:cNvPr>
                <p:cNvSpPr>
                  <a:spLocks noChangeArrowheads="1"/>
                </p:cNvSpPr>
                <p:nvPr>
                  <p:custDataLst>
                    <p:tags r:id="rId22"/>
                  </p:custDataLst>
                </p:nvPr>
              </p:nvSpPr>
              <p:spPr bwMode="auto">
                <a:xfrm>
                  <a:off x="4105179" y="3869838"/>
                  <a:ext cx="1584634"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chemeClr val="lt2"/>
                      </a:solidFill>
                      <a:latin typeface="+mn-lt"/>
                    </a:rPr>
                    <a:t>Hunedoara</a:t>
                  </a:r>
                </a:p>
              </p:txBody>
            </p:sp>
            <p:sp>
              <p:nvSpPr>
                <p:cNvPr id="51" name="Etiquette - Timis" hidden="1">
                  <a:extLst>
                    <a:ext uri="{FF2B5EF4-FFF2-40B4-BE49-F238E27FC236}">
                      <a16:creationId xmlns:a16="http://schemas.microsoft.com/office/drawing/2014/main" id="{D3CE01FE-CE9F-88B5-E92D-27F941F953E9}"/>
                    </a:ext>
                  </a:extLst>
                </p:cNvPr>
                <p:cNvSpPr>
                  <a:spLocks noChangeArrowheads="1"/>
                </p:cNvSpPr>
                <p:nvPr>
                  <p:custDataLst>
                    <p:tags r:id="rId23"/>
                  </p:custDataLst>
                </p:nvPr>
              </p:nvSpPr>
              <p:spPr bwMode="auto">
                <a:xfrm>
                  <a:off x="3302118" y="3946784"/>
                  <a:ext cx="764994"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Timis</a:t>
                  </a:r>
                  <a:endParaRPr lang="en-US" altLang="fr-FR" sz="800" dirty="0">
                    <a:solidFill>
                      <a:schemeClr val="lt2"/>
                    </a:solidFill>
                    <a:latin typeface="+mn-lt"/>
                  </a:endParaRPr>
                </a:p>
              </p:txBody>
            </p:sp>
            <p:sp>
              <p:nvSpPr>
                <p:cNvPr id="52" name="Etiquette - Sibiu" hidden="1">
                  <a:extLst>
                    <a:ext uri="{FF2B5EF4-FFF2-40B4-BE49-F238E27FC236}">
                      <a16:creationId xmlns:a16="http://schemas.microsoft.com/office/drawing/2014/main" id="{4B8FE238-8CE4-6738-49B3-A21109FE044A}"/>
                    </a:ext>
                  </a:extLst>
                </p:cNvPr>
                <p:cNvSpPr>
                  <a:spLocks noChangeArrowheads="1"/>
                </p:cNvSpPr>
                <p:nvPr>
                  <p:custDataLst>
                    <p:tags r:id="rId24"/>
                  </p:custDataLst>
                </p:nvPr>
              </p:nvSpPr>
              <p:spPr bwMode="auto">
                <a:xfrm>
                  <a:off x="5582056" y="3861208"/>
                  <a:ext cx="705384"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chemeClr val="lt2"/>
                      </a:solidFill>
                      <a:latin typeface="+mn-lt"/>
                    </a:rPr>
                    <a:t>Sibiu</a:t>
                  </a:r>
                </a:p>
              </p:txBody>
            </p:sp>
            <p:sp>
              <p:nvSpPr>
                <p:cNvPr id="53" name="Etiquette - Brasov" hidden="1">
                  <a:extLst>
                    <a:ext uri="{FF2B5EF4-FFF2-40B4-BE49-F238E27FC236}">
                      <a16:creationId xmlns:a16="http://schemas.microsoft.com/office/drawing/2014/main" id="{75AFE3A9-3573-4F80-6B6F-E3B3AA2BF6BA}"/>
                    </a:ext>
                  </a:extLst>
                </p:cNvPr>
                <p:cNvSpPr>
                  <a:spLocks noChangeArrowheads="1"/>
                </p:cNvSpPr>
                <p:nvPr>
                  <p:custDataLst>
                    <p:tags r:id="rId25"/>
                  </p:custDataLst>
                </p:nvPr>
              </p:nvSpPr>
              <p:spPr bwMode="auto">
                <a:xfrm>
                  <a:off x="6186721" y="3886390"/>
                  <a:ext cx="993505"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chemeClr val="lt2"/>
                      </a:solidFill>
                      <a:latin typeface="+mn-lt"/>
                    </a:rPr>
                    <a:t>Brasov</a:t>
                  </a:r>
                </a:p>
              </p:txBody>
            </p:sp>
            <p:sp>
              <p:nvSpPr>
                <p:cNvPr id="54" name="Etiquette - Covasna" hidden="1">
                  <a:extLst>
                    <a:ext uri="{FF2B5EF4-FFF2-40B4-BE49-F238E27FC236}">
                      <a16:creationId xmlns:a16="http://schemas.microsoft.com/office/drawing/2014/main" id="{213EC469-B4F0-8D21-E30C-DD24FB727626}"/>
                    </a:ext>
                  </a:extLst>
                </p:cNvPr>
                <p:cNvSpPr>
                  <a:spLocks noChangeArrowheads="1"/>
                </p:cNvSpPr>
                <p:nvPr>
                  <p:custDataLst>
                    <p:tags r:id="rId26"/>
                  </p:custDataLst>
                </p:nvPr>
              </p:nvSpPr>
              <p:spPr bwMode="auto">
                <a:xfrm>
                  <a:off x="6704552" y="3739692"/>
                  <a:ext cx="1217040"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chemeClr val="lt2"/>
                      </a:solidFill>
                      <a:latin typeface="+mn-lt"/>
                    </a:rPr>
                    <a:t>Covasna</a:t>
                  </a:r>
                </a:p>
              </p:txBody>
            </p:sp>
            <p:sp>
              <p:nvSpPr>
                <p:cNvPr id="55" name="Etiquette - Caras-Severin" hidden="1">
                  <a:extLst>
                    <a:ext uri="{FF2B5EF4-FFF2-40B4-BE49-F238E27FC236}">
                      <a16:creationId xmlns:a16="http://schemas.microsoft.com/office/drawing/2014/main" id="{C9071596-568B-3085-79EF-F37F74237F10}"/>
                    </a:ext>
                  </a:extLst>
                </p:cNvPr>
                <p:cNvSpPr>
                  <a:spLocks noChangeArrowheads="1"/>
                </p:cNvSpPr>
                <p:nvPr>
                  <p:custDataLst>
                    <p:tags r:id="rId27"/>
                  </p:custDataLst>
                </p:nvPr>
              </p:nvSpPr>
              <p:spPr bwMode="auto">
                <a:xfrm>
                  <a:off x="3226161" y="4560339"/>
                  <a:ext cx="2016809"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Caras-Severin</a:t>
                  </a:r>
                  <a:endParaRPr lang="en-US" altLang="fr-FR" sz="800" dirty="0">
                    <a:solidFill>
                      <a:schemeClr val="lt2"/>
                    </a:solidFill>
                    <a:latin typeface="+mn-lt"/>
                  </a:endParaRPr>
                </a:p>
              </p:txBody>
            </p:sp>
            <p:sp>
              <p:nvSpPr>
                <p:cNvPr id="56" name="Etiquette - Gorj" hidden="1">
                  <a:extLst>
                    <a:ext uri="{FF2B5EF4-FFF2-40B4-BE49-F238E27FC236}">
                      <a16:creationId xmlns:a16="http://schemas.microsoft.com/office/drawing/2014/main" id="{35460AB5-A2B5-DA5A-02E8-653B95F4D06A}"/>
                    </a:ext>
                  </a:extLst>
                </p:cNvPr>
                <p:cNvSpPr>
                  <a:spLocks noChangeArrowheads="1"/>
                </p:cNvSpPr>
                <p:nvPr>
                  <p:custDataLst>
                    <p:tags r:id="rId28"/>
                  </p:custDataLst>
                </p:nvPr>
              </p:nvSpPr>
              <p:spPr bwMode="auto">
                <a:xfrm>
                  <a:off x="4926591" y="4759309"/>
                  <a:ext cx="596100"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Gorj</a:t>
                  </a:r>
                  <a:endParaRPr lang="en-US" altLang="fr-FR" sz="800" dirty="0">
                    <a:solidFill>
                      <a:schemeClr val="lt2"/>
                    </a:solidFill>
                    <a:latin typeface="+mn-lt"/>
                  </a:endParaRPr>
                </a:p>
              </p:txBody>
            </p:sp>
            <p:sp>
              <p:nvSpPr>
                <p:cNvPr id="57" name="Etiquette - Mehedinti" hidden="1">
                  <a:extLst>
                    <a:ext uri="{FF2B5EF4-FFF2-40B4-BE49-F238E27FC236}">
                      <a16:creationId xmlns:a16="http://schemas.microsoft.com/office/drawing/2014/main" id="{EDCFB0F0-9C56-7338-ED28-28364DA21C2E}"/>
                    </a:ext>
                  </a:extLst>
                </p:cNvPr>
                <p:cNvSpPr>
                  <a:spLocks noChangeArrowheads="1"/>
                </p:cNvSpPr>
                <p:nvPr>
                  <p:custDataLst>
                    <p:tags r:id="rId29"/>
                  </p:custDataLst>
                </p:nvPr>
              </p:nvSpPr>
              <p:spPr bwMode="auto">
                <a:xfrm>
                  <a:off x="4312190" y="5386407"/>
                  <a:ext cx="1410772"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Mehedinti</a:t>
                  </a:r>
                  <a:endParaRPr lang="en-US" altLang="fr-FR" sz="800" dirty="0">
                    <a:solidFill>
                      <a:schemeClr val="lt2"/>
                    </a:solidFill>
                    <a:latin typeface="+mn-lt"/>
                  </a:endParaRPr>
                </a:p>
              </p:txBody>
            </p:sp>
            <p:sp>
              <p:nvSpPr>
                <p:cNvPr id="58" name="Etiquette - Vâlcea" hidden="1">
                  <a:extLst>
                    <a:ext uri="{FF2B5EF4-FFF2-40B4-BE49-F238E27FC236}">
                      <a16:creationId xmlns:a16="http://schemas.microsoft.com/office/drawing/2014/main" id="{F5448814-DA2A-9142-4614-7136AE51CCB5}"/>
                    </a:ext>
                  </a:extLst>
                </p:cNvPr>
                <p:cNvSpPr>
                  <a:spLocks noChangeArrowheads="1"/>
                </p:cNvSpPr>
                <p:nvPr>
                  <p:custDataLst>
                    <p:tags r:id="rId30"/>
                  </p:custDataLst>
                </p:nvPr>
              </p:nvSpPr>
              <p:spPr bwMode="auto">
                <a:xfrm>
                  <a:off x="5398463" y="4615230"/>
                  <a:ext cx="973632"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Vâlcea</a:t>
                  </a:r>
                  <a:endParaRPr lang="en-US" altLang="fr-FR" sz="800" dirty="0">
                    <a:solidFill>
                      <a:schemeClr val="lt2"/>
                    </a:solidFill>
                    <a:latin typeface="+mn-lt"/>
                  </a:endParaRPr>
                </a:p>
              </p:txBody>
            </p:sp>
            <p:sp>
              <p:nvSpPr>
                <p:cNvPr id="59" name="Etiquette - Arges" hidden="1">
                  <a:extLst>
                    <a:ext uri="{FF2B5EF4-FFF2-40B4-BE49-F238E27FC236}">
                      <a16:creationId xmlns:a16="http://schemas.microsoft.com/office/drawing/2014/main" id="{12BEC6AF-EDB8-A784-77D8-84A691111D8B}"/>
                    </a:ext>
                  </a:extLst>
                </p:cNvPr>
                <p:cNvSpPr>
                  <a:spLocks noChangeArrowheads="1"/>
                </p:cNvSpPr>
                <p:nvPr>
                  <p:custDataLst>
                    <p:tags r:id="rId31"/>
                  </p:custDataLst>
                </p:nvPr>
              </p:nvSpPr>
              <p:spPr bwMode="auto">
                <a:xfrm>
                  <a:off x="5971228" y="4538285"/>
                  <a:ext cx="844481"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Arges</a:t>
                  </a:r>
                  <a:endParaRPr lang="en-US" altLang="fr-FR" sz="800" dirty="0">
                    <a:solidFill>
                      <a:schemeClr val="lt2"/>
                    </a:solidFill>
                    <a:latin typeface="+mn-lt"/>
                  </a:endParaRPr>
                </a:p>
              </p:txBody>
            </p:sp>
            <p:sp>
              <p:nvSpPr>
                <p:cNvPr id="60" name="Etiquette - Dâmbovita" hidden="1">
                  <a:extLst>
                    <a:ext uri="{FF2B5EF4-FFF2-40B4-BE49-F238E27FC236}">
                      <a16:creationId xmlns:a16="http://schemas.microsoft.com/office/drawing/2014/main" id="{BA203020-C3FD-0404-3775-E04F72DE1643}"/>
                    </a:ext>
                  </a:extLst>
                </p:cNvPr>
                <p:cNvSpPr>
                  <a:spLocks noChangeArrowheads="1"/>
                </p:cNvSpPr>
                <p:nvPr>
                  <p:custDataLst>
                    <p:tags r:id="rId32"/>
                  </p:custDataLst>
                </p:nvPr>
              </p:nvSpPr>
              <p:spPr bwMode="auto">
                <a:xfrm>
                  <a:off x="6197480" y="5055152"/>
                  <a:ext cx="1544894"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Dâmbovita</a:t>
                  </a:r>
                  <a:endParaRPr lang="en-US" altLang="fr-FR" sz="800" dirty="0">
                    <a:solidFill>
                      <a:schemeClr val="lt2"/>
                    </a:solidFill>
                    <a:latin typeface="+mn-lt"/>
                  </a:endParaRPr>
                </a:p>
              </p:txBody>
            </p:sp>
            <p:sp>
              <p:nvSpPr>
                <p:cNvPr id="61" name="Etiquette - Prahova" hidden="1">
                  <a:extLst>
                    <a:ext uri="{FF2B5EF4-FFF2-40B4-BE49-F238E27FC236}">
                      <a16:creationId xmlns:a16="http://schemas.microsoft.com/office/drawing/2014/main" id="{5C3C21B1-3167-E096-C001-186333C5BCDC}"/>
                    </a:ext>
                  </a:extLst>
                </p:cNvPr>
                <p:cNvSpPr>
                  <a:spLocks noChangeArrowheads="1"/>
                </p:cNvSpPr>
                <p:nvPr>
                  <p:custDataLst>
                    <p:tags r:id="rId33"/>
                  </p:custDataLst>
                </p:nvPr>
              </p:nvSpPr>
              <p:spPr bwMode="auto">
                <a:xfrm>
                  <a:off x="6670975" y="4600095"/>
                  <a:ext cx="1197170"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chemeClr val="lt2"/>
                      </a:solidFill>
                      <a:latin typeface="+mn-lt"/>
                    </a:rPr>
                    <a:t>Prahova</a:t>
                  </a:r>
                </a:p>
              </p:txBody>
            </p:sp>
            <p:sp>
              <p:nvSpPr>
                <p:cNvPr id="62" name="Etiquette - Buzau" hidden="1">
                  <a:extLst>
                    <a:ext uri="{FF2B5EF4-FFF2-40B4-BE49-F238E27FC236}">
                      <a16:creationId xmlns:a16="http://schemas.microsoft.com/office/drawing/2014/main" id="{63C6B62E-0F69-C594-0959-DBDA270EB482}"/>
                    </a:ext>
                  </a:extLst>
                </p:cNvPr>
                <p:cNvSpPr>
                  <a:spLocks noChangeArrowheads="1"/>
                </p:cNvSpPr>
                <p:nvPr>
                  <p:custDataLst>
                    <p:tags r:id="rId34"/>
                  </p:custDataLst>
                </p:nvPr>
              </p:nvSpPr>
              <p:spPr bwMode="auto">
                <a:xfrm>
                  <a:off x="7459382" y="4489378"/>
                  <a:ext cx="889185"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chemeClr val="lt2"/>
                      </a:solidFill>
                      <a:latin typeface="+mn-lt"/>
                    </a:rPr>
                    <a:t>Buzau</a:t>
                  </a:r>
                </a:p>
              </p:txBody>
            </p:sp>
            <p:sp>
              <p:nvSpPr>
                <p:cNvPr id="63" name="Etiquette - Braila" hidden="1">
                  <a:extLst>
                    <a:ext uri="{FF2B5EF4-FFF2-40B4-BE49-F238E27FC236}">
                      <a16:creationId xmlns:a16="http://schemas.microsoft.com/office/drawing/2014/main" id="{43390A9B-4495-B906-6DF4-F1A675C85846}"/>
                    </a:ext>
                  </a:extLst>
                </p:cNvPr>
                <p:cNvSpPr>
                  <a:spLocks noChangeArrowheads="1"/>
                </p:cNvSpPr>
                <p:nvPr>
                  <p:custDataLst>
                    <p:tags r:id="rId35"/>
                  </p:custDataLst>
                </p:nvPr>
              </p:nvSpPr>
              <p:spPr bwMode="auto">
                <a:xfrm>
                  <a:off x="8175882" y="4677040"/>
                  <a:ext cx="834546"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chemeClr val="lt2"/>
                      </a:solidFill>
                      <a:latin typeface="+mn-lt"/>
                    </a:rPr>
                    <a:t>Braila</a:t>
                  </a:r>
                </a:p>
              </p:txBody>
            </p:sp>
            <p:sp>
              <p:nvSpPr>
                <p:cNvPr id="64" name="Etiquette - Tulcea" hidden="1">
                  <a:extLst>
                    <a:ext uri="{FF2B5EF4-FFF2-40B4-BE49-F238E27FC236}">
                      <a16:creationId xmlns:a16="http://schemas.microsoft.com/office/drawing/2014/main" id="{601B26AF-EEE2-A121-0C64-5E8BB6951A4E}"/>
                    </a:ext>
                  </a:extLst>
                </p:cNvPr>
                <p:cNvSpPr>
                  <a:spLocks noChangeArrowheads="1"/>
                </p:cNvSpPr>
                <p:nvPr>
                  <p:custDataLst>
                    <p:tags r:id="rId36"/>
                  </p:custDataLst>
                </p:nvPr>
              </p:nvSpPr>
              <p:spPr bwMode="auto">
                <a:xfrm>
                  <a:off x="8809363" y="4800152"/>
                  <a:ext cx="953765"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Tulcea</a:t>
                  </a:r>
                  <a:endParaRPr lang="en-US" altLang="fr-FR" sz="800" dirty="0">
                    <a:solidFill>
                      <a:schemeClr val="lt2"/>
                    </a:solidFill>
                    <a:latin typeface="+mn-lt"/>
                  </a:endParaRPr>
                </a:p>
              </p:txBody>
            </p:sp>
            <p:sp>
              <p:nvSpPr>
                <p:cNvPr id="65" name="Etiquette - Constanta" hidden="1">
                  <a:extLst>
                    <a:ext uri="{FF2B5EF4-FFF2-40B4-BE49-F238E27FC236}">
                      <a16:creationId xmlns:a16="http://schemas.microsoft.com/office/drawing/2014/main" id="{DA0523DB-5293-0D1B-8F7F-D4E013349F39}"/>
                    </a:ext>
                  </a:extLst>
                </p:cNvPr>
                <p:cNvSpPr>
                  <a:spLocks noChangeArrowheads="1"/>
                </p:cNvSpPr>
                <p:nvPr>
                  <p:custDataLst>
                    <p:tags r:id="rId37"/>
                  </p:custDataLst>
                </p:nvPr>
              </p:nvSpPr>
              <p:spPr bwMode="auto">
                <a:xfrm>
                  <a:off x="8334234" y="5750906"/>
                  <a:ext cx="1470382"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chemeClr val="lt2"/>
                      </a:solidFill>
                      <a:latin typeface="+mn-lt"/>
                    </a:rPr>
                    <a:t>Constanta</a:t>
                  </a:r>
                </a:p>
              </p:txBody>
            </p:sp>
            <p:sp>
              <p:nvSpPr>
                <p:cNvPr id="66" name="Etiquette - Ialomita" hidden="1">
                  <a:extLst>
                    <a:ext uri="{FF2B5EF4-FFF2-40B4-BE49-F238E27FC236}">
                      <a16:creationId xmlns:a16="http://schemas.microsoft.com/office/drawing/2014/main" id="{76DF6FC1-0451-282E-DB61-0B5BF38E2B7D}"/>
                    </a:ext>
                  </a:extLst>
                </p:cNvPr>
                <p:cNvSpPr>
                  <a:spLocks noChangeArrowheads="1"/>
                </p:cNvSpPr>
                <p:nvPr>
                  <p:custDataLst>
                    <p:tags r:id="rId38"/>
                  </p:custDataLst>
                </p:nvPr>
              </p:nvSpPr>
              <p:spPr bwMode="auto">
                <a:xfrm>
                  <a:off x="7694561" y="5207425"/>
                  <a:ext cx="1157430"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Ialomita</a:t>
                  </a:r>
                  <a:endParaRPr lang="en-US" altLang="fr-FR" sz="800" dirty="0">
                    <a:solidFill>
                      <a:schemeClr val="lt2"/>
                    </a:solidFill>
                    <a:latin typeface="+mn-lt"/>
                  </a:endParaRPr>
                </a:p>
              </p:txBody>
            </p:sp>
            <p:sp>
              <p:nvSpPr>
                <p:cNvPr id="67" name="Etiquette - Dolj" hidden="1">
                  <a:extLst>
                    <a:ext uri="{FF2B5EF4-FFF2-40B4-BE49-F238E27FC236}">
                      <a16:creationId xmlns:a16="http://schemas.microsoft.com/office/drawing/2014/main" id="{0A77C27B-B26A-A747-0D17-939C95549BA5}"/>
                    </a:ext>
                  </a:extLst>
                </p:cNvPr>
                <p:cNvSpPr>
                  <a:spLocks noChangeArrowheads="1"/>
                </p:cNvSpPr>
                <p:nvPr>
                  <p:custDataLst>
                    <p:tags r:id="rId39"/>
                  </p:custDataLst>
                </p:nvPr>
              </p:nvSpPr>
              <p:spPr bwMode="auto">
                <a:xfrm>
                  <a:off x="5192369" y="5692759"/>
                  <a:ext cx="546428"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Dolj</a:t>
                  </a:r>
                  <a:endParaRPr lang="en-US" altLang="fr-FR" sz="800" dirty="0">
                    <a:solidFill>
                      <a:schemeClr val="lt2"/>
                    </a:solidFill>
                    <a:latin typeface="+mn-lt"/>
                  </a:endParaRPr>
                </a:p>
              </p:txBody>
            </p:sp>
            <p:sp>
              <p:nvSpPr>
                <p:cNvPr id="68" name="Etiquette - Olt" hidden="1">
                  <a:extLst>
                    <a:ext uri="{FF2B5EF4-FFF2-40B4-BE49-F238E27FC236}">
                      <a16:creationId xmlns:a16="http://schemas.microsoft.com/office/drawing/2014/main" id="{D630C42C-3047-6E7D-23CD-685ACC2AE980}"/>
                    </a:ext>
                  </a:extLst>
                </p:cNvPr>
                <p:cNvSpPr>
                  <a:spLocks noChangeArrowheads="1"/>
                </p:cNvSpPr>
                <p:nvPr>
                  <p:custDataLst>
                    <p:tags r:id="rId40"/>
                  </p:custDataLst>
                </p:nvPr>
              </p:nvSpPr>
              <p:spPr bwMode="auto">
                <a:xfrm>
                  <a:off x="5891546" y="5557043"/>
                  <a:ext cx="422240"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Olt</a:t>
                  </a:r>
                  <a:endParaRPr lang="en-US" altLang="fr-FR" sz="800" dirty="0">
                    <a:solidFill>
                      <a:schemeClr val="lt2"/>
                    </a:solidFill>
                    <a:latin typeface="+mn-lt"/>
                  </a:endParaRPr>
                </a:p>
              </p:txBody>
            </p:sp>
            <p:sp>
              <p:nvSpPr>
                <p:cNvPr id="69" name="Etiquette - Teleorman" hidden="1">
                  <a:extLst>
                    <a:ext uri="{FF2B5EF4-FFF2-40B4-BE49-F238E27FC236}">
                      <a16:creationId xmlns:a16="http://schemas.microsoft.com/office/drawing/2014/main" id="{84C26BC3-B3C2-3861-4CDC-9060EAF9C236}"/>
                    </a:ext>
                  </a:extLst>
                </p:cNvPr>
                <p:cNvSpPr>
                  <a:spLocks noChangeArrowheads="1"/>
                </p:cNvSpPr>
                <p:nvPr>
                  <p:custDataLst>
                    <p:tags r:id="rId41"/>
                  </p:custDataLst>
                </p:nvPr>
              </p:nvSpPr>
              <p:spPr bwMode="auto">
                <a:xfrm>
                  <a:off x="5935826" y="5788954"/>
                  <a:ext cx="1544894"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Teleorman</a:t>
                  </a:r>
                  <a:endParaRPr lang="en-US" altLang="fr-FR" sz="800" dirty="0">
                    <a:solidFill>
                      <a:schemeClr val="lt2"/>
                    </a:solidFill>
                    <a:latin typeface="+mn-lt"/>
                  </a:endParaRPr>
                </a:p>
              </p:txBody>
            </p:sp>
            <p:sp>
              <p:nvSpPr>
                <p:cNvPr id="70" name="Etiquette - Giurgiu" hidden="1">
                  <a:extLst>
                    <a:ext uri="{FF2B5EF4-FFF2-40B4-BE49-F238E27FC236}">
                      <a16:creationId xmlns:a16="http://schemas.microsoft.com/office/drawing/2014/main" id="{DC586855-9BAD-90DA-E273-3594711A1D6A}"/>
                    </a:ext>
                  </a:extLst>
                </p:cNvPr>
                <p:cNvSpPr>
                  <a:spLocks noChangeArrowheads="1"/>
                </p:cNvSpPr>
                <p:nvPr>
                  <p:custDataLst>
                    <p:tags r:id="rId42"/>
                  </p:custDataLst>
                </p:nvPr>
              </p:nvSpPr>
              <p:spPr bwMode="auto">
                <a:xfrm>
                  <a:off x="6756139" y="5807535"/>
                  <a:ext cx="1033242"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chemeClr val="lt2"/>
                      </a:solidFill>
                      <a:latin typeface="+mn-lt"/>
                    </a:rPr>
                    <a:t>Giurgiu</a:t>
                  </a:r>
                </a:p>
              </p:txBody>
            </p:sp>
            <p:sp>
              <p:nvSpPr>
                <p:cNvPr id="71" name="Etiquette - Calarasi" hidden="1">
                  <a:extLst>
                    <a:ext uri="{FF2B5EF4-FFF2-40B4-BE49-F238E27FC236}">
                      <a16:creationId xmlns:a16="http://schemas.microsoft.com/office/drawing/2014/main" id="{EA7316D4-ECCE-6ACB-17DD-EF6F7706075A}"/>
                    </a:ext>
                  </a:extLst>
                </p:cNvPr>
                <p:cNvSpPr>
                  <a:spLocks noChangeArrowheads="1"/>
                </p:cNvSpPr>
                <p:nvPr>
                  <p:custDataLst>
                    <p:tags r:id="rId43"/>
                  </p:custDataLst>
                </p:nvPr>
              </p:nvSpPr>
              <p:spPr bwMode="auto">
                <a:xfrm>
                  <a:off x="7496720" y="5575770"/>
                  <a:ext cx="1157430"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Calarasi</a:t>
                  </a:r>
                  <a:endParaRPr lang="en-US" altLang="fr-FR" sz="800" dirty="0">
                    <a:solidFill>
                      <a:schemeClr val="lt2"/>
                    </a:solidFill>
                    <a:latin typeface="+mn-lt"/>
                  </a:endParaRPr>
                </a:p>
              </p:txBody>
            </p:sp>
            <p:sp>
              <p:nvSpPr>
                <p:cNvPr id="72" name="Etiquette - Ilfov" hidden="1">
                  <a:extLst>
                    <a:ext uri="{FF2B5EF4-FFF2-40B4-BE49-F238E27FC236}">
                      <a16:creationId xmlns:a16="http://schemas.microsoft.com/office/drawing/2014/main" id="{F73F676B-5AA6-FD7D-D161-12A957E6119D}"/>
                    </a:ext>
                  </a:extLst>
                </p:cNvPr>
                <p:cNvSpPr>
                  <a:spLocks noChangeArrowheads="1"/>
                </p:cNvSpPr>
                <p:nvPr>
                  <p:custDataLst>
                    <p:tags r:id="rId44"/>
                  </p:custDataLst>
                </p:nvPr>
              </p:nvSpPr>
              <p:spPr bwMode="auto">
                <a:xfrm>
                  <a:off x="7134669" y="5211866"/>
                  <a:ext cx="620940"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err="1">
                      <a:solidFill>
                        <a:schemeClr val="lt2"/>
                      </a:solidFill>
                      <a:latin typeface="+mn-lt"/>
                    </a:rPr>
                    <a:t>Ilfov</a:t>
                  </a:r>
                  <a:endParaRPr lang="en-US" altLang="fr-FR" sz="800" dirty="0">
                    <a:solidFill>
                      <a:schemeClr val="lt2"/>
                    </a:solidFill>
                    <a:latin typeface="+mn-lt"/>
                  </a:endParaRPr>
                </a:p>
              </p:txBody>
            </p:sp>
            <p:sp>
              <p:nvSpPr>
                <p:cNvPr id="73" name="Etiquette - DARK - Bucharest" hidden="1">
                  <a:extLst>
                    <a:ext uri="{FF2B5EF4-FFF2-40B4-BE49-F238E27FC236}">
                      <a16:creationId xmlns:a16="http://schemas.microsoft.com/office/drawing/2014/main" id="{F88DAB9C-DA9E-C13A-FFAF-58F5B7A11765}"/>
                    </a:ext>
                  </a:extLst>
                </p:cNvPr>
                <p:cNvSpPr>
                  <a:spLocks noChangeArrowheads="1"/>
                </p:cNvSpPr>
                <p:nvPr>
                  <p:custDataLst>
                    <p:tags r:id="rId45"/>
                  </p:custDataLst>
                </p:nvPr>
              </p:nvSpPr>
              <p:spPr bwMode="auto">
                <a:xfrm>
                  <a:off x="7008536" y="6166450"/>
                  <a:ext cx="1460450" cy="381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800" dirty="0">
                      <a:solidFill>
                        <a:schemeClr val="lt2"/>
                      </a:solidFill>
                      <a:latin typeface="+mn-lt"/>
                    </a:rPr>
                    <a:t>Bucharest</a:t>
                  </a:r>
                </a:p>
              </p:txBody>
            </p:sp>
            <p:sp>
              <p:nvSpPr>
                <p:cNvPr id="74" name="Etiquette - " hidden="1">
                  <a:extLst>
                    <a:ext uri="{FF2B5EF4-FFF2-40B4-BE49-F238E27FC236}">
                      <a16:creationId xmlns:a16="http://schemas.microsoft.com/office/drawing/2014/main" id="{0CE2A584-F9D5-DEE4-B6C3-57347BE5AF68}"/>
                    </a:ext>
                  </a:extLst>
                </p:cNvPr>
                <p:cNvSpPr>
                  <a:spLocks noChangeShapeType="1"/>
                </p:cNvSpPr>
                <p:nvPr/>
              </p:nvSpPr>
              <p:spPr bwMode="auto">
                <a:xfrm>
                  <a:off x="7425044" y="5670852"/>
                  <a:ext cx="104431" cy="480211"/>
                </a:xfrm>
                <a:prstGeom prst="line">
                  <a:avLst/>
                </a:prstGeom>
                <a:noFill/>
                <a:ln w="6350">
                  <a:solidFill>
                    <a:schemeClr val="tx1"/>
                  </a:solidFill>
                  <a:round/>
                  <a:headEnd type="none" w="lg" len="lg"/>
                  <a:tailEnd type="none" w="lg" len="lg"/>
                </a:ln>
                <a:extLst>
                  <a:ext uri="{909E8E84-426E-40DD-AFC4-6F175D3DCCD1}">
                    <a14:hiddenFill xmlns:a14="http://schemas.microsoft.com/office/drawing/2010/main">
                      <a:noFill/>
                    </a14:hiddenFill>
                  </a:ext>
                </a:extLst>
              </p:spPr>
              <p:txBody>
                <a:bodyPr wrap="none" tIns="91440" bIns="91440" anchor="ctr"/>
                <a:lstStyle/>
                <a:p>
                  <a:pPr algn="ctr"/>
                  <a:endParaRPr lang="en-US" sz="800" dirty="0"/>
                </a:p>
              </p:txBody>
            </p:sp>
          </p:grpSp>
          <p:grpSp>
            <p:nvGrpSpPr>
              <p:cNvPr id="7" name="GradientColorLegend">
                <a:extLst>
                  <a:ext uri="{FF2B5EF4-FFF2-40B4-BE49-F238E27FC236}">
                    <a16:creationId xmlns:a16="http://schemas.microsoft.com/office/drawing/2014/main" id="{6506659E-5278-3B84-7D32-F442AFC5ABBB}"/>
                  </a:ext>
                </a:extLst>
              </p:cNvPr>
              <p:cNvGrpSpPr/>
              <p:nvPr/>
            </p:nvGrpSpPr>
            <p:grpSpPr>
              <a:xfrm>
                <a:off x="2669417" y="1378961"/>
                <a:ext cx="198704" cy="2155579"/>
                <a:chOff x="1026855" y="2186108"/>
                <a:chExt cx="198704" cy="2155579"/>
              </a:xfrm>
            </p:grpSpPr>
            <p:sp>
              <p:nvSpPr>
                <p:cNvPr id="29" name="Etiquette - GradientColorLegend - DARK - Shape" hidden="1">
                  <a:extLst>
                    <a:ext uri="{FF2B5EF4-FFF2-40B4-BE49-F238E27FC236}">
                      <a16:creationId xmlns:a16="http://schemas.microsoft.com/office/drawing/2014/main" id="{2FC2F400-C7CE-EE27-66A8-FC064FB4954B}"/>
                    </a:ext>
                  </a:extLst>
                </p:cNvPr>
                <p:cNvSpPr/>
                <p:nvPr/>
              </p:nvSpPr>
              <p:spPr>
                <a:xfrm>
                  <a:off x="1066170" y="2575168"/>
                  <a:ext cx="120073" cy="1382400"/>
                </a:xfrm>
                <a:prstGeom prst="rect">
                  <a:avLst/>
                </a:prstGeom>
                <a:gradFill flip="none" rotWithShape="1">
                  <a:gsLst>
                    <a:gs pos="0">
                      <a:schemeClr val="accent2"/>
                    </a:gs>
                    <a:gs pos="100000">
                      <a:schemeClr val="accent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0" name="Etiquette - GradientColorLegend - DARK - MaxValue" hidden="1">
                  <a:extLst>
                    <a:ext uri="{FF2B5EF4-FFF2-40B4-BE49-F238E27FC236}">
                      <a16:creationId xmlns:a16="http://schemas.microsoft.com/office/drawing/2014/main" id="{CBA14BAA-C3EE-2DEF-912B-4CB97B102D8F}"/>
                    </a:ext>
                  </a:extLst>
                </p:cNvPr>
                <p:cNvSpPr txBox="1"/>
                <p:nvPr/>
              </p:nvSpPr>
              <p:spPr>
                <a:xfrm>
                  <a:off x="1026855" y="2186108"/>
                  <a:ext cx="198704" cy="381505"/>
                </a:xfrm>
                <a:prstGeom prst="rect">
                  <a:avLst/>
                </a:prstGeom>
                <a:noFill/>
              </p:spPr>
              <p:txBody>
                <a:bodyPr wrap="none" lIns="0" tIns="0" rIns="0" bIns="0" rtlCol="0" anchor="b">
                  <a:spAutoFit/>
                </a:bodyPr>
                <a:lstStyle/>
                <a:p>
                  <a:pPr algn="ctr"/>
                  <a:r>
                    <a:rPr lang="en-US" sz="800"/>
                    <a:t>1</a:t>
                  </a:r>
                  <a:endParaRPr lang="en-US" sz="800" dirty="0"/>
                </a:p>
              </p:txBody>
            </p:sp>
            <p:sp>
              <p:nvSpPr>
                <p:cNvPr id="31" name="Etiquette - GradientColorLegend - DARK - MinValue" hidden="1">
                  <a:extLst>
                    <a:ext uri="{FF2B5EF4-FFF2-40B4-BE49-F238E27FC236}">
                      <a16:creationId xmlns:a16="http://schemas.microsoft.com/office/drawing/2014/main" id="{E4327AB3-1109-5494-4B9F-6F63F92652B3}"/>
                    </a:ext>
                  </a:extLst>
                </p:cNvPr>
                <p:cNvSpPr txBox="1"/>
                <p:nvPr/>
              </p:nvSpPr>
              <p:spPr>
                <a:xfrm>
                  <a:off x="1026855" y="3960182"/>
                  <a:ext cx="198704" cy="381505"/>
                </a:xfrm>
                <a:prstGeom prst="rect">
                  <a:avLst/>
                </a:prstGeom>
                <a:noFill/>
              </p:spPr>
              <p:txBody>
                <a:bodyPr wrap="none" lIns="0" tIns="0" rIns="0" bIns="0" rtlCol="0">
                  <a:spAutoFit/>
                </a:bodyPr>
                <a:lstStyle/>
                <a:p>
                  <a:pPr algn="ctr"/>
                  <a:r>
                    <a:rPr lang="en-US" sz="800"/>
                    <a:t>1</a:t>
                  </a:r>
                  <a:endParaRPr lang="en-US" sz="800" dirty="0"/>
                </a:p>
              </p:txBody>
            </p:sp>
          </p:grpSp>
          <p:grpSp>
            <p:nvGrpSpPr>
              <p:cNvPr id="8" name="RangeColorLegend">
                <a:extLst>
                  <a:ext uri="{FF2B5EF4-FFF2-40B4-BE49-F238E27FC236}">
                    <a16:creationId xmlns:a16="http://schemas.microsoft.com/office/drawing/2014/main" id="{D3185352-72FD-5149-1EBC-A60F7B58117A}"/>
                  </a:ext>
                </a:extLst>
              </p:cNvPr>
              <p:cNvGrpSpPr/>
              <p:nvPr/>
            </p:nvGrpSpPr>
            <p:grpSpPr>
              <a:xfrm>
                <a:off x="2203621" y="2060515"/>
                <a:ext cx="1270800" cy="1538880"/>
                <a:chOff x="9228362" y="4919762"/>
                <a:chExt cx="1270800" cy="1538880"/>
              </a:xfrm>
            </p:grpSpPr>
            <p:sp>
              <p:nvSpPr>
                <p:cNvPr id="9" name="Etiquette - RangeColorLegend - DARK - Color - 2" hidden="1">
                  <a:extLst>
                    <a:ext uri="{FF2B5EF4-FFF2-40B4-BE49-F238E27FC236}">
                      <a16:creationId xmlns:a16="http://schemas.microsoft.com/office/drawing/2014/main" id="{D97815DF-C357-6166-EF4A-DE6EEAE3DC0F}"/>
                    </a:ext>
                  </a:extLst>
                </p:cNvPr>
                <p:cNvSpPr/>
                <p:nvPr/>
              </p:nvSpPr>
              <p:spPr>
                <a:xfrm>
                  <a:off x="9228362" y="5073650"/>
                  <a:ext cx="154800" cy="153888"/>
                </a:xfrm>
                <a:prstGeom prst="rect">
                  <a:avLst/>
                </a:prstGeom>
                <a:solidFill>
                  <a:srgbClr val="92D050"/>
                </a:solidFill>
                <a:ln>
                  <a:solidFill>
                    <a:schemeClr val="tx1"/>
                  </a:solidFill>
                </a:ln>
              </p:spPr>
              <p:txBody>
                <a:bodyPr wrap="square" lIns="0" tIns="0" rIns="0" bIns="0" anchor="ctr">
                  <a:noAutofit/>
                </a:bodyPr>
                <a:lstStyle/>
                <a:p>
                  <a:pPr algn="ctr"/>
                  <a:endParaRPr lang="en-US" sz="800" dirty="0"/>
                </a:p>
              </p:txBody>
            </p:sp>
            <p:sp>
              <p:nvSpPr>
                <p:cNvPr id="10" name="Etiquette - RangeColorLegend - DARK - Color - 1" hidden="1">
                  <a:extLst>
                    <a:ext uri="{FF2B5EF4-FFF2-40B4-BE49-F238E27FC236}">
                      <a16:creationId xmlns:a16="http://schemas.microsoft.com/office/drawing/2014/main" id="{9EE3C828-B5E9-91D0-78CE-A03DA7FF15A7}"/>
                    </a:ext>
                  </a:extLst>
                </p:cNvPr>
                <p:cNvSpPr/>
                <p:nvPr/>
              </p:nvSpPr>
              <p:spPr>
                <a:xfrm>
                  <a:off x="9228362" y="4919762"/>
                  <a:ext cx="154800" cy="153888"/>
                </a:xfrm>
                <a:prstGeom prst="rect">
                  <a:avLst/>
                </a:prstGeom>
                <a:solidFill>
                  <a:srgbClr val="00B050"/>
                </a:solidFill>
                <a:ln>
                  <a:solidFill>
                    <a:schemeClr val="tx1"/>
                  </a:solidFill>
                </a:ln>
              </p:spPr>
              <p:txBody>
                <a:bodyPr wrap="square" lIns="0" tIns="0" rIns="0" bIns="0" anchor="ctr">
                  <a:noAutofit/>
                </a:bodyPr>
                <a:lstStyle/>
                <a:p>
                  <a:pPr algn="ctr"/>
                  <a:endParaRPr lang="en-US" sz="800" dirty="0"/>
                </a:p>
              </p:txBody>
            </p:sp>
            <p:sp>
              <p:nvSpPr>
                <p:cNvPr id="11" name="Etiquette - RangeColorLegend - DARK - Number - 2" hidden="1">
                  <a:extLst>
                    <a:ext uri="{FF2B5EF4-FFF2-40B4-BE49-F238E27FC236}">
                      <a16:creationId xmlns:a16="http://schemas.microsoft.com/office/drawing/2014/main" id="{3CAE283F-2C7B-CC12-DCC5-9D7919CB9C26}"/>
                    </a:ext>
                  </a:extLst>
                </p:cNvPr>
                <p:cNvSpPr/>
                <p:nvPr/>
              </p:nvSpPr>
              <p:spPr>
                <a:xfrm>
                  <a:off x="9383162" y="5073650"/>
                  <a:ext cx="1116000" cy="153888"/>
                </a:xfrm>
                <a:prstGeom prst="rect">
                  <a:avLst/>
                </a:prstGeom>
                <a:ln>
                  <a:noFill/>
                </a:ln>
              </p:spPr>
              <p:txBody>
                <a:bodyPr wrap="none" lIns="72000" tIns="0" rIns="0" bIns="0" anchor="ctr">
                  <a:noAutofit/>
                </a:bodyPr>
                <a:lstStyle/>
                <a:p>
                  <a:r>
                    <a:rPr lang="en-US" sz="800" dirty="0"/>
                    <a:t>[100 to 200[</a:t>
                  </a:r>
                </a:p>
              </p:txBody>
            </p:sp>
            <p:sp>
              <p:nvSpPr>
                <p:cNvPr id="12" name="Etiquette - RangeColorLegend - DARK - Number - 1" hidden="1">
                  <a:extLst>
                    <a:ext uri="{FF2B5EF4-FFF2-40B4-BE49-F238E27FC236}">
                      <a16:creationId xmlns:a16="http://schemas.microsoft.com/office/drawing/2014/main" id="{9E979B14-CB3E-845F-2B2B-1F9DCAD91D95}"/>
                    </a:ext>
                  </a:extLst>
                </p:cNvPr>
                <p:cNvSpPr/>
                <p:nvPr/>
              </p:nvSpPr>
              <p:spPr>
                <a:xfrm>
                  <a:off x="9383162" y="4919762"/>
                  <a:ext cx="1116000" cy="153888"/>
                </a:xfrm>
                <a:prstGeom prst="rect">
                  <a:avLst/>
                </a:prstGeom>
                <a:ln>
                  <a:noFill/>
                </a:ln>
              </p:spPr>
              <p:txBody>
                <a:bodyPr wrap="none" lIns="72000" tIns="0" rIns="0" bIns="0" anchor="ctr">
                  <a:noAutofit/>
                </a:bodyPr>
                <a:lstStyle/>
                <a:p>
                  <a:r>
                    <a:rPr lang="en-US" sz="800" dirty="0"/>
                    <a:t>[0 to 100[</a:t>
                  </a:r>
                </a:p>
              </p:txBody>
            </p:sp>
            <p:sp>
              <p:nvSpPr>
                <p:cNvPr id="13" name="Etiquette - RangeColorLegend - DARK - Color - 4" hidden="1">
                  <a:extLst>
                    <a:ext uri="{FF2B5EF4-FFF2-40B4-BE49-F238E27FC236}">
                      <a16:creationId xmlns:a16="http://schemas.microsoft.com/office/drawing/2014/main" id="{D2553A39-FDA3-BE0F-A88C-039DE89A79DF}"/>
                    </a:ext>
                  </a:extLst>
                </p:cNvPr>
                <p:cNvSpPr/>
                <p:nvPr/>
              </p:nvSpPr>
              <p:spPr>
                <a:xfrm>
                  <a:off x="9228362" y="5381426"/>
                  <a:ext cx="154800" cy="153888"/>
                </a:xfrm>
                <a:prstGeom prst="rect">
                  <a:avLst/>
                </a:prstGeom>
                <a:solidFill>
                  <a:srgbClr val="FFC000"/>
                </a:solidFill>
                <a:ln>
                  <a:solidFill>
                    <a:schemeClr val="tx1"/>
                  </a:solidFill>
                </a:ln>
              </p:spPr>
              <p:txBody>
                <a:bodyPr wrap="square" lIns="0" tIns="0" rIns="0" bIns="0" anchor="ctr">
                  <a:noAutofit/>
                </a:bodyPr>
                <a:lstStyle/>
                <a:p>
                  <a:pPr algn="ctr"/>
                  <a:endParaRPr lang="en-US" sz="800" dirty="0"/>
                </a:p>
              </p:txBody>
            </p:sp>
            <p:sp>
              <p:nvSpPr>
                <p:cNvPr id="14" name="Etiquette - RangeColorLegend - DARK - Color - 3" hidden="1">
                  <a:extLst>
                    <a:ext uri="{FF2B5EF4-FFF2-40B4-BE49-F238E27FC236}">
                      <a16:creationId xmlns:a16="http://schemas.microsoft.com/office/drawing/2014/main" id="{8D6A1159-8D03-A0C3-AFAB-39FDC2E31A6E}"/>
                    </a:ext>
                  </a:extLst>
                </p:cNvPr>
                <p:cNvSpPr/>
                <p:nvPr/>
              </p:nvSpPr>
              <p:spPr>
                <a:xfrm>
                  <a:off x="9228362" y="5227538"/>
                  <a:ext cx="154800" cy="153888"/>
                </a:xfrm>
                <a:prstGeom prst="rect">
                  <a:avLst/>
                </a:prstGeom>
                <a:solidFill>
                  <a:srgbClr val="FFFF00"/>
                </a:solidFill>
                <a:ln>
                  <a:solidFill>
                    <a:schemeClr val="tx1"/>
                  </a:solidFill>
                </a:ln>
              </p:spPr>
              <p:txBody>
                <a:bodyPr wrap="square" lIns="0" tIns="0" rIns="0" bIns="0" anchor="ctr">
                  <a:noAutofit/>
                </a:bodyPr>
                <a:lstStyle/>
                <a:p>
                  <a:pPr algn="ctr"/>
                  <a:endParaRPr lang="en-US" sz="800" dirty="0"/>
                </a:p>
              </p:txBody>
            </p:sp>
            <p:sp>
              <p:nvSpPr>
                <p:cNvPr id="15" name="Etiquette - RangeColorLegend - DARK - Number - 4" hidden="1">
                  <a:extLst>
                    <a:ext uri="{FF2B5EF4-FFF2-40B4-BE49-F238E27FC236}">
                      <a16:creationId xmlns:a16="http://schemas.microsoft.com/office/drawing/2014/main" id="{E7E00DB2-2AA0-8162-452B-666F98124A7E}"/>
                    </a:ext>
                  </a:extLst>
                </p:cNvPr>
                <p:cNvSpPr/>
                <p:nvPr/>
              </p:nvSpPr>
              <p:spPr>
                <a:xfrm>
                  <a:off x="9383162" y="5381426"/>
                  <a:ext cx="1116000" cy="153888"/>
                </a:xfrm>
                <a:prstGeom prst="rect">
                  <a:avLst/>
                </a:prstGeom>
                <a:ln>
                  <a:noFill/>
                </a:ln>
              </p:spPr>
              <p:txBody>
                <a:bodyPr wrap="none" lIns="72000" tIns="0" rIns="0" bIns="0" anchor="ctr">
                  <a:noAutofit/>
                </a:bodyPr>
                <a:lstStyle/>
                <a:p>
                  <a:r>
                    <a:rPr lang="en-US" sz="800" dirty="0"/>
                    <a:t>[300 to 400[</a:t>
                  </a:r>
                </a:p>
              </p:txBody>
            </p:sp>
            <p:sp>
              <p:nvSpPr>
                <p:cNvPr id="16" name="Etiquette - RangeColorLegend - DARK - Number - 3" hidden="1">
                  <a:extLst>
                    <a:ext uri="{FF2B5EF4-FFF2-40B4-BE49-F238E27FC236}">
                      <a16:creationId xmlns:a16="http://schemas.microsoft.com/office/drawing/2014/main" id="{A050B36D-576B-FDD3-0B16-721AA87D7361}"/>
                    </a:ext>
                  </a:extLst>
                </p:cNvPr>
                <p:cNvSpPr/>
                <p:nvPr/>
              </p:nvSpPr>
              <p:spPr>
                <a:xfrm>
                  <a:off x="9383162" y="5227538"/>
                  <a:ext cx="1116000" cy="153888"/>
                </a:xfrm>
                <a:prstGeom prst="rect">
                  <a:avLst/>
                </a:prstGeom>
                <a:ln>
                  <a:noFill/>
                </a:ln>
              </p:spPr>
              <p:txBody>
                <a:bodyPr wrap="none" lIns="72000" tIns="0" rIns="0" bIns="0" anchor="ctr">
                  <a:noAutofit/>
                </a:bodyPr>
                <a:lstStyle/>
                <a:p>
                  <a:r>
                    <a:rPr lang="en-US" sz="800" dirty="0"/>
                    <a:t>[200 to 300[</a:t>
                  </a:r>
                </a:p>
              </p:txBody>
            </p:sp>
            <p:sp>
              <p:nvSpPr>
                <p:cNvPr id="17" name="Etiquette - RangeColorLegend - DARK - Color - 5" hidden="1">
                  <a:extLst>
                    <a:ext uri="{FF2B5EF4-FFF2-40B4-BE49-F238E27FC236}">
                      <a16:creationId xmlns:a16="http://schemas.microsoft.com/office/drawing/2014/main" id="{CA0470A5-5529-7868-DEBD-3E02D685664E}"/>
                    </a:ext>
                  </a:extLst>
                </p:cNvPr>
                <p:cNvSpPr/>
                <p:nvPr/>
              </p:nvSpPr>
              <p:spPr>
                <a:xfrm>
                  <a:off x="9228362" y="5535314"/>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800" dirty="0"/>
                </a:p>
              </p:txBody>
            </p:sp>
            <p:sp>
              <p:nvSpPr>
                <p:cNvPr id="18" name="Etiquette - RangeColorLegend - DARK - Number - 5" hidden="1">
                  <a:extLst>
                    <a:ext uri="{FF2B5EF4-FFF2-40B4-BE49-F238E27FC236}">
                      <a16:creationId xmlns:a16="http://schemas.microsoft.com/office/drawing/2014/main" id="{83A3CE27-5A56-DDFA-CCB2-EA4F77E0FA95}"/>
                    </a:ext>
                  </a:extLst>
                </p:cNvPr>
                <p:cNvSpPr/>
                <p:nvPr/>
              </p:nvSpPr>
              <p:spPr>
                <a:xfrm>
                  <a:off x="9383162" y="5535314"/>
                  <a:ext cx="1116000" cy="153888"/>
                </a:xfrm>
                <a:prstGeom prst="rect">
                  <a:avLst/>
                </a:prstGeom>
                <a:ln>
                  <a:noFill/>
                </a:ln>
              </p:spPr>
              <p:txBody>
                <a:bodyPr wrap="none" lIns="72000" tIns="0" rIns="0" bIns="0" anchor="ctr">
                  <a:noAutofit/>
                </a:bodyPr>
                <a:lstStyle/>
                <a:p>
                  <a:r>
                    <a:rPr lang="en-US" sz="800" dirty="0"/>
                    <a:t>400+</a:t>
                  </a:r>
                </a:p>
              </p:txBody>
            </p:sp>
            <p:sp>
              <p:nvSpPr>
                <p:cNvPr id="19" name="Etiquette - RangeColorLegend - DARK - Color - 6" hidden="1">
                  <a:extLst>
                    <a:ext uri="{FF2B5EF4-FFF2-40B4-BE49-F238E27FC236}">
                      <a16:creationId xmlns:a16="http://schemas.microsoft.com/office/drawing/2014/main" id="{1A210A8C-B952-84B2-8827-12122E2F01DC}"/>
                    </a:ext>
                  </a:extLst>
                </p:cNvPr>
                <p:cNvSpPr/>
                <p:nvPr/>
              </p:nvSpPr>
              <p:spPr>
                <a:xfrm>
                  <a:off x="9228362" y="5689202"/>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800" dirty="0"/>
                </a:p>
              </p:txBody>
            </p:sp>
            <p:sp>
              <p:nvSpPr>
                <p:cNvPr id="20" name="Etiquette - RangeColorLegend - DARK - Number - 6" hidden="1">
                  <a:extLst>
                    <a:ext uri="{FF2B5EF4-FFF2-40B4-BE49-F238E27FC236}">
                      <a16:creationId xmlns:a16="http://schemas.microsoft.com/office/drawing/2014/main" id="{763189C9-FA9E-AA5D-CCD6-4097920568DD}"/>
                    </a:ext>
                  </a:extLst>
                </p:cNvPr>
                <p:cNvSpPr/>
                <p:nvPr/>
              </p:nvSpPr>
              <p:spPr>
                <a:xfrm>
                  <a:off x="9383162" y="5689202"/>
                  <a:ext cx="1116000" cy="153888"/>
                </a:xfrm>
                <a:prstGeom prst="rect">
                  <a:avLst/>
                </a:prstGeom>
                <a:ln>
                  <a:noFill/>
                </a:ln>
              </p:spPr>
              <p:txBody>
                <a:bodyPr wrap="none" lIns="72000" tIns="0" rIns="0" bIns="0" anchor="ctr">
                  <a:noAutofit/>
                </a:bodyPr>
                <a:lstStyle/>
                <a:p>
                  <a:r>
                    <a:rPr lang="en-US" sz="800" dirty="0"/>
                    <a:t>400+</a:t>
                  </a:r>
                </a:p>
              </p:txBody>
            </p:sp>
            <p:sp>
              <p:nvSpPr>
                <p:cNvPr id="21" name="Etiquette - RangeColorLegend - DARK - Color - 7" hidden="1">
                  <a:extLst>
                    <a:ext uri="{FF2B5EF4-FFF2-40B4-BE49-F238E27FC236}">
                      <a16:creationId xmlns:a16="http://schemas.microsoft.com/office/drawing/2014/main" id="{9BFA5B6F-0C86-CBD7-594C-2A225CAF695C}"/>
                    </a:ext>
                  </a:extLst>
                </p:cNvPr>
                <p:cNvSpPr/>
                <p:nvPr/>
              </p:nvSpPr>
              <p:spPr>
                <a:xfrm>
                  <a:off x="9228362" y="5843090"/>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800" dirty="0"/>
                </a:p>
              </p:txBody>
            </p:sp>
            <p:sp>
              <p:nvSpPr>
                <p:cNvPr id="22" name="Etiquette - RangeColorLegend - DARK - Number - 7" hidden="1">
                  <a:extLst>
                    <a:ext uri="{FF2B5EF4-FFF2-40B4-BE49-F238E27FC236}">
                      <a16:creationId xmlns:a16="http://schemas.microsoft.com/office/drawing/2014/main" id="{65D52CC6-2550-F213-5347-FEFFE7EAFE13}"/>
                    </a:ext>
                  </a:extLst>
                </p:cNvPr>
                <p:cNvSpPr/>
                <p:nvPr/>
              </p:nvSpPr>
              <p:spPr>
                <a:xfrm>
                  <a:off x="9383162" y="5843090"/>
                  <a:ext cx="1116000" cy="153888"/>
                </a:xfrm>
                <a:prstGeom prst="rect">
                  <a:avLst/>
                </a:prstGeom>
                <a:ln>
                  <a:noFill/>
                </a:ln>
              </p:spPr>
              <p:txBody>
                <a:bodyPr wrap="none" lIns="72000" tIns="0" rIns="0" bIns="0" anchor="ctr">
                  <a:noAutofit/>
                </a:bodyPr>
                <a:lstStyle/>
                <a:p>
                  <a:r>
                    <a:rPr lang="en-US" sz="800" dirty="0"/>
                    <a:t>400+</a:t>
                  </a:r>
                </a:p>
              </p:txBody>
            </p:sp>
            <p:sp>
              <p:nvSpPr>
                <p:cNvPr id="23" name="Etiquette - RangeColorLegend - DARK - Color - 8" hidden="1">
                  <a:extLst>
                    <a:ext uri="{FF2B5EF4-FFF2-40B4-BE49-F238E27FC236}">
                      <a16:creationId xmlns:a16="http://schemas.microsoft.com/office/drawing/2014/main" id="{4BEB1F47-ED73-BB24-DD7B-C80D46AE3E64}"/>
                    </a:ext>
                  </a:extLst>
                </p:cNvPr>
                <p:cNvSpPr/>
                <p:nvPr/>
              </p:nvSpPr>
              <p:spPr>
                <a:xfrm>
                  <a:off x="9228362" y="5996978"/>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800" dirty="0"/>
                </a:p>
              </p:txBody>
            </p:sp>
            <p:sp>
              <p:nvSpPr>
                <p:cNvPr id="24" name="Etiquette - RangeColorLegend - DARK - Number - 8" hidden="1">
                  <a:extLst>
                    <a:ext uri="{FF2B5EF4-FFF2-40B4-BE49-F238E27FC236}">
                      <a16:creationId xmlns:a16="http://schemas.microsoft.com/office/drawing/2014/main" id="{8495DC09-E6D4-9856-719D-17058C7DC500}"/>
                    </a:ext>
                  </a:extLst>
                </p:cNvPr>
                <p:cNvSpPr/>
                <p:nvPr/>
              </p:nvSpPr>
              <p:spPr>
                <a:xfrm>
                  <a:off x="9383162" y="5996978"/>
                  <a:ext cx="1116000" cy="153888"/>
                </a:xfrm>
                <a:prstGeom prst="rect">
                  <a:avLst/>
                </a:prstGeom>
                <a:ln>
                  <a:noFill/>
                </a:ln>
              </p:spPr>
              <p:txBody>
                <a:bodyPr wrap="none" lIns="72000" tIns="0" rIns="0" bIns="0" anchor="ctr">
                  <a:noAutofit/>
                </a:bodyPr>
                <a:lstStyle/>
                <a:p>
                  <a:r>
                    <a:rPr lang="en-US" sz="800" dirty="0"/>
                    <a:t>400+</a:t>
                  </a:r>
                </a:p>
              </p:txBody>
            </p:sp>
            <p:sp>
              <p:nvSpPr>
                <p:cNvPr id="25" name="Etiquette - RangeColorLegend - DARK - Color - 9" hidden="1">
                  <a:extLst>
                    <a:ext uri="{FF2B5EF4-FFF2-40B4-BE49-F238E27FC236}">
                      <a16:creationId xmlns:a16="http://schemas.microsoft.com/office/drawing/2014/main" id="{C88D9FBC-9D38-E5CB-1DBA-AADA075DAEF7}"/>
                    </a:ext>
                  </a:extLst>
                </p:cNvPr>
                <p:cNvSpPr/>
                <p:nvPr/>
              </p:nvSpPr>
              <p:spPr>
                <a:xfrm>
                  <a:off x="9228362" y="6150866"/>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800" dirty="0"/>
                </a:p>
              </p:txBody>
            </p:sp>
            <p:sp>
              <p:nvSpPr>
                <p:cNvPr id="26" name="Etiquette - RangeColorLegend - DARK - Number - 9" hidden="1">
                  <a:extLst>
                    <a:ext uri="{FF2B5EF4-FFF2-40B4-BE49-F238E27FC236}">
                      <a16:creationId xmlns:a16="http://schemas.microsoft.com/office/drawing/2014/main" id="{AEB4897C-53CB-DF67-7277-6349DA8C8DC7}"/>
                    </a:ext>
                  </a:extLst>
                </p:cNvPr>
                <p:cNvSpPr/>
                <p:nvPr/>
              </p:nvSpPr>
              <p:spPr>
                <a:xfrm>
                  <a:off x="9383162" y="6150866"/>
                  <a:ext cx="1116000" cy="153888"/>
                </a:xfrm>
                <a:prstGeom prst="rect">
                  <a:avLst/>
                </a:prstGeom>
                <a:ln>
                  <a:noFill/>
                </a:ln>
              </p:spPr>
              <p:txBody>
                <a:bodyPr wrap="none" lIns="72000" tIns="0" rIns="0" bIns="0" anchor="ctr">
                  <a:noAutofit/>
                </a:bodyPr>
                <a:lstStyle/>
                <a:p>
                  <a:r>
                    <a:rPr lang="en-US" sz="800" dirty="0"/>
                    <a:t>400+</a:t>
                  </a:r>
                </a:p>
              </p:txBody>
            </p:sp>
            <p:sp>
              <p:nvSpPr>
                <p:cNvPr id="27" name="Etiquette - RangeColorLegend - DARK - Color - 10" hidden="1">
                  <a:extLst>
                    <a:ext uri="{FF2B5EF4-FFF2-40B4-BE49-F238E27FC236}">
                      <a16:creationId xmlns:a16="http://schemas.microsoft.com/office/drawing/2014/main" id="{C20BEBFF-2454-1753-4D52-121DE4E391BA}"/>
                    </a:ext>
                  </a:extLst>
                </p:cNvPr>
                <p:cNvSpPr/>
                <p:nvPr/>
              </p:nvSpPr>
              <p:spPr>
                <a:xfrm>
                  <a:off x="9228362" y="6304754"/>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800" dirty="0"/>
                </a:p>
              </p:txBody>
            </p:sp>
            <p:sp>
              <p:nvSpPr>
                <p:cNvPr id="28" name="Etiquette - RangeColorLegend - DARK - Number - 10" hidden="1">
                  <a:extLst>
                    <a:ext uri="{FF2B5EF4-FFF2-40B4-BE49-F238E27FC236}">
                      <a16:creationId xmlns:a16="http://schemas.microsoft.com/office/drawing/2014/main" id="{E4209D1B-6093-69B0-4EC8-5448C4CD3747}"/>
                    </a:ext>
                  </a:extLst>
                </p:cNvPr>
                <p:cNvSpPr/>
                <p:nvPr/>
              </p:nvSpPr>
              <p:spPr>
                <a:xfrm>
                  <a:off x="9383162" y="6304754"/>
                  <a:ext cx="1116000" cy="153888"/>
                </a:xfrm>
                <a:prstGeom prst="rect">
                  <a:avLst/>
                </a:prstGeom>
                <a:ln>
                  <a:noFill/>
                </a:ln>
              </p:spPr>
              <p:txBody>
                <a:bodyPr wrap="none" lIns="72000" tIns="0" rIns="0" bIns="0" anchor="ctr">
                  <a:noAutofit/>
                </a:bodyPr>
                <a:lstStyle/>
                <a:p>
                  <a:r>
                    <a:rPr lang="en-US" sz="800" dirty="0"/>
                    <a:t>400+</a:t>
                  </a:r>
                </a:p>
              </p:txBody>
            </p:sp>
          </p:grpSp>
        </p:grpSp>
        <p:sp>
          <p:nvSpPr>
            <p:cNvPr id="118" name="POWER_USER_DATA_MAP_STORAGE">
              <a:extLst>
                <a:ext uri="{FF2B5EF4-FFF2-40B4-BE49-F238E27FC236}">
                  <a16:creationId xmlns:a16="http://schemas.microsoft.com/office/drawing/2014/main" id="{0639E40B-1BA5-4C49-299C-138A1674246D}"/>
                </a:ext>
              </a:extLst>
            </p:cNvPr>
            <p:cNvSpPr/>
            <p:nvPr/>
          </p:nvSpPr>
          <p:spPr>
            <a:xfrm>
              <a:off x="2203621" y="1944262"/>
              <a:ext cx="0" cy="0"/>
            </a:xfrm>
            <a:prstGeom prst="rect">
              <a:avLst/>
            </a:prstGeom>
            <a:solidFill>
              <a:srgbClr val="BBE0E3"/>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sz="1200" dirty="0" err="1">
                <a:solidFill>
                  <a:schemeClr val="bg1"/>
                </a:solidFill>
              </a:endParaRPr>
            </a:p>
          </p:txBody>
        </p:sp>
      </p:grpSp>
      <p:sp>
        <p:nvSpPr>
          <p:cNvPr id="121" name="Footer Placeholder 2">
            <a:extLst>
              <a:ext uri="{FF2B5EF4-FFF2-40B4-BE49-F238E27FC236}">
                <a16:creationId xmlns:a16="http://schemas.microsoft.com/office/drawing/2014/main" id="{02D2DDE3-FF79-2402-DAD6-7AF7FB1E3BD1}"/>
              </a:ext>
            </a:extLst>
          </p:cNvPr>
          <p:cNvSpPr>
            <a:spLocks noGrp="1"/>
          </p:cNvSpPr>
          <p:nvPr>
            <p:ph type="ftr" sz="quarter" idx="10"/>
          </p:nvPr>
        </p:nvSpPr>
        <p:spPr>
          <a:xfrm>
            <a:off x="2678113" y="6471244"/>
            <a:ext cx="3086100" cy="180000"/>
          </a:xfrm>
        </p:spPr>
        <p:txBody>
          <a:bodyPr/>
          <a:lstStyle/>
          <a:p>
            <a:r>
              <a:rPr lang="en-US" dirty="0"/>
              <a:t>All for Power Conference</a:t>
            </a:r>
            <a:r>
              <a:rPr lang="cs-CZ" dirty="0"/>
              <a:t>; </a:t>
            </a:r>
            <a:r>
              <a:rPr lang="cs-CZ" sz="800" dirty="0"/>
              <a:t>Jaderná energetika - Evropa</a:t>
            </a:r>
            <a:endParaRPr lang="cs-CZ" dirty="0"/>
          </a:p>
        </p:txBody>
      </p:sp>
      <p:sp>
        <p:nvSpPr>
          <p:cNvPr id="124" name="Content Placeholder 1">
            <a:extLst>
              <a:ext uri="{FF2B5EF4-FFF2-40B4-BE49-F238E27FC236}">
                <a16:creationId xmlns:a16="http://schemas.microsoft.com/office/drawing/2014/main" id="{3A91BC63-9E48-D1D9-7980-3B4E0636E9B7}"/>
              </a:ext>
            </a:extLst>
          </p:cNvPr>
          <p:cNvSpPr txBox="1">
            <a:spLocks/>
          </p:cNvSpPr>
          <p:nvPr/>
        </p:nvSpPr>
        <p:spPr>
          <a:xfrm>
            <a:off x="3088089" y="1041532"/>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1</a:t>
            </a:r>
          </a:p>
        </p:txBody>
      </p:sp>
      <p:sp>
        <p:nvSpPr>
          <p:cNvPr id="125" name="Content Placeholder 1">
            <a:extLst>
              <a:ext uri="{FF2B5EF4-FFF2-40B4-BE49-F238E27FC236}">
                <a16:creationId xmlns:a16="http://schemas.microsoft.com/office/drawing/2014/main" id="{107C76E1-89B3-3A3C-D817-92F0CDBDB155}"/>
              </a:ext>
            </a:extLst>
          </p:cNvPr>
          <p:cNvSpPr txBox="1">
            <a:spLocks/>
          </p:cNvSpPr>
          <p:nvPr/>
        </p:nvSpPr>
        <p:spPr>
          <a:xfrm>
            <a:off x="3546099" y="1118144"/>
            <a:ext cx="1607391" cy="217844"/>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1200" b="1" dirty="0"/>
              <a:t>j</a:t>
            </a:r>
            <a:r>
              <a:rPr lang="cs-CZ" sz="1200" b="1"/>
              <a:t>aderná</a:t>
            </a:r>
            <a:r>
              <a:rPr lang="cs-CZ" sz="1200" b="1" dirty="0"/>
              <a:t> elektrárna</a:t>
            </a:r>
          </a:p>
        </p:txBody>
      </p:sp>
      <p:sp>
        <p:nvSpPr>
          <p:cNvPr id="126" name="Content Placeholder 1">
            <a:extLst>
              <a:ext uri="{FF2B5EF4-FFF2-40B4-BE49-F238E27FC236}">
                <a16:creationId xmlns:a16="http://schemas.microsoft.com/office/drawing/2014/main" id="{F53C94D4-ADF1-4136-0D0C-14C7CC492852}"/>
              </a:ext>
            </a:extLst>
          </p:cNvPr>
          <p:cNvSpPr txBox="1">
            <a:spLocks/>
          </p:cNvSpPr>
          <p:nvPr/>
        </p:nvSpPr>
        <p:spPr>
          <a:xfrm>
            <a:off x="3100662" y="1365159"/>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2</a:t>
            </a:r>
          </a:p>
        </p:txBody>
      </p:sp>
      <p:sp>
        <p:nvSpPr>
          <p:cNvPr id="127" name="Content Placeholder 1">
            <a:extLst>
              <a:ext uri="{FF2B5EF4-FFF2-40B4-BE49-F238E27FC236}">
                <a16:creationId xmlns:a16="http://schemas.microsoft.com/office/drawing/2014/main" id="{7735CF83-275E-4F24-188A-0958F17049A4}"/>
              </a:ext>
            </a:extLst>
          </p:cNvPr>
          <p:cNvSpPr txBox="1">
            <a:spLocks/>
          </p:cNvSpPr>
          <p:nvPr/>
        </p:nvSpPr>
        <p:spPr>
          <a:xfrm>
            <a:off x="3566742" y="1441771"/>
            <a:ext cx="1423369" cy="174061"/>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1200" b="1" dirty="0"/>
              <a:t>reaktory</a:t>
            </a:r>
          </a:p>
        </p:txBody>
      </p:sp>
      <p:sp>
        <p:nvSpPr>
          <p:cNvPr id="128" name="Content Placeholder 1">
            <a:extLst>
              <a:ext uri="{FF2B5EF4-FFF2-40B4-BE49-F238E27FC236}">
                <a16:creationId xmlns:a16="http://schemas.microsoft.com/office/drawing/2014/main" id="{3AEFB6E8-7CB5-9267-0F09-15EE54F55CA3}"/>
              </a:ext>
            </a:extLst>
          </p:cNvPr>
          <p:cNvSpPr txBox="1">
            <a:spLocks/>
          </p:cNvSpPr>
          <p:nvPr/>
        </p:nvSpPr>
        <p:spPr>
          <a:xfrm>
            <a:off x="3088753" y="1684087"/>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1,3</a:t>
            </a:r>
          </a:p>
        </p:txBody>
      </p:sp>
      <p:sp>
        <p:nvSpPr>
          <p:cNvPr id="129" name="Content Placeholder 1">
            <a:extLst>
              <a:ext uri="{FF2B5EF4-FFF2-40B4-BE49-F238E27FC236}">
                <a16:creationId xmlns:a16="http://schemas.microsoft.com/office/drawing/2014/main" id="{E2D13387-7A66-4CBE-CFD9-74017D141563}"/>
              </a:ext>
            </a:extLst>
          </p:cNvPr>
          <p:cNvSpPr txBox="1">
            <a:spLocks/>
          </p:cNvSpPr>
          <p:nvPr/>
        </p:nvSpPr>
        <p:spPr>
          <a:xfrm>
            <a:off x="3533632" y="1777987"/>
            <a:ext cx="1948971" cy="250512"/>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1200" b="1" dirty="0"/>
              <a:t>GW instalovaného výkonu</a:t>
            </a:r>
          </a:p>
        </p:txBody>
      </p:sp>
      <p:sp>
        <p:nvSpPr>
          <p:cNvPr id="130" name="Content Placeholder 1">
            <a:extLst>
              <a:ext uri="{FF2B5EF4-FFF2-40B4-BE49-F238E27FC236}">
                <a16:creationId xmlns:a16="http://schemas.microsoft.com/office/drawing/2014/main" id="{3AF05A04-6928-E8C2-F513-22D10F0C2A3F}"/>
              </a:ext>
            </a:extLst>
          </p:cNvPr>
          <p:cNvSpPr txBox="1">
            <a:spLocks/>
          </p:cNvSpPr>
          <p:nvPr/>
        </p:nvSpPr>
        <p:spPr>
          <a:xfrm>
            <a:off x="3091312" y="2365788"/>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20</a:t>
            </a:r>
          </a:p>
        </p:txBody>
      </p:sp>
      <p:sp>
        <p:nvSpPr>
          <p:cNvPr id="131" name="Content Placeholder 1">
            <a:extLst>
              <a:ext uri="{FF2B5EF4-FFF2-40B4-BE49-F238E27FC236}">
                <a16:creationId xmlns:a16="http://schemas.microsoft.com/office/drawing/2014/main" id="{CE3D443E-E909-9B37-FA2C-955AD5843435}"/>
              </a:ext>
            </a:extLst>
          </p:cNvPr>
          <p:cNvSpPr txBox="1">
            <a:spLocks/>
          </p:cNvSpPr>
          <p:nvPr/>
        </p:nvSpPr>
        <p:spPr>
          <a:xfrm>
            <a:off x="3536191" y="2459688"/>
            <a:ext cx="1897381" cy="196140"/>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1200" b="1" dirty="0"/>
              <a:t>% celkové výroby elektřiny</a:t>
            </a:r>
          </a:p>
        </p:txBody>
      </p:sp>
      <p:sp>
        <p:nvSpPr>
          <p:cNvPr id="134" name="Content Placeholder 1">
            <a:extLst>
              <a:ext uri="{FF2B5EF4-FFF2-40B4-BE49-F238E27FC236}">
                <a16:creationId xmlns:a16="http://schemas.microsoft.com/office/drawing/2014/main" id="{FD3F91F8-881B-6E0D-C4D7-B7A4D4AFA773}"/>
              </a:ext>
            </a:extLst>
          </p:cNvPr>
          <p:cNvSpPr txBox="1">
            <a:spLocks/>
          </p:cNvSpPr>
          <p:nvPr/>
        </p:nvSpPr>
        <p:spPr>
          <a:xfrm>
            <a:off x="3088089" y="2033639"/>
            <a:ext cx="490843" cy="331518"/>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b="1" dirty="0">
                <a:solidFill>
                  <a:schemeClr val="accent3"/>
                </a:solidFill>
              </a:rPr>
              <a:t>11</a:t>
            </a:r>
          </a:p>
        </p:txBody>
      </p:sp>
      <p:sp>
        <p:nvSpPr>
          <p:cNvPr id="136" name="Flowchart: Connector 135">
            <a:extLst>
              <a:ext uri="{FF2B5EF4-FFF2-40B4-BE49-F238E27FC236}">
                <a16:creationId xmlns:a16="http://schemas.microsoft.com/office/drawing/2014/main" id="{1B392493-9E50-A412-2A7B-A974F43657A5}"/>
              </a:ext>
            </a:extLst>
          </p:cNvPr>
          <p:cNvSpPr/>
          <p:nvPr/>
        </p:nvSpPr>
        <p:spPr>
          <a:xfrm>
            <a:off x="2480182" y="2372048"/>
            <a:ext cx="108000" cy="108000"/>
          </a:xfrm>
          <a:prstGeom prst="flowChartConnector">
            <a:avLst/>
          </a:prstGeom>
          <a:solidFill>
            <a:srgbClr val="FFC000"/>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17" name="Content Placeholder 1">
            <a:extLst>
              <a:ext uri="{FF2B5EF4-FFF2-40B4-BE49-F238E27FC236}">
                <a16:creationId xmlns:a16="http://schemas.microsoft.com/office/drawing/2014/main" id="{B0BEB4D5-371A-C2B1-D4BA-334021FBA950}"/>
              </a:ext>
            </a:extLst>
          </p:cNvPr>
          <p:cNvSpPr txBox="1">
            <a:spLocks/>
          </p:cNvSpPr>
          <p:nvPr/>
        </p:nvSpPr>
        <p:spPr>
          <a:xfrm>
            <a:off x="3517965" y="2106036"/>
            <a:ext cx="1948971" cy="250512"/>
          </a:xfrm>
          <a:prstGeom prst="rect">
            <a:avLst/>
          </a:prstGeom>
          <a:ln>
            <a:noFill/>
          </a:ln>
        </p:spPr>
        <p:txBody>
          <a:bodyPr vert="horz" lIns="0" tIns="0" rIns="0" bIns="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1200" b="1" dirty="0" err="1"/>
              <a:t>TWh</a:t>
            </a:r>
            <a:r>
              <a:rPr lang="cs-CZ" sz="1200" b="1" dirty="0"/>
              <a:t> elektřiny ročně</a:t>
            </a:r>
          </a:p>
        </p:txBody>
      </p:sp>
      <p:graphicFrame>
        <p:nvGraphicFramePr>
          <p:cNvPr id="141" name="Chart 140">
            <a:extLst>
              <a:ext uri="{FF2B5EF4-FFF2-40B4-BE49-F238E27FC236}">
                <a16:creationId xmlns:a16="http://schemas.microsoft.com/office/drawing/2014/main" id="{F3E02051-638A-3E46-EF2F-DE9C59543142}"/>
              </a:ext>
            </a:extLst>
          </p:cNvPr>
          <p:cNvGraphicFramePr>
            <a:graphicFrameLocks/>
          </p:cNvGraphicFramePr>
          <p:nvPr>
            <p:custDataLst>
              <p:tags r:id="rId1"/>
            </p:custDataLst>
            <p:extLst>
              <p:ext uri="{D42A27DB-BD31-4B8C-83A1-F6EECF244321}">
                <p14:modId xmlns:p14="http://schemas.microsoft.com/office/powerpoint/2010/main" val="1826246907"/>
              </p:ext>
            </p:extLst>
          </p:nvPr>
        </p:nvGraphicFramePr>
        <p:xfrm>
          <a:off x="698922" y="3378410"/>
          <a:ext cx="4918218" cy="2070790"/>
        </p:xfrm>
        <a:graphic>
          <a:graphicData uri="http://schemas.openxmlformats.org/drawingml/2006/chart">
            <c:chart xmlns:c="http://schemas.openxmlformats.org/drawingml/2006/chart" xmlns:r="http://schemas.openxmlformats.org/officeDocument/2006/relationships" r:id="rId47"/>
          </a:graphicData>
        </a:graphic>
      </p:graphicFrame>
      <p:sp>
        <p:nvSpPr>
          <p:cNvPr id="142" name="Content Placeholder 1">
            <a:extLst>
              <a:ext uri="{FF2B5EF4-FFF2-40B4-BE49-F238E27FC236}">
                <a16:creationId xmlns:a16="http://schemas.microsoft.com/office/drawing/2014/main" id="{9839B94C-686A-A2CE-0EC5-619403F58747}"/>
              </a:ext>
            </a:extLst>
          </p:cNvPr>
          <p:cNvSpPr txBox="1">
            <a:spLocks/>
          </p:cNvSpPr>
          <p:nvPr/>
        </p:nvSpPr>
        <p:spPr>
          <a:xfrm>
            <a:off x="609917" y="5562865"/>
            <a:ext cx="4872685" cy="601530"/>
          </a:xfrm>
          <a:prstGeom prst="rect">
            <a:avLst/>
          </a:prstGeom>
          <a:ln>
            <a:noFill/>
          </a:ln>
        </p:spPr>
        <p:txBody>
          <a:bodyPr vert="horz" lIns="72000" tIns="72000" rIns="72000" bIns="7200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accent3"/>
              </a:buClr>
              <a:buNone/>
            </a:pPr>
            <a:r>
              <a:rPr lang="cs-CZ" sz="1000" dirty="0"/>
              <a:t>Jaderná energie výrazně přispívá k dekarbonizaci a diverzifikaci rumunské energetiky. Od dostavby dvou bloků jediné jaderné elektrárny </a:t>
            </a:r>
            <a:r>
              <a:rPr lang="cs-CZ" sz="1000" dirty="0" err="1"/>
              <a:t>Cernovoda</a:t>
            </a:r>
            <a:r>
              <a:rPr lang="cs-CZ" sz="1000" dirty="0"/>
              <a:t> v letech 1996 a 2007 se výrazně snížila závislost na fosilních palivech.</a:t>
            </a:r>
            <a:endParaRPr lang="cs-CZ" sz="1200" dirty="0"/>
          </a:p>
        </p:txBody>
      </p:sp>
      <p:sp>
        <p:nvSpPr>
          <p:cNvPr id="150" name="Obdélník 75">
            <a:extLst>
              <a:ext uri="{FF2B5EF4-FFF2-40B4-BE49-F238E27FC236}">
                <a16:creationId xmlns:a16="http://schemas.microsoft.com/office/drawing/2014/main" id="{CDB6567D-975E-5177-CFB9-5F674F08E2C4}"/>
              </a:ext>
            </a:extLst>
          </p:cNvPr>
          <p:cNvSpPr/>
          <p:nvPr/>
        </p:nvSpPr>
        <p:spPr>
          <a:xfrm>
            <a:off x="6277294" y="1020945"/>
            <a:ext cx="5220000" cy="3165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cs-CZ" sz="1400" b="1" dirty="0">
                <a:solidFill>
                  <a:schemeClr val="accent3"/>
                </a:solidFill>
              </a:rPr>
              <a:t>Rumunský národní plán pro energetiku a klima</a:t>
            </a:r>
            <a:r>
              <a:rPr lang="cs-CZ" sz="1400" b="1">
                <a:solidFill>
                  <a:schemeClr val="accent3"/>
                </a:solidFill>
              </a:rPr>
              <a:t> </a:t>
            </a:r>
            <a:r>
              <a:rPr lang="cs-CZ" sz="1400" dirty="0">
                <a:solidFill>
                  <a:schemeClr val="accent3"/>
                </a:solidFill>
              </a:rPr>
              <a:t>(2021)</a:t>
            </a:r>
          </a:p>
        </p:txBody>
      </p:sp>
      <p:sp>
        <p:nvSpPr>
          <p:cNvPr id="151" name="Obdélník 75">
            <a:extLst>
              <a:ext uri="{FF2B5EF4-FFF2-40B4-BE49-F238E27FC236}">
                <a16:creationId xmlns:a16="http://schemas.microsoft.com/office/drawing/2014/main" id="{9EE48381-FC4A-2EDC-D140-01F70564B3BE}"/>
              </a:ext>
            </a:extLst>
          </p:cNvPr>
          <p:cNvSpPr/>
          <p:nvPr/>
        </p:nvSpPr>
        <p:spPr>
          <a:xfrm>
            <a:off x="6277294" y="2272570"/>
            <a:ext cx="5220000" cy="3165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cs-CZ" sz="1400" b="1" dirty="0">
                <a:solidFill>
                  <a:schemeClr val="accent3"/>
                </a:solidFill>
              </a:rPr>
              <a:t>Stav reaktorů a plánovaná výstavba</a:t>
            </a:r>
          </a:p>
        </p:txBody>
      </p:sp>
      <p:sp>
        <p:nvSpPr>
          <p:cNvPr id="152" name="Nuclear_plant" descr="{&quot;Key&quot;:&quot;POWER_USER_SHAPE_ICON&quot;,&quot;Value&quot;:&quot;POWER_USER_SHAPE_ICON_STYLE_1&quot;}">
            <a:extLst>
              <a:ext uri="{FF2B5EF4-FFF2-40B4-BE49-F238E27FC236}">
                <a16:creationId xmlns:a16="http://schemas.microsoft.com/office/drawing/2014/main" id="{0D1645E0-B622-01AB-06A6-CC6C264DEE23}"/>
              </a:ext>
            </a:extLst>
          </p:cNvPr>
          <p:cNvSpPr>
            <a:spLocks noChangeAspect="1" noEditPoints="1"/>
          </p:cNvSpPr>
          <p:nvPr>
            <p:custDataLst>
              <p:tags r:id="rId2"/>
            </p:custDataLst>
          </p:nvPr>
        </p:nvSpPr>
        <p:spPr bwMode="auto">
          <a:xfrm>
            <a:off x="5917435" y="2283491"/>
            <a:ext cx="267015" cy="324000"/>
          </a:xfrm>
          <a:custGeom>
            <a:avLst/>
            <a:gdLst>
              <a:gd name="T0" fmla="*/ 154 w 682"/>
              <a:gd name="T1" fmla="*/ 690 h 829"/>
              <a:gd name="T2" fmla="*/ 179 w 682"/>
              <a:gd name="T3" fmla="*/ 324 h 829"/>
              <a:gd name="T4" fmla="*/ 446 w 682"/>
              <a:gd name="T5" fmla="*/ 463 h 829"/>
              <a:gd name="T6" fmla="*/ 145 w 682"/>
              <a:gd name="T7" fmla="*/ 725 h 829"/>
              <a:gd name="T8" fmla="*/ 130 w 682"/>
              <a:gd name="T9" fmla="*/ 781 h 829"/>
              <a:gd name="T10" fmla="*/ 221 w 682"/>
              <a:gd name="T11" fmla="*/ 725 h 829"/>
              <a:gd name="T12" fmla="*/ 196 w 682"/>
              <a:gd name="T13" fmla="*/ 781 h 829"/>
              <a:gd name="T14" fmla="*/ 221 w 682"/>
              <a:gd name="T15" fmla="*/ 725 h 829"/>
              <a:gd name="T16" fmla="*/ 279 w 682"/>
              <a:gd name="T17" fmla="*/ 781 h 829"/>
              <a:gd name="T18" fmla="*/ 257 w 682"/>
              <a:gd name="T19" fmla="*/ 725 h 829"/>
              <a:gd name="T20" fmla="*/ 340 w 682"/>
              <a:gd name="T21" fmla="*/ 725 h 829"/>
              <a:gd name="T22" fmla="*/ 315 w 682"/>
              <a:gd name="T23" fmla="*/ 781 h 829"/>
              <a:gd name="T24" fmla="*/ 340 w 682"/>
              <a:gd name="T25" fmla="*/ 725 h 829"/>
              <a:gd name="T26" fmla="*/ 398 w 682"/>
              <a:gd name="T27" fmla="*/ 781 h 829"/>
              <a:gd name="T28" fmla="*/ 376 w 682"/>
              <a:gd name="T29" fmla="*/ 725 h 829"/>
              <a:gd name="T30" fmla="*/ 459 w 682"/>
              <a:gd name="T31" fmla="*/ 725 h 829"/>
              <a:gd name="T32" fmla="*/ 434 w 682"/>
              <a:gd name="T33" fmla="*/ 781 h 829"/>
              <a:gd name="T34" fmla="*/ 459 w 682"/>
              <a:gd name="T35" fmla="*/ 725 h 829"/>
              <a:gd name="T36" fmla="*/ 580 w 682"/>
              <a:gd name="T37" fmla="*/ 135 h 829"/>
              <a:gd name="T38" fmla="*/ 457 w 682"/>
              <a:gd name="T39" fmla="*/ 125 h 829"/>
              <a:gd name="T40" fmla="*/ 352 w 682"/>
              <a:gd name="T41" fmla="*/ 231 h 829"/>
              <a:gd name="T42" fmla="*/ 399 w 682"/>
              <a:gd name="T43" fmla="*/ 231 h 829"/>
              <a:gd name="T44" fmla="*/ 457 w 682"/>
              <a:gd name="T45" fmla="*/ 172 h 829"/>
              <a:gd name="T46" fmla="*/ 604 w 682"/>
              <a:gd name="T47" fmla="*/ 175 h 829"/>
              <a:gd name="T48" fmla="*/ 628 w 682"/>
              <a:gd name="T49" fmla="*/ 61 h 829"/>
              <a:gd name="T50" fmla="*/ 491 w 682"/>
              <a:gd name="T51" fmla="*/ 277 h 829"/>
              <a:gd name="T52" fmla="*/ 226 w 682"/>
              <a:gd name="T53" fmla="*/ 197 h 829"/>
              <a:gd name="T54" fmla="*/ 254 w 682"/>
              <a:gd name="T55" fmla="*/ 133 h 829"/>
              <a:gd name="T56" fmla="*/ 332 w 682"/>
              <a:gd name="T57" fmla="*/ 181 h 829"/>
              <a:gd name="T58" fmla="*/ 297 w 682"/>
              <a:gd name="T59" fmla="*/ 103 h 829"/>
              <a:gd name="T60" fmla="*/ 389 w 682"/>
              <a:gd name="T61" fmla="*/ 68 h 829"/>
              <a:gd name="T62" fmla="*/ 564 w 682"/>
              <a:gd name="T63" fmla="*/ 39 h 829"/>
              <a:gd name="T64" fmla="*/ 523 w 682"/>
              <a:gd name="T65" fmla="*/ 15 h 829"/>
              <a:gd name="T66" fmla="*/ 418 w 682"/>
              <a:gd name="T67" fmla="*/ 30 h 829"/>
              <a:gd name="T68" fmla="*/ 251 w 682"/>
              <a:gd name="T69" fmla="*/ 86 h 829"/>
              <a:gd name="T70" fmla="*/ 181 w 682"/>
              <a:gd name="T71" fmla="*/ 212 h 829"/>
              <a:gd name="T72" fmla="*/ 126 w 682"/>
              <a:gd name="T73" fmla="*/ 308 h 829"/>
              <a:gd name="T74" fmla="*/ 108 w 682"/>
              <a:gd name="T75" fmla="*/ 679 h 829"/>
              <a:gd name="T76" fmla="*/ 23 w 682"/>
              <a:gd name="T77" fmla="*/ 781 h 829"/>
              <a:gd name="T78" fmla="*/ 23 w 682"/>
              <a:gd name="T79" fmla="*/ 829 h 829"/>
              <a:gd name="T80" fmla="*/ 640 w 682"/>
              <a:gd name="T81" fmla="*/ 805 h 829"/>
              <a:gd name="T82" fmla="*/ 559 w 682"/>
              <a:gd name="T83" fmla="*/ 781 h 829"/>
              <a:gd name="T84" fmla="*/ 494 w 682"/>
              <a:gd name="T85" fmla="*/ 462 h 829"/>
              <a:gd name="T86" fmla="*/ 491 w 682"/>
              <a:gd name="T87" fmla="*/ 277 h 829"/>
              <a:gd name="T88" fmla="*/ 658 w 682"/>
              <a:gd name="T89" fmla="*/ 182 h 829"/>
              <a:gd name="T90" fmla="*/ 647 w 682"/>
              <a:gd name="T91" fmla="*/ 289 h 829"/>
              <a:gd name="T92" fmla="*/ 539 w 682"/>
              <a:gd name="T93" fmla="*/ 300 h 829"/>
              <a:gd name="T94" fmla="*/ 613 w 682"/>
              <a:gd name="T95" fmla="*/ 256 h 829"/>
              <a:gd name="T96" fmla="*/ 511 w 682"/>
              <a:gd name="T97" fmla="*/ 781 h 829"/>
              <a:gd name="T98" fmla="*/ 495 w 682"/>
              <a:gd name="T99" fmla="*/ 725 h 829"/>
              <a:gd name="T100" fmla="*/ 511 w 682"/>
              <a:gd name="T101" fmla="*/ 781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2" h="829">
                <a:moveTo>
                  <a:pt x="486" y="690"/>
                </a:moveTo>
                <a:lnTo>
                  <a:pt x="154" y="690"/>
                </a:lnTo>
                <a:cubicBezTo>
                  <a:pt x="180" y="593"/>
                  <a:pt x="192" y="523"/>
                  <a:pt x="194" y="463"/>
                </a:cubicBezTo>
                <a:cubicBezTo>
                  <a:pt x="195" y="412"/>
                  <a:pt x="190" y="369"/>
                  <a:pt x="179" y="324"/>
                </a:cubicBezTo>
                <a:lnTo>
                  <a:pt x="461" y="324"/>
                </a:lnTo>
                <a:cubicBezTo>
                  <a:pt x="450" y="369"/>
                  <a:pt x="445" y="412"/>
                  <a:pt x="446" y="463"/>
                </a:cubicBezTo>
                <a:cubicBezTo>
                  <a:pt x="448" y="523"/>
                  <a:pt x="460" y="593"/>
                  <a:pt x="486" y="690"/>
                </a:cubicBezTo>
                <a:close/>
                <a:moveTo>
                  <a:pt x="145" y="725"/>
                </a:moveTo>
                <a:lnTo>
                  <a:pt x="160" y="781"/>
                </a:lnTo>
                <a:lnTo>
                  <a:pt x="130" y="781"/>
                </a:lnTo>
                <a:lnTo>
                  <a:pt x="145" y="725"/>
                </a:lnTo>
                <a:close/>
                <a:moveTo>
                  <a:pt x="221" y="725"/>
                </a:moveTo>
                <a:lnTo>
                  <a:pt x="206" y="781"/>
                </a:lnTo>
                <a:lnTo>
                  <a:pt x="196" y="781"/>
                </a:lnTo>
                <a:lnTo>
                  <a:pt x="181" y="725"/>
                </a:lnTo>
                <a:lnTo>
                  <a:pt x="221" y="725"/>
                </a:lnTo>
                <a:close/>
                <a:moveTo>
                  <a:pt x="264" y="725"/>
                </a:moveTo>
                <a:lnTo>
                  <a:pt x="279" y="781"/>
                </a:lnTo>
                <a:lnTo>
                  <a:pt x="242" y="781"/>
                </a:lnTo>
                <a:lnTo>
                  <a:pt x="257" y="725"/>
                </a:lnTo>
                <a:lnTo>
                  <a:pt x="264" y="725"/>
                </a:lnTo>
                <a:close/>
                <a:moveTo>
                  <a:pt x="340" y="725"/>
                </a:moveTo>
                <a:lnTo>
                  <a:pt x="325" y="781"/>
                </a:lnTo>
                <a:lnTo>
                  <a:pt x="315" y="781"/>
                </a:lnTo>
                <a:lnTo>
                  <a:pt x="300" y="725"/>
                </a:lnTo>
                <a:lnTo>
                  <a:pt x="340" y="725"/>
                </a:lnTo>
                <a:close/>
                <a:moveTo>
                  <a:pt x="383" y="725"/>
                </a:moveTo>
                <a:lnTo>
                  <a:pt x="398" y="781"/>
                </a:lnTo>
                <a:lnTo>
                  <a:pt x="361" y="781"/>
                </a:lnTo>
                <a:lnTo>
                  <a:pt x="376" y="725"/>
                </a:lnTo>
                <a:lnTo>
                  <a:pt x="383" y="725"/>
                </a:lnTo>
                <a:close/>
                <a:moveTo>
                  <a:pt x="459" y="725"/>
                </a:moveTo>
                <a:lnTo>
                  <a:pt x="444" y="781"/>
                </a:lnTo>
                <a:lnTo>
                  <a:pt x="434" y="781"/>
                </a:lnTo>
                <a:lnTo>
                  <a:pt x="419" y="725"/>
                </a:lnTo>
                <a:lnTo>
                  <a:pt x="459" y="725"/>
                </a:lnTo>
                <a:close/>
                <a:moveTo>
                  <a:pt x="604" y="85"/>
                </a:moveTo>
                <a:cubicBezTo>
                  <a:pt x="604" y="105"/>
                  <a:pt x="598" y="124"/>
                  <a:pt x="580" y="135"/>
                </a:cubicBezTo>
                <a:cubicBezTo>
                  <a:pt x="559" y="147"/>
                  <a:pt x="532" y="145"/>
                  <a:pt x="511" y="136"/>
                </a:cubicBezTo>
                <a:cubicBezTo>
                  <a:pt x="492" y="129"/>
                  <a:pt x="474" y="125"/>
                  <a:pt x="457" y="125"/>
                </a:cubicBezTo>
                <a:cubicBezTo>
                  <a:pt x="415" y="125"/>
                  <a:pt x="376" y="147"/>
                  <a:pt x="360" y="187"/>
                </a:cubicBezTo>
                <a:cubicBezTo>
                  <a:pt x="355" y="200"/>
                  <a:pt x="352" y="215"/>
                  <a:pt x="352" y="231"/>
                </a:cubicBezTo>
                <a:cubicBezTo>
                  <a:pt x="352" y="244"/>
                  <a:pt x="362" y="255"/>
                  <a:pt x="375" y="255"/>
                </a:cubicBezTo>
                <a:cubicBezTo>
                  <a:pt x="388" y="255"/>
                  <a:pt x="399" y="244"/>
                  <a:pt x="399" y="231"/>
                </a:cubicBezTo>
                <a:cubicBezTo>
                  <a:pt x="399" y="221"/>
                  <a:pt x="401" y="212"/>
                  <a:pt x="404" y="205"/>
                </a:cubicBezTo>
                <a:cubicBezTo>
                  <a:pt x="413" y="182"/>
                  <a:pt x="434" y="172"/>
                  <a:pt x="457" y="172"/>
                </a:cubicBezTo>
                <a:cubicBezTo>
                  <a:pt x="469" y="172"/>
                  <a:pt x="481" y="175"/>
                  <a:pt x="493" y="180"/>
                </a:cubicBezTo>
                <a:cubicBezTo>
                  <a:pt x="529" y="194"/>
                  <a:pt x="570" y="196"/>
                  <a:pt x="604" y="175"/>
                </a:cubicBezTo>
                <a:cubicBezTo>
                  <a:pt x="636" y="156"/>
                  <a:pt x="652" y="122"/>
                  <a:pt x="652" y="85"/>
                </a:cubicBezTo>
                <a:cubicBezTo>
                  <a:pt x="652" y="72"/>
                  <a:pt x="641" y="61"/>
                  <a:pt x="628" y="61"/>
                </a:cubicBezTo>
                <a:cubicBezTo>
                  <a:pt x="615" y="61"/>
                  <a:pt x="604" y="72"/>
                  <a:pt x="604" y="85"/>
                </a:cubicBezTo>
                <a:close/>
                <a:moveTo>
                  <a:pt x="491" y="277"/>
                </a:moveTo>
                <a:lnTo>
                  <a:pt x="226" y="277"/>
                </a:lnTo>
                <a:cubicBezTo>
                  <a:pt x="242" y="245"/>
                  <a:pt x="234" y="221"/>
                  <a:pt x="226" y="197"/>
                </a:cubicBezTo>
                <a:cubicBezTo>
                  <a:pt x="221" y="182"/>
                  <a:pt x="216" y="167"/>
                  <a:pt x="225" y="151"/>
                </a:cubicBezTo>
                <a:cubicBezTo>
                  <a:pt x="231" y="140"/>
                  <a:pt x="241" y="134"/>
                  <a:pt x="254" y="133"/>
                </a:cubicBezTo>
                <a:cubicBezTo>
                  <a:pt x="261" y="157"/>
                  <a:pt x="278" y="177"/>
                  <a:pt x="300" y="190"/>
                </a:cubicBezTo>
                <a:cubicBezTo>
                  <a:pt x="311" y="196"/>
                  <a:pt x="325" y="193"/>
                  <a:pt x="332" y="181"/>
                </a:cubicBezTo>
                <a:cubicBezTo>
                  <a:pt x="338" y="170"/>
                  <a:pt x="334" y="156"/>
                  <a:pt x="323" y="149"/>
                </a:cubicBezTo>
                <a:cubicBezTo>
                  <a:pt x="307" y="140"/>
                  <a:pt x="297" y="122"/>
                  <a:pt x="297" y="103"/>
                </a:cubicBezTo>
                <a:cubicBezTo>
                  <a:pt x="297" y="74"/>
                  <a:pt x="320" y="51"/>
                  <a:pt x="350" y="51"/>
                </a:cubicBezTo>
                <a:cubicBezTo>
                  <a:pt x="367" y="51"/>
                  <a:pt x="378" y="59"/>
                  <a:pt x="389" y="68"/>
                </a:cubicBezTo>
                <a:cubicBezTo>
                  <a:pt x="408" y="82"/>
                  <a:pt x="427" y="96"/>
                  <a:pt x="464" y="96"/>
                </a:cubicBezTo>
                <a:cubicBezTo>
                  <a:pt x="505" y="96"/>
                  <a:pt x="544" y="74"/>
                  <a:pt x="564" y="39"/>
                </a:cubicBezTo>
                <a:cubicBezTo>
                  <a:pt x="571" y="27"/>
                  <a:pt x="567" y="13"/>
                  <a:pt x="556" y="6"/>
                </a:cubicBezTo>
                <a:cubicBezTo>
                  <a:pt x="544" y="0"/>
                  <a:pt x="530" y="4"/>
                  <a:pt x="523" y="15"/>
                </a:cubicBezTo>
                <a:cubicBezTo>
                  <a:pt x="511" y="36"/>
                  <a:pt x="489" y="49"/>
                  <a:pt x="464" y="49"/>
                </a:cubicBezTo>
                <a:cubicBezTo>
                  <a:pt x="443" y="49"/>
                  <a:pt x="430" y="39"/>
                  <a:pt x="418" y="30"/>
                </a:cubicBezTo>
                <a:cubicBezTo>
                  <a:pt x="400" y="17"/>
                  <a:pt x="382" y="3"/>
                  <a:pt x="350" y="3"/>
                </a:cubicBezTo>
                <a:cubicBezTo>
                  <a:pt x="301" y="3"/>
                  <a:pt x="260" y="38"/>
                  <a:pt x="251" y="86"/>
                </a:cubicBezTo>
                <a:cubicBezTo>
                  <a:pt x="222" y="88"/>
                  <a:pt x="197" y="103"/>
                  <a:pt x="183" y="129"/>
                </a:cubicBezTo>
                <a:cubicBezTo>
                  <a:pt x="165" y="163"/>
                  <a:pt x="173" y="187"/>
                  <a:pt x="181" y="212"/>
                </a:cubicBezTo>
                <a:cubicBezTo>
                  <a:pt x="192" y="242"/>
                  <a:pt x="189" y="277"/>
                  <a:pt x="149" y="277"/>
                </a:cubicBezTo>
                <a:cubicBezTo>
                  <a:pt x="133" y="277"/>
                  <a:pt x="122" y="291"/>
                  <a:pt x="126" y="308"/>
                </a:cubicBezTo>
                <a:cubicBezTo>
                  <a:pt x="140" y="360"/>
                  <a:pt x="148" y="406"/>
                  <a:pt x="147" y="462"/>
                </a:cubicBezTo>
                <a:cubicBezTo>
                  <a:pt x="145" y="518"/>
                  <a:pt x="133" y="586"/>
                  <a:pt x="108" y="679"/>
                </a:cubicBezTo>
                <a:lnTo>
                  <a:pt x="81" y="781"/>
                </a:lnTo>
                <a:lnTo>
                  <a:pt x="23" y="781"/>
                </a:lnTo>
                <a:cubicBezTo>
                  <a:pt x="10" y="781"/>
                  <a:pt x="0" y="792"/>
                  <a:pt x="0" y="805"/>
                </a:cubicBezTo>
                <a:cubicBezTo>
                  <a:pt x="0" y="818"/>
                  <a:pt x="10" y="829"/>
                  <a:pt x="23" y="829"/>
                </a:cubicBezTo>
                <a:lnTo>
                  <a:pt x="617" y="829"/>
                </a:lnTo>
                <a:cubicBezTo>
                  <a:pt x="630" y="829"/>
                  <a:pt x="640" y="818"/>
                  <a:pt x="640" y="805"/>
                </a:cubicBezTo>
                <a:cubicBezTo>
                  <a:pt x="640" y="792"/>
                  <a:pt x="630" y="781"/>
                  <a:pt x="617" y="781"/>
                </a:cubicBezTo>
                <a:lnTo>
                  <a:pt x="559" y="781"/>
                </a:lnTo>
                <a:lnTo>
                  <a:pt x="532" y="679"/>
                </a:lnTo>
                <a:cubicBezTo>
                  <a:pt x="507" y="586"/>
                  <a:pt x="495" y="518"/>
                  <a:pt x="494" y="462"/>
                </a:cubicBezTo>
                <a:cubicBezTo>
                  <a:pt x="492" y="406"/>
                  <a:pt x="500" y="360"/>
                  <a:pt x="514" y="308"/>
                </a:cubicBezTo>
                <a:cubicBezTo>
                  <a:pt x="518" y="291"/>
                  <a:pt x="507" y="277"/>
                  <a:pt x="491" y="277"/>
                </a:cubicBezTo>
                <a:close/>
                <a:moveTo>
                  <a:pt x="634" y="205"/>
                </a:moveTo>
                <a:cubicBezTo>
                  <a:pt x="634" y="192"/>
                  <a:pt x="645" y="182"/>
                  <a:pt x="658" y="182"/>
                </a:cubicBezTo>
                <a:cubicBezTo>
                  <a:pt x="671" y="182"/>
                  <a:pt x="682" y="192"/>
                  <a:pt x="682" y="205"/>
                </a:cubicBezTo>
                <a:cubicBezTo>
                  <a:pt x="682" y="238"/>
                  <a:pt x="668" y="268"/>
                  <a:pt x="647" y="289"/>
                </a:cubicBezTo>
                <a:cubicBezTo>
                  <a:pt x="625" y="311"/>
                  <a:pt x="596" y="324"/>
                  <a:pt x="563" y="324"/>
                </a:cubicBezTo>
                <a:cubicBezTo>
                  <a:pt x="550" y="324"/>
                  <a:pt x="539" y="313"/>
                  <a:pt x="539" y="300"/>
                </a:cubicBezTo>
                <a:cubicBezTo>
                  <a:pt x="539" y="287"/>
                  <a:pt x="550" y="277"/>
                  <a:pt x="563" y="277"/>
                </a:cubicBezTo>
                <a:cubicBezTo>
                  <a:pt x="583" y="277"/>
                  <a:pt x="601" y="269"/>
                  <a:pt x="613" y="256"/>
                </a:cubicBezTo>
                <a:cubicBezTo>
                  <a:pt x="626" y="243"/>
                  <a:pt x="634" y="225"/>
                  <a:pt x="634" y="205"/>
                </a:cubicBezTo>
                <a:close/>
                <a:moveTo>
                  <a:pt x="511" y="781"/>
                </a:moveTo>
                <a:lnTo>
                  <a:pt x="480" y="781"/>
                </a:lnTo>
                <a:lnTo>
                  <a:pt x="495" y="725"/>
                </a:lnTo>
                <a:lnTo>
                  <a:pt x="511" y="781"/>
                </a:lnTo>
                <a:lnTo>
                  <a:pt x="511" y="78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fr-FR"/>
          </a:p>
        </p:txBody>
      </p:sp>
      <p:sp>
        <p:nvSpPr>
          <p:cNvPr id="153" name="Obdélník 75">
            <a:extLst>
              <a:ext uri="{FF2B5EF4-FFF2-40B4-BE49-F238E27FC236}">
                <a16:creationId xmlns:a16="http://schemas.microsoft.com/office/drawing/2014/main" id="{740B3109-EAD8-2F8A-1B7B-25E752237FFA}"/>
              </a:ext>
            </a:extLst>
          </p:cNvPr>
          <p:cNvSpPr/>
          <p:nvPr/>
        </p:nvSpPr>
        <p:spPr>
          <a:xfrm>
            <a:off x="6277294" y="3788277"/>
            <a:ext cx="5220000" cy="31650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r>
              <a:rPr lang="cs-CZ" sz="1400" b="1" dirty="0">
                <a:solidFill>
                  <a:schemeClr val="accent3"/>
                </a:solidFill>
              </a:rPr>
              <a:t>Malé modulární reaktory</a:t>
            </a:r>
          </a:p>
        </p:txBody>
      </p:sp>
      <p:sp>
        <p:nvSpPr>
          <p:cNvPr id="154" name="Power_Plant" descr="{&quot;Key&quot;:&quot;POWER_USER_SHAPE_ICON&quot;,&quot;Value&quot;:&quot;POWER_USER_SHAPE_ICON_STYLE_1&quot;}">
            <a:extLst>
              <a:ext uri="{FF2B5EF4-FFF2-40B4-BE49-F238E27FC236}">
                <a16:creationId xmlns:a16="http://schemas.microsoft.com/office/drawing/2014/main" id="{4B54B55E-0277-AB85-A44B-D0DDFA856E36}"/>
              </a:ext>
            </a:extLst>
          </p:cNvPr>
          <p:cNvSpPr>
            <a:spLocks noChangeAspect="1" noEditPoints="1"/>
          </p:cNvSpPr>
          <p:nvPr>
            <p:custDataLst>
              <p:tags r:id="rId3"/>
            </p:custDataLst>
          </p:nvPr>
        </p:nvSpPr>
        <p:spPr bwMode="auto">
          <a:xfrm>
            <a:off x="5917435" y="3807941"/>
            <a:ext cx="300573" cy="277180"/>
          </a:xfrm>
          <a:custGeom>
            <a:avLst/>
            <a:gdLst>
              <a:gd name="T0" fmla="*/ 8111 w 9995"/>
              <a:gd name="T1" fmla="*/ 196 h 9212"/>
              <a:gd name="T2" fmla="*/ 8037 w 9995"/>
              <a:gd name="T3" fmla="*/ 1287 h 9212"/>
              <a:gd name="T4" fmla="*/ 7981 w 9995"/>
              <a:gd name="T5" fmla="*/ 2118 h 9212"/>
              <a:gd name="T6" fmla="*/ 7925 w 9995"/>
              <a:gd name="T7" fmla="*/ 2950 h 9212"/>
              <a:gd name="T8" fmla="*/ 7850 w 9995"/>
              <a:gd name="T9" fmla="*/ 4056 h 9212"/>
              <a:gd name="T10" fmla="*/ 7775 w 9995"/>
              <a:gd name="T11" fmla="*/ 5156 h 9212"/>
              <a:gd name="T12" fmla="*/ 7705 w 9995"/>
              <a:gd name="T13" fmla="*/ 6081 h 9212"/>
              <a:gd name="T14" fmla="*/ 6881 w 9995"/>
              <a:gd name="T15" fmla="*/ 6093 h 9212"/>
              <a:gd name="T16" fmla="*/ 6868 w 9995"/>
              <a:gd name="T17" fmla="*/ 2607 h 9212"/>
              <a:gd name="T18" fmla="*/ 10 w 9995"/>
              <a:gd name="T19" fmla="*/ 2616 h 9212"/>
              <a:gd name="T20" fmla="*/ 0 w 9995"/>
              <a:gd name="T21" fmla="*/ 9212 h 9212"/>
              <a:gd name="T22" fmla="*/ 9995 w 9995"/>
              <a:gd name="T23" fmla="*/ 9212 h 9212"/>
              <a:gd name="T24" fmla="*/ 9973 w 9995"/>
              <a:gd name="T25" fmla="*/ 8837 h 9212"/>
              <a:gd name="T26" fmla="*/ 9926 w 9995"/>
              <a:gd name="T27" fmla="*/ 8106 h 9212"/>
              <a:gd name="T28" fmla="*/ 9861 w 9995"/>
              <a:gd name="T29" fmla="*/ 7200 h 9212"/>
              <a:gd name="T30" fmla="*/ 9813 w 9995"/>
              <a:gd name="T31" fmla="*/ 6443 h 9212"/>
              <a:gd name="T32" fmla="*/ 9748 w 9995"/>
              <a:gd name="T33" fmla="*/ 5543 h 9212"/>
              <a:gd name="T34" fmla="*/ 9673 w 9995"/>
              <a:gd name="T35" fmla="*/ 4425 h 9212"/>
              <a:gd name="T36" fmla="*/ 9626 w 9995"/>
              <a:gd name="T37" fmla="*/ 3681 h 9212"/>
              <a:gd name="T38" fmla="*/ 9561 w 9995"/>
              <a:gd name="T39" fmla="*/ 2775 h 9212"/>
              <a:gd name="T40" fmla="*/ 9481 w 9995"/>
              <a:gd name="T41" fmla="*/ 1593 h 9212"/>
              <a:gd name="T42" fmla="*/ 9443 w 9995"/>
              <a:gd name="T43" fmla="*/ 993 h 9212"/>
              <a:gd name="T44" fmla="*/ 9362 w 9995"/>
              <a:gd name="T45" fmla="*/ 12 h 9212"/>
              <a:gd name="T46" fmla="*/ 8137 w 9995"/>
              <a:gd name="T47" fmla="*/ 12 h 9212"/>
              <a:gd name="T48" fmla="*/ 4858 w 9995"/>
              <a:gd name="T49" fmla="*/ 4332 h 9212"/>
              <a:gd name="T50" fmla="*/ 4792 w 9995"/>
              <a:gd name="T51" fmla="*/ 4445 h 9212"/>
              <a:gd name="T52" fmla="*/ 4397 w 9995"/>
              <a:gd name="T53" fmla="*/ 5097 h 9212"/>
              <a:gd name="T54" fmla="*/ 4287 w 9995"/>
              <a:gd name="T55" fmla="*/ 5275 h 9212"/>
              <a:gd name="T56" fmla="*/ 4177 w 9995"/>
              <a:gd name="T57" fmla="*/ 5452 h 9212"/>
              <a:gd name="T58" fmla="*/ 4022 w 9995"/>
              <a:gd name="T59" fmla="*/ 5697 h 9212"/>
              <a:gd name="T60" fmla="*/ 3912 w 9995"/>
              <a:gd name="T61" fmla="*/ 5875 h 9212"/>
              <a:gd name="T62" fmla="*/ 3802 w 9995"/>
              <a:gd name="T63" fmla="*/ 6052 h 9212"/>
              <a:gd name="T64" fmla="*/ 4265 w 9995"/>
              <a:gd name="T65" fmla="*/ 6225 h 9212"/>
              <a:gd name="T66" fmla="*/ 2580 w 9995"/>
              <a:gd name="T67" fmla="*/ 8483 h 9212"/>
              <a:gd name="T68" fmla="*/ 3287 w 9995"/>
              <a:gd name="T69" fmla="*/ 7028 h 9212"/>
              <a:gd name="T70" fmla="*/ 2805 w 9995"/>
              <a:gd name="T71" fmla="*/ 7000 h 9212"/>
              <a:gd name="T72" fmla="*/ 2450 w 9995"/>
              <a:gd name="T73" fmla="*/ 6818 h 9212"/>
              <a:gd name="T74" fmla="*/ 2516 w 9995"/>
              <a:gd name="T75" fmla="*/ 6706 h 9212"/>
              <a:gd name="T76" fmla="*/ 2683 w 9995"/>
              <a:gd name="T77" fmla="*/ 6418 h 9212"/>
              <a:gd name="T78" fmla="*/ 2750 w 9995"/>
              <a:gd name="T79" fmla="*/ 6306 h 9212"/>
              <a:gd name="T80" fmla="*/ 2862 w 9995"/>
              <a:gd name="T81" fmla="*/ 6112 h 9212"/>
              <a:gd name="T82" fmla="*/ 2975 w 9995"/>
              <a:gd name="T83" fmla="*/ 5918 h 9212"/>
              <a:gd name="T84" fmla="*/ 3041 w 9995"/>
              <a:gd name="T85" fmla="*/ 5806 h 9212"/>
              <a:gd name="T86" fmla="*/ 3208 w 9995"/>
              <a:gd name="T87" fmla="*/ 5518 h 9212"/>
              <a:gd name="T88" fmla="*/ 3275 w 9995"/>
              <a:gd name="T89" fmla="*/ 5406 h 9212"/>
              <a:gd name="T90" fmla="*/ 3387 w 9995"/>
              <a:gd name="T91" fmla="*/ 5212 h 9212"/>
              <a:gd name="T92" fmla="*/ 3500 w 9995"/>
              <a:gd name="T93" fmla="*/ 5018 h 9212"/>
              <a:gd name="T94" fmla="*/ 3566 w 9995"/>
              <a:gd name="T95" fmla="*/ 4906 h 9212"/>
              <a:gd name="T96" fmla="*/ 4403 w 9995"/>
              <a:gd name="T97" fmla="*/ 4280 h 9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95" h="9212">
                <a:moveTo>
                  <a:pt x="8137" y="12"/>
                </a:moveTo>
                <a:cubicBezTo>
                  <a:pt x="8123" y="21"/>
                  <a:pt x="8117" y="64"/>
                  <a:pt x="8111" y="196"/>
                </a:cubicBezTo>
                <a:cubicBezTo>
                  <a:pt x="8102" y="364"/>
                  <a:pt x="8087" y="584"/>
                  <a:pt x="8061" y="925"/>
                </a:cubicBezTo>
                <a:cubicBezTo>
                  <a:pt x="8053" y="1017"/>
                  <a:pt x="8043" y="1181"/>
                  <a:pt x="8037" y="1287"/>
                </a:cubicBezTo>
                <a:cubicBezTo>
                  <a:pt x="8031" y="1393"/>
                  <a:pt x="8021" y="1564"/>
                  <a:pt x="8013" y="1668"/>
                </a:cubicBezTo>
                <a:cubicBezTo>
                  <a:pt x="8005" y="1771"/>
                  <a:pt x="7991" y="1973"/>
                  <a:pt x="7981" y="2118"/>
                </a:cubicBezTo>
                <a:cubicBezTo>
                  <a:pt x="7971" y="2262"/>
                  <a:pt x="7957" y="2464"/>
                  <a:pt x="7948" y="2568"/>
                </a:cubicBezTo>
                <a:cubicBezTo>
                  <a:pt x="7941" y="2671"/>
                  <a:pt x="7930" y="2843"/>
                  <a:pt x="7925" y="2950"/>
                </a:cubicBezTo>
                <a:cubicBezTo>
                  <a:pt x="7915" y="3150"/>
                  <a:pt x="7901" y="3343"/>
                  <a:pt x="7868" y="3756"/>
                </a:cubicBezTo>
                <a:cubicBezTo>
                  <a:pt x="7857" y="3886"/>
                  <a:pt x="7850" y="4021"/>
                  <a:pt x="7850" y="4056"/>
                </a:cubicBezTo>
                <a:cubicBezTo>
                  <a:pt x="7850" y="4090"/>
                  <a:pt x="7842" y="4225"/>
                  <a:pt x="7831" y="4356"/>
                </a:cubicBezTo>
                <a:cubicBezTo>
                  <a:pt x="7800" y="4751"/>
                  <a:pt x="7786" y="4959"/>
                  <a:pt x="7775" y="5156"/>
                </a:cubicBezTo>
                <a:cubicBezTo>
                  <a:pt x="7766" y="5332"/>
                  <a:pt x="7753" y="5505"/>
                  <a:pt x="7725" y="5896"/>
                </a:cubicBezTo>
                <a:cubicBezTo>
                  <a:pt x="7717" y="5987"/>
                  <a:pt x="7708" y="6070"/>
                  <a:pt x="7705" y="6081"/>
                </a:cubicBezTo>
                <a:cubicBezTo>
                  <a:pt x="7697" y="6097"/>
                  <a:pt x="7648" y="6100"/>
                  <a:pt x="7288" y="6097"/>
                </a:cubicBezTo>
                <a:lnTo>
                  <a:pt x="6881" y="6093"/>
                </a:lnTo>
                <a:lnTo>
                  <a:pt x="6875" y="5006"/>
                </a:lnTo>
                <a:lnTo>
                  <a:pt x="6868" y="2607"/>
                </a:lnTo>
                <a:lnTo>
                  <a:pt x="3445" y="2604"/>
                </a:lnTo>
                <a:cubicBezTo>
                  <a:pt x="713" y="2601"/>
                  <a:pt x="18" y="2604"/>
                  <a:pt x="10" y="2616"/>
                </a:cubicBezTo>
                <a:cubicBezTo>
                  <a:pt x="5" y="2625"/>
                  <a:pt x="0" y="5128"/>
                  <a:pt x="0" y="6577"/>
                </a:cubicBezTo>
                <a:lnTo>
                  <a:pt x="0" y="9212"/>
                </a:lnTo>
                <a:lnTo>
                  <a:pt x="4997" y="9212"/>
                </a:lnTo>
                <a:lnTo>
                  <a:pt x="9995" y="9212"/>
                </a:lnTo>
                <a:lnTo>
                  <a:pt x="9991" y="9096"/>
                </a:lnTo>
                <a:cubicBezTo>
                  <a:pt x="9988" y="9033"/>
                  <a:pt x="9981" y="8916"/>
                  <a:pt x="9973" y="8837"/>
                </a:cubicBezTo>
                <a:cubicBezTo>
                  <a:pt x="9966" y="8758"/>
                  <a:pt x="9956" y="8603"/>
                  <a:pt x="9950" y="8493"/>
                </a:cubicBezTo>
                <a:cubicBezTo>
                  <a:pt x="9945" y="8383"/>
                  <a:pt x="9933" y="8208"/>
                  <a:pt x="9926" y="8106"/>
                </a:cubicBezTo>
                <a:cubicBezTo>
                  <a:pt x="9917" y="8002"/>
                  <a:pt x="9903" y="7800"/>
                  <a:pt x="9893" y="7656"/>
                </a:cubicBezTo>
                <a:cubicBezTo>
                  <a:pt x="9883" y="7511"/>
                  <a:pt x="9868" y="7306"/>
                  <a:pt x="9861" y="7200"/>
                </a:cubicBezTo>
                <a:cubicBezTo>
                  <a:pt x="9853" y="7093"/>
                  <a:pt x="9842" y="6921"/>
                  <a:pt x="9837" y="6818"/>
                </a:cubicBezTo>
                <a:cubicBezTo>
                  <a:pt x="9831" y="6715"/>
                  <a:pt x="9821" y="6546"/>
                  <a:pt x="9813" y="6443"/>
                </a:cubicBezTo>
                <a:cubicBezTo>
                  <a:pt x="9805" y="6340"/>
                  <a:pt x="9791" y="6137"/>
                  <a:pt x="9781" y="5993"/>
                </a:cubicBezTo>
                <a:cubicBezTo>
                  <a:pt x="9771" y="5848"/>
                  <a:pt x="9757" y="5646"/>
                  <a:pt x="9748" y="5543"/>
                </a:cubicBezTo>
                <a:cubicBezTo>
                  <a:pt x="9741" y="5440"/>
                  <a:pt x="9731" y="5271"/>
                  <a:pt x="9725" y="5168"/>
                </a:cubicBezTo>
                <a:cubicBezTo>
                  <a:pt x="9715" y="4981"/>
                  <a:pt x="9698" y="4741"/>
                  <a:pt x="9673" y="4425"/>
                </a:cubicBezTo>
                <a:cubicBezTo>
                  <a:pt x="9666" y="4332"/>
                  <a:pt x="9656" y="4168"/>
                  <a:pt x="9650" y="4062"/>
                </a:cubicBezTo>
                <a:cubicBezTo>
                  <a:pt x="9643" y="3956"/>
                  <a:pt x="9633" y="3783"/>
                  <a:pt x="9626" y="3681"/>
                </a:cubicBezTo>
                <a:cubicBezTo>
                  <a:pt x="9617" y="3577"/>
                  <a:pt x="9603" y="3375"/>
                  <a:pt x="9593" y="3231"/>
                </a:cubicBezTo>
                <a:cubicBezTo>
                  <a:pt x="9583" y="3086"/>
                  <a:pt x="9568" y="2881"/>
                  <a:pt x="9561" y="2775"/>
                </a:cubicBezTo>
                <a:cubicBezTo>
                  <a:pt x="9553" y="2668"/>
                  <a:pt x="9542" y="2496"/>
                  <a:pt x="9537" y="2393"/>
                </a:cubicBezTo>
                <a:cubicBezTo>
                  <a:pt x="9526" y="2197"/>
                  <a:pt x="9512" y="1992"/>
                  <a:pt x="9481" y="1593"/>
                </a:cubicBezTo>
                <a:cubicBezTo>
                  <a:pt x="9470" y="1462"/>
                  <a:pt x="9462" y="1327"/>
                  <a:pt x="9462" y="1293"/>
                </a:cubicBezTo>
                <a:cubicBezTo>
                  <a:pt x="9462" y="1258"/>
                  <a:pt x="9455" y="1123"/>
                  <a:pt x="9443" y="993"/>
                </a:cubicBezTo>
                <a:cubicBezTo>
                  <a:pt x="9412" y="596"/>
                  <a:pt x="9397" y="377"/>
                  <a:pt x="9388" y="196"/>
                </a:cubicBezTo>
                <a:cubicBezTo>
                  <a:pt x="9382" y="64"/>
                  <a:pt x="9376" y="21"/>
                  <a:pt x="9362" y="12"/>
                </a:cubicBezTo>
                <a:cubicBezTo>
                  <a:pt x="9351" y="4"/>
                  <a:pt x="9096" y="0"/>
                  <a:pt x="8750" y="0"/>
                </a:cubicBezTo>
                <a:cubicBezTo>
                  <a:pt x="8403" y="0"/>
                  <a:pt x="8148" y="4"/>
                  <a:pt x="8137" y="12"/>
                </a:cubicBezTo>
                <a:close/>
                <a:moveTo>
                  <a:pt x="4869" y="4290"/>
                </a:moveTo>
                <a:cubicBezTo>
                  <a:pt x="4873" y="4295"/>
                  <a:pt x="4867" y="4314"/>
                  <a:pt x="4858" y="4332"/>
                </a:cubicBezTo>
                <a:cubicBezTo>
                  <a:pt x="4848" y="4348"/>
                  <a:pt x="4834" y="4373"/>
                  <a:pt x="4827" y="4387"/>
                </a:cubicBezTo>
                <a:cubicBezTo>
                  <a:pt x="4819" y="4400"/>
                  <a:pt x="4804" y="4427"/>
                  <a:pt x="4792" y="4445"/>
                </a:cubicBezTo>
                <a:cubicBezTo>
                  <a:pt x="4781" y="4464"/>
                  <a:pt x="4506" y="4926"/>
                  <a:pt x="4475" y="4975"/>
                </a:cubicBezTo>
                <a:cubicBezTo>
                  <a:pt x="4443" y="5023"/>
                  <a:pt x="4408" y="5078"/>
                  <a:pt x="4397" y="5097"/>
                </a:cubicBezTo>
                <a:cubicBezTo>
                  <a:pt x="4385" y="5116"/>
                  <a:pt x="4370" y="5142"/>
                  <a:pt x="4362" y="5156"/>
                </a:cubicBezTo>
                <a:cubicBezTo>
                  <a:pt x="4356" y="5169"/>
                  <a:pt x="4321" y="5223"/>
                  <a:pt x="4287" y="5275"/>
                </a:cubicBezTo>
                <a:cubicBezTo>
                  <a:pt x="4253" y="5326"/>
                  <a:pt x="4218" y="5380"/>
                  <a:pt x="4212" y="5393"/>
                </a:cubicBezTo>
                <a:cubicBezTo>
                  <a:pt x="4205" y="5407"/>
                  <a:pt x="4190" y="5433"/>
                  <a:pt x="4177" y="5452"/>
                </a:cubicBezTo>
                <a:cubicBezTo>
                  <a:pt x="4166" y="5471"/>
                  <a:pt x="4131" y="5526"/>
                  <a:pt x="4100" y="5575"/>
                </a:cubicBezTo>
                <a:cubicBezTo>
                  <a:pt x="4068" y="5623"/>
                  <a:pt x="4033" y="5678"/>
                  <a:pt x="4022" y="5697"/>
                </a:cubicBezTo>
                <a:cubicBezTo>
                  <a:pt x="4010" y="5716"/>
                  <a:pt x="3995" y="5742"/>
                  <a:pt x="3987" y="5756"/>
                </a:cubicBezTo>
                <a:cubicBezTo>
                  <a:pt x="3981" y="5769"/>
                  <a:pt x="3946" y="5823"/>
                  <a:pt x="3912" y="5875"/>
                </a:cubicBezTo>
                <a:cubicBezTo>
                  <a:pt x="3878" y="5926"/>
                  <a:pt x="3843" y="5980"/>
                  <a:pt x="3837" y="5993"/>
                </a:cubicBezTo>
                <a:cubicBezTo>
                  <a:pt x="3830" y="6007"/>
                  <a:pt x="3815" y="6033"/>
                  <a:pt x="3802" y="6052"/>
                </a:cubicBezTo>
                <a:cubicBezTo>
                  <a:pt x="3716" y="6187"/>
                  <a:pt x="3702" y="6211"/>
                  <a:pt x="3710" y="6217"/>
                </a:cubicBezTo>
                <a:cubicBezTo>
                  <a:pt x="3713" y="6221"/>
                  <a:pt x="3963" y="6225"/>
                  <a:pt x="4265" y="6225"/>
                </a:cubicBezTo>
                <a:cubicBezTo>
                  <a:pt x="4777" y="6225"/>
                  <a:pt x="4812" y="6226"/>
                  <a:pt x="4812" y="6246"/>
                </a:cubicBezTo>
                <a:cubicBezTo>
                  <a:pt x="4812" y="6272"/>
                  <a:pt x="2592" y="8496"/>
                  <a:pt x="2580" y="8483"/>
                </a:cubicBezTo>
                <a:cubicBezTo>
                  <a:pt x="2571" y="8476"/>
                  <a:pt x="2582" y="8443"/>
                  <a:pt x="2612" y="8387"/>
                </a:cubicBezTo>
                <a:cubicBezTo>
                  <a:pt x="2681" y="8260"/>
                  <a:pt x="3287" y="7037"/>
                  <a:pt x="3287" y="7028"/>
                </a:cubicBezTo>
                <a:cubicBezTo>
                  <a:pt x="3287" y="7021"/>
                  <a:pt x="3278" y="7011"/>
                  <a:pt x="3267" y="7007"/>
                </a:cubicBezTo>
                <a:cubicBezTo>
                  <a:pt x="3256" y="7003"/>
                  <a:pt x="3048" y="7000"/>
                  <a:pt x="2805" y="7000"/>
                </a:cubicBezTo>
                <a:cubicBezTo>
                  <a:pt x="2561" y="7000"/>
                  <a:pt x="2362" y="6996"/>
                  <a:pt x="2362" y="6991"/>
                </a:cubicBezTo>
                <a:cubicBezTo>
                  <a:pt x="2362" y="6980"/>
                  <a:pt x="2422" y="6861"/>
                  <a:pt x="2450" y="6818"/>
                </a:cubicBezTo>
                <a:cubicBezTo>
                  <a:pt x="2463" y="6797"/>
                  <a:pt x="2480" y="6770"/>
                  <a:pt x="2487" y="6756"/>
                </a:cubicBezTo>
                <a:cubicBezTo>
                  <a:pt x="2495" y="6742"/>
                  <a:pt x="2507" y="6720"/>
                  <a:pt x="2516" y="6706"/>
                </a:cubicBezTo>
                <a:cubicBezTo>
                  <a:pt x="2525" y="6692"/>
                  <a:pt x="2562" y="6627"/>
                  <a:pt x="2600" y="6562"/>
                </a:cubicBezTo>
                <a:cubicBezTo>
                  <a:pt x="2637" y="6497"/>
                  <a:pt x="2675" y="6432"/>
                  <a:pt x="2683" y="6418"/>
                </a:cubicBezTo>
                <a:cubicBezTo>
                  <a:pt x="2692" y="6405"/>
                  <a:pt x="2705" y="6382"/>
                  <a:pt x="2712" y="6368"/>
                </a:cubicBezTo>
                <a:cubicBezTo>
                  <a:pt x="2720" y="6355"/>
                  <a:pt x="2736" y="6326"/>
                  <a:pt x="2750" y="6306"/>
                </a:cubicBezTo>
                <a:cubicBezTo>
                  <a:pt x="2763" y="6285"/>
                  <a:pt x="2778" y="6260"/>
                  <a:pt x="2783" y="6250"/>
                </a:cubicBezTo>
                <a:cubicBezTo>
                  <a:pt x="2788" y="6240"/>
                  <a:pt x="2823" y="6177"/>
                  <a:pt x="2862" y="6112"/>
                </a:cubicBezTo>
                <a:cubicBezTo>
                  <a:pt x="2901" y="6047"/>
                  <a:pt x="2936" y="5984"/>
                  <a:pt x="2941" y="5975"/>
                </a:cubicBezTo>
                <a:cubicBezTo>
                  <a:pt x="2946" y="5965"/>
                  <a:pt x="2961" y="5938"/>
                  <a:pt x="2975" y="5918"/>
                </a:cubicBezTo>
                <a:cubicBezTo>
                  <a:pt x="2988" y="5897"/>
                  <a:pt x="3005" y="5869"/>
                  <a:pt x="3012" y="5856"/>
                </a:cubicBezTo>
                <a:cubicBezTo>
                  <a:pt x="3020" y="5842"/>
                  <a:pt x="3032" y="5819"/>
                  <a:pt x="3041" y="5806"/>
                </a:cubicBezTo>
                <a:cubicBezTo>
                  <a:pt x="3050" y="5792"/>
                  <a:pt x="3087" y="5727"/>
                  <a:pt x="3125" y="5662"/>
                </a:cubicBezTo>
                <a:cubicBezTo>
                  <a:pt x="3162" y="5597"/>
                  <a:pt x="3200" y="5532"/>
                  <a:pt x="3208" y="5518"/>
                </a:cubicBezTo>
                <a:cubicBezTo>
                  <a:pt x="3217" y="5505"/>
                  <a:pt x="3230" y="5482"/>
                  <a:pt x="3237" y="5468"/>
                </a:cubicBezTo>
                <a:cubicBezTo>
                  <a:pt x="3245" y="5455"/>
                  <a:pt x="3261" y="5426"/>
                  <a:pt x="3275" y="5406"/>
                </a:cubicBezTo>
                <a:cubicBezTo>
                  <a:pt x="3288" y="5384"/>
                  <a:pt x="3303" y="5359"/>
                  <a:pt x="3308" y="5350"/>
                </a:cubicBezTo>
                <a:cubicBezTo>
                  <a:pt x="3313" y="5340"/>
                  <a:pt x="3348" y="5277"/>
                  <a:pt x="3387" y="5212"/>
                </a:cubicBezTo>
                <a:cubicBezTo>
                  <a:pt x="3426" y="5147"/>
                  <a:pt x="3461" y="5084"/>
                  <a:pt x="3466" y="5075"/>
                </a:cubicBezTo>
                <a:cubicBezTo>
                  <a:pt x="3471" y="5065"/>
                  <a:pt x="3486" y="5038"/>
                  <a:pt x="3500" y="5018"/>
                </a:cubicBezTo>
                <a:cubicBezTo>
                  <a:pt x="3513" y="4997"/>
                  <a:pt x="3530" y="4969"/>
                  <a:pt x="3537" y="4956"/>
                </a:cubicBezTo>
                <a:cubicBezTo>
                  <a:pt x="3545" y="4942"/>
                  <a:pt x="3557" y="4919"/>
                  <a:pt x="3566" y="4906"/>
                </a:cubicBezTo>
                <a:cubicBezTo>
                  <a:pt x="3575" y="4892"/>
                  <a:pt x="3839" y="4440"/>
                  <a:pt x="3863" y="4399"/>
                </a:cubicBezTo>
                <a:cubicBezTo>
                  <a:pt x="3938" y="4268"/>
                  <a:pt x="3881" y="4280"/>
                  <a:pt x="4403" y="4280"/>
                </a:cubicBezTo>
                <a:cubicBezTo>
                  <a:pt x="4656" y="4280"/>
                  <a:pt x="4866" y="4285"/>
                  <a:pt x="4869" y="429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66" name="Graphic 165" descr="Signature with solid fill">
            <a:extLst>
              <a:ext uri="{FF2B5EF4-FFF2-40B4-BE49-F238E27FC236}">
                <a16:creationId xmlns:a16="http://schemas.microsoft.com/office/drawing/2014/main" id="{1CA94DEC-8329-AE3B-913E-8D9CFF529507}"/>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5917435" y="1029948"/>
            <a:ext cx="323866" cy="323866"/>
          </a:xfrm>
          <a:prstGeom prst="rect">
            <a:avLst/>
          </a:prstGeom>
        </p:spPr>
      </p:pic>
      <p:sp>
        <p:nvSpPr>
          <p:cNvPr id="155" name="Content Placeholder 1">
            <a:extLst>
              <a:ext uri="{FF2B5EF4-FFF2-40B4-BE49-F238E27FC236}">
                <a16:creationId xmlns:a16="http://schemas.microsoft.com/office/drawing/2014/main" id="{A5E8014E-E0AE-6950-25BF-20AC05DC0680}"/>
              </a:ext>
            </a:extLst>
          </p:cNvPr>
          <p:cNvSpPr txBox="1">
            <a:spLocks/>
          </p:cNvSpPr>
          <p:nvPr/>
        </p:nvSpPr>
        <p:spPr>
          <a:xfrm>
            <a:off x="5893927" y="2584220"/>
            <a:ext cx="5694505" cy="1092430"/>
          </a:xfrm>
          <a:prstGeom prst="rect">
            <a:avLst/>
          </a:prstGeom>
          <a:ln>
            <a:noFill/>
          </a:ln>
        </p:spPr>
        <p:txBody>
          <a:bodyPr vert="horz" lIns="72000" tIns="72000" rIns="72000" bIns="7200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lgn="just">
              <a:buClr>
                <a:schemeClr val="accent3"/>
              </a:buClr>
            </a:pPr>
            <a:r>
              <a:rPr lang="cs-CZ" sz="1000" dirty="0"/>
              <a:t>Jako jediná země v Evropě provozuje </a:t>
            </a:r>
            <a:r>
              <a:rPr lang="cs-CZ" sz="1000" b="1" dirty="0"/>
              <a:t>těžkovodní reaktory typu CANDU</a:t>
            </a:r>
            <a:r>
              <a:rPr lang="cs-CZ" sz="1000" dirty="0"/>
              <a:t>. Tyto reaktory dokáží pracovat s </a:t>
            </a:r>
            <a:r>
              <a:rPr lang="cs-CZ" sz="1000" b="1" dirty="0"/>
              <a:t>neobohaceným palivem </a:t>
            </a:r>
            <a:r>
              <a:rPr lang="cs-CZ" sz="1000" dirty="0"/>
              <a:t>a </a:t>
            </a:r>
            <a:r>
              <a:rPr lang="cs-CZ" sz="1000" b="1" dirty="0"/>
              <a:t>umožňují výměnu paliva za provozu </a:t>
            </a:r>
            <a:r>
              <a:rPr lang="cs-CZ" sz="1000" dirty="0"/>
              <a:t>bez odstávky.</a:t>
            </a:r>
          </a:p>
          <a:p>
            <a:pPr marL="180000" indent="-180000" algn="just">
              <a:buClr>
                <a:schemeClr val="accent3"/>
              </a:buClr>
            </a:pPr>
            <a:r>
              <a:rPr lang="cs-CZ" sz="1000" b="1" dirty="0"/>
              <a:t>Projekt dostavby 3. a 4. bloku </a:t>
            </a:r>
            <a:r>
              <a:rPr lang="cs-CZ" sz="1000" dirty="0"/>
              <a:t>již v minulosti několikrát změnil dodavatele. Aktuálně by projekt </a:t>
            </a:r>
            <a:r>
              <a:rPr lang="cs-CZ" sz="1000" b="1" dirty="0"/>
              <a:t>formou EPC </a:t>
            </a:r>
            <a:r>
              <a:rPr lang="cs-CZ" sz="1000" dirty="0"/>
              <a:t>mělo zastřešit joint venture energetických společností </a:t>
            </a:r>
            <a:r>
              <a:rPr lang="cs-CZ" sz="1000" b="1" dirty="0" err="1"/>
              <a:t>AtkinsRéalis</a:t>
            </a:r>
            <a:r>
              <a:rPr lang="cs-CZ" sz="1000" b="1" dirty="0"/>
              <a:t> (CAN), </a:t>
            </a:r>
            <a:r>
              <a:rPr lang="cs-CZ" sz="1000" b="1" dirty="0" err="1"/>
              <a:t>Ansaldo</a:t>
            </a:r>
            <a:r>
              <a:rPr lang="cs-CZ" sz="1000" b="1" dirty="0"/>
              <a:t> </a:t>
            </a:r>
            <a:r>
              <a:rPr lang="cs-CZ" sz="1000" b="1" dirty="0" err="1"/>
              <a:t>Nucleare</a:t>
            </a:r>
            <a:r>
              <a:rPr lang="cs-CZ" sz="1000" b="1" dirty="0"/>
              <a:t> (IT), S&amp;L </a:t>
            </a:r>
            <a:r>
              <a:rPr lang="cs-CZ" sz="1000" b="1" dirty="0" err="1"/>
              <a:t>Engineers</a:t>
            </a:r>
            <a:r>
              <a:rPr lang="cs-CZ" sz="1000" b="1" dirty="0"/>
              <a:t> (USA) a dalších.</a:t>
            </a:r>
          </a:p>
          <a:p>
            <a:pPr marL="180000" indent="-180000" algn="just">
              <a:buClr>
                <a:schemeClr val="accent3"/>
              </a:buClr>
            </a:pPr>
            <a:endParaRPr lang="cs-CZ" sz="1000" dirty="0"/>
          </a:p>
        </p:txBody>
      </p:sp>
      <p:sp>
        <p:nvSpPr>
          <p:cNvPr id="171" name="Content Placeholder 1">
            <a:extLst>
              <a:ext uri="{FF2B5EF4-FFF2-40B4-BE49-F238E27FC236}">
                <a16:creationId xmlns:a16="http://schemas.microsoft.com/office/drawing/2014/main" id="{F9250105-3DA2-772F-8594-04E3F3301381}"/>
              </a:ext>
            </a:extLst>
          </p:cNvPr>
          <p:cNvSpPr txBox="1">
            <a:spLocks/>
          </p:cNvSpPr>
          <p:nvPr/>
        </p:nvSpPr>
        <p:spPr>
          <a:xfrm>
            <a:off x="5893927" y="4141180"/>
            <a:ext cx="5739853" cy="2124368"/>
          </a:xfrm>
          <a:prstGeom prst="rect">
            <a:avLst/>
          </a:prstGeom>
          <a:ln>
            <a:noFill/>
          </a:ln>
        </p:spPr>
        <p:txBody>
          <a:bodyPr vert="horz" lIns="72000" tIns="72000" rIns="72000" bIns="7200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lgn="just">
              <a:buClr>
                <a:schemeClr val="accent3"/>
              </a:buClr>
            </a:pPr>
            <a:r>
              <a:rPr lang="cs-CZ" sz="1000" b="1" dirty="0"/>
              <a:t>V listopadu 2023 </a:t>
            </a:r>
            <a:r>
              <a:rPr lang="cs-CZ" sz="1000" dirty="0"/>
              <a:t>podepsala společnost </a:t>
            </a:r>
            <a:r>
              <a:rPr lang="cs-CZ" sz="1000" b="1" dirty="0" err="1"/>
              <a:t>Westinghouse</a:t>
            </a:r>
            <a:r>
              <a:rPr lang="cs-CZ" sz="1000" dirty="0"/>
              <a:t> </a:t>
            </a:r>
            <a:r>
              <a:rPr lang="cs-CZ" sz="1000" b="1" dirty="0"/>
              <a:t>memorandum</a:t>
            </a:r>
            <a:r>
              <a:rPr lang="cs-CZ" sz="1000" dirty="0"/>
              <a:t> o porozumění (</a:t>
            </a:r>
            <a:r>
              <a:rPr lang="cs-CZ" sz="1000" dirty="0" err="1"/>
              <a:t>MoU</a:t>
            </a:r>
            <a:r>
              <a:rPr lang="cs-CZ" sz="1000" dirty="0"/>
              <a:t>) zaměřené na vytvoření konsorcia, které by realizovalo malý demonstrační projekt </a:t>
            </a:r>
            <a:r>
              <a:rPr lang="cs-CZ" sz="1000" b="1" dirty="0"/>
              <a:t>SMR</a:t>
            </a:r>
            <a:r>
              <a:rPr lang="cs-CZ" sz="1000" dirty="0"/>
              <a:t> </a:t>
            </a:r>
            <a:r>
              <a:rPr lang="cs-CZ" sz="1000" b="1" dirty="0" err="1"/>
              <a:t>Westinghouse</a:t>
            </a:r>
            <a:r>
              <a:rPr lang="cs-CZ" sz="1000" b="1" dirty="0"/>
              <a:t> LFR </a:t>
            </a:r>
            <a:r>
              <a:rPr lang="cs-CZ" sz="1000" dirty="0"/>
              <a:t>v belgickém Molu, po němž by následovalo v</a:t>
            </a:r>
            <a:r>
              <a:rPr lang="cs-CZ" sz="1000" b="1" dirty="0"/>
              <a:t>ybudování plnohodnotné verze v rumunském </a:t>
            </a:r>
            <a:r>
              <a:rPr lang="cs-CZ" sz="1000" b="1" dirty="0" err="1"/>
              <a:t>Piteșt</a:t>
            </a:r>
            <a:r>
              <a:rPr lang="cs-CZ" sz="1000" dirty="0" err="1"/>
              <a:t>i</a:t>
            </a:r>
            <a:r>
              <a:rPr lang="cs-CZ" sz="1000" dirty="0"/>
              <a:t>.</a:t>
            </a:r>
          </a:p>
          <a:p>
            <a:pPr marL="180000" indent="-180000" algn="just">
              <a:buClr>
                <a:schemeClr val="accent3"/>
              </a:buClr>
            </a:pPr>
            <a:r>
              <a:rPr lang="cs-CZ" sz="1000" b="1" dirty="0"/>
              <a:t>V červenci 2024 </a:t>
            </a:r>
            <a:r>
              <a:rPr lang="cs-CZ" sz="1000" dirty="0"/>
              <a:t>Rumunská jaderná společnost </a:t>
            </a:r>
            <a:r>
              <a:rPr lang="cs-CZ" sz="1000" dirty="0" err="1"/>
              <a:t>Nuclearelectrica</a:t>
            </a:r>
            <a:r>
              <a:rPr lang="cs-CZ" sz="1000" dirty="0"/>
              <a:t> a </a:t>
            </a:r>
            <a:r>
              <a:rPr lang="cs-CZ" sz="1000" dirty="0" err="1"/>
              <a:t>RoPower</a:t>
            </a:r>
            <a:r>
              <a:rPr lang="cs-CZ" sz="1000" dirty="0"/>
              <a:t> </a:t>
            </a:r>
            <a:r>
              <a:rPr lang="cs-CZ" sz="1000" dirty="0" err="1"/>
              <a:t>Nuclear</a:t>
            </a:r>
            <a:r>
              <a:rPr lang="cs-CZ" sz="1000" dirty="0"/>
              <a:t>, projektová společnost zaměřená na projekt (SMR) v </a:t>
            </a:r>
            <a:r>
              <a:rPr lang="cs-CZ" sz="1000" dirty="0" err="1"/>
              <a:t>Doicești</a:t>
            </a:r>
            <a:r>
              <a:rPr lang="cs-CZ" sz="1000" dirty="0"/>
              <a:t>, </a:t>
            </a:r>
            <a:r>
              <a:rPr lang="cs-CZ" sz="1000" b="1" dirty="0"/>
              <a:t>podepsaly smlouvu na druhou fázi předběžného inženýrského návrhu</a:t>
            </a:r>
            <a:r>
              <a:rPr lang="cs-CZ" sz="1000" dirty="0"/>
              <a:t> (Front-End </a:t>
            </a:r>
            <a:r>
              <a:rPr lang="cs-CZ" sz="1000" dirty="0" err="1"/>
              <a:t>Engineering</a:t>
            </a:r>
            <a:r>
              <a:rPr lang="cs-CZ" sz="1000" dirty="0"/>
              <a:t> and Design </a:t>
            </a:r>
            <a:r>
              <a:rPr lang="cs-CZ" sz="1000" dirty="0" err="1"/>
              <a:t>Phase</a:t>
            </a:r>
            <a:r>
              <a:rPr lang="cs-CZ" sz="1000" dirty="0"/>
              <a:t> 2, FEED 2) s americkou společností Fluor </a:t>
            </a:r>
            <a:r>
              <a:rPr lang="cs-CZ" sz="1000" dirty="0" err="1"/>
              <a:t>Corporation</a:t>
            </a:r>
            <a:r>
              <a:rPr lang="cs-CZ" sz="1000" dirty="0"/>
              <a:t>. </a:t>
            </a:r>
            <a:r>
              <a:rPr lang="cs-CZ" sz="1000" b="1" dirty="0"/>
              <a:t>Cílem projektu je vybudování SMR VOYGR-6 společnosti </a:t>
            </a:r>
            <a:r>
              <a:rPr lang="cs-CZ" sz="1000" b="1" dirty="0" err="1"/>
              <a:t>NuScale</a:t>
            </a:r>
            <a:r>
              <a:rPr lang="cs-CZ" sz="1000" b="1" dirty="0"/>
              <a:t>.</a:t>
            </a:r>
          </a:p>
          <a:p>
            <a:pPr marL="180000" indent="-180000" algn="just">
              <a:buClr>
                <a:schemeClr val="accent3"/>
              </a:buClr>
            </a:pPr>
            <a:r>
              <a:rPr lang="cs-CZ" sz="1000" dirty="0" err="1"/>
              <a:t>NuScale</a:t>
            </a:r>
            <a:r>
              <a:rPr lang="cs-CZ" sz="1000" dirty="0"/>
              <a:t> rovněž provádí </a:t>
            </a:r>
            <a:r>
              <a:rPr lang="cs-CZ" sz="1000" dirty="0" err="1"/>
              <a:t>předlicenční</a:t>
            </a:r>
            <a:r>
              <a:rPr lang="cs-CZ" sz="1000" dirty="0"/>
              <a:t> aktivity v dalších jurisdikcích, včetně Ukrajiny, Polska, Rumunska, Kanady a Indonésie.</a:t>
            </a:r>
          </a:p>
          <a:p>
            <a:pPr marL="180000" indent="-180000" algn="just">
              <a:buClr>
                <a:schemeClr val="accent3"/>
              </a:buClr>
            </a:pPr>
            <a:endParaRPr lang="cs-CZ" sz="1000" dirty="0"/>
          </a:p>
        </p:txBody>
      </p:sp>
      <p:sp>
        <p:nvSpPr>
          <p:cNvPr id="172" name="TextBox 171">
            <a:extLst>
              <a:ext uri="{FF2B5EF4-FFF2-40B4-BE49-F238E27FC236}">
                <a16:creationId xmlns:a16="http://schemas.microsoft.com/office/drawing/2014/main" id="{F15A82E0-83F9-4875-2B2A-7CF3491F1335}"/>
              </a:ext>
            </a:extLst>
          </p:cNvPr>
          <p:cNvSpPr txBox="1"/>
          <p:nvPr/>
        </p:nvSpPr>
        <p:spPr>
          <a:xfrm>
            <a:off x="1151668" y="3249761"/>
            <a:ext cx="3934308" cy="175433"/>
          </a:xfrm>
          <a:prstGeom prst="rect">
            <a:avLst/>
          </a:prstGeom>
          <a:noFill/>
        </p:spPr>
        <p:txBody>
          <a:bodyPr wrap="square" lIns="0" tIns="36576" rIns="0" bIns="0" rtlCol="0">
            <a:spAutoFit/>
          </a:bodyPr>
          <a:lstStyle/>
          <a:p>
            <a:pPr algn="ctr">
              <a:spcAft>
                <a:spcPts val="600"/>
              </a:spcAft>
              <a:buClr>
                <a:schemeClr val="tx2"/>
              </a:buClr>
              <a:buSzPct val="80000"/>
            </a:pPr>
            <a:r>
              <a:rPr lang="cs-CZ" sz="900" b="1" dirty="0">
                <a:solidFill>
                  <a:schemeClr val="accent3"/>
                </a:solidFill>
              </a:rPr>
              <a:t>Podíl výroby jaderné energie v energetickém mixu Rumunska</a:t>
            </a:r>
          </a:p>
        </p:txBody>
      </p:sp>
      <p:sp>
        <p:nvSpPr>
          <p:cNvPr id="173" name="Rectangle 172">
            <a:extLst>
              <a:ext uri="{FF2B5EF4-FFF2-40B4-BE49-F238E27FC236}">
                <a16:creationId xmlns:a16="http://schemas.microsoft.com/office/drawing/2014/main" id="{C5A1FC24-2565-6666-D67C-716DBD2D2893}"/>
              </a:ext>
            </a:extLst>
          </p:cNvPr>
          <p:cNvSpPr/>
          <p:nvPr/>
        </p:nvSpPr>
        <p:spPr>
          <a:xfrm>
            <a:off x="1450268" y="5217457"/>
            <a:ext cx="90000" cy="90000"/>
          </a:xfrm>
          <a:prstGeom prst="rect">
            <a:avLst/>
          </a:prstGeom>
          <a:solidFill>
            <a:srgbClr val="188CE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sz="1200" dirty="0" err="1">
              <a:solidFill>
                <a:schemeClr val="bg1"/>
              </a:solidFill>
            </a:endParaRPr>
          </a:p>
        </p:txBody>
      </p:sp>
      <p:sp>
        <p:nvSpPr>
          <p:cNvPr id="174" name="Rectangle 173">
            <a:extLst>
              <a:ext uri="{FF2B5EF4-FFF2-40B4-BE49-F238E27FC236}">
                <a16:creationId xmlns:a16="http://schemas.microsoft.com/office/drawing/2014/main" id="{FEAA1816-FA5E-74C0-4F39-9BED129AB511}"/>
              </a:ext>
            </a:extLst>
          </p:cNvPr>
          <p:cNvSpPr/>
          <p:nvPr/>
        </p:nvSpPr>
        <p:spPr>
          <a:xfrm>
            <a:off x="2043705" y="5217457"/>
            <a:ext cx="90000" cy="90000"/>
          </a:xfrm>
          <a:prstGeom prst="rect">
            <a:avLst/>
          </a:prstGeom>
          <a:solidFill>
            <a:schemeClr val="accent3">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sz="1200" dirty="0" err="1">
              <a:solidFill>
                <a:schemeClr val="bg1"/>
              </a:solidFill>
            </a:endParaRPr>
          </a:p>
        </p:txBody>
      </p:sp>
      <p:sp>
        <p:nvSpPr>
          <p:cNvPr id="175" name="TextBox 174">
            <a:extLst>
              <a:ext uri="{FF2B5EF4-FFF2-40B4-BE49-F238E27FC236}">
                <a16:creationId xmlns:a16="http://schemas.microsoft.com/office/drawing/2014/main" id="{95664C9E-9EE3-549D-9E99-9E0F21ACA8B8}"/>
              </a:ext>
            </a:extLst>
          </p:cNvPr>
          <p:cNvSpPr txBox="1"/>
          <p:nvPr/>
        </p:nvSpPr>
        <p:spPr>
          <a:xfrm>
            <a:off x="1574271" y="5193234"/>
            <a:ext cx="360000" cy="129266"/>
          </a:xfrm>
          <a:prstGeom prst="rect">
            <a:avLst/>
          </a:prstGeom>
          <a:noFill/>
        </p:spPr>
        <p:txBody>
          <a:bodyPr wrap="none" lIns="0" tIns="0" rIns="0" bIns="0" rtlCol="0" anchor="ctr">
            <a:noAutofit/>
          </a:bodyPr>
          <a:lstStyle/>
          <a:p>
            <a:pPr>
              <a:spcAft>
                <a:spcPts val="600"/>
              </a:spcAft>
              <a:buClr>
                <a:schemeClr val="tx2"/>
              </a:buClr>
              <a:buSzPct val="80000"/>
            </a:pPr>
            <a:r>
              <a:rPr lang="cs-CZ" sz="900" dirty="0">
                <a:solidFill>
                  <a:schemeClr val="bg1"/>
                </a:solidFill>
              </a:rPr>
              <a:t>Vodní</a:t>
            </a:r>
          </a:p>
        </p:txBody>
      </p:sp>
      <p:sp>
        <p:nvSpPr>
          <p:cNvPr id="176" name="TextBox 175">
            <a:extLst>
              <a:ext uri="{FF2B5EF4-FFF2-40B4-BE49-F238E27FC236}">
                <a16:creationId xmlns:a16="http://schemas.microsoft.com/office/drawing/2014/main" id="{0F8AB589-52FD-3838-3F7C-0CAF4D59224A}"/>
              </a:ext>
            </a:extLst>
          </p:cNvPr>
          <p:cNvSpPr txBox="1"/>
          <p:nvPr/>
        </p:nvSpPr>
        <p:spPr>
          <a:xfrm>
            <a:off x="2181022" y="5193234"/>
            <a:ext cx="684000" cy="129266"/>
          </a:xfrm>
          <a:prstGeom prst="rect">
            <a:avLst/>
          </a:prstGeom>
          <a:noFill/>
        </p:spPr>
        <p:txBody>
          <a:bodyPr wrap="none" lIns="0" tIns="0" rIns="0" bIns="0" rtlCol="0" anchor="ctr">
            <a:noAutofit/>
          </a:bodyPr>
          <a:lstStyle/>
          <a:p>
            <a:pPr>
              <a:spcAft>
                <a:spcPts val="600"/>
              </a:spcAft>
              <a:buClr>
                <a:schemeClr val="tx2"/>
              </a:buClr>
              <a:buSzPct val="80000"/>
            </a:pPr>
            <a:r>
              <a:rPr lang="cs-CZ" sz="900" dirty="0">
                <a:solidFill>
                  <a:schemeClr val="bg1"/>
                </a:solidFill>
              </a:rPr>
              <a:t>Jaderné</a:t>
            </a:r>
          </a:p>
        </p:txBody>
      </p:sp>
      <p:sp>
        <p:nvSpPr>
          <p:cNvPr id="177" name="Rectangle 176">
            <a:extLst>
              <a:ext uri="{FF2B5EF4-FFF2-40B4-BE49-F238E27FC236}">
                <a16:creationId xmlns:a16="http://schemas.microsoft.com/office/drawing/2014/main" id="{B55C5F4D-6161-ADE6-8F82-6C77B73D6255}"/>
              </a:ext>
            </a:extLst>
          </p:cNvPr>
          <p:cNvSpPr/>
          <p:nvPr/>
        </p:nvSpPr>
        <p:spPr>
          <a:xfrm>
            <a:off x="2713155" y="5217457"/>
            <a:ext cx="90000" cy="90000"/>
          </a:xfrm>
          <a:prstGeom prst="rect">
            <a:avLst/>
          </a:prstGeom>
          <a:solidFill>
            <a:schemeClr val="bg2">
              <a:lumMod val="50000"/>
              <a:lumOff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sz="1200" dirty="0" err="1">
              <a:solidFill>
                <a:schemeClr val="bg1"/>
              </a:solidFill>
            </a:endParaRPr>
          </a:p>
        </p:txBody>
      </p:sp>
      <p:sp>
        <p:nvSpPr>
          <p:cNvPr id="178" name="TextBox 177">
            <a:extLst>
              <a:ext uri="{FF2B5EF4-FFF2-40B4-BE49-F238E27FC236}">
                <a16:creationId xmlns:a16="http://schemas.microsoft.com/office/drawing/2014/main" id="{03AAFCBC-F7A9-2518-1C7C-8A5199E98032}"/>
              </a:ext>
            </a:extLst>
          </p:cNvPr>
          <p:cNvSpPr txBox="1"/>
          <p:nvPr/>
        </p:nvSpPr>
        <p:spPr>
          <a:xfrm>
            <a:off x="2850472" y="5193234"/>
            <a:ext cx="684000" cy="129266"/>
          </a:xfrm>
          <a:prstGeom prst="rect">
            <a:avLst/>
          </a:prstGeom>
          <a:noFill/>
        </p:spPr>
        <p:txBody>
          <a:bodyPr wrap="none" lIns="0" tIns="0" rIns="0" bIns="0" rtlCol="0" anchor="ctr">
            <a:noAutofit/>
          </a:bodyPr>
          <a:lstStyle/>
          <a:p>
            <a:pPr>
              <a:spcAft>
                <a:spcPts val="600"/>
              </a:spcAft>
              <a:buClr>
                <a:schemeClr val="tx2"/>
              </a:buClr>
              <a:buSzPct val="80000"/>
            </a:pPr>
            <a:r>
              <a:rPr lang="cs-CZ" sz="900" dirty="0">
                <a:solidFill>
                  <a:schemeClr val="bg1"/>
                </a:solidFill>
              </a:rPr>
              <a:t>Fosilní</a:t>
            </a:r>
          </a:p>
        </p:txBody>
      </p:sp>
      <p:sp>
        <p:nvSpPr>
          <p:cNvPr id="179" name="Rectangle 178">
            <a:extLst>
              <a:ext uri="{FF2B5EF4-FFF2-40B4-BE49-F238E27FC236}">
                <a16:creationId xmlns:a16="http://schemas.microsoft.com/office/drawing/2014/main" id="{48881DCB-F81A-8233-5CF4-DEA5C8E3E27A}"/>
              </a:ext>
            </a:extLst>
          </p:cNvPr>
          <p:cNvSpPr/>
          <p:nvPr/>
        </p:nvSpPr>
        <p:spPr>
          <a:xfrm>
            <a:off x="3304858" y="5217457"/>
            <a:ext cx="90000" cy="900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sz="1200" dirty="0" err="1">
              <a:solidFill>
                <a:schemeClr val="bg1"/>
              </a:solidFill>
            </a:endParaRPr>
          </a:p>
        </p:txBody>
      </p:sp>
      <p:sp>
        <p:nvSpPr>
          <p:cNvPr id="180" name="TextBox 179">
            <a:extLst>
              <a:ext uri="{FF2B5EF4-FFF2-40B4-BE49-F238E27FC236}">
                <a16:creationId xmlns:a16="http://schemas.microsoft.com/office/drawing/2014/main" id="{E5C1C2B9-981C-D8F1-D64E-A4CB94DA788F}"/>
              </a:ext>
            </a:extLst>
          </p:cNvPr>
          <p:cNvSpPr txBox="1"/>
          <p:nvPr/>
        </p:nvSpPr>
        <p:spPr>
          <a:xfrm>
            <a:off x="3442175" y="5193234"/>
            <a:ext cx="684000" cy="129266"/>
          </a:xfrm>
          <a:prstGeom prst="rect">
            <a:avLst/>
          </a:prstGeom>
          <a:noFill/>
        </p:spPr>
        <p:txBody>
          <a:bodyPr wrap="none" lIns="0" tIns="0" rIns="0" bIns="0" rtlCol="0" anchor="ctr">
            <a:noAutofit/>
          </a:bodyPr>
          <a:lstStyle/>
          <a:p>
            <a:pPr>
              <a:spcAft>
                <a:spcPts val="600"/>
              </a:spcAft>
              <a:buClr>
                <a:schemeClr val="tx2"/>
              </a:buClr>
              <a:buSzPct val="80000"/>
            </a:pPr>
            <a:r>
              <a:rPr lang="cs-CZ" sz="900" dirty="0">
                <a:solidFill>
                  <a:schemeClr val="bg1"/>
                </a:solidFill>
              </a:rPr>
              <a:t>Ostatní OZE</a:t>
            </a:r>
          </a:p>
        </p:txBody>
      </p:sp>
      <p:sp>
        <p:nvSpPr>
          <p:cNvPr id="181" name="Oval 180">
            <a:extLst>
              <a:ext uri="{FF2B5EF4-FFF2-40B4-BE49-F238E27FC236}">
                <a16:creationId xmlns:a16="http://schemas.microsoft.com/office/drawing/2014/main" id="{922023B3-EA46-BA86-2426-120088D78C7B}"/>
              </a:ext>
            </a:extLst>
          </p:cNvPr>
          <p:cNvSpPr/>
          <p:nvPr/>
        </p:nvSpPr>
        <p:spPr>
          <a:xfrm>
            <a:off x="4177861" y="5217457"/>
            <a:ext cx="90000" cy="90000"/>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sz="1200" dirty="0" err="1">
              <a:solidFill>
                <a:schemeClr val="bg1"/>
              </a:solidFill>
            </a:endParaRPr>
          </a:p>
        </p:txBody>
      </p:sp>
      <p:sp>
        <p:nvSpPr>
          <p:cNvPr id="182" name="TextBox 181">
            <a:extLst>
              <a:ext uri="{FF2B5EF4-FFF2-40B4-BE49-F238E27FC236}">
                <a16:creationId xmlns:a16="http://schemas.microsoft.com/office/drawing/2014/main" id="{1EC1580A-BF5C-8012-BA63-EDC0CE814542}"/>
              </a:ext>
            </a:extLst>
          </p:cNvPr>
          <p:cNvSpPr txBox="1"/>
          <p:nvPr/>
        </p:nvSpPr>
        <p:spPr>
          <a:xfrm>
            <a:off x="4315178" y="5193234"/>
            <a:ext cx="684000" cy="129266"/>
          </a:xfrm>
          <a:prstGeom prst="rect">
            <a:avLst/>
          </a:prstGeom>
          <a:noFill/>
        </p:spPr>
        <p:txBody>
          <a:bodyPr wrap="none" lIns="0" tIns="0" rIns="0" bIns="0" rtlCol="0" anchor="ctr">
            <a:noAutofit/>
          </a:bodyPr>
          <a:lstStyle/>
          <a:p>
            <a:pPr>
              <a:spcAft>
                <a:spcPts val="600"/>
              </a:spcAft>
              <a:buClr>
                <a:schemeClr val="tx2"/>
              </a:buClr>
              <a:buSzPct val="80000"/>
            </a:pPr>
            <a:r>
              <a:rPr lang="cs-CZ" sz="900" dirty="0">
                <a:solidFill>
                  <a:schemeClr val="bg1"/>
                </a:solidFill>
              </a:rPr>
              <a:t>Podíl JE</a:t>
            </a:r>
          </a:p>
        </p:txBody>
      </p:sp>
      <p:sp>
        <p:nvSpPr>
          <p:cNvPr id="156" name="Content Placeholder 1">
            <a:extLst>
              <a:ext uri="{FF2B5EF4-FFF2-40B4-BE49-F238E27FC236}">
                <a16:creationId xmlns:a16="http://schemas.microsoft.com/office/drawing/2014/main" id="{00F6BDD0-6865-4577-525A-67F79C3508BE}"/>
              </a:ext>
            </a:extLst>
          </p:cNvPr>
          <p:cNvSpPr txBox="1">
            <a:spLocks/>
          </p:cNvSpPr>
          <p:nvPr/>
        </p:nvSpPr>
        <p:spPr>
          <a:xfrm>
            <a:off x="5893927" y="1323709"/>
            <a:ext cx="5694505" cy="868572"/>
          </a:xfrm>
          <a:prstGeom prst="rect">
            <a:avLst/>
          </a:prstGeom>
          <a:ln>
            <a:noFill/>
          </a:ln>
        </p:spPr>
        <p:txBody>
          <a:bodyPr vert="horz" lIns="72000" tIns="72000" rIns="72000" bIns="72000" rtlCol="0" anchor="t"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lgn="just">
              <a:buClr>
                <a:schemeClr val="accent3"/>
              </a:buClr>
            </a:pPr>
            <a:r>
              <a:rPr lang="cs-CZ" sz="1000" dirty="0"/>
              <a:t>Plán klade na JE do budoucna vysoký důraz. </a:t>
            </a:r>
            <a:r>
              <a:rPr lang="cs-CZ" sz="1000" b="1" dirty="0"/>
              <a:t>Blokům 1 a 2 má být po modernizaci prodloužena životnost na dalších 30 let. </a:t>
            </a:r>
          </a:p>
          <a:p>
            <a:pPr marL="180000" indent="-180000" algn="just">
              <a:buClr>
                <a:schemeClr val="accent3"/>
              </a:buClr>
            </a:pPr>
            <a:r>
              <a:rPr lang="cs-CZ" sz="1000" b="1" dirty="0"/>
              <a:t>Počítá s výstavbou bloků 3 a 4 </a:t>
            </a:r>
            <a:r>
              <a:rPr lang="cs-CZ" sz="1000" dirty="0"/>
              <a:t>a stanovuje data spuštění 2030 a 2031, co ovšem již lze vyhodnotit za nereálné.</a:t>
            </a:r>
          </a:p>
          <a:p>
            <a:pPr marL="180000" indent="-180000" algn="just">
              <a:buClr>
                <a:schemeClr val="accent3"/>
              </a:buClr>
            </a:pPr>
            <a:endParaRPr lang="cs-CZ" sz="1000" dirty="0"/>
          </a:p>
        </p:txBody>
      </p:sp>
      <p:grpSp>
        <p:nvGrpSpPr>
          <p:cNvPr id="189" name="Group 188">
            <a:extLst>
              <a:ext uri="{FF2B5EF4-FFF2-40B4-BE49-F238E27FC236}">
                <a16:creationId xmlns:a16="http://schemas.microsoft.com/office/drawing/2014/main" id="{25D72A08-2084-7800-1541-451E6E0E32D2}"/>
              </a:ext>
            </a:extLst>
          </p:cNvPr>
          <p:cNvGrpSpPr/>
          <p:nvPr/>
        </p:nvGrpSpPr>
        <p:grpSpPr>
          <a:xfrm>
            <a:off x="5542224" y="1043948"/>
            <a:ext cx="302400" cy="5248212"/>
            <a:chOff x="5286701" y="1051968"/>
            <a:chExt cx="302400" cy="5248212"/>
          </a:xfrm>
        </p:grpSpPr>
        <p:cxnSp>
          <p:nvCxnSpPr>
            <p:cNvPr id="190" name="Straight Connector 189">
              <a:extLst>
                <a:ext uri="{FF2B5EF4-FFF2-40B4-BE49-F238E27FC236}">
                  <a16:creationId xmlns:a16="http://schemas.microsoft.com/office/drawing/2014/main" id="{15EF80EA-AFAC-95B9-27B5-5603B9BBB5CE}"/>
                </a:ext>
              </a:extLst>
            </p:cNvPr>
            <p:cNvCxnSpPr>
              <a:cxnSpLocks/>
            </p:cNvCxnSpPr>
            <p:nvPr/>
          </p:nvCxnSpPr>
          <p:spPr>
            <a:xfrm>
              <a:off x="5437901" y="1051968"/>
              <a:ext cx="0" cy="5248212"/>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1" name="Group 190">
              <a:extLst>
                <a:ext uri="{FF2B5EF4-FFF2-40B4-BE49-F238E27FC236}">
                  <a16:creationId xmlns:a16="http://schemas.microsoft.com/office/drawing/2014/main" id="{2A8E24C4-688C-D43D-5347-F6ED40A1EB57}"/>
                </a:ext>
              </a:extLst>
            </p:cNvPr>
            <p:cNvGrpSpPr/>
            <p:nvPr/>
          </p:nvGrpSpPr>
          <p:grpSpPr>
            <a:xfrm>
              <a:off x="5286701" y="3386752"/>
              <a:ext cx="302400" cy="303440"/>
              <a:chOff x="4940230" y="2274306"/>
              <a:chExt cx="302558" cy="291578"/>
            </a:xfrm>
          </p:grpSpPr>
          <p:sp>
            <p:nvSpPr>
              <p:cNvPr id="192" name="Oval 191">
                <a:extLst>
                  <a:ext uri="{FF2B5EF4-FFF2-40B4-BE49-F238E27FC236}">
                    <a16:creationId xmlns:a16="http://schemas.microsoft.com/office/drawing/2014/main" id="{D908666E-B638-66A4-A759-838EA7878FC0}"/>
                  </a:ext>
                </a:extLst>
              </p:cNvPr>
              <p:cNvSpPr/>
              <p:nvPr/>
            </p:nvSpPr>
            <p:spPr>
              <a:xfrm>
                <a:off x="4940230" y="2274306"/>
                <a:ext cx="302558" cy="291578"/>
              </a:xfrm>
              <a:prstGeom prst="ellipse">
                <a:avLst/>
              </a:prstGeom>
              <a:solidFill>
                <a:schemeClr val="accent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5981" tIns="35981" rIns="35981" bIns="35981" rtlCol="0" anchor="ctr" anchorCtr="0"/>
              <a:lstStyle/>
              <a:p>
                <a:pPr algn="ctr"/>
                <a:endParaRPr lang="en-US" sz="1099" err="1">
                  <a:solidFill>
                    <a:srgbClr val="2E2E38"/>
                  </a:solidFill>
                  <a:latin typeface="Arial" panose="020B0604020202020204"/>
                </a:endParaRPr>
              </a:p>
            </p:txBody>
          </p:sp>
          <p:sp>
            <p:nvSpPr>
              <p:cNvPr id="193" name="Graphic 16">
                <a:extLst>
                  <a:ext uri="{FF2B5EF4-FFF2-40B4-BE49-F238E27FC236}">
                    <a16:creationId xmlns:a16="http://schemas.microsoft.com/office/drawing/2014/main" id="{8A32A530-5559-5909-03F1-EA6574976808}"/>
                  </a:ext>
                </a:extLst>
              </p:cNvPr>
              <p:cNvSpPr/>
              <p:nvPr/>
            </p:nvSpPr>
            <p:spPr>
              <a:xfrm rot="5400000" flipV="1">
                <a:off x="5002889" y="2364842"/>
                <a:ext cx="209122" cy="110512"/>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chemeClr val="tx1"/>
              </a:solidFill>
              <a:ln w="9525" cap="flat">
                <a:noFill/>
                <a:prstDash val="solid"/>
                <a:miter/>
              </a:ln>
            </p:spPr>
            <p:txBody>
              <a:bodyPr rtlCol="0" anchor="ctr"/>
              <a:lstStyle/>
              <a:p>
                <a:endParaRPr lang="en-US" sz="1799">
                  <a:solidFill>
                    <a:srgbClr val="FFFFFF"/>
                  </a:solidFill>
                  <a:latin typeface="Arial" panose="020B0604020202020204"/>
                </a:endParaRPr>
              </a:p>
            </p:txBody>
          </p:sp>
        </p:grpSp>
      </p:grpSp>
      <p:sp>
        <p:nvSpPr>
          <p:cNvPr id="194" name="TextBox 193">
            <a:extLst>
              <a:ext uri="{FF2B5EF4-FFF2-40B4-BE49-F238E27FC236}">
                <a16:creationId xmlns:a16="http://schemas.microsoft.com/office/drawing/2014/main" id="{A9D2C93C-CF9D-135B-5F9F-CBE174CA8115}"/>
              </a:ext>
            </a:extLst>
          </p:cNvPr>
          <p:cNvSpPr txBox="1"/>
          <p:nvPr/>
        </p:nvSpPr>
        <p:spPr>
          <a:xfrm>
            <a:off x="608214" y="6269979"/>
            <a:ext cx="1783308" cy="160044"/>
          </a:xfrm>
          <a:prstGeom prst="rect">
            <a:avLst/>
          </a:prstGeom>
          <a:noFill/>
        </p:spPr>
        <p:txBody>
          <a:bodyPr wrap="square" lIns="0" tIns="36576" rIns="0" bIns="0" rtlCol="0">
            <a:spAutoFit/>
          </a:bodyPr>
          <a:lstStyle/>
          <a:p>
            <a:pPr algn="l">
              <a:spcAft>
                <a:spcPts val="600"/>
              </a:spcAft>
              <a:buClr>
                <a:schemeClr val="tx2"/>
              </a:buClr>
              <a:buSzPct val="80000"/>
            </a:pPr>
            <a:r>
              <a:rPr lang="cs-CZ" sz="800" dirty="0">
                <a:solidFill>
                  <a:schemeClr val="bg2"/>
                </a:solidFill>
              </a:rPr>
              <a:t>Zdroje: </a:t>
            </a:r>
            <a:r>
              <a:rPr lang="cs-CZ" sz="800" dirty="0">
                <a:solidFill>
                  <a:schemeClr val="bg2"/>
                </a:solidFill>
                <a:hlinkClick r:id="rId50">
                  <a:extLst>
                    <a:ext uri="{A12FA001-AC4F-418D-AE19-62706E023703}">
                      <ahyp:hlinkClr xmlns:ahyp="http://schemas.microsoft.com/office/drawing/2018/hyperlinkcolor" val="tx"/>
                    </a:ext>
                  </a:extLst>
                </a:hlinkClick>
              </a:rPr>
              <a:t>NEA</a:t>
            </a:r>
            <a:r>
              <a:rPr lang="cs-CZ" sz="800" dirty="0">
                <a:solidFill>
                  <a:schemeClr val="bg2"/>
                </a:solidFill>
              </a:rPr>
              <a:t>; </a:t>
            </a:r>
            <a:r>
              <a:rPr lang="cs-CZ" sz="800" dirty="0">
                <a:solidFill>
                  <a:schemeClr val="bg2"/>
                </a:solidFill>
                <a:hlinkClick r:id="rId51">
                  <a:extLst>
                    <a:ext uri="{A12FA001-AC4F-418D-AE19-62706E023703}">
                      <ahyp:hlinkClr xmlns:ahyp="http://schemas.microsoft.com/office/drawing/2018/hyperlinkcolor" val="tx"/>
                    </a:ext>
                  </a:extLst>
                </a:hlinkClick>
              </a:rPr>
              <a:t>WNA</a:t>
            </a:r>
            <a:r>
              <a:rPr lang="cs-CZ" sz="800" dirty="0">
                <a:solidFill>
                  <a:schemeClr val="bg2"/>
                </a:solidFill>
              </a:rPr>
              <a:t>; </a:t>
            </a:r>
            <a:r>
              <a:rPr lang="cs-CZ" sz="800" dirty="0">
                <a:solidFill>
                  <a:schemeClr val="bg2"/>
                </a:solidFill>
                <a:hlinkClick r:id="rId52">
                  <a:extLst>
                    <a:ext uri="{A12FA001-AC4F-418D-AE19-62706E023703}">
                      <ahyp:hlinkClr xmlns:ahyp="http://schemas.microsoft.com/office/drawing/2018/hyperlinkcolor" val="tx"/>
                    </a:ext>
                  </a:extLst>
                </a:hlinkClick>
              </a:rPr>
              <a:t>IAEA</a:t>
            </a:r>
            <a:endParaRPr lang="cs-CZ" sz="800" dirty="0">
              <a:solidFill>
                <a:schemeClr val="bg2"/>
              </a:solidFill>
            </a:endParaRPr>
          </a:p>
        </p:txBody>
      </p:sp>
      <p:sp>
        <p:nvSpPr>
          <p:cNvPr id="122" name="Flowchart: Connector 121">
            <a:extLst>
              <a:ext uri="{FF2B5EF4-FFF2-40B4-BE49-F238E27FC236}">
                <a16:creationId xmlns:a16="http://schemas.microsoft.com/office/drawing/2014/main" id="{21858548-16BF-30B3-A78C-1F9382CD3470}"/>
              </a:ext>
            </a:extLst>
          </p:cNvPr>
          <p:cNvSpPr/>
          <p:nvPr/>
        </p:nvSpPr>
        <p:spPr>
          <a:xfrm>
            <a:off x="816203" y="2883723"/>
            <a:ext cx="108000" cy="108000"/>
          </a:xfrm>
          <a:prstGeom prst="flowChartConnector">
            <a:avLst/>
          </a:prstGeom>
          <a:solidFill>
            <a:srgbClr val="FFC000"/>
          </a:solidFill>
          <a:ln w="1270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chemeClr val="bg1"/>
              </a:solidFill>
            </a:endParaRPr>
          </a:p>
        </p:txBody>
      </p:sp>
      <p:sp>
        <p:nvSpPr>
          <p:cNvPr id="123" name="Content Placeholder 1">
            <a:extLst>
              <a:ext uri="{FF2B5EF4-FFF2-40B4-BE49-F238E27FC236}">
                <a16:creationId xmlns:a16="http://schemas.microsoft.com/office/drawing/2014/main" id="{9332FA58-DBCB-1A47-9C17-C1CA91B7570C}"/>
              </a:ext>
            </a:extLst>
          </p:cNvPr>
          <p:cNvSpPr txBox="1">
            <a:spLocks/>
          </p:cNvSpPr>
          <p:nvPr/>
        </p:nvSpPr>
        <p:spPr>
          <a:xfrm>
            <a:off x="1002527" y="2791306"/>
            <a:ext cx="1156943" cy="292834"/>
          </a:xfrm>
          <a:prstGeom prst="rect">
            <a:avLst/>
          </a:prstGeom>
          <a:ln>
            <a:noFill/>
          </a:ln>
        </p:spPr>
        <p:txBody>
          <a:bodyPr vert="horz" lIns="0" tIns="0" rIns="0" bIns="0" rtlCol="0" anchor="ctr" anchorCtr="0">
            <a:noAutofit/>
          </a:bodyPr>
          <a:lst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Clr>
                <a:schemeClr val="dk2"/>
              </a:buClr>
              <a:buNone/>
            </a:pPr>
            <a:r>
              <a:rPr lang="cs-CZ" sz="900" dirty="0"/>
              <a:t>plánovaná dostavba</a:t>
            </a:r>
          </a:p>
        </p:txBody>
      </p:sp>
    </p:spTree>
    <p:extLst>
      <p:ext uri="{BB962C8B-B14F-4D97-AF65-F5344CB8AC3E}">
        <p14:creationId xmlns:p14="http://schemas.microsoft.com/office/powerpoint/2010/main" val="30398960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6054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2F734A5_36FB_4DB7_9768_8D1FD1E5F56D&quot;,&quot;SourceFullName&quot;:&quot;Book1&quot;,&quot;LastUpdate&quot;:&quot;2024-11-19 4:23 PM&quot;,&quot;UpdatedBy&quot;:&quot;SG712HZ&quot;,&quot;IsLinked&quot;:false,&quot;IsBrokenLink&quot;:false,&quot;Type&quot;:1}"/>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environment*energy*nuclear*risk*alert*danger*threat*radioactive*hazardous*waste*atom*bomb*power*plant*sustainable*renewable"/>
</p:tagLst>
</file>

<file path=ppt/tags/tag1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58E0646_0507_4009_AB84_3DCD6D334113&quot;,&quot;SourceFullName&quot;:&quot;https://people.ey.com/personal/david_mamrilla_cz_ey_com/Documents/Desktop/Jádro prezentace/data.xlsx&quot;,&quot;LastUpdate&quot;:&quot;2024-11-19 1:09 PM&quot;,&quot;UpdatedBy&quot;:&quot;SW966SM&quot;,&quot;IsLinked&quot;:false,&quot;IsBrokenLink&quot;:false,&quot;Type&quot;:1}"/>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environment*energy*nuclear*risk*alert*danger*threat*radioactive*hazardous*waste*atom*bomb*power*plant*sustainable*renewable"/>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plant_POWER_USER_SEPARATOR_ICONS_mill_POWER_USER_SEPARATOR_ICONS_manufacturing_POWER_USER_SEPARATOR_ICONS_manufacture_POWER_USER_SEPARATOR_ICONS_industry_POWER_USER_SEPARATOR_ICONS_industrial_POWER_USER_SEPARATOR_ICONS_factory_POWER_USER_SEPARATOR_ICONS_enterprise_POWER_USER_SEPARATOR_ICONS_energy_POWER_USER_SEPARATOR_ICONS_primary"/>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8AB5018_B7E4_4796_9EEB_C28DA212F628&quot;,&quot;SourceFullName&quot;:&quot;https://people.ey.com/personal/david_mamrilla_cz_ey_com/Documents/Desktop/Jádro prezentace/data.xlsx&quot;,&quot;LastUpdate&quot;:&quot;2024-11-19 5:10 PM&quot;,&quot;UpdatedBy&quot;:&quot;SW966SM&quot;,&quot;IsLinked&quot;:false,&quot;IsBrokenLink&quot;:false,&quot;Type&quot;:1}"/>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environment*energy*nuclear*risk*alert*danger*threat*radioactive*hazardous*waste*atom*bomb*power*plant*sustainable*renewable"/>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plant_POWER_USER_SEPARATOR_ICONS_mill_POWER_USER_SEPARATOR_ICONS_manufacturing_POWER_USER_SEPARATOR_ICONS_manufacture_POWER_USER_SEPARATOR_ICONS_industry_POWER_USER_SEPARATOR_ICONS_industrial_POWER_USER_SEPARATOR_ICONS_factory_POWER_USER_SEPARATOR_ICONS_enterprise_POWER_USER_SEPARATOR_ICONS_energy_POWER_USER_SEPARATOR_ICONS_primary"/>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tK5JQXxfsbTLgrtoQilZw"/>
</p:tagLst>
</file>

<file path=ppt/tags/tag2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F721E83_BD28_4FAF_B4C7_3FD870B10A9A&quot;,&quot;SourceFullName&quot;:&quot;https://people.ey.com/personal/david_mamrilla_cz_ey_com/Documents/Desktop/Jádro prezentace/data.xlsx&quot;,&quot;LastUpdate&quot;:&quot;2024-11-19 9:41 PM&quot;,&quot;UpdatedBy&quot;:&quot;SW966SM&quot;,&quot;IsLinked&quot;:false,&quot;IsBrokenLink&quot;:false,&quot;Type&quot;:1}"/>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environment*energy*nuclear*risk*alert*danger*threat*radioactive*hazardous*waste*atom*bomb*power*plant*sustainable*renewable"/>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power-plant_POWER_USER_SEPARATOR_ICONS_plant_POWER_USER_SEPARATOR_ICONS_mill_POWER_USER_SEPARATOR_ICONS_manufacturing_POWER_USER_SEPARATOR_ICONS_manufacture_POWER_USER_SEPARATOR_ICONS_industry_POWER_USER_SEPARATOR_ICONS_industrial_POWER_USER_SEPARATOR_ICONS_factory_POWER_USER_SEPARATOR_ICONS_enterprise_POWER_USER_SEPARATOR_ICONS_energy_POWER_USER_SEPARATOR_ICONS_primary"/>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4.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uNn81fizPk2oDA4XgUnv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chemeClr val="tx2"/>
          </a:solidFill>
        </a:ln>
      </a:spPr>
      <a:bodyPr rtlCol="0" anchor="ctr" anchorCtr="0"/>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356616" indent="-356616" algn="l">
          <a:spcAft>
            <a:spcPts val="600"/>
          </a:spcAft>
          <a:buClr>
            <a:schemeClr val="tx2"/>
          </a:buClr>
          <a:buSzPct val="80000"/>
          <a:buFont typeface="Arial" panose="020B0604020202020204" pitchFamily="34" charset="0"/>
          <a:buChar char="►"/>
          <a:defRPr sz="1600" dirty="0" err="1" smtClean="0">
            <a:solidFill>
              <a:schemeClr val="bg1"/>
            </a:solidFill>
          </a:defRPr>
        </a:defPPr>
      </a:lstStyle>
    </a:txDef>
  </a:objectDefaults>
  <a:extraClrSchemeLst/>
  <a:extLst>
    <a:ext uri="{05A4C25C-085E-4340-85A3-A5531E510DB2}">
      <thm15:themeFamily xmlns:thm15="http://schemas.microsoft.com/office/thememl/2012/main" name="Presentation9" id="{5096858C-812C-4A1E-9161-071188A18822}" vid="{FEBBC0D2-24E8-4E5E-B33B-58A8D3C43D6F}"/>
    </a:ext>
  </a:ext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chemeClr val="bg1">
              <a:lumMod val="60000"/>
              <a:lumOff val="40000"/>
            </a:schemeClr>
          </a:solidFill>
        </a:ln>
      </a:spPr>
      <a:bodyPr rtlCol="0" anchor="ctr" anchorCtr="0"/>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0000"/>
              <a:lumOff val="40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356616" indent="-356616" algn="l">
          <a:spcAft>
            <a:spcPts val="600"/>
          </a:spcAft>
          <a:buClr>
            <a:schemeClr val="tx2"/>
          </a:buClr>
          <a:buSzPct val="80000"/>
          <a:buFont typeface="Arial" panose="020B0604020202020204" pitchFamily="34" charset="0"/>
          <a:buChar char="►"/>
          <a:defRPr sz="1600" dirty="0" smtClean="0">
            <a:solidFill>
              <a:schemeClr val="bg1"/>
            </a:solidFill>
          </a:defRPr>
        </a:defPPr>
      </a:lstStyle>
    </a:txDef>
  </a:objectDefaults>
  <a:extraClrSchemeLst/>
  <a:extLst>
    <a:ext uri="{05A4C25C-085E-4340-85A3-A5531E510DB2}">
      <thm15:themeFamily xmlns:thm15="http://schemas.microsoft.com/office/thememl/2012/main" name="Presentation9" id="{5096858C-812C-4A1E-9161-071188A18822}" vid="{4C8594D6-2B73-4320-A0D3-FDC7A9DC60E9}"/>
    </a:ext>
  </a:extLst>
</a:theme>
</file>

<file path=ppt/theme/theme3.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chemeClr val="tx2"/>
          </a:solidFill>
        </a:ln>
      </a:spPr>
      <a:bodyPr rtlCol="0" anchor="ctr" anchorCtr="0"/>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356616" indent="-356616" algn="l">
          <a:spcAft>
            <a:spcPts val="600"/>
          </a:spcAft>
          <a:buClr>
            <a:schemeClr val="tx2"/>
          </a:buClr>
          <a:buSzPct val="80000"/>
          <a:buFont typeface="Arial" panose="020B0604020202020204" pitchFamily="34" charset="0"/>
          <a:buChar char="►"/>
          <a:defRPr sz="1600" dirty="0" err="1" smtClean="0">
            <a:solidFill>
              <a:schemeClr val="bg1"/>
            </a:solidFill>
          </a:defRPr>
        </a:defPPr>
      </a:lstStyle>
    </a:txDef>
  </a:objectDefaults>
  <a:extraClrSchemeLst/>
  <a:extLst>
    <a:ext uri="{05A4C25C-085E-4340-85A3-A5531E510DB2}">
      <thm15:themeFamily xmlns:thm15="http://schemas.microsoft.com/office/thememl/2012/main" name="Presentation9" id="{5096858C-812C-4A1E-9161-071188A18822}" vid="{FEBBC0D2-24E8-4E5E-B33B-58A8D3C43D6F}"/>
    </a:ext>
  </a:extLst>
</a:theme>
</file>

<file path=ppt/theme/theme4.xml><?xml version="1.0" encoding="utf-8"?>
<a:theme xmlns:a="http://schemas.openxmlformats.org/drawingml/2006/main" name="1_EY-P Widescreen Template 2022">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arthenon Template 2022.potx" id="{F61FB716-DF41-43AC-96D7-4F936D1FCDB7}" vid="{3715C607-16CB-460C-A685-A77F3281436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5D3BFEBFAA6C40AEA06C3A35607631" ma:contentTypeVersion="4" ma:contentTypeDescription="Create a new document." ma:contentTypeScope="" ma:versionID="5afa87867d4daf5119b6444d3d106da0">
  <xsd:schema xmlns:xsd="http://www.w3.org/2001/XMLSchema" xmlns:xs="http://www.w3.org/2001/XMLSchema" xmlns:p="http://schemas.microsoft.com/office/2006/metadata/properties" xmlns:ns2="c42ff961-7cd2-48eb-ba36-1b0506f51ea3" targetNamespace="http://schemas.microsoft.com/office/2006/metadata/properties" ma:root="true" ma:fieldsID="c563d87e7ab2675745c1768b7c7054b5" ns2:_="">
    <xsd:import namespace="c42ff961-7cd2-48eb-ba36-1b0506f51ea3"/>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42ff961-7cd2-48eb-ba36-1b0506f51ea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74874EC-3A92-4BF4-9577-74B3EB20D0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42ff961-7cd2-48eb-ba36-1b0506f51e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6A9A021-24DF-4EBE-A638-3042B37C84BC}">
  <ds:schemaRefs>
    <ds:schemaRef ds:uri="http://schemas.microsoft.com/office/infopath/2007/PartnerControls"/>
    <ds:schemaRef ds:uri="http://purl.org/dc/terms/"/>
    <ds:schemaRef ds:uri="http://schemas.microsoft.com/office/2006/documentManagement/types"/>
    <ds:schemaRef ds:uri="http://schemas.microsoft.com/office/2006/metadata/properties"/>
    <ds:schemaRef ds:uri="http://www.w3.org/XML/1998/namespace"/>
    <ds:schemaRef ds:uri="http://purl.org/dc/elements/1.1/"/>
    <ds:schemaRef ds:uri="http://schemas.openxmlformats.org/package/2006/metadata/core-properties"/>
    <ds:schemaRef ds:uri="c42ff961-7cd2-48eb-ba36-1b0506f51ea3"/>
    <ds:schemaRef ds:uri="http://purl.org/dc/dcmitype/"/>
  </ds:schemaRefs>
</ds:datastoreItem>
</file>

<file path=customXml/itemProps3.xml><?xml version="1.0" encoding="utf-8"?>
<ds:datastoreItem xmlns:ds="http://schemas.openxmlformats.org/officeDocument/2006/customXml" ds:itemID="{67EC608A-2DBF-440A-ABA0-974D47E2C50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Y Presentation_16-9_EY Interstate_Dark+Light Theme_2024</Template>
  <TotalTime>1728</TotalTime>
  <Words>1737</Words>
  <Application>Microsoft Office PowerPoint</Application>
  <PresentationFormat>Custom</PresentationFormat>
  <Paragraphs>241</Paragraphs>
  <Slides>6</Slides>
  <Notes>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6</vt:i4>
      </vt:variant>
    </vt:vector>
  </HeadingPairs>
  <TitlesOfParts>
    <vt:vector size="17" baseType="lpstr">
      <vt:lpstr>Arial</vt:lpstr>
      <vt:lpstr>Georgia</vt:lpstr>
      <vt:lpstr>Wingdings 3</vt:lpstr>
      <vt:lpstr>EYInterstate Light</vt:lpstr>
      <vt:lpstr>Wingdings</vt:lpstr>
      <vt:lpstr>EYInterstate</vt:lpstr>
      <vt:lpstr>EY dark background</vt:lpstr>
      <vt:lpstr>EY light background</vt:lpstr>
      <vt:lpstr>1_EY dark background</vt:lpstr>
      <vt:lpstr>1_EY-P Widescreen Template 2022</vt:lpstr>
      <vt:lpstr>think-cell Slide</vt:lpstr>
      <vt:lpstr>All for Power Conference 2024 JADERNÁ ENERGETIKA - EVROPA</vt:lpstr>
      <vt:lpstr>Jaderná energie je nezbytná pro splnění cílů uhlíkové neutrality</vt:lpstr>
      <vt:lpstr>Přístup a vývoj jaderné energetiky – Francie</vt:lpstr>
      <vt:lpstr>Přístup a vývoj jaderné energetiky – Velká Británie</vt:lpstr>
      <vt:lpstr>Přístup a vývoj jaderné energetiky – Rumunsko</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Filip Chudoba</dc:creator>
  <cp:keywords/>
  <cp:lastModifiedBy>Blahoslav Nemecek</cp:lastModifiedBy>
  <cp:revision>5</cp:revision>
  <dcterms:created xsi:type="dcterms:W3CDTF">2024-11-18T22:15:07Z</dcterms:created>
  <dcterms:modified xsi:type="dcterms:W3CDTF">2024-11-20T06:02:38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5D3BFEBFAA6C40AEA06C3A35607631</vt:lpwstr>
  </property>
</Properties>
</file>